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0.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1.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2.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13.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notesSlides/notesSlide5.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notesSlides/notesSlide6.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684" r:id="rId6"/>
    <p:sldMasterId id="2147483696" r:id="rId7"/>
    <p:sldMasterId id="2147483708" r:id="rId8"/>
    <p:sldMasterId id="2147483720" r:id="rId9"/>
    <p:sldMasterId id="2147483732" r:id="rId10"/>
    <p:sldMasterId id="2147483744" r:id="rId11"/>
    <p:sldMasterId id="2147483756" r:id="rId12"/>
    <p:sldMasterId id="2147483768" r:id="rId13"/>
    <p:sldMasterId id="2147483782" r:id="rId14"/>
    <p:sldMasterId id="2147483827" r:id="rId15"/>
    <p:sldMasterId id="2147483839" r:id="rId16"/>
  </p:sldMasterIdLst>
  <p:notesMasterIdLst>
    <p:notesMasterId r:id="rId66"/>
  </p:notesMasterIdLst>
  <p:sldIdLst>
    <p:sldId id="2145727180" r:id="rId17"/>
    <p:sldId id="2145726709" r:id="rId18"/>
    <p:sldId id="1845" r:id="rId19"/>
    <p:sldId id="2145726825" r:id="rId20"/>
    <p:sldId id="2145727190" r:id="rId21"/>
    <p:sldId id="2145727191" r:id="rId22"/>
    <p:sldId id="2145727192" r:id="rId23"/>
    <p:sldId id="2145727202" r:id="rId24"/>
    <p:sldId id="2145726683" r:id="rId25"/>
    <p:sldId id="2145727205" r:id="rId26"/>
    <p:sldId id="2145727206" r:id="rId27"/>
    <p:sldId id="2145727201" r:id="rId28"/>
    <p:sldId id="2145727138" r:id="rId29"/>
    <p:sldId id="2145727061" r:id="rId30"/>
    <p:sldId id="2145727135" r:id="rId31"/>
    <p:sldId id="2145727129" r:id="rId32"/>
    <p:sldId id="2145726726" r:id="rId33"/>
    <p:sldId id="1147" r:id="rId34"/>
    <p:sldId id="2145726847" r:id="rId35"/>
    <p:sldId id="2145726712" r:id="rId36"/>
    <p:sldId id="2145727132" r:id="rId37"/>
    <p:sldId id="2145727133" r:id="rId38"/>
    <p:sldId id="2145727008" r:id="rId39"/>
    <p:sldId id="2145726873" r:id="rId40"/>
    <p:sldId id="2145727001" r:id="rId41"/>
    <p:sldId id="2145727136" r:id="rId42"/>
    <p:sldId id="2145727005" r:id="rId43"/>
    <p:sldId id="2145727004" r:id="rId44"/>
    <p:sldId id="2145727186" r:id="rId45"/>
    <p:sldId id="2145727203" r:id="rId46"/>
    <p:sldId id="2145726929" r:id="rId47"/>
    <p:sldId id="2145727185" r:id="rId48"/>
    <p:sldId id="2145726934" r:id="rId49"/>
    <p:sldId id="2145727204" r:id="rId50"/>
    <p:sldId id="2145727194" r:id="rId51"/>
    <p:sldId id="2145727200" r:id="rId52"/>
    <p:sldId id="2145727196" r:id="rId53"/>
    <p:sldId id="2145726574" r:id="rId54"/>
    <p:sldId id="2145726972" r:id="rId55"/>
    <p:sldId id="2145726981" r:id="rId56"/>
    <p:sldId id="2145726902" r:id="rId57"/>
    <p:sldId id="2145726930" r:id="rId58"/>
    <p:sldId id="2145727006" r:id="rId59"/>
    <p:sldId id="2145726577" r:id="rId60"/>
    <p:sldId id="2145726888" r:id="rId61"/>
    <p:sldId id="2145726895" r:id="rId62"/>
    <p:sldId id="2145726974" r:id="rId63"/>
    <p:sldId id="2145726956" r:id="rId64"/>
    <p:sldId id="2145726583"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650E519-B9F2-1AD1-00F9-F39A6EFF27ED}" name="Alexa McKinley" initials="AM" userId="Alexa McKinley"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son Zeagler" initials="MZ" lastIdx="4" clrIdx="0">
    <p:extLst>
      <p:ext uri="{19B8F6BF-5375-455C-9EA6-DF929625EA0E}">
        <p15:presenceInfo xmlns:p15="http://schemas.microsoft.com/office/powerpoint/2012/main" userId="S::mzeagler@nrharural.org::c8f1a392-ee87-4209-816f-889e27fb4a91" providerId="AD"/>
      </p:ext>
    </p:extLst>
  </p:cmAuthor>
  <p:cmAuthor id="2" name="Josh Jorgensen" initials="JJ" lastIdx="1" clrIdx="1">
    <p:extLst>
      <p:ext uri="{19B8F6BF-5375-455C-9EA6-DF929625EA0E}">
        <p15:presenceInfo xmlns:p15="http://schemas.microsoft.com/office/powerpoint/2012/main" userId="S::jjorgensen@nrharural.org::2ef862c7-955f-4f46-b3c0-28253ed7cb1d" providerId="AD"/>
      </p:ext>
    </p:extLst>
  </p:cmAuthor>
  <p:cmAuthor id="3" name="Carrie Cochran-McClain" initials="CCM" lastIdx="10" clrIdx="2">
    <p:extLst>
      <p:ext uri="{19B8F6BF-5375-455C-9EA6-DF929625EA0E}">
        <p15:presenceInfo xmlns:p15="http://schemas.microsoft.com/office/powerpoint/2012/main" userId="S::ccochran@ruralhealth.us::0050f473-4a9a-4b73-9bf7-999acddff9a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4972"/>
    <a:srgbClr val="FAE19C"/>
    <a:srgbClr val="F5C53D"/>
    <a:srgbClr val="FFFFFF"/>
    <a:srgbClr val="006847"/>
    <a:srgbClr val="C693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F28A3A2-6F20-416A-B26C-8ED313C85D07}" v="15" dt="2024-05-30T14:51:49.2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247" autoAdjust="0"/>
  </p:normalViewPr>
  <p:slideViewPr>
    <p:cSldViewPr snapToGrid="0">
      <p:cViewPr varScale="1">
        <p:scale>
          <a:sx n="111" d="100"/>
          <a:sy n="111" d="100"/>
        </p:scale>
        <p:origin x="558"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notesMaster" Target="notesMasters/notesMaster1.xml"/><Relationship Id="rId74"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45.xml"/><Relationship Id="rId19" Type="http://schemas.openxmlformats.org/officeDocument/2006/relationships/slide" Target="slides/slide3.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5.xml"/><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commentAuthors" Target="commentAuthors.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 Type="http://schemas.openxmlformats.org/officeDocument/2006/relationships/slideMaster" Target="slideMasters/slideMaster4.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ock Slabach" userId="32ebd1a2-1122-4168-9f8c-41f361f51a2a" providerId="ADAL" clId="{EF28A3A2-6F20-416A-B26C-8ED313C85D07}"/>
    <pc:docChg chg="custSel delSld modSld sldOrd">
      <pc:chgData name="Brock Slabach" userId="32ebd1a2-1122-4168-9f8c-41f361f51a2a" providerId="ADAL" clId="{EF28A3A2-6F20-416A-B26C-8ED313C85D07}" dt="2024-05-30T14:52:25.713" v="351" actId="1076"/>
      <pc:docMkLst>
        <pc:docMk/>
      </pc:docMkLst>
      <pc:sldChg chg="del">
        <pc:chgData name="Brock Slabach" userId="32ebd1a2-1122-4168-9f8c-41f361f51a2a" providerId="ADAL" clId="{EF28A3A2-6F20-416A-B26C-8ED313C85D07}" dt="2024-05-30T14:43:10.804" v="152" actId="2696"/>
        <pc:sldMkLst>
          <pc:docMk/>
          <pc:sldMk cId="2824389700" sldId="268"/>
        </pc:sldMkLst>
      </pc:sldChg>
      <pc:sldChg chg="modSp mod">
        <pc:chgData name="Brock Slabach" userId="32ebd1a2-1122-4168-9f8c-41f361f51a2a" providerId="ADAL" clId="{EF28A3A2-6F20-416A-B26C-8ED313C85D07}" dt="2024-05-29T15:47:28.741" v="54" actId="20577"/>
        <pc:sldMkLst>
          <pc:docMk/>
          <pc:sldMk cId="1164929723" sldId="2145726574"/>
        </pc:sldMkLst>
        <pc:spChg chg="mod">
          <ac:chgData name="Brock Slabach" userId="32ebd1a2-1122-4168-9f8c-41f361f51a2a" providerId="ADAL" clId="{EF28A3A2-6F20-416A-B26C-8ED313C85D07}" dt="2024-05-29T15:47:28.741" v="54" actId="20577"/>
          <ac:spMkLst>
            <pc:docMk/>
            <pc:sldMk cId="1164929723" sldId="2145726574"/>
            <ac:spMk id="2" creationId="{87008731-408F-401D-BA9C-77C9D9A83F29}"/>
          </ac:spMkLst>
        </pc:spChg>
      </pc:sldChg>
      <pc:sldChg chg="modSp mod">
        <pc:chgData name="Brock Slabach" userId="32ebd1a2-1122-4168-9f8c-41f361f51a2a" providerId="ADAL" clId="{EF28A3A2-6F20-416A-B26C-8ED313C85D07}" dt="2024-05-29T15:43:24.541" v="26" actId="20577"/>
        <pc:sldMkLst>
          <pc:docMk/>
          <pc:sldMk cId="2745904990" sldId="2145726712"/>
        </pc:sldMkLst>
        <pc:spChg chg="mod">
          <ac:chgData name="Brock Slabach" userId="32ebd1a2-1122-4168-9f8c-41f361f51a2a" providerId="ADAL" clId="{EF28A3A2-6F20-416A-B26C-8ED313C85D07}" dt="2024-05-29T15:43:24.541" v="26" actId="20577"/>
          <ac:spMkLst>
            <pc:docMk/>
            <pc:sldMk cId="2745904990" sldId="2145726712"/>
            <ac:spMk id="2" creationId="{87008731-408F-401D-BA9C-77C9D9A83F29}"/>
          </ac:spMkLst>
        </pc:spChg>
      </pc:sldChg>
      <pc:sldChg chg="del">
        <pc:chgData name="Brock Slabach" userId="32ebd1a2-1122-4168-9f8c-41f361f51a2a" providerId="ADAL" clId="{EF28A3A2-6F20-416A-B26C-8ED313C85D07}" dt="2024-05-29T15:47:58.288" v="55" actId="2696"/>
        <pc:sldMkLst>
          <pc:docMk/>
          <pc:sldMk cId="1456944424" sldId="2145726825"/>
        </pc:sldMkLst>
      </pc:sldChg>
      <pc:sldChg chg="modSp mod">
        <pc:chgData name="Brock Slabach" userId="32ebd1a2-1122-4168-9f8c-41f361f51a2a" providerId="ADAL" clId="{EF28A3A2-6F20-416A-B26C-8ED313C85D07}" dt="2024-05-29T15:51:25.226" v="71" actId="255"/>
        <pc:sldMkLst>
          <pc:docMk/>
          <pc:sldMk cId="2608371722" sldId="2145726888"/>
        </pc:sldMkLst>
        <pc:spChg chg="mod">
          <ac:chgData name="Brock Slabach" userId="32ebd1a2-1122-4168-9f8c-41f361f51a2a" providerId="ADAL" clId="{EF28A3A2-6F20-416A-B26C-8ED313C85D07}" dt="2024-05-29T15:51:25.226" v="71" actId="255"/>
          <ac:spMkLst>
            <pc:docMk/>
            <pc:sldMk cId="2608371722" sldId="2145726888"/>
            <ac:spMk id="3" creationId="{A49A6190-4D87-7989-8370-DD3D4CB253C5}"/>
          </ac:spMkLst>
        </pc:spChg>
      </pc:sldChg>
      <pc:sldChg chg="del">
        <pc:chgData name="Brock Slabach" userId="32ebd1a2-1122-4168-9f8c-41f361f51a2a" providerId="ADAL" clId="{EF28A3A2-6F20-416A-B26C-8ED313C85D07}" dt="2024-05-30T14:36:01.658" v="133" actId="2696"/>
        <pc:sldMkLst>
          <pc:docMk/>
          <pc:sldMk cId="1359606723" sldId="2145726933"/>
        </pc:sldMkLst>
      </pc:sldChg>
      <pc:sldChg chg="del">
        <pc:chgData name="Brock Slabach" userId="32ebd1a2-1122-4168-9f8c-41f361f51a2a" providerId="ADAL" clId="{EF28A3A2-6F20-416A-B26C-8ED313C85D07}" dt="2024-05-30T14:32:05.867" v="128" actId="2696"/>
        <pc:sldMkLst>
          <pc:docMk/>
          <pc:sldMk cId="508606463" sldId="2145726941"/>
        </pc:sldMkLst>
      </pc:sldChg>
      <pc:sldChg chg="del">
        <pc:chgData name="Brock Slabach" userId="32ebd1a2-1122-4168-9f8c-41f361f51a2a" providerId="ADAL" clId="{EF28A3A2-6F20-416A-B26C-8ED313C85D07}" dt="2024-05-30T14:28:31.024" v="127" actId="2696"/>
        <pc:sldMkLst>
          <pc:docMk/>
          <pc:sldMk cId="2887061002" sldId="2145726972"/>
        </pc:sldMkLst>
      </pc:sldChg>
      <pc:sldChg chg="del">
        <pc:chgData name="Brock Slabach" userId="32ebd1a2-1122-4168-9f8c-41f361f51a2a" providerId="ADAL" clId="{EF28A3A2-6F20-416A-B26C-8ED313C85D07}" dt="2024-05-30T14:36:25.761" v="134"/>
        <pc:sldMkLst>
          <pc:docMk/>
          <pc:sldMk cId="3849863171" sldId="2145727004"/>
        </pc:sldMkLst>
      </pc:sldChg>
      <pc:sldChg chg="modSp del mod">
        <pc:chgData name="Brock Slabach" userId="32ebd1a2-1122-4168-9f8c-41f361f51a2a" providerId="ADAL" clId="{EF28A3A2-6F20-416A-B26C-8ED313C85D07}" dt="2024-05-30T14:38:24.848" v="151" actId="20577"/>
        <pc:sldMkLst>
          <pc:docMk/>
          <pc:sldMk cId="3996112962" sldId="2145727005"/>
        </pc:sldMkLst>
        <pc:spChg chg="mod">
          <ac:chgData name="Brock Slabach" userId="32ebd1a2-1122-4168-9f8c-41f361f51a2a" providerId="ADAL" clId="{EF28A3A2-6F20-416A-B26C-8ED313C85D07}" dt="2024-05-30T14:38:24.848" v="151" actId="20577"/>
          <ac:spMkLst>
            <pc:docMk/>
            <pc:sldMk cId="3996112962" sldId="2145727005"/>
            <ac:spMk id="3" creationId="{8555FD19-503F-97D4-57D1-A2964736CD03}"/>
          </ac:spMkLst>
        </pc:spChg>
      </pc:sldChg>
      <pc:sldChg chg="ord">
        <pc:chgData name="Brock Slabach" userId="32ebd1a2-1122-4168-9f8c-41f361f51a2a" providerId="ADAL" clId="{EF28A3A2-6F20-416A-B26C-8ED313C85D07}" dt="2024-05-30T14:33:17.096" v="130"/>
        <pc:sldMkLst>
          <pc:docMk/>
          <pc:sldMk cId="3399980010" sldId="2145727132"/>
        </pc:sldMkLst>
      </pc:sldChg>
      <pc:sldChg chg="ord">
        <pc:chgData name="Brock Slabach" userId="32ebd1a2-1122-4168-9f8c-41f361f51a2a" providerId="ADAL" clId="{EF28A3A2-6F20-416A-B26C-8ED313C85D07}" dt="2024-05-30T14:33:19.349" v="132"/>
        <pc:sldMkLst>
          <pc:docMk/>
          <pc:sldMk cId="2903109572" sldId="2145727133"/>
        </pc:sldMkLst>
      </pc:sldChg>
      <pc:sldChg chg="del">
        <pc:chgData name="Brock Slabach" userId="32ebd1a2-1122-4168-9f8c-41f361f51a2a" providerId="ADAL" clId="{EF28A3A2-6F20-416A-B26C-8ED313C85D07}" dt="2024-05-29T15:46:18.235" v="27" actId="2696"/>
        <pc:sldMkLst>
          <pc:docMk/>
          <pc:sldMk cId="811592543" sldId="2145727134"/>
        </pc:sldMkLst>
      </pc:sldChg>
      <pc:sldChg chg="modSp mod">
        <pc:chgData name="Brock Slabach" userId="32ebd1a2-1122-4168-9f8c-41f361f51a2a" providerId="ADAL" clId="{EF28A3A2-6F20-416A-B26C-8ED313C85D07}" dt="2024-05-29T15:51:58.429" v="124" actId="20577"/>
        <pc:sldMkLst>
          <pc:docMk/>
          <pc:sldMk cId="630784958" sldId="2145727180"/>
        </pc:sldMkLst>
        <pc:spChg chg="mod">
          <ac:chgData name="Brock Slabach" userId="32ebd1a2-1122-4168-9f8c-41f361f51a2a" providerId="ADAL" clId="{EF28A3A2-6F20-416A-B26C-8ED313C85D07}" dt="2024-05-29T15:51:58.429" v="124" actId="20577"/>
          <ac:spMkLst>
            <pc:docMk/>
            <pc:sldMk cId="630784958" sldId="2145727180"/>
            <ac:spMk id="5" creationId="{686BB7E3-19C4-4001-8EE0-26CEAA5E3C57}"/>
          </ac:spMkLst>
        </pc:spChg>
        <pc:spChg chg="mod">
          <ac:chgData name="Brock Slabach" userId="32ebd1a2-1122-4168-9f8c-41f361f51a2a" providerId="ADAL" clId="{EF28A3A2-6F20-416A-B26C-8ED313C85D07}" dt="2024-05-29T15:51:49.694" v="112" actId="20577"/>
          <ac:spMkLst>
            <pc:docMk/>
            <pc:sldMk cId="630784958" sldId="2145727180"/>
            <ac:spMk id="11" creationId="{A9F41BB2-572B-4FAB-AE65-75563694BC75}"/>
          </ac:spMkLst>
        </pc:spChg>
      </pc:sldChg>
      <pc:sldChg chg="del">
        <pc:chgData name="Brock Slabach" userId="32ebd1a2-1122-4168-9f8c-41f361f51a2a" providerId="ADAL" clId="{EF28A3A2-6F20-416A-B26C-8ED313C85D07}" dt="2024-05-29T16:12:43.075" v="126" actId="2696"/>
        <pc:sldMkLst>
          <pc:docMk/>
          <pc:sldMk cId="1545165256" sldId="2145727182"/>
        </pc:sldMkLst>
      </pc:sldChg>
      <pc:sldChg chg="del">
        <pc:chgData name="Brock Slabach" userId="32ebd1a2-1122-4168-9f8c-41f361f51a2a" providerId="ADAL" clId="{EF28A3A2-6F20-416A-B26C-8ED313C85D07}" dt="2024-05-29T15:47:58.288" v="55" actId="2696"/>
        <pc:sldMkLst>
          <pc:docMk/>
          <pc:sldMk cId="3853025708" sldId="2145727190"/>
        </pc:sldMkLst>
      </pc:sldChg>
      <pc:sldChg chg="del">
        <pc:chgData name="Brock Slabach" userId="32ebd1a2-1122-4168-9f8c-41f361f51a2a" providerId="ADAL" clId="{EF28A3A2-6F20-416A-B26C-8ED313C85D07}" dt="2024-05-29T15:47:58.288" v="55" actId="2696"/>
        <pc:sldMkLst>
          <pc:docMk/>
          <pc:sldMk cId="1591132572" sldId="2145727191"/>
        </pc:sldMkLst>
      </pc:sldChg>
      <pc:sldChg chg="del">
        <pc:chgData name="Brock Slabach" userId="32ebd1a2-1122-4168-9f8c-41f361f51a2a" providerId="ADAL" clId="{EF28A3A2-6F20-416A-B26C-8ED313C85D07}" dt="2024-05-29T15:47:58.288" v="55" actId="2696"/>
        <pc:sldMkLst>
          <pc:docMk/>
          <pc:sldMk cId="3715451082" sldId="2145727192"/>
        </pc:sldMkLst>
      </pc:sldChg>
      <pc:sldChg chg="del">
        <pc:chgData name="Brock Slabach" userId="32ebd1a2-1122-4168-9f8c-41f361f51a2a" providerId="ADAL" clId="{EF28A3A2-6F20-416A-B26C-8ED313C85D07}" dt="2024-05-29T16:12:40.437" v="125" actId="2696"/>
        <pc:sldMkLst>
          <pc:docMk/>
          <pc:sldMk cId="954921699" sldId="2145727193"/>
        </pc:sldMkLst>
      </pc:sldChg>
      <pc:sldChg chg="modSp mod ord">
        <pc:chgData name="Brock Slabach" userId="32ebd1a2-1122-4168-9f8c-41f361f51a2a" providerId="ADAL" clId="{EF28A3A2-6F20-416A-B26C-8ED313C85D07}" dt="2024-05-29T15:47:03.948" v="35" actId="20577"/>
        <pc:sldMkLst>
          <pc:docMk/>
          <pc:sldMk cId="3209526158" sldId="2145727194"/>
        </pc:sldMkLst>
        <pc:spChg chg="mod">
          <ac:chgData name="Brock Slabach" userId="32ebd1a2-1122-4168-9f8c-41f361f51a2a" providerId="ADAL" clId="{EF28A3A2-6F20-416A-B26C-8ED313C85D07}" dt="2024-05-29T15:47:03.948" v="35" actId="20577"/>
          <ac:spMkLst>
            <pc:docMk/>
            <pc:sldMk cId="3209526158" sldId="2145727194"/>
            <ac:spMk id="7" creationId="{AEF9C814-0E9A-903C-0580-0DA55EA5F7A8}"/>
          </ac:spMkLst>
        </pc:spChg>
      </pc:sldChg>
      <pc:sldChg chg="modSp mod">
        <pc:chgData name="Brock Slabach" userId="32ebd1a2-1122-4168-9f8c-41f361f51a2a" providerId="ADAL" clId="{EF28A3A2-6F20-416A-B26C-8ED313C85D07}" dt="2024-05-30T14:52:25.713" v="351" actId="1076"/>
        <pc:sldMkLst>
          <pc:docMk/>
          <pc:sldMk cId="3083497995" sldId="2145727196"/>
        </pc:sldMkLst>
        <pc:spChg chg="mod">
          <ac:chgData name="Brock Slabach" userId="32ebd1a2-1122-4168-9f8c-41f361f51a2a" providerId="ADAL" clId="{EF28A3A2-6F20-416A-B26C-8ED313C85D07}" dt="2024-05-30T14:52:25.713" v="351" actId="1076"/>
          <ac:spMkLst>
            <pc:docMk/>
            <pc:sldMk cId="3083497995" sldId="2145727196"/>
            <ac:spMk id="2" creationId="{3A4F9908-80C2-A9D9-5377-D67D2F2F0B50}"/>
          </ac:spMkLst>
        </pc:spChg>
        <pc:spChg chg="mod">
          <ac:chgData name="Brock Slabach" userId="32ebd1a2-1122-4168-9f8c-41f361f51a2a" providerId="ADAL" clId="{EF28A3A2-6F20-416A-B26C-8ED313C85D07}" dt="2024-05-30T14:52:21.673" v="350" actId="27636"/>
          <ac:spMkLst>
            <pc:docMk/>
            <pc:sldMk cId="3083497995" sldId="2145727196"/>
            <ac:spMk id="3" creationId="{DA6C3145-70EC-A763-71C0-9938AC781FC6}"/>
          </ac:spMkLst>
        </pc:spChg>
      </pc:sldChg>
      <pc:sldChg chg="ord">
        <pc:chgData name="Brock Slabach" userId="32ebd1a2-1122-4168-9f8c-41f361f51a2a" providerId="ADAL" clId="{EF28A3A2-6F20-416A-B26C-8ED313C85D07}" dt="2024-05-29T15:48:23.648" v="57"/>
        <pc:sldMkLst>
          <pc:docMk/>
          <pc:sldMk cId="981930796" sldId="2145727201"/>
        </pc:sldMkLst>
      </pc:sldChg>
      <pc:sldChg chg="del">
        <pc:chgData name="Brock Slabach" userId="32ebd1a2-1122-4168-9f8c-41f361f51a2a" providerId="ADAL" clId="{EF28A3A2-6F20-416A-B26C-8ED313C85D07}" dt="2024-05-29T15:47:58.288" v="55" actId="2696"/>
        <pc:sldMkLst>
          <pc:docMk/>
          <pc:sldMk cId="2156531785" sldId="2145727202"/>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83EA8E-9DC0-4EC9-A300-D45CBD74F40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B6F59DA-DC75-4712-894C-054A198BDA6B}">
      <dgm:prSet/>
      <dgm:spPr/>
      <dgm:t>
        <a:bodyPr/>
        <a:lstStyle/>
        <a:p>
          <a:r>
            <a:rPr lang="en-US" dirty="0"/>
            <a:t>Rural areas make up 80% of the land mass in USA</a:t>
          </a:r>
        </a:p>
      </dgm:t>
    </dgm:pt>
    <dgm:pt modelId="{8CE26277-5EE2-473A-8442-F0E5E5F1D0DC}" type="parTrans" cxnId="{52BEF57D-1BF9-4C94-BA42-BF4D98B4FA73}">
      <dgm:prSet/>
      <dgm:spPr/>
      <dgm:t>
        <a:bodyPr/>
        <a:lstStyle/>
        <a:p>
          <a:endParaRPr lang="en-US"/>
        </a:p>
      </dgm:t>
    </dgm:pt>
    <dgm:pt modelId="{40CF9B2D-E3FD-44FD-BC4E-10F311A448CC}" type="sibTrans" cxnId="{52BEF57D-1BF9-4C94-BA42-BF4D98B4FA73}">
      <dgm:prSet/>
      <dgm:spPr/>
      <dgm:t>
        <a:bodyPr/>
        <a:lstStyle/>
        <a:p>
          <a:endParaRPr lang="en-US"/>
        </a:p>
      </dgm:t>
    </dgm:pt>
    <dgm:pt modelId="{D8E3F62F-8070-4F50-BD89-FA1B4AA7284D}">
      <dgm:prSet/>
      <dgm:spPr/>
      <dgm:t>
        <a:bodyPr/>
        <a:lstStyle/>
        <a:p>
          <a:r>
            <a:rPr lang="en-US" dirty="0"/>
            <a:t>Rural areas have roughly 17% of the US Population</a:t>
          </a:r>
        </a:p>
      </dgm:t>
    </dgm:pt>
    <dgm:pt modelId="{58D37EEB-FF7F-42E0-A603-EE159D5D693C}" type="parTrans" cxnId="{2FC6D933-6FCD-4E5A-8FF5-737BC85DBFE5}">
      <dgm:prSet/>
      <dgm:spPr/>
      <dgm:t>
        <a:bodyPr/>
        <a:lstStyle/>
        <a:p>
          <a:endParaRPr lang="en-US"/>
        </a:p>
      </dgm:t>
    </dgm:pt>
    <dgm:pt modelId="{D99AE882-69BF-4404-9AC9-DE8B9BC8C967}" type="sibTrans" cxnId="{2FC6D933-6FCD-4E5A-8FF5-737BC85DBFE5}">
      <dgm:prSet/>
      <dgm:spPr/>
      <dgm:t>
        <a:bodyPr/>
        <a:lstStyle/>
        <a:p>
          <a:endParaRPr lang="en-US"/>
        </a:p>
      </dgm:t>
    </dgm:pt>
    <dgm:pt modelId="{47DDC59A-D811-429A-A1DF-E0F24BAEAEAF}">
      <dgm:prSet/>
      <dgm:spPr/>
      <dgm:t>
        <a:bodyPr/>
        <a:lstStyle/>
        <a:p>
          <a:r>
            <a:rPr lang="en-US" dirty="0"/>
            <a:t>Rural areas provide the food, fuel and fiber to power our nation</a:t>
          </a:r>
        </a:p>
      </dgm:t>
    </dgm:pt>
    <dgm:pt modelId="{1D7F4383-6760-46DE-B923-A09248E7D9A3}" type="parTrans" cxnId="{7443ACC9-88D1-4B55-A9D5-83223EC1D845}">
      <dgm:prSet/>
      <dgm:spPr/>
      <dgm:t>
        <a:bodyPr/>
        <a:lstStyle/>
        <a:p>
          <a:endParaRPr lang="en-US"/>
        </a:p>
      </dgm:t>
    </dgm:pt>
    <dgm:pt modelId="{610B5FA9-52D1-40D3-ADF4-CE0C42CEB443}" type="sibTrans" cxnId="{7443ACC9-88D1-4B55-A9D5-83223EC1D845}">
      <dgm:prSet/>
      <dgm:spPr/>
      <dgm:t>
        <a:bodyPr/>
        <a:lstStyle/>
        <a:p>
          <a:endParaRPr lang="en-US"/>
        </a:p>
      </dgm:t>
    </dgm:pt>
    <dgm:pt modelId="{F166CA53-2C96-48E4-BC21-B8BC657C3F51}">
      <dgm:prSet/>
      <dgm:spPr/>
      <dgm:t>
        <a:bodyPr/>
        <a:lstStyle/>
        <a:p>
          <a:r>
            <a:rPr lang="en-US" dirty="0"/>
            <a:t>Access to high-quality health care is a requirement to keep these important resources available </a:t>
          </a:r>
        </a:p>
      </dgm:t>
    </dgm:pt>
    <dgm:pt modelId="{22A8E27A-9E48-4B1F-B3FD-0129FA1645D4}" type="parTrans" cxnId="{FFE39B78-13BB-454D-BBAF-CDE11FAEFB75}">
      <dgm:prSet/>
      <dgm:spPr/>
      <dgm:t>
        <a:bodyPr/>
        <a:lstStyle/>
        <a:p>
          <a:endParaRPr lang="en-US"/>
        </a:p>
      </dgm:t>
    </dgm:pt>
    <dgm:pt modelId="{FA1AD7D4-4922-41FA-AF60-48C26402189D}" type="sibTrans" cxnId="{FFE39B78-13BB-454D-BBAF-CDE11FAEFB75}">
      <dgm:prSet/>
      <dgm:spPr/>
      <dgm:t>
        <a:bodyPr/>
        <a:lstStyle/>
        <a:p>
          <a:endParaRPr lang="en-US"/>
        </a:p>
      </dgm:t>
    </dgm:pt>
    <dgm:pt modelId="{7D54F839-426E-4B80-8E7C-C06080BA0603}">
      <dgm:prSet/>
      <dgm:spPr/>
      <dgm:t>
        <a:bodyPr/>
        <a:lstStyle/>
        <a:p>
          <a:r>
            <a:rPr lang="en-US" dirty="0"/>
            <a:t>An exchange between urban and rural that must not be overlooked</a:t>
          </a:r>
        </a:p>
      </dgm:t>
    </dgm:pt>
    <dgm:pt modelId="{90AE1D7D-8EC0-47E0-9704-DA5E1EFF8678}" type="parTrans" cxnId="{89B5E320-039E-4CDA-8E4D-5B8794E9B350}">
      <dgm:prSet/>
      <dgm:spPr/>
      <dgm:t>
        <a:bodyPr/>
        <a:lstStyle/>
        <a:p>
          <a:endParaRPr lang="en-US"/>
        </a:p>
      </dgm:t>
    </dgm:pt>
    <dgm:pt modelId="{8B794096-E097-4826-B1D9-13E13B34DECB}" type="sibTrans" cxnId="{89B5E320-039E-4CDA-8E4D-5B8794E9B350}">
      <dgm:prSet/>
      <dgm:spPr/>
      <dgm:t>
        <a:bodyPr/>
        <a:lstStyle/>
        <a:p>
          <a:endParaRPr lang="en-US"/>
        </a:p>
      </dgm:t>
    </dgm:pt>
    <dgm:pt modelId="{54C259C8-9E36-47D6-A1A0-E029BF99C0A0}">
      <dgm:prSet/>
      <dgm:spPr/>
      <dgm:t>
        <a:bodyPr/>
        <a:lstStyle/>
        <a:p>
          <a:r>
            <a:rPr lang="en-US" dirty="0"/>
            <a:t>Historically, public policy has disadvantaged health care in rural communities</a:t>
          </a:r>
        </a:p>
      </dgm:t>
    </dgm:pt>
    <dgm:pt modelId="{395CC6D4-5EEA-4B6A-A77E-9240BFBC554C}" type="parTrans" cxnId="{73E427E9-2363-4B73-AD4A-C5E12C766A7C}">
      <dgm:prSet/>
      <dgm:spPr/>
      <dgm:t>
        <a:bodyPr/>
        <a:lstStyle/>
        <a:p>
          <a:endParaRPr lang="en-US"/>
        </a:p>
      </dgm:t>
    </dgm:pt>
    <dgm:pt modelId="{B3F7301F-CD6E-4C9B-B7C3-7952F35AB881}" type="sibTrans" cxnId="{73E427E9-2363-4B73-AD4A-C5E12C766A7C}">
      <dgm:prSet/>
      <dgm:spPr/>
      <dgm:t>
        <a:bodyPr/>
        <a:lstStyle/>
        <a:p>
          <a:endParaRPr lang="en-US"/>
        </a:p>
      </dgm:t>
    </dgm:pt>
    <dgm:pt modelId="{DEC4ED3A-0942-41DC-8CDF-D48344E87760}" type="pres">
      <dgm:prSet presAssocID="{ED83EA8E-9DC0-4EC9-A300-D45CBD74F407}" presName="linear" presStyleCnt="0">
        <dgm:presLayoutVars>
          <dgm:animLvl val="lvl"/>
          <dgm:resizeHandles val="exact"/>
        </dgm:presLayoutVars>
      </dgm:prSet>
      <dgm:spPr/>
    </dgm:pt>
    <dgm:pt modelId="{2FF8A521-D76E-4A33-9DC7-3EE6C3959FF3}" type="pres">
      <dgm:prSet presAssocID="{6B6F59DA-DC75-4712-894C-054A198BDA6B}" presName="parentText" presStyleLbl="node1" presStyleIdx="0" presStyleCnt="6">
        <dgm:presLayoutVars>
          <dgm:chMax val="0"/>
          <dgm:bulletEnabled val="1"/>
        </dgm:presLayoutVars>
      </dgm:prSet>
      <dgm:spPr/>
    </dgm:pt>
    <dgm:pt modelId="{4C9872AD-45A9-49E0-8443-A384399FECC9}" type="pres">
      <dgm:prSet presAssocID="{40CF9B2D-E3FD-44FD-BC4E-10F311A448CC}" presName="spacer" presStyleCnt="0"/>
      <dgm:spPr/>
    </dgm:pt>
    <dgm:pt modelId="{42198C26-EA10-4258-B2DA-0C5A89BC2990}" type="pres">
      <dgm:prSet presAssocID="{D8E3F62F-8070-4F50-BD89-FA1B4AA7284D}" presName="parentText" presStyleLbl="node1" presStyleIdx="1" presStyleCnt="6">
        <dgm:presLayoutVars>
          <dgm:chMax val="0"/>
          <dgm:bulletEnabled val="1"/>
        </dgm:presLayoutVars>
      </dgm:prSet>
      <dgm:spPr/>
    </dgm:pt>
    <dgm:pt modelId="{B00C6414-ED18-4F2A-A8F7-07C342FD006C}" type="pres">
      <dgm:prSet presAssocID="{D99AE882-69BF-4404-9AC9-DE8B9BC8C967}" presName="spacer" presStyleCnt="0"/>
      <dgm:spPr/>
    </dgm:pt>
    <dgm:pt modelId="{A4D9FA15-A1EE-4B10-8122-BE1858EACCA8}" type="pres">
      <dgm:prSet presAssocID="{47DDC59A-D811-429A-A1DF-E0F24BAEAEAF}" presName="parentText" presStyleLbl="node1" presStyleIdx="2" presStyleCnt="6">
        <dgm:presLayoutVars>
          <dgm:chMax val="0"/>
          <dgm:bulletEnabled val="1"/>
        </dgm:presLayoutVars>
      </dgm:prSet>
      <dgm:spPr/>
    </dgm:pt>
    <dgm:pt modelId="{FFC557F7-52BC-4A21-AF94-494A6103914F}" type="pres">
      <dgm:prSet presAssocID="{610B5FA9-52D1-40D3-ADF4-CE0C42CEB443}" presName="spacer" presStyleCnt="0"/>
      <dgm:spPr/>
    </dgm:pt>
    <dgm:pt modelId="{5ECDA6D8-905F-4479-ACC7-6C425F007531}" type="pres">
      <dgm:prSet presAssocID="{F166CA53-2C96-48E4-BC21-B8BC657C3F51}" presName="parentText" presStyleLbl="node1" presStyleIdx="3" presStyleCnt="6">
        <dgm:presLayoutVars>
          <dgm:chMax val="0"/>
          <dgm:bulletEnabled val="1"/>
        </dgm:presLayoutVars>
      </dgm:prSet>
      <dgm:spPr/>
    </dgm:pt>
    <dgm:pt modelId="{81B9C7E1-14F9-4A39-90FA-B2B7717A328E}" type="pres">
      <dgm:prSet presAssocID="{FA1AD7D4-4922-41FA-AF60-48C26402189D}" presName="spacer" presStyleCnt="0"/>
      <dgm:spPr/>
    </dgm:pt>
    <dgm:pt modelId="{1D6975E8-175F-47B6-88C6-36239575F338}" type="pres">
      <dgm:prSet presAssocID="{7D54F839-426E-4B80-8E7C-C06080BA0603}" presName="parentText" presStyleLbl="node1" presStyleIdx="4" presStyleCnt="6">
        <dgm:presLayoutVars>
          <dgm:chMax val="0"/>
          <dgm:bulletEnabled val="1"/>
        </dgm:presLayoutVars>
      </dgm:prSet>
      <dgm:spPr/>
    </dgm:pt>
    <dgm:pt modelId="{7F83077C-125D-49AA-B512-1E2D1DF0DDFB}" type="pres">
      <dgm:prSet presAssocID="{8B794096-E097-4826-B1D9-13E13B34DECB}" presName="spacer" presStyleCnt="0"/>
      <dgm:spPr/>
    </dgm:pt>
    <dgm:pt modelId="{BE1DAA5B-1151-4E2E-97A0-9AAD1754FB6A}" type="pres">
      <dgm:prSet presAssocID="{54C259C8-9E36-47D6-A1A0-E029BF99C0A0}" presName="parentText" presStyleLbl="node1" presStyleIdx="5" presStyleCnt="6">
        <dgm:presLayoutVars>
          <dgm:chMax val="0"/>
          <dgm:bulletEnabled val="1"/>
        </dgm:presLayoutVars>
      </dgm:prSet>
      <dgm:spPr/>
    </dgm:pt>
  </dgm:ptLst>
  <dgm:cxnLst>
    <dgm:cxn modelId="{B19F6D11-EFF9-4E0A-90F4-75F6DFF08153}" type="presOf" srcId="{54C259C8-9E36-47D6-A1A0-E029BF99C0A0}" destId="{BE1DAA5B-1151-4E2E-97A0-9AAD1754FB6A}" srcOrd="0" destOrd="0" presId="urn:microsoft.com/office/officeart/2005/8/layout/vList2"/>
    <dgm:cxn modelId="{89B5E320-039E-4CDA-8E4D-5B8794E9B350}" srcId="{ED83EA8E-9DC0-4EC9-A300-D45CBD74F407}" destId="{7D54F839-426E-4B80-8E7C-C06080BA0603}" srcOrd="4" destOrd="0" parTransId="{90AE1D7D-8EC0-47E0-9704-DA5E1EFF8678}" sibTransId="{8B794096-E097-4826-B1D9-13E13B34DECB}"/>
    <dgm:cxn modelId="{34C87F23-46B1-43B4-BB1D-CAFD4591B4A0}" type="presOf" srcId="{7D54F839-426E-4B80-8E7C-C06080BA0603}" destId="{1D6975E8-175F-47B6-88C6-36239575F338}" srcOrd="0" destOrd="0" presId="urn:microsoft.com/office/officeart/2005/8/layout/vList2"/>
    <dgm:cxn modelId="{2FC6D933-6FCD-4E5A-8FF5-737BC85DBFE5}" srcId="{ED83EA8E-9DC0-4EC9-A300-D45CBD74F407}" destId="{D8E3F62F-8070-4F50-BD89-FA1B4AA7284D}" srcOrd="1" destOrd="0" parTransId="{58D37EEB-FF7F-42E0-A603-EE159D5D693C}" sibTransId="{D99AE882-69BF-4404-9AC9-DE8B9BC8C967}"/>
    <dgm:cxn modelId="{A3844E6B-9F9E-40D8-B662-D72EAC8B5642}" type="presOf" srcId="{F166CA53-2C96-48E4-BC21-B8BC657C3F51}" destId="{5ECDA6D8-905F-4479-ACC7-6C425F007531}" srcOrd="0" destOrd="0" presId="urn:microsoft.com/office/officeart/2005/8/layout/vList2"/>
    <dgm:cxn modelId="{FFE39B78-13BB-454D-BBAF-CDE11FAEFB75}" srcId="{ED83EA8E-9DC0-4EC9-A300-D45CBD74F407}" destId="{F166CA53-2C96-48E4-BC21-B8BC657C3F51}" srcOrd="3" destOrd="0" parTransId="{22A8E27A-9E48-4B1F-B3FD-0129FA1645D4}" sibTransId="{FA1AD7D4-4922-41FA-AF60-48C26402189D}"/>
    <dgm:cxn modelId="{52BEF57D-1BF9-4C94-BA42-BF4D98B4FA73}" srcId="{ED83EA8E-9DC0-4EC9-A300-D45CBD74F407}" destId="{6B6F59DA-DC75-4712-894C-054A198BDA6B}" srcOrd="0" destOrd="0" parTransId="{8CE26277-5EE2-473A-8442-F0E5E5F1D0DC}" sibTransId="{40CF9B2D-E3FD-44FD-BC4E-10F311A448CC}"/>
    <dgm:cxn modelId="{6A7EF8B3-C2A1-4BE1-9CC9-A63EA6EC728E}" type="presOf" srcId="{ED83EA8E-9DC0-4EC9-A300-D45CBD74F407}" destId="{DEC4ED3A-0942-41DC-8CDF-D48344E87760}" srcOrd="0" destOrd="0" presId="urn:microsoft.com/office/officeart/2005/8/layout/vList2"/>
    <dgm:cxn modelId="{813EADBC-51A1-4AE7-9735-50037C9B8FB1}" type="presOf" srcId="{D8E3F62F-8070-4F50-BD89-FA1B4AA7284D}" destId="{42198C26-EA10-4258-B2DA-0C5A89BC2990}" srcOrd="0" destOrd="0" presId="urn:microsoft.com/office/officeart/2005/8/layout/vList2"/>
    <dgm:cxn modelId="{7443ACC9-88D1-4B55-A9D5-83223EC1D845}" srcId="{ED83EA8E-9DC0-4EC9-A300-D45CBD74F407}" destId="{47DDC59A-D811-429A-A1DF-E0F24BAEAEAF}" srcOrd="2" destOrd="0" parTransId="{1D7F4383-6760-46DE-B923-A09248E7D9A3}" sibTransId="{610B5FA9-52D1-40D3-ADF4-CE0C42CEB443}"/>
    <dgm:cxn modelId="{54C4B4DF-63E3-4117-979C-F714081BBF7C}" type="presOf" srcId="{6B6F59DA-DC75-4712-894C-054A198BDA6B}" destId="{2FF8A521-D76E-4A33-9DC7-3EE6C3959FF3}" srcOrd="0" destOrd="0" presId="urn:microsoft.com/office/officeart/2005/8/layout/vList2"/>
    <dgm:cxn modelId="{73E427E9-2363-4B73-AD4A-C5E12C766A7C}" srcId="{ED83EA8E-9DC0-4EC9-A300-D45CBD74F407}" destId="{54C259C8-9E36-47D6-A1A0-E029BF99C0A0}" srcOrd="5" destOrd="0" parTransId="{395CC6D4-5EEA-4B6A-A77E-9240BFBC554C}" sibTransId="{B3F7301F-CD6E-4C9B-B7C3-7952F35AB881}"/>
    <dgm:cxn modelId="{CADA50F5-293D-4A51-9911-A5B38F8BF003}" type="presOf" srcId="{47DDC59A-D811-429A-A1DF-E0F24BAEAEAF}" destId="{A4D9FA15-A1EE-4B10-8122-BE1858EACCA8}" srcOrd="0" destOrd="0" presId="urn:microsoft.com/office/officeart/2005/8/layout/vList2"/>
    <dgm:cxn modelId="{35700055-8B2D-4621-9381-E69A6092A253}" type="presParOf" srcId="{DEC4ED3A-0942-41DC-8CDF-D48344E87760}" destId="{2FF8A521-D76E-4A33-9DC7-3EE6C3959FF3}" srcOrd="0" destOrd="0" presId="urn:microsoft.com/office/officeart/2005/8/layout/vList2"/>
    <dgm:cxn modelId="{E5E83D11-29D9-4B3F-8781-BF62418E7FCA}" type="presParOf" srcId="{DEC4ED3A-0942-41DC-8CDF-D48344E87760}" destId="{4C9872AD-45A9-49E0-8443-A384399FECC9}" srcOrd="1" destOrd="0" presId="urn:microsoft.com/office/officeart/2005/8/layout/vList2"/>
    <dgm:cxn modelId="{62D2E720-981D-4BCA-9BF4-4370CFE6E701}" type="presParOf" srcId="{DEC4ED3A-0942-41DC-8CDF-D48344E87760}" destId="{42198C26-EA10-4258-B2DA-0C5A89BC2990}" srcOrd="2" destOrd="0" presId="urn:microsoft.com/office/officeart/2005/8/layout/vList2"/>
    <dgm:cxn modelId="{3871A5C1-28D4-4DB2-9DEC-21198C3B51C1}" type="presParOf" srcId="{DEC4ED3A-0942-41DC-8CDF-D48344E87760}" destId="{B00C6414-ED18-4F2A-A8F7-07C342FD006C}" srcOrd="3" destOrd="0" presId="urn:microsoft.com/office/officeart/2005/8/layout/vList2"/>
    <dgm:cxn modelId="{83B96C62-75D1-45B8-BA7E-6C1683C327CA}" type="presParOf" srcId="{DEC4ED3A-0942-41DC-8CDF-D48344E87760}" destId="{A4D9FA15-A1EE-4B10-8122-BE1858EACCA8}" srcOrd="4" destOrd="0" presId="urn:microsoft.com/office/officeart/2005/8/layout/vList2"/>
    <dgm:cxn modelId="{7E23BF87-08FE-4319-8987-497E15F8EA60}" type="presParOf" srcId="{DEC4ED3A-0942-41DC-8CDF-D48344E87760}" destId="{FFC557F7-52BC-4A21-AF94-494A6103914F}" srcOrd="5" destOrd="0" presId="urn:microsoft.com/office/officeart/2005/8/layout/vList2"/>
    <dgm:cxn modelId="{943C68C9-D6F6-4CCD-8213-8D1BEB7CFCA6}" type="presParOf" srcId="{DEC4ED3A-0942-41DC-8CDF-D48344E87760}" destId="{5ECDA6D8-905F-4479-ACC7-6C425F007531}" srcOrd="6" destOrd="0" presId="urn:microsoft.com/office/officeart/2005/8/layout/vList2"/>
    <dgm:cxn modelId="{6E09D5A1-241B-41F8-BBE1-120BCDD00555}" type="presParOf" srcId="{DEC4ED3A-0942-41DC-8CDF-D48344E87760}" destId="{81B9C7E1-14F9-4A39-90FA-B2B7717A328E}" srcOrd="7" destOrd="0" presId="urn:microsoft.com/office/officeart/2005/8/layout/vList2"/>
    <dgm:cxn modelId="{9E02D38D-4FBC-4009-B63C-E1859EC06C42}" type="presParOf" srcId="{DEC4ED3A-0942-41DC-8CDF-D48344E87760}" destId="{1D6975E8-175F-47B6-88C6-36239575F338}" srcOrd="8" destOrd="0" presId="urn:microsoft.com/office/officeart/2005/8/layout/vList2"/>
    <dgm:cxn modelId="{8AF703C7-8132-419B-AC68-5659A89576D8}" type="presParOf" srcId="{DEC4ED3A-0942-41DC-8CDF-D48344E87760}" destId="{7F83077C-125D-49AA-B512-1E2D1DF0DDFB}" srcOrd="9" destOrd="0" presId="urn:microsoft.com/office/officeart/2005/8/layout/vList2"/>
    <dgm:cxn modelId="{E0D10EF0-8F67-49D9-80C5-B9D639F84B00}" type="presParOf" srcId="{DEC4ED3A-0942-41DC-8CDF-D48344E87760}" destId="{BE1DAA5B-1151-4E2E-97A0-9AAD1754FB6A}"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F8A521-D76E-4A33-9DC7-3EE6C3959FF3}">
      <dsp:nvSpPr>
        <dsp:cNvPr id="0" name=""/>
        <dsp:cNvSpPr/>
      </dsp:nvSpPr>
      <dsp:spPr>
        <a:xfrm>
          <a:off x="0" y="11312"/>
          <a:ext cx="6172199" cy="7605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Rural areas make up 80% of the land mass in USA</a:t>
          </a:r>
        </a:p>
      </dsp:txBody>
      <dsp:txXfrm>
        <a:off x="37125" y="48437"/>
        <a:ext cx="6097949" cy="686250"/>
      </dsp:txXfrm>
    </dsp:sp>
    <dsp:sp modelId="{42198C26-EA10-4258-B2DA-0C5A89BC2990}">
      <dsp:nvSpPr>
        <dsp:cNvPr id="0" name=""/>
        <dsp:cNvSpPr/>
      </dsp:nvSpPr>
      <dsp:spPr>
        <a:xfrm>
          <a:off x="0" y="829412"/>
          <a:ext cx="6172199" cy="7605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Rural areas have roughly 17% of the US Population</a:t>
          </a:r>
        </a:p>
      </dsp:txBody>
      <dsp:txXfrm>
        <a:off x="37125" y="866537"/>
        <a:ext cx="6097949" cy="686250"/>
      </dsp:txXfrm>
    </dsp:sp>
    <dsp:sp modelId="{A4D9FA15-A1EE-4B10-8122-BE1858EACCA8}">
      <dsp:nvSpPr>
        <dsp:cNvPr id="0" name=""/>
        <dsp:cNvSpPr/>
      </dsp:nvSpPr>
      <dsp:spPr>
        <a:xfrm>
          <a:off x="0" y="1647512"/>
          <a:ext cx="6172199" cy="7605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Rural areas provide the food, fuel and fiber to power our nation</a:t>
          </a:r>
        </a:p>
      </dsp:txBody>
      <dsp:txXfrm>
        <a:off x="37125" y="1684637"/>
        <a:ext cx="6097949" cy="686250"/>
      </dsp:txXfrm>
    </dsp:sp>
    <dsp:sp modelId="{5ECDA6D8-905F-4479-ACC7-6C425F007531}">
      <dsp:nvSpPr>
        <dsp:cNvPr id="0" name=""/>
        <dsp:cNvSpPr/>
      </dsp:nvSpPr>
      <dsp:spPr>
        <a:xfrm>
          <a:off x="0" y="2465612"/>
          <a:ext cx="6172199" cy="7605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Access to high-quality health care is a requirement to keep these important resources available </a:t>
          </a:r>
        </a:p>
      </dsp:txBody>
      <dsp:txXfrm>
        <a:off x="37125" y="2502737"/>
        <a:ext cx="6097949" cy="686250"/>
      </dsp:txXfrm>
    </dsp:sp>
    <dsp:sp modelId="{1D6975E8-175F-47B6-88C6-36239575F338}">
      <dsp:nvSpPr>
        <dsp:cNvPr id="0" name=""/>
        <dsp:cNvSpPr/>
      </dsp:nvSpPr>
      <dsp:spPr>
        <a:xfrm>
          <a:off x="0" y="3283712"/>
          <a:ext cx="6172199" cy="7605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An exchange between urban and rural that must not be overlooked</a:t>
          </a:r>
        </a:p>
      </dsp:txBody>
      <dsp:txXfrm>
        <a:off x="37125" y="3320837"/>
        <a:ext cx="6097949" cy="686250"/>
      </dsp:txXfrm>
    </dsp:sp>
    <dsp:sp modelId="{BE1DAA5B-1151-4E2E-97A0-9AAD1754FB6A}">
      <dsp:nvSpPr>
        <dsp:cNvPr id="0" name=""/>
        <dsp:cNvSpPr/>
      </dsp:nvSpPr>
      <dsp:spPr>
        <a:xfrm>
          <a:off x="0" y="4101812"/>
          <a:ext cx="6172199" cy="7605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Historically, public policy has disadvantaged health care in rural communities</a:t>
          </a:r>
        </a:p>
      </dsp:txBody>
      <dsp:txXfrm>
        <a:off x="37125" y="4138937"/>
        <a:ext cx="6097949" cy="68625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5F53DA-5B34-4AFF-A367-A7B9348425B0}" type="datetimeFigureOut">
              <a:rPr lang="en-US" smtClean="0"/>
              <a:t>5/3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53F1C7-9F38-4BA0-8573-17DAEFAA065D}" type="slidenum">
              <a:rPr lang="en-US" smtClean="0"/>
              <a:t>‹#›</a:t>
            </a:fld>
            <a:endParaRPr lang="en-US"/>
          </a:p>
        </p:txBody>
      </p:sp>
    </p:spTree>
    <p:extLst>
      <p:ext uri="{BB962C8B-B14F-4D97-AF65-F5344CB8AC3E}">
        <p14:creationId xmlns:p14="http://schemas.microsoft.com/office/powerpoint/2010/main" val="41373735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6B56C4-3E6E-4F57-9788-4E972C89A0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84661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a:t>Fewer than 40 days remaining between now and November where both Chambers are in session.  Not a lot of time.  But a lot of work to get done.  </a:t>
            </a:r>
          </a:p>
          <a:p>
            <a:pPr marL="342900" indent="-342900">
              <a:lnSpc>
                <a:spcPct val="120000"/>
              </a:lnSpc>
              <a:spcBef>
                <a:spcPts val="0"/>
              </a:spcBef>
              <a:spcAft>
                <a:spcPts val="600"/>
              </a:spcAft>
              <a:buFont typeface="Arial" panose="020B0604020202020204" pitchFamily="34" charset="0"/>
              <a:buChar char="•"/>
            </a:pPr>
            <a:r>
              <a:rPr lang="en-US" sz="2400" dirty="0">
                <a:cs typeface="Arial"/>
              </a:rPr>
              <a:t>Fiscal year 2025 appropriations process kicked off in March- </a:t>
            </a:r>
            <a:r>
              <a:rPr lang="en-US" sz="2000" dirty="0">
                <a:cs typeface="Arial"/>
              </a:rPr>
              <a:t>Will remain a focus for the next couple of months</a:t>
            </a:r>
          </a:p>
          <a:p>
            <a:pPr>
              <a:lnSpc>
                <a:spcPct val="120000"/>
              </a:lnSpc>
              <a:spcBef>
                <a:spcPts val="0"/>
              </a:spcBef>
              <a:spcAft>
                <a:spcPts val="600"/>
              </a:spcAft>
            </a:pPr>
            <a:r>
              <a:rPr lang="en-US" sz="2400" dirty="0">
                <a:cs typeface="Arial"/>
              </a:rPr>
              <a:t>August recess</a:t>
            </a:r>
          </a:p>
          <a:p>
            <a:pPr>
              <a:lnSpc>
                <a:spcPct val="120000"/>
              </a:lnSpc>
              <a:spcBef>
                <a:spcPts val="0"/>
              </a:spcBef>
              <a:spcAft>
                <a:spcPts val="600"/>
              </a:spcAft>
            </a:pPr>
            <a:r>
              <a:rPr lang="en-US" sz="2400" dirty="0">
                <a:cs typeface="Arial"/>
              </a:rPr>
              <a:t>After August – sprint to pass FY 2025 appropriations bills- </a:t>
            </a:r>
            <a:r>
              <a:rPr lang="en-US" sz="2000" dirty="0">
                <a:cs typeface="Arial"/>
              </a:rPr>
              <a:t>FY 2024 ends September 30, 2024</a:t>
            </a:r>
          </a:p>
          <a:p>
            <a:pPr>
              <a:lnSpc>
                <a:spcPct val="120000"/>
              </a:lnSpc>
              <a:spcBef>
                <a:spcPts val="0"/>
              </a:spcBef>
              <a:spcAft>
                <a:spcPts val="600"/>
              </a:spcAft>
            </a:pPr>
            <a:r>
              <a:rPr lang="en-US" sz="2400" dirty="0">
                <a:cs typeface="Arial"/>
              </a:rPr>
              <a:t>November 5: Election day</a:t>
            </a:r>
          </a:p>
          <a:p>
            <a:pPr>
              <a:lnSpc>
                <a:spcPct val="120000"/>
              </a:lnSpc>
              <a:spcBef>
                <a:spcPts val="0"/>
              </a:spcBef>
              <a:spcAft>
                <a:spcPts val="600"/>
              </a:spcAft>
            </a:pPr>
            <a:r>
              <a:rPr lang="en-US" sz="2400" dirty="0">
                <a:cs typeface="Arial"/>
              </a:rPr>
              <a:t>November – January: “lame duck” session- </a:t>
            </a:r>
            <a:r>
              <a:rPr lang="en-US" sz="2000" dirty="0">
                <a:cs typeface="Arial"/>
              </a:rPr>
              <a:t>Congress usually passes appropriations + other legislation in “omnibus package” in December</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A8381DB1-A529-4725-9D5F-EDD21603B973}" type="slidenum">
              <a:rPr lang="en-US" smtClean="0"/>
              <a:t>21</a:t>
            </a:fld>
            <a:endParaRPr lang="en-US"/>
          </a:p>
        </p:txBody>
      </p:sp>
    </p:spTree>
    <p:extLst>
      <p:ext uri="{BB962C8B-B14F-4D97-AF65-F5344CB8AC3E}">
        <p14:creationId xmlns:p14="http://schemas.microsoft.com/office/powerpoint/2010/main" val="41247810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spcBef>
                <a:spcPts val="0"/>
              </a:spcBef>
              <a:spcAft>
                <a:spcPts val="0"/>
              </a:spcAft>
              <a:buFont typeface="Arial" panose="020B0604020202020204" pitchFamily="34" charset="0"/>
              <a:buNone/>
              <a:tabLst>
                <a:tab pos="457200" algn="l"/>
              </a:tabLst>
            </a:pPr>
            <a:r>
              <a:rPr lang="en-US" dirty="0"/>
              <a:t>Senate finance hearing </a:t>
            </a:r>
          </a:p>
          <a:p>
            <a:pPr marL="0" marR="0" lvl="0" indent="0">
              <a:spcBef>
                <a:spcPts val="0"/>
              </a:spcBef>
              <a:spcAft>
                <a:spcPts val="0"/>
              </a:spcAft>
              <a:buFont typeface="Arial" panose="020B0604020202020204" pitchFamily="34" charset="0"/>
              <a:buNone/>
              <a:tabLst>
                <a:tab pos="457200" algn="l"/>
              </a:tabLst>
            </a:pPr>
            <a:r>
              <a:rPr lang="en-US" dirty="0"/>
              <a:t>Finance maternal health bill </a:t>
            </a:r>
          </a:p>
          <a:p>
            <a:pPr marL="0" marR="0" lvl="0" indent="0">
              <a:spcBef>
                <a:spcPts val="0"/>
              </a:spcBef>
              <a:spcAft>
                <a:spcPts val="0"/>
              </a:spcAft>
              <a:buFont typeface="Arial" panose="020B0604020202020204" pitchFamily="34" charset="0"/>
              <a:buNone/>
              <a:tabLst>
                <a:tab pos="457200" algn="l"/>
              </a:tabLst>
            </a:pPr>
            <a:r>
              <a:rPr lang="en-US" dirty="0"/>
              <a:t>Ways and Means mark up 5/7; new bills- Extenders (telehealth, LDH/MDH, ambulance), REH, GME, </a:t>
            </a:r>
            <a:r>
              <a:rPr lang="en-US" dirty="0" err="1"/>
              <a:t>Stablization</a:t>
            </a:r>
            <a:r>
              <a:rPr lang="en-US" dirty="0"/>
              <a:t> program, PEAK Act </a:t>
            </a:r>
          </a:p>
          <a:p>
            <a:pPr marL="0" marR="0" lvl="0" indent="0">
              <a:spcBef>
                <a:spcPts val="0"/>
              </a:spcBef>
              <a:spcAft>
                <a:spcPts val="0"/>
              </a:spcAft>
              <a:buFont typeface="Arial" panose="020B0604020202020204" pitchFamily="34" charset="0"/>
              <a:buNone/>
              <a:tabLst>
                <a:tab pos="457200" algn="l"/>
              </a:tabLst>
            </a:pPr>
            <a:r>
              <a:rPr lang="en-US" dirty="0"/>
              <a:t>REH: 340b bill, 2.0, W&amp;M, location bill </a:t>
            </a:r>
          </a:p>
          <a:p>
            <a:pPr marL="0" marR="0" lvl="0" indent="0">
              <a:spcBef>
                <a:spcPts val="0"/>
              </a:spcBef>
              <a:spcAft>
                <a:spcPts val="0"/>
              </a:spcAft>
              <a:buFont typeface="Arial" panose="020B0604020202020204" pitchFamily="34" charset="0"/>
              <a:buNone/>
              <a:tabLst>
                <a:tab pos="457200" algn="l"/>
              </a:tabLst>
            </a:pPr>
            <a:r>
              <a:rPr lang="en-US" dirty="0"/>
              <a:t>340b: June package </a:t>
            </a:r>
          </a:p>
          <a:p>
            <a:pPr marL="0" marR="0" lvl="0" indent="0">
              <a:spcBef>
                <a:spcPts val="0"/>
              </a:spcBef>
              <a:spcAft>
                <a:spcPts val="0"/>
              </a:spcAft>
              <a:buFont typeface="Arial" panose="020B0604020202020204" pitchFamily="34" charset="0"/>
              <a:buNone/>
              <a:tabLst>
                <a:tab pos="457200" algn="l"/>
              </a:tabLst>
            </a:pPr>
            <a:r>
              <a:rPr lang="en-US" dirty="0"/>
              <a:t>Farm bill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tab pos="457200" algn="l"/>
              </a:tabLst>
              <a:defRPr/>
            </a:pPr>
            <a:r>
              <a:rPr lang="en-US" dirty="0"/>
              <a:t>Briefings: AACOM, RNs, </a:t>
            </a:r>
          </a:p>
        </p:txBody>
      </p:sp>
      <p:sp>
        <p:nvSpPr>
          <p:cNvPr id="4" name="Slide Number Placeholder 3"/>
          <p:cNvSpPr>
            <a:spLocks noGrp="1"/>
          </p:cNvSpPr>
          <p:nvPr>
            <p:ph type="sldNum" sz="quarter" idx="5"/>
          </p:nvPr>
        </p:nvSpPr>
        <p:spPr/>
        <p:txBody>
          <a:bodyPr/>
          <a:lstStyle/>
          <a:p>
            <a:fld id="{A8381DB1-A529-4725-9D5F-EDD21603B973}" type="slidenum">
              <a:rPr lang="en-US" smtClean="0"/>
              <a:t>22</a:t>
            </a:fld>
            <a:endParaRPr lang="en-US"/>
          </a:p>
        </p:txBody>
      </p:sp>
    </p:spTree>
    <p:extLst>
      <p:ext uri="{BB962C8B-B14F-4D97-AF65-F5344CB8AC3E}">
        <p14:creationId xmlns:p14="http://schemas.microsoft.com/office/powerpoint/2010/main" val="31960296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use Appropriations Committee Chairman Tom Cole (R-OK) previewed interim subcommittee allocations for Fiscal Year 2025 with Committee Members, which were developed using the caps outlined in the Fiscal Responsibility Act of 2023. These 302(b)s are subject to change with evolving information, including anticipated scoring of the President’s Budget Request and offsetting receipts by the Congressional Budget Offi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40257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51476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chemeClr val="tx1"/>
                </a:solidFill>
                <a:ea typeface="+mn-lt"/>
                <a:cs typeface="+mn-lt"/>
              </a:rPr>
              <a:t>This bill reauthorizes grants and requires other activities to improve mental and behavioral health among health care providers from FY2025 to FY2029.</a:t>
            </a:r>
            <a:endParaRPr lang="en-US">
              <a:solidFill>
                <a:schemeClr val="tx1"/>
              </a:solidFill>
              <a:cs typeface="Arial"/>
            </a:endParaRPr>
          </a:p>
          <a:p>
            <a:r>
              <a:rPr lang="en-US">
                <a:solidFill>
                  <a:schemeClr val="tx1"/>
                </a:solidFill>
                <a:ea typeface="+mn-lt"/>
                <a:cs typeface="+mn-lt"/>
              </a:rPr>
              <a:t>Specifically, the Department of Health and Human Services (HHS) must award grants to hospitals, medical professional associations, and other health care entities for programs to promote mental health and resiliency among health care providers. In addition, HHS may award grants for relevant mental and behavioral health training for health care students, residents, or professionals.</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66997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spcBef>
                <a:spcPts val="0"/>
              </a:spcBef>
              <a:spcAft>
                <a:spcPts val="0"/>
              </a:spcAft>
              <a:buFont typeface="Arial" panose="020B0604020202020204" pitchFamily="34" charset="0"/>
              <a:buNone/>
              <a:tabLst>
                <a:tab pos="457200" algn="l"/>
              </a:tabLst>
            </a:pPr>
            <a:endParaRPr lang="en-US" dirty="0"/>
          </a:p>
        </p:txBody>
      </p:sp>
      <p:sp>
        <p:nvSpPr>
          <p:cNvPr id="4" name="Slide Number Placeholder 3"/>
          <p:cNvSpPr>
            <a:spLocks noGrp="1"/>
          </p:cNvSpPr>
          <p:nvPr>
            <p:ph type="sldNum" sz="quarter" idx="5"/>
          </p:nvPr>
        </p:nvSpPr>
        <p:spPr/>
        <p:txBody>
          <a:bodyPr/>
          <a:lstStyle/>
          <a:p>
            <a:fld id="{A8381DB1-A529-4725-9D5F-EDD21603B973}" type="slidenum">
              <a:rPr lang="en-US" smtClean="0"/>
              <a:t>26</a:t>
            </a:fld>
            <a:endParaRPr lang="en-US"/>
          </a:p>
        </p:txBody>
      </p:sp>
    </p:spTree>
    <p:extLst>
      <p:ext uri="{BB962C8B-B14F-4D97-AF65-F5344CB8AC3E}">
        <p14:creationId xmlns:p14="http://schemas.microsoft.com/office/powerpoint/2010/main" val="14389506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dirty="0">
                <a:cs typeface="Arial"/>
              </a:rPr>
              <a:t>Guiding principles for NRHA’s stance on any future 340B reform efforts.</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dirty="0">
                <a:cs typeface="Arial"/>
              </a:rPr>
              <a:t>Working on second cosponsors push for PROTECT 340B Act</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dirty="0">
                <a:cs typeface="Arial"/>
              </a:rPr>
              <a:t>Working with a couple of offices on K pharmacy protections to allow for unlimited arrangements</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dirty="0">
                <a:cs typeface="Arial"/>
              </a:rPr>
              <a:t>DSH problem – go through what this is.</a:t>
            </a:r>
          </a:p>
          <a:p>
            <a:pPr lvl="1"/>
            <a:endParaRPr lang="en-US" sz="120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783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B RHC fix – enhanced payment in exchange for optional quality reporting. Then CMS has data on RHCs that they’ve never had and RHCs get more mon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08464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tx1"/>
                </a:solidFill>
                <a:latin typeface="Arial" panose="020B0604020202020204"/>
                <a:cs typeface="Arial"/>
              </a:rPr>
              <a:t>Working with Senator Moran on this. should see introduction sometime early this summer</a:t>
            </a:r>
          </a:p>
          <a:p>
            <a:pPr lvl="1"/>
            <a:endParaRPr lang="en-US" sz="1200" dirty="0"/>
          </a:p>
          <a:p>
            <a:endParaRPr lang="en-US" dirty="0"/>
          </a:p>
        </p:txBody>
      </p:sp>
      <p:sp>
        <p:nvSpPr>
          <p:cNvPr id="4" name="Slide Number Placeholder 3"/>
          <p:cNvSpPr>
            <a:spLocks noGrp="1"/>
          </p:cNvSpPr>
          <p:nvPr>
            <p:ph type="sldNum" sz="quarter" idx="5"/>
          </p:nvPr>
        </p:nvSpPr>
        <p:spPr/>
        <p:txBody>
          <a:bodyPr/>
          <a:lstStyle/>
          <a:p>
            <a:fld id="{9853F1C7-9F38-4BA0-8573-17DAEFAA065D}" type="slidenum">
              <a:rPr lang="en-US" smtClean="0"/>
              <a:t>33</a:t>
            </a:fld>
            <a:endParaRPr lang="en-US"/>
          </a:p>
        </p:txBody>
      </p:sp>
    </p:spTree>
    <p:extLst>
      <p:ext uri="{BB962C8B-B14F-4D97-AF65-F5344CB8AC3E}">
        <p14:creationId xmlns:p14="http://schemas.microsoft.com/office/powerpoint/2010/main" val="10503263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06394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1800"/>
              </a:spcBef>
              <a:buFont typeface="Arial" panose="020B0604020202020204" pitchFamily="34" charset="0"/>
              <a:buNone/>
            </a:pPr>
            <a:r>
              <a:rPr lang="en-US" sz="1200" dirty="0">
                <a:solidFill>
                  <a:srgbClr val="003F72"/>
                </a:solidFill>
                <a:ea typeface="+mn-lt"/>
                <a:cs typeface="+mn-lt"/>
              </a:rPr>
              <a:t>Again, we are thankful to have you all as partners in taking our fight for rural health to Capitol Hill to: </a:t>
            </a:r>
          </a:p>
          <a:p>
            <a:pPr marL="0" indent="0">
              <a:spcBef>
                <a:spcPts val="1800"/>
              </a:spcBef>
              <a:buFont typeface="Arial" panose="020B0604020202020204" pitchFamily="34" charset="0"/>
              <a:buNone/>
            </a:pPr>
            <a:endParaRPr lang="en-US" sz="1200" dirty="0">
              <a:solidFill>
                <a:srgbClr val="003F72"/>
              </a:solidFill>
              <a:ea typeface="+mn-lt"/>
              <a:cs typeface="+mn-lt"/>
            </a:endParaRPr>
          </a:p>
          <a:p>
            <a:pPr marL="571500" marR="0" lvl="0" indent="-5715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lang="en-US" sz="1200" dirty="0">
                <a:solidFill>
                  <a:srgbClr val="003F72"/>
                </a:solidFill>
                <a:ea typeface="+mn-lt"/>
                <a:cs typeface="+mn-lt"/>
              </a:rPr>
              <a:t>Invest in a Strong Rural Health Safety Net  </a:t>
            </a:r>
          </a:p>
          <a:p>
            <a:pPr marL="571500" indent="-571500">
              <a:spcBef>
                <a:spcPts val="1800"/>
              </a:spcBef>
              <a:buFont typeface="Arial" panose="020B0604020202020204" pitchFamily="34" charset="0"/>
              <a:buChar char="•"/>
            </a:pPr>
            <a:r>
              <a:rPr lang="en-US" sz="1200" dirty="0">
                <a:solidFill>
                  <a:srgbClr val="003F72"/>
                </a:solidFill>
                <a:ea typeface="+mn-lt"/>
                <a:cs typeface="+mn-lt"/>
              </a:rPr>
              <a:t>Reducing Rural Healthcare Workforce Shortages </a:t>
            </a:r>
          </a:p>
          <a:p>
            <a:pPr marL="571500" marR="0" lvl="0" indent="-5715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lang="en-US" sz="1200" dirty="0">
                <a:solidFill>
                  <a:srgbClr val="003F72"/>
                </a:solidFill>
                <a:ea typeface="+mn-lt"/>
                <a:cs typeface="+mn-lt"/>
              </a:rPr>
              <a:t>Addressing Rural Declining Life Expectancy and Inequality </a:t>
            </a:r>
          </a:p>
          <a:p>
            <a:pPr marL="0" indent="0">
              <a:spcBef>
                <a:spcPts val="1800"/>
              </a:spcBef>
              <a:buFont typeface="Arial" panose="020B0604020202020204" pitchFamily="34" charset="0"/>
              <a:buNone/>
            </a:pPr>
            <a:endParaRPr lang="en-US" sz="1200" dirty="0">
              <a:solidFill>
                <a:srgbClr val="003F72"/>
              </a:solidFill>
              <a:ea typeface="+mn-lt"/>
              <a:cs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5EF531-C7D4-4812-9431-6EA4B77D30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72350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sz="120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319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spcBef>
                <a:spcPts val="0"/>
              </a:spcBef>
              <a:spcAft>
                <a:spcPts val="0"/>
              </a:spcAft>
              <a:buFont typeface="Arial" panose="020B0604020202020204" pitchFamily="34" charset="0"/>
              <a:buNone/>
              <a:tabLst>
                <a:tab pos="457200" algn="l"/>
              </a:tabLst>
            </a:pPr>
            <a:r>
              <a:rPr lang="en-US" dirty="0"/>
              <a:t>End of an administration: </a:t>
            </a:r>
          </a:p>
          <a:p>
            <a:pPr marL="0" marR="0" lvl="0" indent="0">
              <a:spcBef>
                <a:spcPts val="0"/>
              </a:spcBef>
              <a:spcAft>
                <a:spcPts val="0"/>
              </a:spcAft>
              <a:buFont typeface="Arial" panose="020B0604020202020204" pitchFamily="34" charset="0"/>
              <a:buNone/>
              <a:tabLst>
                <a:tab pos="457200" algn="l"/>
              </a:tabLst>
            </a:pPr>
            <a:r>
              <a:rPr lang="en-US" dirty="0"/>
              <a:t>SNF Staffing regulation </a:t>
            </a:r>
          </a:p>
          <a:p>
            <a:pPr marL="0" marR="0" lvl="0" indent="0">
              <a:spcBef>
                <a:spcPts val="0"/>
              </a:spcBef>
              <a:spcAft>
                <a:spcPts val="0"/>
              </a:spcAft>
              <a:buFont typeface="Arial" panose="020B0604020202020204" pitchFamily="34" charset="0"/>
              <a:buNone/>
              <a:tabLst>
                <a:tab pos="457200" algn="l"/>
              </a:tabLst>
            </a:pPr>
            <a:r>
              <a:rPr lang="en-US" dirty="0"/>
              <a:t>MA data collection</a:t>
            </a:r>
          </a:p>
          <a:p>
            <a:pPr marL="0" marR="0" lvl="0" indent="0">
              <a:spcBef>
                <a:spcPts val="0"/>
              </a:spcBef>
              <a:spcAft>
                <a:spcPts val="0"/>
              </a:spcAft>
              <a:buFont typeface="Arial" panose="020B0604020202020204" pitchFamily="34" charset="0"/>
              <a:buNone/>
              <a:tabLst>
                <a:tab pos="457200" algn="l"/>
              </a:tabLst>
            </a:pPr>
            <a:r>
              <a:rPr lang="en-US" dirty="0"/>
              <a:t>IPPS </a:t>
            </a:r>
          </a:p>
          <a:p>
            <a:pPr marL="0" indent="0">
              <a:buFontTx/>
              <a:buNone/>
            </a:pPr>
            <a:endParaRPr lang="en-US" dirty="0"/>
          </a:p>
        </p:txBody>
      </p:sp>
      <p:sp>
        <p:nvSpPr>
          <p:cNvPr id="4" name="Slide Number Placeholder 3"/>
          <p:cNvSpPr>
            <a:spLocks noGrp="1"/>
          </p:cNvSpPr>
          <p:nvPr>
            <p:ph type="sldNum" sz="quarter" idx="5"/>
          </p:nvPr>
        </p:nvSpPr>
        <p:spPr/>
        <p:txBody>
          <a:bodyPr/>
          <a:lstStyle/>
          <a:p>
            <a:fld id="{9853F1C7-9F38-4BA0-8573-17DAEFAA065D}" type="slidenum">
              <a:rPr lang="en-US" smtClean="0"/>
              <a:t>38</a:t>
            </a:fld>
            <a:endParaRPr lang="en-US"/>
          </a:p>
        </p:txBody>
      </p:sp>
    </p:spTree>
    <p:extLst>
      <p:ext uri="{BB962C8B-B14F-4D97-AF65-F5344CB8AC3E}">
        <p14:creationId xmlns:p14="http://schemas.microsoft.com/office/powerpoint/2010/main" val="11959732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just">
              <a:lnSpc>
                <a:spcPct val="107000"/>
              </a:lnSpc>
              <a:spcBef>
                <a:spcPts val="0"/>
              </a:spcBef>
              <a:spcAft>
                <a:spcPts val="800"/>
              </a:spcAft>
              <a:buFont typeface="Symbol" panose="05050102010706020507" pitchFamily="18" charset="2"/>
              <a:buChar char=""/>
            </a:pPr>
            <a:r>
              <a:rPr lang="en-US" sz="1800" kern="100">
                <a:effectLst/>
                <a:latin typeface="Cambria" panose="02040503050406030204" pitchFamily="18" charset="0"/>
                <a:ea typeface="Aptos" panose="020B0004020202020204" pitchFamily="34" charset="0"/>
                <a:cs typeface="Times New Roman" panose="02020603050405020304" pitchFamily="18" charset="0"/>
              </a:rPr>
              <a:t>CMS is proposing a new, separate IPPS payment to small, independent hospitals to help establish and maintain a buffer stock of essential medicines. Qualifying hospitals have 100 beds or less and are not associated with a chain organization.</a:t>
            </a:r>
          </a:p>
          <a:p>
            <a:pPr marL="0" marR="0" lvl="0" indent="0" algn="just">
              <a:lnSpc>
                <a:spcPct val="107000"/>
              </a:lnSpc>
              <a:spcBef>
                <a:spcPts val="0"/>
              </a:spcBef>
              <a:spcAft>
                <a:spcPts val="800"/>
              </a:spcAft>
              <a:buFont typeface="Symbol" panose="05050102010706020507" pitchFamily="18" charset="2"/>
              <a:buNone/>
            </a:pPr>
            <a:endParaRPr lang="en-US" sz="1800" kern="100">
              <a:effectLst/>
              <a:latin typeface="Cambria" panose="02040503050406030204" pitchFamily="18" charset="0"/>
              <a:ea typeface="Aptos" panose="020B00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US" sz="1800" b="1" i="1" kern="100">
                <a:effectLst/>
                <a:latin typeface="Cambria" panose="02040503050406030204" pitchFamily="18" charset="0"/>
                <a:ea typeface="Aptos" panose="020B0004020202020204" pitchFamily="34" charset="0"/>
                <a:cs typeface="Times New Roman" panose="02020603050405020304" pitchFamily="18" charset="0"/>
              </a:rPr>
              <a:t>Low wage index policy.</a:t>
            </a:r>
            <a:r>
              <a:rPr lang="en-US" sz="1800" kern="100">
                <a:effectLst/>
                <a:latin typeface="Cambria" panose="02040503050406030204" pitchFamily="18" charset="0"/>
                <a:ea typeface="Aptos" panose="020B0004020202020204" pitchFamily="34" charset="0"/>
                <a:cs typeface="Times New Roman" panose="02020603050405020304" pitchFamily="18" charset="0"/>
              </a:rPr>
              <a:t> NRHA is pleased to see that CMS proposes to </a:t>
            </a:r>
            <a:r>
              <a:rPr lang="en-US" sz="1800" b="1" kern="100">
                <a:effectLst/>
                <a:latin typeface="Cambria" panose="02040503050406030204" pitchFamily="18" charset="0"/>
                <a:ea typeface="Aptos" panose="020B0004020202020204" pitchFamily="34" charset="0"/>
                <a:cs typeface="Times New Roman" panose="02020603050405020304" pitchFamily="18" charset="0"/>
              </a:rPr>
              <a:t>continue its low wage index policy for at least three more years</a:t>
            </a:r>
            <a:r>
              <a:rPr lang="en-US" sz="1800" kern="100">
                <a:effectLst/>
                <a:latin typeface="Cambria" panose="02040503050406030204" pitchFamily="18" charset="0"/>
                <a:ea typeface="Aptos" panose="020B0004020202020204" pitchFamily="34" charset="0"/>
                <a:cs typeface="Times New Roman" panose="02020603050405020304" pitchFamily="18" charset="0"/>
              </a:rPr>
              <a:t>. This policy increases the wage index for hospitals with a value below the 25</a:t>
            </a:r>
            <a:r>
              <a:rPr lang="en-US" sz="1800" kern="100" baseline="30000">
                <a:effectLst/>
                <a:latin typeface="Cambria" panose="02040503050406030204" pitchFamily="18" charset="0"/>
                <a:ea typeface="Aptos" panose="020B0004020202020204" pitchFamily="34" charset="0"/>
                <a:cs typeface="Times New Roman" panose="02020603050405020304" pitchFamily="18" charset="0"/>
              </a:rPr>
              <a:t>th</a:t>
            </a:r>
            <a:r>
              <a:rPr lang="en-US" sz="1800" kern="100">
                <a:effectLst/>
                <a:latin typeface="Cambria" panose="02040503050406030204" pitchFamily="18" charset="0"/>
                <a:ea typeface="Aptos" panose="020B0004020202020204" pitchFamily="34" charset="0"/>
                <a:cs typeface="Times New Roman" panose="02020603050405020304" pitchFamily="18" charset="0"/>
              </a:rPr>
              <a:t> percentile. </a:t>
            </a:r>
          </a:p>
          <a:p>
            <a:pPr marL="342900" marR="0" lvl="0" indent="-342900" algn="just"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lang="en-US" sz="1800">
                <a:effectLst/>
                <a:latin typeface="Cambria" panose="02040503050406030204" pitchFamily="18" charset="0"/>
                <a:ea typeface="Aptos" panose="020B0004020202020204" pitchFamily="34" charset="0"/>
                <a:cs typeface="Times New Roman" panose="02020603050405020304" pitchFamily="18" charset="0"/>
              </a:rPr>
              <a:t>CMS proposes to implement and administer the </a:t>
            </a:r>
            <a:r>
              <a:rPr lang="en-US" sz="1800" b="1">
                <a:effectLst/>
                <a:latin typeface="Cambria" panose="02040503050406030204" pitchFamily="18" charset="0"/>
                <a:ea typeface="Aptos" panose="020B0004020202020204" pitchFamily="34" charset="0"/>
                <a:cs typeface="Times New Roman" panose="02020603050405020304" pitchFamily="18" charset="0"/>
              </a:rPr>
              <a:t>200 new GME slots created by the Consolidated Appropriations Act (CAA) of 2023.</a:t>
            </a:r>
            <a:r>
              <a:rPr lang="en-US" sz="1800">
                <a:effectLst/>
                <a:latin typeface="Cambria" panose="02040503050406030204" pitchFamily="18" charset="0"/>
                <a:ea typeface="Aptos" panose="020B0004020202020204" pitchFamily="34" charset="0"/>
                <a:cs typeface="Times New Roman" panose="02020603050405020304" pitchFamily="18" charset="0"/>
              </a:rPr>
              <a:t> At least half of the slots must go to psychiatry or psychiatry subspecialties and 10% of slots must go to the 4 qualifying categories outlined below. </a:t>
            </a:r>
            <a:r>
              <a:rPr lang="en-US" sz="1800" kern="100">
                <a:effectLst/>
                <a:latin typeface="Cambria" panose="02040503050406030204" pitchFamily="18" charset="0"/>
                <a:ea typeface="Aptos" panose="020B0004020202020204" pitchFamily="34" charset="0"/>
                <a:cs typeface="Times New Roman" panose="02020603050405020304" pitchFamily="18" charset="0"/>
              </a:rPr>
              <a:t>Hospitals located or treated as being located in a rural area. Request for information.  </a:t>
            </a:r>
          </a:p>
          <a:p>
            <a:pPr marL="342900" marR="0" lvl="0" indent="-342900" algn="just">
              <a:lnSpc>
                <a:spcPct val="107000"/>
              </a:lnSpc>
              <a:spcBef>
                <a:spcPts val="0"/>
              </a:spcBef>
              <a:spcAft>
                <a:spcPts val="800"/>
              </a:spcAft>
              <a:buFont typeface="Symbol" panose="05050102010706020507" pitchFamily="18" charset="2"/>
              <a:buChar char=""/>
            </a:pPr>
            <a:endParaRPr lang="en-US" sz="1800" kern="100">
              <a:effectLst/>
              <a:latin typeface="Cambria" panose="02040503050406030204" pitchFamily="18" charset="0"/>
              <a:ea typeface="Aptos" panose="020B000402020202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3960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MB says any county that is not an MSA is rural so that’s opening it to more counties than the definition proposed in the proposed rul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81906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rdship exemption: </a:t>
            </a:r>
          </a:p>
          <a:p>
            <a:pPr marL="171450" indent="-171450">
              <a:buFont typeface="Arial" panose="020B0604020202020204" pitchFamily="34" charset="0"/>
              <a:buChar char="•"/>
            </a:pPr>
            <a:r>
              <a:rPr lang="en-US" dirty="0"/>
              <a:t>The facility is at least 20 miles from another long-term care facility or the RN or NA supply is below the national average;</a:t>
            </a:r>
          </a:p>
          <a:p>
            <a:pPr marL="171450" indent="-171450">
              <a:buFont typeface="Arial" panose="020B0604020202020204" pitchFamily="34" charset="0"/>
              <a:buChar char="•"/>
            </a:pPr>
            <a:r>
              <a:rPr lang="en-US" dirty="0"/>
              <a:t>The facility demonstrates that it is making a good faith effort to hire and retain staff;</a:t>
            </a:r>
          </a:p>
          <a:p>
            <a:pPr marL="171450" indent="-171450">
              <a:buFont typeface="Arial" panose="020B0604020202020204" pitchFamily="34" charset="0"/>
              <a:buChar char="•"/>
            </a:pPr>
            <a:r>
              <a:rPr lang="en-US" dirty="0"/>
              <a:t>The facility provides documentation of its financial commitment to staffing; </a:t>
            </a:r>
          </a:p>
          <a:p>
            <a:pPr marL="171450" indent="-171450">
              <a:buFont typeface="Arial" panose="020B0604020202020204" pitchFamily="34" charset="0"/>
              <a:buChar char="•"/>
            </a:pPr>
            <a:r>
              <a:rPr lang="en-US" dirty="0"/>
              <a:t>The facility has not failed to submit Payroll Based Journal (PBJ) data in accordance with the proposed regulations, is not a Special Focus Facility, and has not been cited for widespread insufficient staffing with resultant resident harm or cited at the “immediate jeopardy” level of insufficient staffing within the preceding 12 months.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0345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Times New Roman" panose="02020603050405020304" pitchFamily="18" charset="0"/>
                <a:ea typeface="Calibri" panose="020F0502020204030204" pitchFamily="34" charset="0"/>
              </a:rPr>
              <a:t>The Caucus provides a forum for Members of Congress to advocate for legislation and policy actions that improve access to quality, affordable health care and mental health services for people living in rural and remote communities across the country.</a:t>
            </a:r>
          </a:p>
          <a:p>
            <a:pPr marL="0" marR="0">
              <a:spcBef>
                <a:spcPts val="0"/>
              </a:spcBef>
              <a:spcAft>
                <a:spcPts val="0"/>
              </a:spcAft>
            </a:pPr>
            <a:endParaRPr lang="en-US" sz="1800" dirty="0">
              <a:effectLst/>
              <a:latin typeface="Times New Roman" panose="02020603050405020304" pitchFamily="18" charset="0"/>
              <a:ea typeface="Calibri" panose="020F0502020204030204" pitchFamily="34" charset="0"/>
            </a:endParaRPr>
          </a:p>
          <a:p>
            <a:pPr>
              <a:lnSpc>
                <a:spcPct val="120000"/>
              </a:lnSpc>
            </a:pPr>
            <a:r>
              <a:rPr lang="en-US" sz="1800" dirty="0">
                <a:cs typeface="Arial"/>
              </a:rPr>
              <a:t>Will allow Members to interact with patients, providers, and health advocates.</a:t>
            </a:r>
          </a:p>
          <a:p>
            <a:pPr>
              <a:lnSpc>
                <a:spcPct val="120000"/>
              </a:lnSpc>
            </a:pPr>
            <a:r>
              <a:rPr lang="en-US" sz="1800" dirty="0">
                <a:cs typeface="Arial"/>
              </a:rPr>
              <a:t>Another great legislative vehicle to help move NRHA’s rural health priorities.</a:t>
            </a:r>
          </a:p>
          <a:p>
            <a:pPr marL="0" marR="0">
              <a:spcBef>
                <a:spcPts val="0"/>
              </a:spcBef>
              <a:spcAft>
                <a:spcPts val="0"/>
              </a:spcAft>
            </a:pP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effectLst/>
                <a:latin typeface="Times New Roman" panose="02020603050405020304" pitchFamily="18"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8410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853F1C7-9F38-4BA0-8573-17DAEFAA065D}" type="slidenum">
              <a:rPr lang="en-US" smtClean="0"/>
              <a:t>47</a:t>
            </a:fld>
            <a:endParaRPr lang="en-US"/>
          </a:p>
        </p:txBody>
      </p:sp>
    </p:spTree>
    <p:extLst>
      <p:ext uri="{BB962C8B-B14F-4D97-AF65-F5344CB8AC3E}">
        <p14:creationId xmlns:p14="http://schemas.microsoft.com/office/powerpoint/2010/main" val="18390651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ctr">
              <a:spcBef>
                <a:spcPts val="0"/>
              </a:spcBef>
              <a:buNone/>
            </a:pPr>
            <a:r>
              <a:rPr lang="en-US" sz="1200" dirty="0">
                <a:solidFill>
                  <a:srgbClr val="003F72"/>
                </a:solidFill>
                <a:latin typeface="Calibri"/>
                <a:ea typeface="+mj-ea"/>
                <a:cs typeface="Calibri"/>
              </a:rPr>
              <a:t>NRHA is a national nonprofit membership organization with more than 21,000 members, made up of a diverse collection of individuals and organizations with the common goal of ensuring all rural communities have access to quality, affordable health care. </a:t>
            </a:r>
          </a:p>
          <a:p>
            <a:pPr marL="0" indent="0" algn="ctr">
              <a:spcBef>
                <a:spcPts val="0"/>
              </a:spcBef>
              <a:buNone/>
            </a:pPr>
            <a:endParaRPr lang="en-US" sz="1400" b="1" dirty="0">
              <a:solidFill>
                <a:srgbClr val="003F72"/>
              </a:solidFill>
              <a:latin typeface="Calibri"/>
              <a:ea typeface="+mj-ea"/>
              <a:cs typeface="Calibri"/>
            </a:endParaRPr>
          </a:p>
          <a:p>
            <a:pPr marL="0" indent="0" algn="ctr">
              <a:spcBef>
                <a:spcPts val="0"/>
              </a:spcBef>
              <a:buNone/>
            </a:pPr>
            <a:r>
              <a:rPr lang="en-US" sz="1400" b="1" dirty="0">
                <a:solidFill>
                  <a:srgbClr val="003F72"/>
                </a:solidFill>
                <a:latin typeface="Calibri"/>
                <a:ea typeface="+mj-ea"/>
                <a:cs typeface="Calibri"/>
              </a:rPr>
              <a:t>Our mission is to provide leadership on rural health issue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5EF531-C7D4-4812-9431-6EA4B77D30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28902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800" b="0" i="0" u="none" strike="noStrike" baseline="0" dirty="0">
              <a:solidFill>
                <a:srgbClr val="000000"/>
              </a:solidFill>
              <a:latin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381DB1-A529-4725-9D5F-EDD21603B97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79090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rtis Data </a:t>
            </a:r>
          </a:p>
          <a:p>
            <a:r>
              <a:rPr lang="en-US" dirty="0"/>
              <a:t>CDC MMR </a:t>
            </a:r>
          </a:p>
          <a:p>
            <a:r>
              <a:rPr lang="en-US" dirty="0"/>
              <a:t>MedPAC data </a:t>
            </a:r>
          </a:p>
          <a:p>
            <a:endParaRPr lang="en-US" dirty="0"/>
          </a:p>
        </p:txBody>
      </p:sp>
      <p:sp>
        <p:nvSpPr>
          <p:cNvPr id="4" name="Slide Number Placeholder 3"/>
          <p:cNvSpPr>
            <a:spLocks noGrp="1"/>
          </p:cNvSpPr>
          <p:nvPr>
            <p:ph type="sldNum" sz="quarter" idx="5"/>
          </p:nvPr>
        </p:nvSpPr>
        <p:spPr/>
        <p:txBody>
          <a:bodyPr/>
          <a:lstStyle/>
          <a:p>
            <a:fld id="{9853F1C7-9F38-4BA0-8573-17DAEFAA065D}" type="slidenum">
              <a:rPr lang="en-US" smtClean="0"/>
              <a:t>9</a:t>
            </a:fld>
            <a:endParaRPr lang="en-US"/>
          </a:p>
        </p:txBody>
      </p:sp>
    </p:spTree>
    <p:extLst>
      <p:ext uri="{BB962C8B-B14F-4D97-AF65-F5344CB8AC3E}">
        <p14:creationId xmlns:p14="http://schemas.microsoft.com/office/powerpoint/2010/main" val="29707294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53F1C7-9F38-4BA0-8573-17DAEFAA065D}" type="slidenum">
              <a:rPr lang="en-US" smtClean="0"/>
              <a:t>14</a:t>
            </a:fld>
            <a:endParaRPr lang="en-US"/>
          </a:p>
        </p:txBody>
      </p:sp>
    </p:spTree>
    <p:extLst>
      <p:ext uri="{BB962C8B-B14F-4D97-AF65-F5344CB8AC3E}">
        <p14:creationId xmlns:p14="http://schemas.microsoft.com/office/powerpoint/2010/main" val="9638717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294C"/>
                </a:solidFill>
                <a:latin typeface="+mj-lt"/>
                <a:ea typeface="Verdana" panose="020B0604030504040204" pitchFamily="34" charset="0"/>
                <a:cs typeface="Segoe UI" panose="020B0502040204020203" pitchFamily="34" charset="0"/>
              </a:rPr>
              <a:t>States such as Alabama, Mississippi and Tennessee all saw </a:t>
            </a:r>
            <a:r>
              <a:rPr lang="en-US" sz="1200" b="1" dirty="0">
                <a:solidFill>
                  <a:srgbClr val="00294C"/>
                </a:solidFill>
                <a:latin typeface="+mj-lt"/>
                <a:ea typeface="Verdana" panose="020B0604030504040204" pitchFamily="34" charset="0"/>
                <a:cs typeface="Segoe UI" panose="020B0502040204020203" pitchFamily="34" charset="0"/>
              </a:rPr>
              <a:t>more than 40%</a:t>
            </a:r>
            <a:r>
              <a:rPr lang="en-US" sz="1200" dirty="0">
                <a:solidFill>
                  <a:srgbClr val="00294C"/>
                </a:solidFill>
                <a:latin typeface="+mj-lt"/>
                <a:ea typeface="Verdana" panose="020B0604030504040204" pitchFamily="34" charset="0"/>
                <a:cs typeface="Segoe UI" panose="020B0502040204020203" pitchFamily="34" charset="0"/>
              </a:rPr>
              <a:t> of their rural hospitals drop chemo. In Texas, </a:t>
            </a:r>
            <a:r>
              <a:rPr lang="en-US" sz="1200" b="1" dirty="0">
                <a:solidFill>
                  <a:srgbClr val="00294C"/>
                </a:solidFill>
                <a:latin typeface="+mj-lt"/>
                <a:ea typeface="Verdana" panose="020B0604030504040204" pitchFamily="34" charset="0"/>
                <a:cs typeface="Segoe UI" panose="020B0502040204020203" pitchFamily="34" charset="0"/>
              </a:rPr>
              <a:t>57</a:t>
            </a:r>
            <a:r>
              <a:rPr lang="en-US" sz="1200" dirty="0">
                <a:solidFill>
                  <a:srgbClr val="00294C"/>
                </a:solidFill>
                <a:latin typeface="+mj-lt"/>
                <a:ea typeface="Verdana" panose="020B0604030504040204" pitchFamily="34" charset="0"/>
                <a:cs typeface="Segoe UI" panose="020B0502040204020203" pitchFamily="34" charset="0"/>
              </a:rPr>
              <a:t> rural hospitals stopped offering chemo during our review period. </a:t>
            </a:r>
          </a:p>
          <a:p>
            <a:endParaRPr lang="en-US" dirty="0"/>
          </a:p>
        </p:txBody>
      </p:sp>
      <p:sp>
        <p:nvSpPr>
          <p:cNvPr id="4" name="Slide Number Placeholder 3"/>
          <p:cNvSpPr>
            <a:spLocks noGrp="1"/>
          </p:cNvSpPr>
          <p:nvPr>
            <p:ph type="sldNum" sz="quarter" idx="5"/>
          </p:nvPr>
        </p:nvSpPr>
        <p:spPr/>
        <p:txBody>
          <a:bodyPr/>
          <a:lstStyle/>
          <a:p>
            <a:fld id="{9853F1C7-9F38-4BA0-8573-17DAEFAA065D}" type="slidenum">
              <a:rPr lang="en-US" smtClean="0"/>
              <a:t>16</a:t>
            </a:fld>
            <a:endParaRPr lang="en-US"/>
          </a:p>
        </p:txBody>
      </p:sp>
    </p:spTree>
    <p:extLst>
      <p:ext uri="{BB962C8B-B14F-4D97-AF65-F5344CB8AC3E}">
        <p14:creationId xmlns:p14="http://schemas.microsoft.com/office/powerpoint/2010/main" val="33729615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endParaRPr lang="en-US" dirty="0"/>
          </a:p>
        </p:txBody>
      </p:sp>
      <p:sp>
        <p:nvSpPr>
          <p:cNvPr id="6" name="Slide Number Placeholder 5"/>
          <p:cNvSpPr>
            <a:spLocks noGrp="1"/>
          </p:cNvSpPr>
          <p:nvPr>
            <p:ph type="sldNum" sz="quarter" idx="5"/>
          </p:nvPr>
        </p:nvSpPr>
        <p:spPr/>
        <p:txBody>
          <a:bodyPr/>
          <a:lstStyle/>
          <a:p>
            <a:fld id="{B36E7EC0-9BE3-5541-9D76-7DE32A6C9D42}" type="slidenum">
              <a:rPr lang="en-US" smtClean="0"/>
              <a:t>18</a:t>
            </a:fld>
            <a:endParaRPr lang="en-US" dirty="0"/>
          </a:p>
        </p:txBody>
      </p:sp>
    </p:spTree>
    <p:extLst>
      <p:ext uri="{BB962C8B-B14F-4D97-AF65-F5344CB8AC3E}">
        <p14:creationId xmlns:p14="http://schemas.microsoft.com/office/powerpoint/2010/main" val="27691937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all, the percentage of preventable early deaths in the United States increased during 2010–2022 for unintentional injuries and stroke, decreased for cancer and chronic lower respiratory disease (CLRD), and remained stable for heart disease.   </a:t>
            </a:r>
          </a:p>
          <a:p>
            <a:r>
              <a:rPr lang="en-US" dirty="0"/>
              <a:t>•	However, the percentage of preventable early deaths from these five leading causes of death (heart disease, cancer, unintentional injury, chronic lower respiratory disease, and stroke) remained higher in rural counties than in urban counties during 2010–2022.</a:t>
            </a:r>
          </a:p>
        </p:txBody>
      </p:sp>
      <p:sp>
        <p:nvSpPr>
          <p:cNvPr id="4" name="Slide Number Placeholder 3"/>
          <p:cNvSpPr>
            <a:spLocks noGrp="1"/>
          </p:cNvSpPr>
          <p:nvPr>
            <p:ph type="sldNum" sz="quarter" idx="5"/>
          </p:nvPr>
        </p:nvSpPr>
        <p:spPr/>
        <p:txBody>
          <a:bodyPr/>
          <a:lstStyle/>
          <a:p>
            <a:fld id="{9853F1C7-9F38-4BA0-8573-17DAEFAA065D}" type="slidenum">
              <a:rPr lang="en-US" smtClean="0"/>
              <a:t>19</a:t>
            </a:fld>
            <a:endParaRPr lang="en-US"/>
          </a:p>
        </p:txBody>
      </p:sp>
    </p:spTree>
    <p:extLst>
      <p:ext uri="{BB962C8B-B14F-4D97-AF65-F5344CB8AC3E}">
        <p14:creationId xmlns:p14="http://schemas.microsoft.com/office/powerpoint/2010/main" val="2910453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spital closur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53F1C7-9F38-4BA0-8573-17DAEFAA06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28480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4.svg"/><Relationship Id="rId2" Type="http://schemas.openxmlformats.org/officeDocument/2006/relationships/slideMaster" Target="../slideMasters/slideMaster11.xml"/><Relationship Id="rId1" Type="http://schemas.openxmlformats.org/officeDocument/2006/relationships/tags" Target="../tags/tag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2.emf"/></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1.xml"/><Relationship Id="rId1" Type="http://schemas.openxmlformats.org/officeDocument/2006/relationships/tags" Target="../tags/tag46.xml"/><Relationship Id="rId4" Type="http://schemas.openxmlformats.org/officeDocument/2006/relationships/image" Target="../media/image2.emf"/></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1.xml"/><Relationship Id="rId1" Type="http://schemas.openxmlformats.org/officeDocument/2006/relationships/tags" Target="../tags/tag70.xml"/><Relationship Id="rId4" Type="http://schemas.openxmlformats.org/officeDocument/2006/relationships/image" Target="../media/image2.emf"/></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5.emf"/><Relationship Id="rId4" Type="http://schemas.openxmlformats.org/officeDocument/2006/relationships/oleObject" Target="../embeddings/oleObject34.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38.bin"/><Relationship Id="rId7" Type="http://schemas.openxmlformats.org/officeDocument/2006/relationships/image" Target="../media/image14.svg"/><Relationship Id="rId2" Type="http://schemas.openxmlformats.org/officeDocument/2006/relationships/slideMaster" Target="../slideMasters/slideMaster13.xml"/><Relationship Id="rId1" Type="http://schemas.openxmlformats.org/officeDocument/2006/relationships/tags" Target="../tags/tag8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2.emf"/></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2.emf"/><Relationship Id="rId4" Type="http://schemas.openxmlformats.org/officeDocument/2006/relationships/oleObject" Target="../embeddings/oleObject44.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2.emf"/><Relationship Id="rId4" Type="http://schemas.openxmlformats.org/officeDocument/2006/relationships/oleObject" Target="../embeddings/oleObject54.bin"/></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3.xml"/><Relationship Id="rId1" Type="http://schemas.openxmlformats.org/officeDocument/2006/relationships/tags" Target="../tags/tag116.xml"/><Relationship Id="rId4" Type="http://schemas.openxmlformats.org/officeDocument/2006/relationships/image" Target="../media/image2.emf"/></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2.emf"/><Relationship Id="rId4" Type="http://schemas.openxmlformats.org/officeDocument/2006/relationships/oleObject" Target="../embeddings/oleObject56.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2.emf"/><Relationship Id="rId4" Type="http://schemas.openxmlformats.org/officeDocument/2006/relationships/oleObject" Target="../embeddings/oleObject59.bin"/></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2.emf"/><Relationship Id="rId5" Type="http://schemas.openxmlformats.org/officeDocument/2006/relationships/oleObject" Target="../embeddings/oleObject61.bin"/><Relationship Id="rId4"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2.emf"/><Relationship Id="rId4" Type="http://schemas.openxmlformats.org/officeDocument/2006/relationships/oleObject" Target="../embeddings/oleObject64.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3.xml"/><Relationship Id="rId1" Type="http://schemas.openxmlformats.org/officeDocument/2006/relationships/tags" Target="../tags/tag140.xml"/><Relationship Id="rId4" Type="http://schemas.openxmlformats.org/officeDocument/2006/relationships/image" Target="../media/image2.emf"/></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2.xml"/><Relationship Id="rId1" Type="http://schemas.openxmlformats.org/officeDocument/2006/relationships/tags" Target="../tags/tag141.xml"/><Relationship Id="rId5" Type="http://schemas.openxmlformats.org/officeDocument/2006/relationships/image" Target="../media/image2.emf"/><Relationship Id="rId4" Type="http://schemas.openxmlformats.org/officeDocument/2006/relationships/oleObject" Target="../embeddings/oleObject67.bin"/></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image" Target="../media/image2.emf"/><Relationship Id="rId4" Type="http://schemas.openxmlformats.org/officeDocument/2006/relationships/oleObject" Target="../embeddings/oleObject69.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8.xml"/><Relationship Id="rId1" Type="http://schemas.openxmlformats.org/officeDocument/2006/relationships/tags" Target="../tags/tag147.xml"/><Relationship Id="rId5" Type="http://schemas.openxmlformats.org/officeDocument/2006/relationships/image" Target="../media/image15.emf"/><Relationship Id="rId4" Type="http://schemas.openxmlformats.org/officeDocument/2006/relationships/oleObject" Target="../embeddings/oleObject70.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0.xml"/><Relationship Id="rId1" Type="http://schemas.openxmlformats.org/officeDocument/2006/relationships/tags" Target="../tags/tag149.xml"/><Relationship Id="rId5" Type="http://schemas.openxmlformats.org/officeDocument/2006/relationships/image" Target="../media/image2.emf"/><Relationship Id="rId4" Type="http://schemas.openxmlformats.org/officeDocument/2006/relationships/oleObject" Target="../embeddings/oleObject7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FDAEC5C-59A9-4BFF-B183-7A695A1F2AEF}"/>
              </a:ext>
            </a:extLst>
          </p:cNvPr>
          <p:cNvSpPr>
            <a:spLocks noGrp="1"/>
          </p:cNvSpPr>
          <p:nvPr>
            <p:ph type="subTitle" idx="1"/>
          </p:nvPr>
        </p:nvSpPr>
        <p:spPr>
          <a:xfrm>
            <a:off x="1524000" y="4486624"/>
            <a:ext cx="9144000" cy="1655762"/>
          </a:xfrm>
          <a:prstGeom prst="rect">
            <a:avLst/>
          </a:prstGeom>
        </p:spPr>
        <p:txBody>
          <a:bodyPr/>
          <a:lstStyle>
            <a:lvl1pPr marL="0" indent="0" algn="ctr">
              <a:buNone/>
              <a:defRPr sz="2400">
                <a:solidFill>
                  <a:srgbClr val="3A497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314366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889E9-AE12-4CD1-A35B-371FC946A9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2D8782-0112-47CB-AC83-565990928FA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85859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A5C48E5-5B8C-49A1-A85A-ED8B3A0151E7}"/>
              </a:ext>
            </a:extLst>
          </p:cNvPr>
          <p:cNvSpPr>
            <a:spLocks noGrp="1"/>
          </p:cNvSpPr>
          <p:nvPr>
            <p:ph type="title" orient="vert"/>
          </p:nvPr>
        </p:nvSpPr>
        <p:spPr>
          <a:xfrm>
            <a:off x="8724900" y="365125"/>
            <a:ext cx="2628900" cy="532999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4AC0AF2-36A4-4FD6-8D94-0638CE3BD05E}"/>
              </a:ext>
            </a:extLst>
          </p:cNvPr>
          <p:cNvSpPr>
            <a:spLocks noGrp="1"/>
          </p:cNvSpPr>
          <p:nvPr>
            <p:ph type="body" orient="vert" idx="1"/>
          </p:nvPr>
        </p:nvSpPr>
        <p:spPr>
          <a:xfrm>
            <a:off x="838200" y="365125"/>
            <a:ext cx="7734300" cy="532999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021838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09376-56E2-4E35-A6EB-B96CA2D37D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E15866-F668-48F1-8FA9-A8D7258FC755}"/>
              </a:ext>
            </a:extLst>
          </p:cNvPr>
          <p:cNvSpPr>
            <a:spLocks noGrp="1"/>
          </p:cNvSpPr>
          <p:nvPr>
            <p:ph idx="1"/>
          </p:nvPr>
        </p:nvSpPr>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385339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9BCE4-A973-4A0D-BCE3-2730A84096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BF6BF85-13F7-49A9-AEBF-8521FED1366E}"/>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4722621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7E9CCB-AEDE-46B1-87A2-FA11A3CC62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208EC86-6C11-45C5-83CA-69289A028480}"/>
              </a:ext>
            </a:extLst>
          </p:cNvPr>
          <p:cNvSpPr>
            <a:spLocks noGrp="1"/>
          </p:cNvSpPr>
          <p:nvPr>
            <p:ph sz="half" idx="1"/>
          </p:nvPr>
        </p:nvSpPr>
        <p:spPr>
          <a:xfrm>
            <a:off x="838200" y="1825625"/>
            <a:ext cx="5181600" cy="4351338"/>
          </a:xfrm>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EA612D2-6F66-433D-A4A8-8CBCC2B37A52}"/>
              </a:ext>
            </a:extLst>
          </p:cNvPr>
          <p:cNvSpPr>
            <a:spLocks noGrp="1"/>
          </p:cNvSpPr>
          <p:nvPr>
            <p:ph sz="half" idx="2"/>
          </p:nvPr>
        </p:nvSpPr>
        <p:spPr>
          <a:xfrm>
            <a:off x="6172200" y="1825625"/>
            <a:ext cx="5181600" cy="4351338"/>
          </a:xfrm>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370386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AFD81-552F-4FCF-A934-58FACA75C17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E233BEB-A591-4B20-914A-1FCD187CA62A}"/>
              </a:ext>
            </a:extLst>
          </p:cNvPr>
          <p:cNvSpPr>
            <a:spLocks noGrp="1"/>
          </p:cNvSpPr>
          <p:nvPr>
            <p:ph type="body" idx="1"/>
          </p:nvPr>
        </p:nvSpPr>
        <p:spPr>
          <a:xfrm>
            <a:off x="839788" y="1681163"/>
            <a:ext cx="5157787" cy="823912"/>
          </a:xfrm>
        </p:spPr>
        <p:txBody>
          <a:bodyPr anchor="b"/>
          <a:lstStyle>
            <a:lvl1pPr marL="0" indent="0">
              <a:buNone/>
              <a:defRPr sz="2400" b="1">
                <a:solidFill>
                  <a:srgbClr val="3A49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AB3EC58-6843-4203-8E23-D71F39000A2E}"/>
              </a:ext>
            </a:extLst>
          </p:cNvPr>
          <p:cNvSpPr>
            <a:spLocks noGrp="1"/>
          </p:cNvSpPr>
          <p:nvPr>
            <p:ph sz="half" idx="2"/>
          </p:nvPr>
        </p:nvSpPr>
        <p:spPr>
          <a:xfrm>
            <a:off x="839788" y="2505075"/>
            <a:ext cx="5157787" cy="3684588"/>
          </a:xfrm>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5A8DCA3-09B9-4F49-9F51-30008537B150}"/>
              </a:ext>
            </a:extLst>
          </p:cNvPr>
          <p:cNvSpPr>
            <a:spLocks noGrp="1"/>
          </p:cNvSpPr>
          <p:nvPr>
            <p:ph type="body" sz="quarter" idx="3"/>
          </p:nvPr>
        </p:nvSpPr>
        <p:spPr>
          <a:xfrm>
            <a:off x="6172200" y="1681163"/>
            <a:ext cx="5183188" cy="823912"/>
          </a:xfrm>
        </p:spPr>
        <p:txBody>
          <a:bodyPr anchor="b"/>
          <a:lstStyle>
            <a:lvl1pPr marL="0" indent="0">
              <a:buNone/>
              <a:defRPr sz="2400" b="1">
                <a:solidFill>
                  <a:srgbClr val="3A49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569BF50-8299-4F06-8431-5F7E28A86B60}"/>
              </a:ext>
            </a:extLst>
          </p:cNvPr>
          <p:cNvSpPr>
            <a:spLocks noGrp="1"/>
          </p:cNvSpPr>
          <p:nvPr>
            <p:ph sz="quarter" idx="4"/>
          </p:nvPr>
        </p:nvSpPr>
        <p:spPr>
          <a:xfrm>
            <a:off x="6172200" y="2505075"/>
            <a:ext cx="5183188" cy="3684588"/>
          </a:xfrm>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576721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BF23F-93AC-40F2-B8DB-09FC5988092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796231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768541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1F854F-5365-4916-AD90-291ACCA44F8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946195F-D0CA-4164-B740-9D7402DEA5A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755255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0_Chartis Dark Title Master">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5CEAAB6D-19CA-4691-85FD-38268F4AF945}"/>
              </a:ext>
            </a:extLst>
          </p:cNvPr>
          <p:cNvGraphicFramePr>
            <a:graphicFrameLocks noChangeAspect="1"/>
          </p:cNvGraphicFramePr>
          <p:nvPr userDrawn="1">
            <p:custDataLst>
              <p:tags r:id="rId1"/>
            </p:custDataLst>
            <p:extLst>
              <p:ext uri="{D42A27DB-BD31-4B8C-83A1-F6EECF244321}">
                <p14:modId xmlns:p14="http://schemas.microsoft.com/office/powerpoint/2010/main" val="4154493124"/>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5" name="Object 14" hidden="1">
                        <a:extLst>
                          <a:ext uri="{FF2B5EF4-FFF2-40B4-BE49-F238E27FC236}">
                            <a16:creationId xmlns:a16="http://schemas.microsoft.com/office/drawing/2014/main" id="{5CEAAB6D-19CA-4691-85FD-38268F4AF945}"/>
                          </a:ext>
                        </a:extLst>
                      </p:cNvPr>
                      <p:cNvPicPr/>
                      <p:nvPr/>
                    </p:nvPicPr>
                    <p:blipFill>
                      <a:blip r:embed="rId4"/>
                      <a:stretch>
                        <a:fillRect/>
                      </a:stretch>
                    </p:blipFill>
                    <p:spPr>
                      <a:xfrm>
                        <a:off x="2119" y="1588"/>
                        <a:ext cx="2117" cy="1588"/>
                      </a:xfrm>
                      <a:prstGeom prst="rect">
                        <a:avLst/>
                      </a:prstGeom>
                    </p:spPr>
                  </p:pic>
                </p:oleObj>
              </mc:Fallback>
            </mc:AlternateContent>
          </a:graphicData>
        </a:graphic>
      </p:graphicFrame>
      <p:sp>
        <p:nvSpPr>
          <p:cNvPr id="18" name="Blue BG">
            <a:extLst>
              <a:ext uri="{FF2B5EF4-FFF2-40B4-BE49-F238E27FC236}">
                <a16:creationId xmlns:a16="http://schemas.microsoft.com/office/drawing/2014/main" id="{9F479BC7-4130-4A2B-8D06-593E08AEC570}"/>
              </a:ext>
            </a:extLst>
          </p:cNvPr>
          <p:cNvSpPr/>
          <p:nvPr userDrawn="1"/>
        </p:nvSpPr>
        <p:spPr>
          <a:xfrm>
            <a:off x="-4721" y="0"/>
            <a:ext cx="1219672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48" name="Chevron Pattern">
            <a:extLst>
              <a:ext uri="{FF2B5EF4-FFF2-40B4-BE49-F238E27FC236}">
                <a16:creationId xmlns:a16="http://schemas.microsoft.com/office/drawing/2014/main" id="{98B57C10-EB11-46D3-B91E-7BB9D7783111}"/>
              </a:ext>
            </a:extLst>
          </p:cNvPr>
          <p:cNvSpPr/>
          <p:nvPr userDrawn="1"/>
        </p:nvSpPr>
        <p:spPr>
          <a:xfrm>
            <a:off x="-4721" y="0"/>
            <a:ext cx="12196721" cy="5761384"/>
          </a:xfrm>
          <a:prstGeom prst="rect">
            <a:avLst/>
          </a:prstGeom>
          <a:blipFill dpi="0" rotWithShape="1">
            <a:blip r:embed="rId5" cstate="print">
              <a:alphaModFix amt="15000"/>
              <a:extLst>
                <a:ext uri="{28A0092B-C50C-407E-A947-70E740481C1C}">
                  <a14:useLocalDpi xmlns:a14="http://schemas.microsoft.com/office/drawing/2010/main" val="0"/>
                </a:ext>
              </a:extLst>
            </a:blip>
            <a:srcRect/>
            <a:stretch>
              <a:fillRect l="-3494" t="1" r="-9522" b="10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0" name="Logo">
            <a:extLst>
              <a:ext uri="{FF2B5EF4-FFF2-40B4-BE49-F238E27FC236}">
                <a16:creationId xmlns:a16="http://schemas.microsoft.com/office/drawing/2014/main" id="{4A890472-AEEC-4675-8D80-3068114AB155}"/>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8907" y="618518"/>
            <a:ext cx="3657600" cy="914400"/>
          </a:xfrm>
          <a:prstGeom prst="rect">
            <a:avLst/>
          </a:prstGeom>
        </p:spPr>
      </p:pic>
      <p:sp>
        <p:nvSpPr>
          <p:cNvPr id="48" name="Rectangle 47">
            <a:extLst>
              <a:ext uri="{FF2B5EF4-FFF2-40B4-BE49-F238E27FC236}">
                <a16:creationId xmlns:a16="http://schemas.microsoft.com/office/drawing/2014/main" id="{0FD42B91-B638-43D2-8C99-23ED1BE61159}"/>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Placeholder for Client logo">
            <a:extLst>
              <a:ext uri="{FF2B5EF4-FFF2-40B4-BE49-F238E27FC236}">
                <a16:creationId xmlns:a16="http://schemas.microsoft.com/office/drawing/2014/main" id="{238CBF01-616E-4147-B456-332B040827B6}"/>
              </a:ext>
            </a:extLst>
          </p:cNvPr>
          <p:cNvSpPr>
            <a:spLocks noGrp="1"/>
          </p:cNvSpPr>
          <p:nvPr>
            <p:ph type="pic" sz="quarter" idx="11" hasCustomPrompt="1"/>
          </p:nvPr>
        </p:nvSpPr>
        <p:spPr>
          <a:xfrm>
            <a:off x="8551976" y="5761386"/>
            <a:ext cx="3103033" cy="1019175"/>
          </a:xfrm>
        </p:spPr>
        <p:txBody>
          <a:bodyPr anchor="ctr"/>
          <a:lstStyle>
            <a:lvl1pPr marL="0" indent="0" algn="ctr">
              <a:buNone/>
              <a:defRPr sz="1600">
                <a:solidFill>
                  <a:srgbClr val="5B5857"/>
                </a:solidFill>
              </a:defRPr>
            </a:lvl1pPr>
          </a:lstStyle>
          <a:p>
            <a:r>
              <a:rPr lang="en-US" dirty="0"/>
              <a:t>Click to insert client logo</a:t>
            </a:r>
          </a:p>
        </p:txBody>
      </p:sp>
      <p:sp>
        <p:nvSpPr>
          <p:cNvPr id="12" name="Subtitle 2">
            <a:extLst>
              <a:ext uri="{FF2B5EF4-FFF2-40B4-BE49-F238E27FC236}">
                <a16:creationId xmlns:a16="http://schemas.microsoft.com/office/drawing/2014/main" id="{75DF3627-6FC4-4937-ADBE-CA4997CB6C89}"/>
              </a:ext>
            </a:extLst>
          </p:cNvPr>
          <p:cNvSpPr>
            <a:spLocks noGrp="1"/>
          </p:cNvSpPr>
          <p:nvPr>
            <p:ph type="subTitle" idx="1"/>
          </p:nvPr>
        </p:nvSpPr>
        <p:spPr bwMode="white">
          <a:xfrm>
            <a:off x="745697" y="4298195"/>
            <a:ext cx="9250561" cy="701021"/>
          </a:xfrm>
        </p:spPr>
        <p:txBody>
          <a:bodyPr>
            <a:noAutofit/>
          </a:bodyPr>
          <a:lstStyle>
            <a:lvl1pPr marL="0" indent="0" algn="l">
              <a:buNone/>
              <a:defRPr lang="en-US" sz="2000" b="1" i="0" kern="1200" cap="all" spc="100" baseline="0" dirty="0">
                <a:solidFill>
                  <a:schemeClr val="accent2"/>
                </a:solidFill>
                <a:latin typeface="+mj-lt"/>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3" name="Text Placeholder 5">
            <a:extLst>
              <a:ext uri="{FF2B5EF4-FFF2-40B4-BE49-F238E27FC236}">
                <a16:creationId xmlns:a16="http://schemas.microsoft.com/office/drawing/2014/main" id="{5D363EA3-47B1-4095-90C5-7026EC0D03F2}"/>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1" kern="1200" dirty="0">
                <a:solidFill>
                  <a:schemeClr val="accent1"/>
                </a:solidFill>
                <a:latin typeface="+mj-lt"/>
                <a:ea typeface="Verdana" panose="020B0604030504040204" pitchFamily="34" charset="0"/>
                <a:cs typeface="Verdana" panose="020B0604030504040204" pitchFamily="34" charset="0"/>
              </a:defRPr>
            </a:lvl1pPr>
          </a:lstStyle>
          <a:p>
            <a:pPr lvl="0"/>
            <a:r>
              <a:rPr lang="en-US" dirty="0"/>
              <a:t>CLICK TO INSERT DATE</a:t>
            </a:r>
          </a:p>
        </p:txBody>
      </p:sp>
      <p:sp>
        <p:nvSpPr>
          <p:cNvPr id="14" name="Title 3">
            <a:extLst>
              <a:ext uri="{FF2B5EF4-FFF2-40B4-BE49-F238E27FC236}">
                <a16:creationId xmlns:a16="http://schemas.microsoft.com/office/drawing/2014/main" id="{FD25C394-494F-451E-B7D9-0C407C181CBD}"/>
              </a:ext>
            </a:extLst>
          </p:cNvPr>
          <p:cNvSpPr>
            <a:spLocks noGrp="1"/>
          </p:cNvSpPr>
          <p:nvPr>
            <p:ph type="title"/>
          </p:nvPr>
        </p:nvSpPr>
        <p:spPr bwMode="white">
          <a:xfrm>
            <a:off x="745697" y="2596388"/>
            <a:ext cx="9250561" cy="1498700"/>
          </a:xfrm>
        </p:spPr>
        <p:txBody>
          <a:bodyPr vert="horz"/>
          <a:lstStyle>
            <a:lvl1pPr>
              <a:lnSpc>
                <a:spcPct val="100000"/>
              </a:lnSpc>
              <a:defRPr sz="4000" b="0">
                <a:solidFill>
                  <a:schemeClr val="bg1"/>
                </a:solidFill>
                <a:latin typeface="+mj-lt"/>
                <a:cs typeface="Segoe UI Light"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2960016177"/>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Chartis Divider No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2801431724"/>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10" y="3137929"/>
            <a:ext cx="11340860" cy="582147"/>
          </a:xfrm>
        </p:spPr>
        <p:txBody>
          <a:bodyPr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7"/>
            <a:ext cx="11340860" cy="582147"/>
          </a:xfrm>
        </p:spPr>
        <p:txBody>
          <a:bodyPr anchor="b"/>
          <a:lstStyle>
            <a:lvl1pPr marL="0" indent="0">
              <a:buNone/>
              <a:defRPr b="1" cap="all" baseline="0">
                <a:solidFill>
                  <a:schemeClr val="bg1"/>
                </a:solidFill>
              </a:defRPr>
            </a:lvl1pPr>
          </a:lstStyle>
          <a:p>
            <a:pPr lvl="0"/>
            <a:r>
              <a:rPr lang="en-US" dirty="0"/>
              <a:t>Click to edit highlight text</a:t>
            </a:r>
          </a:p>
        </p:txBody>
      </p:sp>
    </p:spTree>
    <p:extLst>
      <p:ext uri="{BB962C8B-B14F-4D97-AF65-F5344CB8AC3E}">
        <p14:creationId xmlns:p14="http://schemas.microsoft.com/office/powerpoint/2010/main" val="4200041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39266-F4B4-47EC-AC53-F2B67AE9E58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0997E21-0003-4F14-A2C2-6F959446C22E}"/>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72336342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_Chartis Divider Chartreuse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3716745977"/>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10" y="3137929"/>
            <a:ext cx="11340860" cy="582147"/>
          </a:xfrm>
        </p:spPr>
        <p:txBody>
          <a:bodyPr vert="horz"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7"/>
            <a:ext cx="11340860" cy="582147"/>
          </a:xfrm>
        </p:spPr>
        <p:txBody>
          <a:bodyPr anchor="b"/>
          <a:lstStyle>
            <a:lvl1pPr marL="0" indent="0">
              <a:buNone/>
              <a:defRPr b="1" cap="all" baseline="0">
                <a:solidFill>
                  <a:schemeClr val="accent2"/>
                </a:solidFill>
              </a:defRPr>
            </a:lvl1pPr>
          </a:lstStyle>
          <a:p>
            <a:pPr lvl="0"/>
            <a:r>
              <a:rPr lang="en-US" dirty="0"/>
              <a:t>Click to edit highlight text</a:t>
            </a:r>
          </a:p>
        </p:txBody>
      </p:sp>
    </p:spTree>
    <p:extLst>
      <p:ext uri="{BB962C8B-B14F-4D97-AF65-F5344CB8AC3E}">
        <p14:creationId xmlns:p14="http://schemas.microsoft.com/office/powerpoint/2010/main" val="35546568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3_Chartis Divider Aqua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631114013"/>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10" y="3137929"/>
            <a:ext cx="11340860" cy="582147"/>
          </a:xfrm>
        </p:spPr>
        <p:txBody>
          <a:bodyPr vert="horz"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7"/>
            <a:ext cx="11340860" cy="582147"/>
          </a:xfrm>
        </p:spPr>
        <p:txBody>
          <a:bodyPr anchor="b"/>
          <a:lstStyle>
            <a:lvl1pPr marL="0" indent="0">
              <a:buNone/>
              <a:defRPr b="1" cap="all" baseline="0">
                <a:solidFill>
                  <a:schemeClr val="accent3"/>
                </a:solidFill>
              </a:defRPr>
            </a:lvl1pPr>
          </a:lstStyle>
          <a:p>
            <a:pPr lvl="0"/>
            <a:r>
              <a:rPr lang="en-US" dirty="0"/>
              <a:t>Click to edit highlight text</a:t>
            </a:r>
          </a:p>
        </p:txBody>
      </p:sp>
    </p:spTree>
    <p:extLst>
      <p:ext uri="{BB962C8B-B14F-4D97-AF65-F5344CB8AC3E}">
        <p14:creationId xmlns:p14="http://schemas.microsoft.com/office/powerpoint/2010/main" val="220782981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4_Chartis Divider Marigold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1862788879"/>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10" y="3137929"/>
            <a:ext cx="11340860" cy="582147"/>
          </a:xfrm>
        </p:spPr>
        <p:txBody>
          <a:bodyPr vert="horz"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7"/>
            <a:ext cx="11340860" cy="582147"/>
          </a:xfrm>
        </p:spPr>
        <p:txBody>
          <a:bodyPr anchor="b"/>
          <a:lstStyle>
            <a:lvl1pPr marL="0" indent="0">
              <a:buNone/>
              <a:defRPr b="1" cap="all" baseline="0">
                <a:solidFill>
                  <a:schemeClr val="accent4"/>
                </a:solidFill>
              </a:defRPr>
            </a:lvl1pPr>
          </a:lstStyle>
          <a:p>
            <a:pPr lvl="0"/>
            <a:r>
              <a:rPr lang="en-US" dirty="0"/>
              <a:t>Click to edit highlight text</a:t>
            </a:r>
          </a:p>
        </p:txBody>
      </p:sp>
    </p:spTree>
    <p:extLst>
      <p:ext uri="{BB962C8B-B14F-4D97-AF65-F5344CB8AC3E}">
        <p14:creationId xmlns:p14="http://schemas.microsoft.com/office/powerpoint/2010/main" val="406133965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5_Chartis Divider Cerulean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2252386131"/>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10" y="3137929"/>
            <a:ext cx="11340860" cy="582147"/>
          </a:xfrm>
        </p:spPr>
        <p:txBody>
          <a:bodyPr vert="horz"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7"/>
            <a:ext cx="11340860" cy="582147"/>
          </a:xfrm>
        </p:spPr>
        <p:txBody>
          <a:bodyPr anchor="b"/>
          <a:lstStyle>
            <a:lvl1pPr marL="0" indent="0">
              <a:buNone/>
              <a:defRPr b="1" cap="all" baseline="0">
                <a:solidFill>
                  <a:schemeClr val="accent5"/>
                </a:solidFill>
              </a:defRPr>
            </a:lvl1pPr>
          </a:lstStyle>
          <a:p>
            <a:pPr lvl="0"/>
            <a:r>
              <a:rPr lang="en-US" dirty="0"/>
              <a:t>Click to edit highlight text</a:t>
            </a:r>
          </a:p>
        </p:txBody>
      </p:sp>
    </p:spTree>
    <p:extLst>
      <p:ext uri="{BB962C8B-B14F-4D97-AF65-F5344CB8AC3E}">
        <p14:creationId xmlns:p14="http://schemas.microsoft.com/office/powerpoint/2010/main" val="1396517129"/>
      </p:ext>
    </p:extLst>
  </p:cSld>
  <p:clrMapOvr>
    <a:masterClrMapping/>
  </p:clrMapOvr>
  <p:extLst>
    <p:ext uri="{DCECCB84-F9BA-43D5-87BE-67443E8EF086}">
      <p15:sldGuideLst xmlns:p15="http://schemas.microsoft.com/office/powerpoint/2012/main">
        <p15:guide id="1" orient="horz" pos="1944">
          <p15:clr>
            <a:srgbClr val="FBAE40"/>
          </p15:clr>
        </p15:guide>
        <p15:guide id="2" pos="408">
          <p15:clr>
            <a:srgbClr val="FBAE40"/>
          </p15:clr>
        </p15:guide>
        <p15:guide id="3" orient="horz" pos="223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6_Chartis Divider Salmon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2252386131"/>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10" y="3137929"/>
            <a:ext cx="11340860" cy="582147"/>
          </a:xfrm>
        </p:spPr>
        <p:txBody>
          <a:bodyPr vert="horz"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7"/>
            <a:ext cx="11340860" cy="582147"/>
          </a:xfrm>
        </p:spPr>
        <p:txBody>
          <a:bodyPr anchor="b"/>
          <a:lstStyle>
            <a:lvl1pPr marL="0" indent="0">
              <a:buNone/>
              <a:defRPr b="1" cap="all" baseline="0">
                <a:solidFill>
                  <a:schemeClr val="accent6"/>
                </a:solidFill>
              </a:defRPr>
            </a:lvl1pPr>
          </a:lstStyle>
          <a:p>
            <a:pPr lvl="0"/>
            <a:r>
              <a:rPr lang="en-US" dirty="0"/>
              <a:t>Click to edit highlight text</a:t>
            </a:r>
          </a:p>
        </p:txBody>
      </p:sp>
    </p:spTree>
    <p:extLst>
      <p:ext uri="{BB962C8B-B14F-4D97-AF65-F5344CB8AC3E}">
        <p14:creationId xmlns:p14="http://schemas.microsoft.com/office/powerpoint/2010/main" val="39680041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7_Chartis Divider">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3847022874"/>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1"/>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4" y="2534197"/>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2" name="Title 1"/>
          <p:cNvSpPr>
            <a:spLocks noGrp="1"/>
          </p:cNvSpPr>
          <p:nvPr>
            <p:ph type="title"/>
          </p:nvPr>
        </p:nvSpPr>
        <p:spPr bwMode="white">
          <a:xfrm>
            <a:off x="586596" y="3369216"/>
            <a:ext cx="10673753" cy="582147"/>
          </a:xfrm>
        </p:spPr>
        <p:txBody>
          <a:bodyPr vert="horz" anchor="t">
            <a:noAutofit/>
          </a:bodyPr>
          <a:lstStyle>
            <a:lvl1pPr>
              <a:defRPr sz="3200" b="0">
                <a:solidFill>
                  <a:schemeClr val="bg1"/>
                </a:solidFill>
              </a:defRPr>
            </a:lvl1pPr>
          </a:lstStyle>
          <a:p>
            <a:r>
              <a:rPr lang="en-US" dirty="0"/>
              <a:t>Click to edit Master title style</a:t>
            </a:r>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a:xfrm>
            <a:off x="586596" y="2774595"/>
            <a:ext cx="10673753" cy="582147"/>
          </a:xfrm>
        </p:spPr>
        <p:txBody>
          <a:bodyPr anchor="b"/>
          <a:lstStyle>
            <a:lvl1pPr marL="0" indent="0">
              <a:buNone/>
              <a:defRPr b="1" cap="all" baseline="0">
                <a:solidFill>
                  <a:schemeClr val="bg1"/>
                </a:solidFill>
              </a:defRPr>
            </a:lvl1pPr>
          </a:lstStyle>
          <a:p>
            <a:pPr lvl="0"/>
            <a:r>
              <a:rPr lang="en-US" dirty="0"/>
              <a:t>Click to edit highlight text</a:t>
            </a:r>
          </a:p>
        </p:txBody>
      </p:sp>
    </p:spTree>
    <p:extLst>
      <p:ext uri="{BB962C8B-B14F-4D97-AF65-F5344CB8AC3E}">
        <p14:creationId xmlns:p14="http://schemas.microsoft.com/office/powerpoint/2010/main" val="33123489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8_Chartis Divider Chartreuse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3847022874"/>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1"/>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4" y="2534197"/>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2" name="Title 1"/>
          <p:cNvSpPr>
            <a:spLocks noGrp="1"/>
          </p:cNvSpPr>
          <p:nvPr>
            <p:ph type="title"/>
          </p:nvPr>
        </p:nvSpPr>
        <p:spPr bwMode="white">
          <a:xfrm>
            <a:off x="586596" y="3369216"/>
            <a:ext cx="10673753" cy="582147"/>
          </a:xfrm>
        </p:spPr>
        <p:txBody>
          <a:bodyPr vert="horz" anchor="t">
            <a:noAutofit/>
          </a:bodyPr>
          <a:lstStyle>
            <a:lvl1pPr>
              <a:defRPr sz="3200" b="0">
                <a:solidFill>
                  <a:schemeClr val="bg1"/>
                </a:solidFill>
              </a:defRPr>
            </a:lvl1pPr>
          </a:lstStyle>
          <a:p>
            <a:r>
              <a:rPr lang="en-US" dirty="0"/>
              <a:t>Click to edit Master title style</a:t>
            </a:r>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a:xfrm>
            <a:off x="586596" y="2774595"/>
            <a:ext cx="10673753" cy="582147"/>
          </a:xfrm>
        </p:spPr>
        <p:txBody>
          <a:bodyPr anchor="b"/>
          <a:lstStyle>
            <a:lvl1pPr marL="0" indent="0">
              <a:buNone/>
              <a:defRPr b="1" cap="all" baseline="0">
                <a:solidFill>
                  <a:schemeClr val="accent2"/>
                </a:solidFill>
              </a:defRPr>
            </a:lvl1pPr>
          </a:lstStyle>
          <a:p>
            <a:pPr lvl="0"/>
            <a:r>
              <a:rPr lang="en-US" dirty="0"/>
              <a:t>Click to edit highlight text</a:t>
            </a:r>
          </a:p>
        </p:txBody>
      </p:sp>
    </p:spTree>
    <p:extLst>
      <p:ext uri="{BB962C8B-B14F-4D97-AF65-F5344CB8AC3E}">
        <p14:creationId xmlns:p14="http://schemas.microsoft.com/office/powerpoint/2010/main" val="269089059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9_Chartis Divider Aqua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332346370"/>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4" y="2534197"/>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B93E"/>
              </a:solidFill>
              <a:effectLst/>
              <a:uLnTx/>
              <a:uFillTx/>
              <a:latin typeface="Segoe UI Semibold"/>
              <a:ea typeface="+mn-ea"/>
              <a:cs typeface="+mn-cs"/>
            </a:endParaRPr>
          </a:p>
        </p:txBody>
      </p:sp>
      <p:sp>
        <p:nvSpPr>
          <p:cNvPr id="2" name="Title 1"/>
          <p:cNvSpPr>
            <a:spLocks noGrp="1"/>
          </p:cNvSpPr>
          <p:nvPr>
            <p:ph type="title"/>
          </p:nvPr>
        </p:nvSpPr>
        <p:spPr bwMode="white">
          <a:xfrm>
            <a:off x="586596" y="3369216"/>
            <a:ext cx="10673753" cy="582147"/>
          </a:xfrm>
        </p:spPr>
        <p:txBody>
          <a:bodyPr vert="horz" anchor="t">
            <a:noAutofit/>
          </a:bodyPr>
          <a:lstStyle>
            <a:lvl1pPr>
              <a:defRPr sz="3200" b="0">
                <a:solidFill>
                  <a:schemeClr val="bg1"/>
                </a:solidFill>
              </a:defRPr>
            </a:lvl1pPr>
          </a:lstStyle>
          <a:p>
            <a:r>
              <a:rPr lang="en-US" dirty="0"/>
              <a:t>Click to edit Master title style</a:t>
            </a:r>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bwMode="white">
          <a:xfrm>
            <a:off x="586596" y="2774595"/>
            <a:ext cx="10673753" cy="582147"/>
          </a:xfrm>
        </p:spPr>
        <p:txBody>
          <a:bodyPr anchor="b"/>
          <a:lstStyle>
            <a:lvl1pPr marL="0" indent="0">
              <a:buNone/>
              <a:defRPr b="1" cap="all" baseline="0">
                <a:solidFill>
                  <a:schemeClr val="accent3"/>
                </a:solidFill>
              </a:defRPr>
            </a:lvl1pPr>
          </a:lstStyle>
          <a:p>
            <a:pPr lvl="0"/>
            <a:r>
              <a:rPr lang="en-US" dirty="0"/>
              <a:t>Click to edit highlight text</a:t>
            </a:r>
          </a:p>
        </p:txBody>
      </p:sp>
    </p:spTree>
    <p:extLst>
      <p:ext uri="{BB962C8B-B14F-4D97-AF65-F5344CB8AC3E}">
        <p14:creationId xmlns:p14="http://schemas.microsoft.com/office/powerpoint/2010/main" val="233958070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0_Chartis Divider Marigold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1768478562"/>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4" y="2534197"/>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B93E"/>
              </a:solidFill>
              <a:effectLst/>
              <a:uLnTx/>
              <a:uFillTx/>
              <a:latin typeface="Segoe UI Semibold"/>
              <a:ea typeface="+mn-ea"/>
              <a:cs typeface="+mn-cs"/>
            </a:endParaRPr>
          </a:p>
        </p:txBody>
      </p:sp>
      <p:sp>
        <p:nvSpPr>
          <p:cNvPr id="2" name="Title 1"/>
          <p:cNvSpPr>
            <a:spLocks noGrp="1"/>
          </p:cNvSpPr>
          <p:nvPr>
            <p:ph type="title"/>
          </p:nvPr>
        </p:nvSpPr>
        <p:spPr bwMode="white">
          <a:xfrm>
            <a:off x="586596" y="3369216"/>
            <a:ext cx="10673753" cy="582147"/>
          </a:xfrm>
        </p:spPr>
        <p:txBody>
          <a:bodyPr vert="horz" anchor="t">
            <a:noAutofit/>
          </a:bodyPr>
          <a:lstStyle>
            <a:lvl1pPr>
              <a:defRPr sz="3200" b="0">
                <a:solidFill>
                  <a:schemeClr val="bg1"/>
                </a:solidFill>
              </a:defRPr>
            </a:lvl1pPr>
          </a:lstStyle>
          <a:p>
            <a:r>
              <a:rPr lang="en-US" dirty="0"/>
              <a:t>Click to edit Master title style</a:t>
            </a:r>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a:xfrm>
            <a:off x="586596" y="2774595"/>
            <a:ext cx="10673753" cy="582147"/>
          </a:xfrm>
        </p:spPr>
        <p:txBody>
          <a:bodyPr anchor="b"/>
          <a:lstStyle>
            <a:lvl1pPr marL="0" indent="0">
              <a:buNone/>
              <a:defRPr b="1" cap="all" baseline="0">
                <a:solidFill>
                  <a:schemeClr val="accent4"/>
                </a:solidFill>
              </a:defRPr>
            </a:lvl1pPr>
          </a:lstStyle>
          <a:p>
            <a:pPr lvl="0"/>
            <a:r>
              <a:rPr lang="en-US" dirty="0"/>
              <a:t>Click to edit highlight text</a:t>
            </a:r>
          </a:p>
        </p:txBody>
      </p:sp>
    </p:spTree>
    <p:extLst>
      <p:ext uri="{BB962C8B-B14F-4D97-AF65-F5344CB8AC3E}">
        <p14:creationId xmlns:p14="http://schemas.microsoft.com/office/powerpoint/2010/main" val="15328808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Chartis Divider Cerulean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4183136572"/>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4" y="2534197"/>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2" name="Title 1"/>
          <p:cNvSpPr>
            <a:spLocks noGrp="1"/>
          </p:cNvSpPr>
          <p:nvPr>
            <p:ph type="title"/>
          </p:nvPr>
        </p:nvSpPr>
        <p:spPr bwMode="white">
          <a:xfrm>
            <a:off x="586596" y="3369216"/>
            <a:ext cx="10673753" cy="582147"/>
          </a:xfrm>
        </p:spPr>
        <p:txBody>
          <a:bodyPr vert="horz" anchor="t">
            <a:noAutofit/>
          </a:bodyPr>
          <a:lstStyle>
            <a:lvl1pPr>
              <a:defRPr sz="3200" b="0">
                <a:solidFill>
                  <a:schemeClr val="bg1"/>
                </a:solidFill>
              </a:defRPr>
            </a:lvl1pPr>
          </a:lstStyle>
          <a:p>
            <a:r>
              <a:rPr lang="en-US" dirty="0"/>
              <a:t>Click to edit Master title style</a:t>
            </a:r>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a:xfrm>
            <a:off x="586596" y="2774595"/>
            <a:ext cx="10673753" cy="582147"/>
          </a:xfrm>
        </p:spPr>
        <p:txBody>
          <a:bodyPr anchor="b"/>
          <a:lstStyle>
            <a:lvl1pPr marL="0" indent="0">
              <a:buNone/>
              <a:defRPr b="1" cap="all" baseline="0">
                <a:solidFill>
                  <a:schemeClr val="accent5"/>
                </a:solidFill>
              </a:defRPr>
            </a:lvl1pPr>
          </a:lstStyle>
          <a:p>
            <a:pPr lvl="0"/>
            <a:r>
              <a:rPr lang="en-US" dirty="0"/>
              <a:t>Click to edit highlight text</a:t>
            </a:r>
          </a:p>
        </p:txBody>
      </p:sp>
    </p:spTree>
    <p:extLst>
      <p:ext uri="{BB962C8B-B14F-4D97-AF65-F5344CB8AC3E}">
        <p14:creationId xmlns:p14="http://schemas.microsoft.com/office/powerpoint/2010/main" val="32951935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26A8D-47C9-4A19-AA88-6647AD5C3A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D4F8BC-0397-457D-8DA7-36D0B038196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43BCE7-CEAB-4EC7-8A6F-86D2C18F81D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819506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_Chartis Divider Salmon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4183136572"/>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4" y="2534197"/>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2" name="Title 1"/>
          <p:cNvSpPr>
            <a:spLocks noGrp="1"/>
          </p:cNvSpPr>
          <p:nvPr>
            <p:ph type="title"/>
          </p:nvPr>
        </p:nvSpPr>
        <p:spPr bwMode="white">
          <a:xfrm>
            <a:off x="586596" y="3369216"/>
            <a:ext cx="10673753" cy="582147"/>
          </a:xfrm>
        </p:spPr>
        <p:txBody>
          <a:bodyPr vert="horz" anchor="t">
            <a:noAutofit/>
          </a:bodyPr>
          <a:lstStyle>
            <a:lvl1pPr>
              <a:defRPr sz="3200" b="0">
                <a:solidFill>
                  <a:schemeClr val="bg1"/>
                </a:solidFill>
              </a:defRPr>
            </a:lvl1pPr>
          </a:lstStyle>
          <a:p>
            <a:r>
              <a:rPr lang="en-US" dirty="0"/>
              <a:t>Click to edit Master title style</a:t>
            </a:r>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a:xfrm>
            <a:off x="586596" y="2774595"/>
            <a:ext cx="10673753" cy="582147"/>
          </a:xfrm>
        </p:spPr>
        <p:txBody>
          <a:bodyPr anchor="b"/>
          <a:lstStyle>
            <a:lvl1pPr marL="0" indent="0">
              <a:buNone/>
              <a:defRPr b="1" cap="all" baseline="0">
                <a:solidFill>
                  <a:schemeClr val="accent6"/>
                </a:solidFill>
              </a:defRPr>
            </a:lvl1pPr>
          </a:lstStyle>
          <a:p>
            <a:pPr lvl="0"/>
            <a:r>
              <a:rPr lang="en-US" dirty="0"/>
              <a:t>Click to edit highlight text</a:t>
            </a:r>
          </a:p>
        </p:txBody>
      </p:sp>
    </p:spTree>
    <p:extLst>
      <p:ext uri="{BB962C8B-B14F-4D97-AF65-F5344CB8AC3E}">
        <p14:creationId xmlns:p14="http://schemas.microsoft.com/office/powerpoint/2010/main" val="34451990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1481550009"/>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dirty="0"/>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621101" y="1595890"/>
            <a:ext cx="11024659" cy="476188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90280956"/>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2_Lead-in Sentenc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68839B-DA81-41E8-8663-EFBA614B1404}"/>
              </a:ext>
            </a:extLst>
          </p:cNvPr>
          <p:cNvGraphicFramePr>
            <a:graphicFrameLocks noChangeAspect="1"/>
          </p:cNvGraphicFramePr>
          <p:nvPr userDrawn="1">
            <p:custDataLst>
              <p:tags r:id="rId1"/>
            </p:custDataLst>
            <p:extLst>
              <p:ext uri="{D42A27DB-BD31-4B8C-83A1-F6EECF244321}">
                <p14:modId xmlns:p14="http://schemas.microsoft.com/office/powerpoint/2010/main" val="2874795303"/>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1868839B-DA81-41E8-8663-EFBA614B1404}"/>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E541E18-E1EE-4A8B-A16C-8E642269DBA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dirty="0"/>
              <a:t>Click to edit Master title style</a:t>
            </a:r>
          </a:p>
        </p:txBody>
      </p:sp>
      <p:sp>
        <p:nvSpPr>
          <p:cNvPr id="3" name="Content Placeholder 2"/>
          <p:cNvSpPr>
            <a:spLocks noGrp="1"/>
          </p:cNvSpPr>
          <p:nvPr>
            <p:ph idx="1"/>
          </p:nvPr>
        </p:nvSpPr>
        <p:spPr>
          <a:xfrm>
            <a:off x="609600" y="2053089"/>
            <a:ext cx="11023600" cy="4390745"/>
          </a:xfrm>
        </p:spPr>
        <p:txBody>
          <a:bodyPr/>
          <a:lstStyle>
            <a:lvl2pPr marL="457200" indent="-223838">
              <a:defRPr/>
            </a:lvl2pPr>
            <a:lvl3pPr marL="690563" indent="-233363">
              <a:defRPr/>
            </a:lvl3pPr>
            <a:lvl4pPr marL="914400" indent="-223838">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0"/>
          </p:nvPr>
        </p:nvSpPr>
        <p:spPr>
          <a:xfrm>
            <a:off x="0" y="1250830"/>
            <a:ext cx="12192000" cy="577970"/>
          </a:xfrm>
          <a:solidFill>
            <a:srgbClr val="00294C"/>
          </a:solidFill>
        </p:spPr>
        <p:txBody>
          <a:bodyPr lIns="457200" rIns="457200" anchor="ctr" anchorCtr="0">
            <a:noAutofit/>
          </a:bodyPr>
          <a:lstStyle>
            <a:lvl1pPr marL="114300" indent="-1588">
              <a:buNone/>
              <a:defRPr sz="1400" b="0">
                <a:solidFill>
                  <a:schemeClr val="bg1"/>
                </a:solidFill>
                <a:latin typeface="+mj-lt"/>
                <a:ea typeface="Verdana" panose="020B0604030504040204" pitchFamily="34" charset="0"/>
                <a:cs typeface="Verdana" panose="020B0604030504040204" pitchFamily="34" charset="0"/>
              </a:defRPr>
            </a:lvl1pPr>
          </a:lstStyle>
          <a:p>
            <a:pPr lvl="0"/>
            <a:r>
              <a:rPr lang="en-US" dirty="0"/>
              <a:t>Edit Master text styles</a:t>
            </a:r>
          </a:p>
        </p:txBody>
      </p:sp>
    </p:spTree>
    <p:extLst>
      <p:ext uri="{BB962C8B-B14F-4D97-AF65-F5344CB8AC3E}">
        <p14:creationId xmlns:p14="http://schemas.microsoft.com/office/powerpoint/2010/main" val="1013441069"/>
      </p:ext>
    </p:extLst>
  </p:cSld>
  <p:clrMapOvr>
    <a:masterClrMapping/>
  </p:clrMapOvr>
  <p:extLst>
    <p:ext uri="{DCECCB84-F9BA-43D5-87BE-67443E8EF086}">
      <p15:sldGuideLst xmlns:p15="http://schemas.microsoft.com/office/powerpoint/2012/main">
        <p15:guide id="1" orient="horz" pos="2160">
          <p15:clr>
            <a:srgbClr val="FBAE40"/>
          </p15:clr>
        </p15:guide>
        <p15:guide id="2" pos="732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Title, Lead-in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2C7125-4F5B-4830-9F52-3D8E4D81F36E}"/>
              </a:ext>
            </a:extLst>
          </p:cNvPr>
          <p:cNvGraphicFramePr>
            <a:graphicFrameLocks noChangeAspect="1"/>
          </p:cNvGraphicFramePr>
          <p:nvPr userDrawn="1">
            <p:custDataLst>
              <p:tags r:id="rId1"/>
            </p:custDataLst>
            <p:extLst>
              <p:ext uri="{D42A27DB-BD31-4B8C-83A1-F6EECF244321}">
                <p14:modId xmlns:p14="http://schemas.microsoft.com/office/powerpoint/2010/main" val="1112690500"/>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E2C7125-4F5B-4830-9F52-3D8E4D81F36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124D31-E018-4C00-953A-6786DDE05836}"/>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endParaRPr lang="en-US" dirty="0"/>
          </a:p>
        </p:txBody>
      </p:sp>
      <p:sp>
        <p:nvSpPr>
          <p:cNvPr id="5" name="Text Placeholder 4"/>
          <p:cNvSpPr>
            <a:spLocks noGrp="1"/>
          </p:cNvSpPr>
          <p:nvPr>
            <p:ph type="body" sz="quarter" idx="10"/>
          </p:nvPr>
        </p:nvSpPr>
        <p:spPr>
          <a:xfrm>
            <a:off x="0" y="1250830"/>
            <a:ext cx="12192000" cy="577970"/>
          </a:xfrm>
          <a:solidFill>
            <a:srgbClr val="00294C"/>
          </a:solidFill>
        </p:spPr>
        <p:txBody>
          <a:bodyPr lIns="457200" rIns="457200" anchor="ctr" anchorCtr="0">
            <a:noAutofit/>
          </a:bodyPr>
          <a:lstStyle>
            <a:lvl1pPr marL="114300" indent="0">
              <a:buNone/>
              <a:defRPr sz="1400" b="0">
                <a:solidFill>
                  <a:schemeClr val="bg1"/>
                </a:solidFill>
                <a:latin typeface="+mj-lt"/>
                <a:ea typeface="Verdana" panose="020B0604030504040204" pitchFamily="34" charset="0"/>
                <a:cs typeface="Verdana" panose="020B0604030504040204" pitchFamily="34" charset="0"/>
              </a:defRPr>
            </a:lvl1pPr>
          </a:lstStyle>
          <a:p>
            <a:pPr lvl="0"/>
            <a:r>
              <a:rPr lang="en-US" dirty="0"/>
              <a:t>Edit Master text styles</a:t>
            </a:r>
          </a:p>
        </p:txBody>
      </p:sp>
    </p:spTree>
    <p:extLst>
      <p:ext uri="{BB962C8B-B14F-4D97-AF65-F5344CB8AC3E}">
        <p14:creationId xmlns:p14="http://schemas.microsoft.com/office/powerpoint/2010/main" val="3040513034"/>
      </p:ext>
    </p:extLst>
  </p:cSld>
  <p:clrMapOvr>
    <a:masterClrMapping/>
  </p:clrMapOvr>
  <p:extLst>
    <p:ext uri="{DCECCB84-F9BA-43D5-87BE-67443E8EF086}">
      <p15:sldGuideLst xmlns:p15="http://schemas.microsoft.com/office/powerpoint/2012/main">
        <p15:guide id="1" orient="horz" pos="2160">
          <p15:clr>
            <a:srgbClr val="FBAE40"/>
          </p15:clr>
        </p15:guide>
        <p15:guide id="2" pos="732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_Title Only -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4119741763"/>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5" name="Rectangle 4">
            <a:extLst>
              <a:ext uri="{FF2B5EF4-FFF2-40B4-BE49-F238E27FC236}">
                <a16:creationId xmlns:a16="http://schemas.microsoft.com/office/drawing/2014/main" id="{B48BD9A1-8F1F-41E5-9C00-C6E15BEE1ABC}"/>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2769514778"/>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_Blank no 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3004309090"/>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4"/>
                      <a:stretch>
                        <a:fillRect/>
                      </a:stretch>
                    </p:blipFill>
                    <p:spPr>
                      <a:xfrm>
                        <a:off x="2119" y="1588"/>
                        <a:ext cx="2117"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CFEFD1D-D1D9-4610-A6A3-708197C1FB91}"/>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3689171959"/>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6_Title with Sideba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2C7125-4F5B-4830-9F52-3D8E4D81F36E}"/>
              </a:ext>
            </a:extLst>
          </p:cNvPr>
          <p:cNvGraphicFramePr>
            <a:graphicFrameLocks noChangeAspect="1"/>
          </p:cNvGraphicFramePr>
          <p:nvPr userDrawn="1">
            <p:custDataLst>
              <p:tags r:id="rId1"/>
            </p:custDataLst>
            <p:extLst>
              <p:ext uri="{D42A27DB-BD31-4B8C-83A1-F6EECF244321}">
                <p14:modId xmlns:p14="http://schemas.microsoft.com/office/powerpoint/2010/main" val="4028933168"/>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E2C7125-4F5B-4830-9F52-3D8E4D81F36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124D31-E018-4C00-953A-6786DDE05836}"/>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endParaRPr lang="en-US" dirty="0"/>
          </a:p>
        </p:txBody>
      </p:sp>
      <p:sp>
        <p:nvSpPr>
          <p:cNvPr id="5" name="Text Placeholder 4"/>
          <p:cNvSpPr>
            <a:spLocks noGrp="1"/>
          </p:cNvSpPr>
          <p:nvPr>
            <p:ph type="body" sz="quarter" idx="10"/>
          </p:nvPr>
        </p:nvSpPr>
        <p:spPr>
          <a:xfrm>
            <a:off x="1" y="1250832"/>
            <a:ext cx="3772619" cy="5262113"/>
          </a:xfrm>
          <a:solidFill>
            <a:srgbClr val="00294C"/>
          </a:solidFill>
        </p:spPr>
        <p:txBody>
          <a:bodyPr lIns="457200" rIns="457200" anchor="ctr" anchorCtr="0">
            <a:noAutofit/>
          </a:bodyPr>
          <a:lstStyle>
            <a:lvl1pPr marL="0" indent="0">
              <a:buNone/>
              <a:defRPr sz="1400" b="0">
                <a:solidFill>
                  <a:schemeClr val="bg1"/>
                </a:solidFill>
                <a:latin typeface="+mj-lt"/>
                <a:ea typeface="Verdana" panose="020B0604030504040204" pitchFamily="34" charset="0"/>
                <a:cs typeface="Verdana" panose="020B0604030504040204" pitchFamily="34" charset="0"/>
              </a:defRPr>
            </a:lvl1pPr>
          </a:lstStyle>
          <a:p>
            <a:pPr lvl="0"/>
            <a:r>
              <a:rPr lang="en-US" dirty="0"/>
              <a:t>Edit Master text styles</a:t>
            </a:r>
          </a:p>
        </p:txBody>
      </p:sp>
    </p:spTree>
    <p:extLst>
      <p:ext uri="{BB962C8B-B14F-4D97-AF65-F5344CB8AC3E}">
        <p14:creationId xmlns:p14="http://schemas.microsoft.com/office/powerpoint/2010/main" val="693271330"/>
      </p:ext>
    </p:extLst>
  </p:cSld>
  <p:clrMapOvr>
    <a:masterClrMapping/>
  </p:clrMapOvr>
  <p:extLst>
    <p:ext uri="{DCECCB84-F9BA-43D5-87BE-67443E8EF086}">
      <p15:sldGuideLst xmlns:p15="http://schemas.microsoft.com/office/powerpoint/2012/main">
        <p15:guide id="1" orient="horz" pos="2160">
          <p15:clr>
            <a:srgbClr val="FBAE40"/>
          </p15:clr>
        </p15:guide>
        <p15:guide id="2" pos="732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7_Title with Sidebar with Bulle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2C7125-4F5B-4830-9F52-3D8E4D81F36E}"/>
              </a:ext>
            </a:extLst>
          </p:cNvPr>
          <p:cNvGraphicFramePr>
            <a:graphicFrameLocks noChangeAspect="1"/>
          </p:cNvGraphicFramePr>
          <p:nvPr userDrawn="1">
            <p:custDataLst>
              <p:tags r:id="rId1"/>
            </p:custDataLst>
            <p:extLst>
              <p:ext uri="{D42A27DB-BD31-4B8C-83A1-F6EECF244321}">
                <p14:modId xmlns:p14="http://schemas.microsoft.com/office/powerpoint/2010/main" val="4028933168"/>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E2C7125-4F5B-4830-9F52-3D8E4D81F36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124D31-E018-4C00-953A-6786DDE05836}"/>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endParaRPr lang="en-US" dirty="0"/>
          </a:p>
        </p:txBody>
      </p:sp>
      <p:sp>
        <p:nvSpPr>
          <p:cNvPr id="5" name="Text Placeholder 4"/>
          <p:cNvSpPr>
            <a:spLocks noGrp="1"/>
          </p:cNvSpPr>
          <p:nvPr>
            <p:ph type="body" sz="quarter" idx="10"/>
          </p:nvPr>
        </p:nvSpPr>
        <p:spPr>
          <a:xfrm>
            <a:off x="1" y="1250832"/>
            <a:ext cx="3772619" cy="5262113"/>
          </a:xfrm>
          <a:solidFill>
            <a:srgbClr val="00294C"/>
          </a:solidFill>
        </p:spPr>
        <p:txBody>
          <a:bodyPr lIns="457200" rIns="457200" anchor="ctr" anchorCtr="0">
            <a:noAutofit/>
          </a:bodyPr>
          <a:lstStyle>
            <a:lvl1pPr marL="0" indent="0">
              <a:buNone/>
              <a:defRPr sz="1400" b="0">
                <a:solidFill>
                  <a:schemeClr val="bg1"/>
                </a:solidFill>
                <a:latin typeface="+mj-lt"/>
                <a:ea typeface="Verdana" panose="020B0604030504040204" pitchFamily="34" charset="0"/>
                <a:cs typeface="Verdana" panose="020B0604030504040204" pitchFamily="34" charset="0"/>
              </a:defRPr>
            </a:lvl1pPr>
          </a:lstStyle>
          <a:p>
            <a:pPr lvl="0"/>
            <a:r>
              <a:rPr lang="en-US" dirty="0"/>
              <a:t>Edit Master text styles</a:t>
            </a:r>
          </a:p>
        </p:txBody>
      </p:sp>
      <p:sp>
        <p:nvSpPr>
          <p:cNvPr id="6" name="Text Placeholder 2">
            <a:extLst>
              <a:ext uri="{FF2B5EF4-FFF2-40B4-BE49-F238E27FC236}">
                <a16:creationId xmlns:a16="http://schemas.microsoft.com/office/drawing/2014/main" id="{F24A1050-8B32-4F11-A3C6-01FB62E80E9B}"/>
              </a:ext>
            </a:extLst>
          </p:cNvPr>
          <p:cNvSpPr>
            <a:spLocks noGrp="1"/>
          </p:cNvSpPr>
          <p:nvPr>
            <p:ph idx="1"/>
          </p:nvPr>
        </p:nvSpPr>
        <p:spPr>
          <a:xfrm>
            <a:off x="4088922" y="1595890"/>
            <a:ext cx="7556839" cy="476188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84836897"/>
      </p:ext>
    </p:extLst>
  </p:cSld>
  <p:clrMapOvr>
    <a:masterClrMapping/>
  </p:clrMapOvr>
  <p:extLst>
    <p:ext uri="{DCECCB84-F9BA-43D5-87BE-67443E8EF086}">
      <p15:sldGuideLst xmlns:p15="http://schemas.microsoft.com/office/powerpoint/2012/main">
        <p15:guide id="1" orient="horz" pos="2160">
          <p15:clr>
            <a:srgbClr val="FBAE40"/>
          </p15:clr>
        </p15:guide>
        <p15:guide id="2" pos="7328">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7_Title and Content- with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858950008"/>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B5FBD18B-D759-487E-8D63-5FB067B90F61}"/>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Rectangle 5">
            <a:extLst>
              <a:ext uri="{FF2B5EF4-FFF2-40B4-BE49-F238E27FC236}">
                <a16:creationId xmlns:a16="http://schemas.microsoft.com/office/drawing/2014/main" id="{E6B2F6FB-4FA8-477E-8BB9-BDFCD53137D3}"/>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vert="horz"/>
          <a:lstStyle/>
          <a:p>
            <a:r>
              <a:rPr lang="en-US" dirty="0"/>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621101" y="1595890"/>
            <a:ext cx="11024659" cy="476188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9" name="Straight Connector 8">
            <a:extLst>
              <a:ext uri="{FF2B5EF4-FFF2-40B4-BE49-F238E27FC236}">
                <a16:creationId xmlns:a16="http://schemas.microsoft.com/office/drawing/2014/main" id="{804041C3-4C8D-4582-9895-2F13248B6E87}"/>
              </a:ext>
            </a:extLst>
          </p:cNvPr>
          <p:cNvCxnSpPr/>
          <p:nvPr userDrawn="1"/>
        </p:nvCxnSpPr>
        <p:spPr>
          <a:xfrm>
            <a:off x="0" y="1255143"/>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5810102"/>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8_Title Only with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4079146931"/>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dirty="0"/>
              <a:t>Click to edit Master title style</a:t>
            </a:r>
          </a:p>
        </p:txBody>
      </p:sp>
      <p:cxnSp>
        <p:nvCxnSpPr>
          <p:cNvPr id="6" name="Straight Connector 5">
            <a:extLst>
              <a:ext uri="{FF2B5EF4-FFF2-40B4-BE49-F238E27FC236}">
                <a16:creationId xmlns:a16="http://schemas.microsoft.com/office/drawing/2014/main" id="{822ED630-1058-433E-BE14-04F41D9E5CBC}"/>
              </a:ext>
            </a:extLst>
          </p:cNvPr>
          <p:cNvCxnSpPr/>
          <p:nvPr userDrawn="1"/>
        </p:nvCxnSpPr>
        <p:spPr>
          <a:xfrm>
            <a:off x="0" y="1255143"/>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7610534"/>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155B3-7B59-4CB7-A651-BE05A8B8E07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3CA5724-3503-4B06-855F-C30EEA22F5C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EC23266-28B1-4853-BFC4-F60E5A59143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905F75-FEC6-455E-A42D-5DE8B1AA319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BC775AC-C2D9-4D14-90FD-ED8E5C8E14B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266323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9_Divider Slide - Light Blue">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p:custDataLst>
              <p:tags r:id="rId1"/>
            </p:custDataLst>
            <p:extLst>
              <p:ext uri="{D42A27DB-BD31-4B8C-83A1-F6EECF244321}">
                <p14:modId xmlns:p14="http://schemas.microsoft.com/office/powerpoint/2010/main" val="1273887349"/>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10" name="Freeform: Shape 9">
            <a:extLst>
              <a:ext uri="{FF2B5EF4-FFF2-40B4-BE49-F238E27FC236}">
                <a16:creationId xmlns:a16="http://schemas.microsoft.com/office/drawing/2014/main" id="{2DA6EA66-A60D-4FE5-8FD9-42F193723416}"/>
              </a:ext>
            </a:extLst>
          </p:cNvPr>
          <p:cNvSpPr/>
          <p:nvPr/>
        </p:nvSpPr>
        <p:spPr>
          <a:xfrm rot="16200000">
            <a:off x="8071624" y="2737622"/>
            <a:ext cx="4324801" cy="3915955"/>
          </a:xfrm>
          <a:custGeom>
            <a:avLst/>
            <a:gdLst>
              <a:gd name="connsiteX0" fmla="*/ 4324659 w 4324801"/>
              <a:gd name="connsiteY0" fmla="*/ 2381991 h 3915954"/>
              <a:gd name="connsiteX1" fmla="*/ 4211518 w 4324801"/>
              <a:gd name="connsiteY1" fmla="*/ 2704850 h 3915954"/>
              <a:gd name="connsiteX2" fmla="*/ 3930772 w 4324801"/>
              <a:gd name="connsiteY2" fmla="*/ 2897301 h 3915954"/>
              <a:gd name="connsiteX3" fmla="*/ 3591210 w 4324801"/>
              <a:gd name="connsiteY3" fmla="*/ 2891686 h 3915954"/>
              <a:gd name="connsiteX4" fmla="*/ 3319588 w 4324801"/>
              <a:gd name="connsiteY4" fmla="*/ 2688005 h 3915954"/>
              <a:gd name="connsiteX5" fmla="*/ 2753884 w 4324801"/>
              <a:gd name="connsiteY5" fmla="*/ 3013109 h 3915954"/>
              <a:gd name="connsiteX6" fmla="*/ 3045299 w 4324801"/>
              <a:gd name="connsiteY6" fmla="*/ 3279818 h 3915954"/>
              <a:gd name="connsiteX7" fmla="*/ 2980165 w 4324801"/>
              <a:gd name="connsiteY7" fmla="*/ 3412751 h 3915954"/>
              <a:gd name="connsiteX8" fmla="*/ 2615195 w 4324801"/>
              <a:gd name="connsiteY8" fmla="*/ 3089893 h 3915954"/>
              <a:gd name="connsiteX9" fmla="*/ 1220308 w 4324801"/>
              <a:gd name="connsiteY9" fmla="*/ 3896196 h 3915954"/>
              <a:gd name="connsiteX10" fmla="*/ 1237609 w 4324801"/>
              <a:gd name="connsiteY10" fmla="*/ 3915954 h 3915954"/>
              <a:gd name="connsiteX11" fmla="*/ 809549 w 4324801"/>
              <a:gd name="connsiteY11" fmla="*/ 3915954 h 3915954"/>
              <a:gd name="connsiteX12" fmla="*/ 716824 w 4324801"/>
              <a:gd name="connsiteY12" fmla="*/ 3766841 h 3915954"/>
              <a:gd name="connsiteX13" fmla="*/ 341853 w 4324801"/>
              <a:gd name="connsiteY13" fmla="*/ 2353776 h 3915954"/>
              <a:gd name="connsiteX14" fmla="*/ 831334 w 4324801"/>
              <a:gd name="connsiteY14" fmla="*/ 760682 h 3915954"/>
              <a:gd name="connsiteX15" fmla="*/ 330482 w 4324801"/>
              <a:gd name="connsiteY15" fmla="*/ 472075 h 3915954"/>
              <a:gd name="connsiteX16" fmla="*/ 228712 w 4324801"/>
              <a:gd name="connsiteY16" fmla="*/ 653156 h 3915954"/>
              <a:gd name="connsiteX17" fmla="*/ 225764 w 4324801"/>
              <a:gd name="connsiteY17" fmla="*/ 650349 h 3915954"/>
              <a:gd name="connsiteX18" fmla="*/ 222957 w 4324801"/>
              <a:gd name="connsiteY18" fmla="*/ 653156 h 3915954"/>
              <a:gd name="connsiteX19" fmla="*/ 138733 w 4324801"/>
              <a:gd name="connsiteY19" fmla="*/ 548438 h 3915954"/>
              <a:gd name="connsiteX20" fmla="*/ 0 w 4324801"/>
              <a:gd name="connsiteY20" fmla="*/ 386259 h 3915954"/>
              <a:gd name="connsiteX21" fmla="*/ 0 w 4324801"/>
              <a:gd name="connsiteY21" fmla="*/ 92656 h 3915954"/>
              <a:gd name="connsiteX22" fmla="*/ 509178 w 4324801"/>
              <a:gd name="connsiteY22" fmla="*/ 158481 h 3915954"/>
              <a:gd name="connsiteX23" fmla="*/ 410916 w 4324801"/>
              <a:gd name="connsiteY23" fmla="*/ 333948 h 3915954"/>
              <a:gd name="connsiteX24" fmla="*/ 925805 w 4324801"/>
              <a:gd name="connsiteY24" fmla="*/ 633785 h 3915954"/>
              <a:gd name="connsiteX25" fmla="*/ 1593560 w 4324801"/>
              <a:gd name="connsiteY25" fmla="*/ 48148 h 3915954"/>
              <a:gd name="connsiteX26" fmla="*/ 1658693 w 4324801"/>
              <a:gd name="connsiteY26" fmla="*/ 0 h 3915954"/>
              <a:gd name="connsiteX27" fmla="*/ 1678486 w 4324801"/>
              <a:gd name="connsiteY27" fmla="*/ 45341 h 3915954"/>
              <a:gd name="connsiteX28" fmla="*/ 1681293 w 4324801"/>
              <a:gd name="connsiteY28" fmla="*/ 53763 h 3915954"/>
              <a:gd name="connsiteX29" fmla="*/ 1797522 w 4324801"/>
              <a:gd name="connsiteY29" fmla="*/ 294784 h 3915954"/>
              <a:gd name="connsiteX30" fmla="*/ 1220167 w 4324801"/>
              <a:gd name="connsiteY30" fmla="*/ 803636 h 3915954"/>
              <a:gd name="connsiteX31" fmla="*/ 2615195 w 4324801"/>
              <a:gd name="connsiteY31" fmla="*/ 1609518 h 3915954"/>
              <a:gd name="connsiteX32" fmla="*/ 2980165 w 4324801"/>
              <a:gd name="connsiteY32" fmla="*/ 1286660 h 3915954"/>
              <a:gd name="connsiteX33" fmla="*/ 3045299 w 4324801"/>
              <a:gd name="connsiteY33" fmla="*/ 1419734 h 3915954"/>
              <a:gd name="connsiteX34" fmla="*/ 2753884 w 4324801"/>
              <a:gd name="connsiteY34" fmla="*/ 1686443 h 3915954"/>
              <a:gd name="connsiteX35" fmla="*/ 3328291 w 4324801"/>
              <a:gd name="connsiteY35" fmla="*/ 2020250 h 3915954"/>
              <a:gd name="connsiteX36" fmla="*/ 3333906 w 4324801"/>
              <a:gd name="connsiteY36" fmla="*/ 2014635 h 3915954"/>
              <a:gd name="connsiteX37" fmla="*/ 3333906 w 4324801"/>
              <a:gd name="connsiteY37" fmla="*/ 2017442 h 3915954"/>
              <a:gd name="connsiteX38" fmla="*/ 3959268 w 4324801"/>
              <a:gd name="connsiteY38" fmla="*/ 1844783 h 3915954"/>
              <a:gd name="connsiteX39" fmla="*/ 4228363 w 4324801"/>
              <a:gd name="connsiteY39" fmla="*/ 2053799 h 3915954"/>
              <a:gd name="connsiteX40" fmla="*/ 4324659 w 4324801"/>
              <a:gd name="connsiteY40" fmla="*/ 2381991 h 3915954"/>
              <a:gd name="connsiteX41" fmla="*/ 4126753 w 4324801"/>
              <a:gd name="connsiteY41" fmla="*/ 2383073 h 3915954"/>
              <a:gd name="connsiteX42" fmla="*/ 3970217 w 4324801"/>
              <a:gd name="connsiteY42" fmla="*/ 2068398 h 3915954"/>
              <a:gd name="connsiteX43" fmla="*/ 3824580 w 4324801"/>
              <a:gd name="connsiteY43" fmla="*/ 2012642 h 3915954"/>
              <a:gd name="connsiteX44" fmla="*/ 3772242 w 4324801"/>
              <a:gd name="connsiteY44" fmla="*/ 2009026 h 3915954"/>
              <a:gd name="connsiteX45" fmla="*/ 3772291 w 4324801"/>
              <a:gd name="connsiteY45" fmla="*/ 2009020 h 3915954"/>
              <a:gd name="connsiteX46" fmla="*/ 3772151 w 4324801"/>
              <a:gd name="connsiteY46" fmla="*/ 2009020 h 3915954"/>
              <a:gd name="connsiteX47" fmla="*/ 3772242 w 4324801"/>
              <a:gd name="connsiteY47" fmla="*/ 2009026 h 3915954"/>
              <a:gd name="connsiteX48" fmla="*/ 3699666 w 4324801"/>
              <a:gd name="connsiteY48" fmla="*/ 2018295 h 3915954"/>
              <a:gd name="connsiteX49" fmla="*/ 3630795 w 4324801"/>
              <a:gd name="connsiteY49" fmla="*/ 2043131 h 3915954"/>
              <a:gd name="connsiteX50" fmla="*/ 3514847 w 4324801"/>
              <a:gd name="connsiteY50" fmla="*/ 2119634 h 3915954"/>
              <a:gd name="connsiteX51" fmla="*/ 3438203 w 4324801"/>
              <a:gd name="connsiteY51" fmla="*/ 2234880 h 3915954"/>
              <a:gd name="connsiteX52" fmla="*/ 3410128 w 4324801"/>
              <a:gd name="connsiteY52" fmla="*/ 2370761 h 3915954"/>
              <a:gd name="connsiteX53" fmla="*/ 3469506 w 4324801"/>
              <a:gd name="connsiteY53" fmla="*/ 2568828 h 3915954"/>
              <a:gd name="connsiteX54" fmla="*/ 3630795 w 4324801"/>
              <a:gd name="connsiteY54" fmla="*/ 2699375 h 3915954"/>
              <a:gd name="connsiteX55" fmla="*/ 3837284 w 4324801"/>
              <a:gd name="connsiteY55" fmla="*/ 2719168 h 3915954"/>
              <a:gd name="connsiteX56" fmla="*/ 4021173 w 4324801"/>
              <a:gd name="connsiteY56" fmla="*/ 2620064 h 3915954"/>
              <a:gd name="connsiteX57" fmla="*/ 4120276 w 4324801"/>
              <a:gd name="connsiteY57" fmla="*/ 2436175 h 3915954"/>
              <a:gd name="connsiteX58" fmla="*/ 4126753 w 4324801"/>
              <a:gd name="connsiteY58" fmla="*/ 2383073 h 3915954"/>
              <a:gd name="connsiteX59" fmla="*/ 3248840 w 4324801"/>
              <a:gd name="connsiteY59" fmla="*/ 2161746 h 3915954"/>
              <a:gd name="connsiteX60" fmla="*/ 2662782 w 4324801"/>
              <a:gd name="connsiteY60" fmla="*/ 1822183 h 3915954"/>
              <a:gd name="connsiteX61" fmla="*/ 2526901 w 4324801"/>
              <a:gd name="connsiteY61" fmla="*/ 2354198 h 3915954"/>
              <a:gd name="connsiteX62" fmla="*/ 2538271 w 4324801"/>
              <a:gd name="connsiteY62" fmla="*/ 2498501 h 3915954"/>
              <a:gd name="connsiteX63" fmla="*/ 3212062 w 4324801"/>
              <a:gd name="connsiteY63" fmla="*/ 2334405 h 3915954"/>
              <a:gd name="connsiteX64" fmla="*/ 3248840 w 4324801"/>
              <a:gd name="connsiteY64" fmla="*/ 2161746 h 3915954"/>
              <a:gd name="connsiteX65" fmla="*/ 3246453 w 4324801"/>
              <a:gd name="connsiteY65" fmla="*/ 2549456 h 3915954"/>
              <a:gd name="connsiteX66" fmla="*/ 3232416 w 4324801"/>
              <a:gd name="connsiteY66" fmla="*/ 2495693 h 3915954"/>
              <a:gd name="connsiteX67" fmla="*/ 2572662 w 4324801"/>
              <a:gd name="connsiteY67" fmla="*/ 2656982 h 3915954"/>
              <a:gd name="connsiteX68" fmla="*/ 2663203 w 4324801"/>
              <a:gd name="connsiteY68" fmla="*/ 2886071 h 3915954"/>
              <a:gd name="connsiteX69" fmla="*/ 3246453 w 4324801"/>
              <a:gd name="connsiteY69" fmla="*/ 2549456 h 3915954"/>
              <a:gd name="connsiteX70" fmla="*/ 2538692 w 4324801"/>
              <a:gd name="connsiteY70" fmla="*/ 2965382 h 3915954"/>
              <a:gd name="connsiteX71" fmla="*/ 2431166 w 4324801"/>
              <a:gd name="connsiteY71" fmla="*/ 2693760 h 3915954"/>
              <a:gd name="connsiteX72" fmla="*/ 790064 w 4324801"/>
              <a:gd name="connsiteY72" fmla="*/ 3098315 h 3915954"/>
              <a:gd name="connsiteX73" fmla="*/ 1129486 w 4324801"/>
              <a:gd name="connsiteY73" fmla="*/ 3777440 h 3915954"/>
              <a:gd name="connsiteX74" fmla="*/ 2538692 w 4324801"/>
              <a:gd name="connsiteY74" fmla="*/ 2965382 h 3915954"/>
              <a:gd name="connsiteX75" fmla="*/ 2529989 w 4324801"/>
              <a:gd name="connsiteY75" fmla="*/ 1745820 h 3915954"/>
              <a:gd name="connsiteX76" fmla="*/ 1123731 w 4324801"/>
              <a:gd name="connsiteY76" fmla="*/ 933762 h 3915954"/>
              <a:gd name="connsiteX77" fmla="*/ 671168 w 4324801"/>
              <a:gd name="connsiteY77" fmla="*/ 2357005 h 3915954"/>
              <a:gd name="connsiteX78" fmla="*/ 738968 w 4324801"/>
              <a:gd name="connsiteY78" fmla="*/ 2942361 h 3915954"/>
              <a:gd name="connsiteX79" fmla="*/ 2391441 w 4324801"/>
              <a:gd name="connsiteY79" fmla="*/ 2535279 h 3915954"/>
              <a:gd name="connsiteX80" fmla="*/ 2380070 w 4324801"/>
              <a:gd name="connsiteY80" fmla="*/ 2354198 h 3915954"/>
              <a:gd name="connsiteX81" fmla="*/ 2529989 w 4324801"/>
              <a:gd name="connsiteY81" fmla="*/ 1745820 h 3915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324801" h="3915954">
                <a:moveTo>
                  <a:pt x="4324659" y="2381991"/>
                </a:moveTo>
                <a:cubicBezTo>
                  <a:pt x="4322130" y="2498880"/>
                  <a:pt x="4282509" y="2611951"/>
                  <a:pt x="4211518" y="2704850"/>
                </a:cubicBezTo>
                <a:cubicBezTo>
                  <a:pt x="4139688" y="2796064"/>
                  <a:pt x="4041750" y="2863190"/>
                  <a:pt x="3930772" y="2897301"/>
                </a:cubicBezTo>
                <a:cubicBezTo>
                  <a:pt x="3819762" y="2930836"/>
                  <a:pt x="3701050" y="2928871"/>
                  <a:pt x="3591210" y="2891686"/>
                </a:cubicBezTo>
                <a:cubicBezTo>
                  <a:pt x="3481150" y="2854712"/>
                  <a:pt x="3385913" y="2783304"/>
                  <a:pt x="3319588" y="2688005"/>
                </a:cubicBezTo>
                <a:lnTo>
                  <a:pt x="2753884" y="3013109"/>
                </a:lnTo>
                <a:cubicBezTo>
                  <a:pt x="2833967" y="3119020"/>
                  <a:pt x="2932731" y="3209407"/>
                  <a:pt x="3045299" y="3279818"/>
                </a:cubicBezTo>
                <a:lnTo>
                  <a:pt x="2980165" y="3412751"/>
                </a:lnTo>
                <a:cubicBezTo>
                  <a:pt x="2836072" y="3333524"/>
                  <a:pt x="2711407" y="3223233"/>
                  <a:pt x="2615195" y="3089893"/>
                </a:cubicBezTo>
                <a:lnTo>
                  <a:pt x="1220308" y="3896196"/>
                </a:lnTo>
                <a:lnTo>
                  <a:pt x="1237609" y="3915954"/>
                </a:lnTo>
                <a:lnTo>
                  <a:pt x="809549" y="3915954"/>
                </a:lnTo>
                <a:lnTo>
                  <a:pt x="716824" y="3766841"/>
                </a:lnTo>
                <a:cubicBezTo>
                  <a:pt x="471585" y="3337555"/>
                  <a:pt x="341731" y="2850610"/>
                  <a:pt x="341853" y="2353776"/>
                </a:cubicBezTo>
                <a:cubicBezTo>
                  <a:pt x="341305" y="1785630"/>
                  <a:pt x="511873" y="1230500"/>
                  <a:pt x="831334" y="760682"/>
                </a:cubicBezTo>
                <a:lnTo>
                  <a:pt x="330482" y="472075"/>
                </a:lnTo>
                <a:lnTo>
                  <a:pt x="228712" y="653156"/>
                </a:lnTo>
                <a:lnTo>
                  <a:pt x="225764" y="650349"/>
                </a:lnTo>
                <a:lnTo>
                  <a:pt x="222957" y="653156"/>
                </a:lnTo>
                <a:lnTo>
                  <a:pt x="138733" y="548438"/>
                </a:lnTo>
                <a:lnTo>
                  <a:pt x="0" y="386259"/>
                </a:lnTo>
                <a:lnTo>
                  <a:pt x="0" y="92656"/>
                </a:lnTo>
                <a:lnTo>
                  <a:pt x="509178" y="158481"/>
                </a:lnTo>
                <a:lnTo>
                  <a:pt x="410916" y="333948"/>
                </a:lnTo>
                <a:lnTo>
                  <a:pt x="925805" y="633785"/>
                </a:lnTo>
                <a:cubicBezTo>
                  <a:pt x="1110115" y="398824"/>
                  <a:pt x="1336565" y="200228"/>
                  <a:pt x="1593560" y="48148"/>
                </a:cubicBezTo>
                <a:lnTo>
                  <a:pt x="1658693" y="0"/>
                </a:lnTo>
                <a:lnTo>
                  <a:pt x="1678486" y="45341"/>
                </a:lnTo>
                <a:lnTo>
                  <a:pt x="1681293" y="53763"/>
                </a:lnTo>
                <a:lnTo>
                  <a:pt x="1797522" y="294784"/>
                </a:lnTo>
                <a:cubicBezTo>
                  <a:pt x="1578456" y="431577"/>
                  <a:pt x="1383393" y="603492"/>
                  <a:pt x="1220167" y="803636"/>
                </a:cubicBezTo>
                <a:lnTo>
                  <a:pt x="2615195" y="1609518"/>
                </a:lnTo>
                <a:cubicBezTo>
                  <a:pt x="2711463" y="1476220"/>
                  <a:pt x="2836115" y="1365943"/>
                  <a:pt x="2980165" y="1286660"/>
                </a:cubicBezTo>
                <a:lnTo>
                  <a:pt x="3045299" y="1419734"/>
                </a:lnTo>
                <a:cubicBezTo>
                  <a:pt x="2931473" y="1488488"/>
                  <a:pt x="2832423" y="1579141"/>
                  <a:pt x="2753884" y="1686443"/>
                </a:cubicBezTo>
                <a:lnTo>
                  <a:pt x="3328291" y="2020250"/>
                </a:lnTo>
                <a:lnTo>
                  <a:pt x="3333906" y="2014635"/>
                </a:lnTo>
                <a:lnTo>
                  <a:pt x="3333906" y="2017442"/>
                </a:lnTo>
                <a:cubicBezTo>
                  <a:pt x="3484097" y="1832248"/>
                  <a:pt x="3735332" y="1762876"/>
                  <a:pt x="3959268" y="1844783"/>
                </a:cubicBezTo>
                <a:cubicBezTo>
                  <a:pt x="4068916" y="1884060"/>
                  <a:pt x="4163182" y="1957278"/>
                  <a:pt x="4228363" y="2053799"/>
                </a:cubicBezTo>
                <a:cubicBezTo>
                  <a:pt x="4293641" y="2150600"/>
                  <a:pt x="4327285" y="2265271"/>
                  <a:pt x="4324659" y="2381991"/>
                </a:cubicBezTo>
                <a:close/>
                <a:moveTo>
                  <a:pt x="4126753" y="2383073"/>
                </a:moveTo>
                <a:cubicBezTo>
                  <a:pt x="4132595" y="2259434"/>
                  <a:pt x="4074388" y="2139773"/>
                  <a:pt x="3970217" y="2068398"/>
                </a:cubicBezTo>
                <a:cubicBezTo>
                  <a:pt x="3926241" y="2039088"/>
                  <a:pt x="3876452" y="2020130"/>
                  <a:pt x="3824580" y="2012642"/>
                </a:cubicBezTo>
                <a:lnTo>
                  <a:pt x="3772242" y="2009026"/>
                </a:lnTo>
                <a:lnTo>
                  <a:pt x="3772291" y="2009020"/>
                </a:lnTo>
                <a:lnTo>
                  <a:pt x="3772151" y="2009020"/>
                </a:lnTo>
                <a:lnTo>
                  <a:pt x="3772242" y="2009026"/>
                </a:lnTo>
                <a:lnTo>
                  <a:pt x="3699666" y="2018295"/>
                </a:lnTo>
                <a:cubicBezTo>
                  <a:pt x="3675941" y="2024015"/>
                  <a:pt x="3652841" y="2032329"/>
                  <a:pt x="3630795" y="2043131"/>
                </a:cubicBezTo>
                <a:cubicBezTo>
                  <a:pt x="3587362" y="2060509"/>
                  <a:pt x="3547914" y="2086548"/>
                  <a:pt x="3514847" y="2119634"/>
                </a:cubicBezTo>
                <a:cubicBezTo>
                  <a:pt x="3482683" y="2153211"/>
                  <a:pt x="3456732" y="2192235"/>
                  <a:pt x="3438203" y="2234880"/>
                </a:cubicBezTo>
                <a:cubicBezTo>
                  <a:pt x="3418906" y="2277540"/>
                  <a:pt x="3409317" y="2323947"/>
                  <a:pt x="3410128" y="2370761"/>
                </a:cubicBezTo>
                <a:cubicBezTo>
                  <a:pt x="3409777" y="2441215"/>
                  <a:pt x="3430452" y="2510180"/>
                  <a:pt x="3469506" y="2568828"/>
                </a:cubicBezTo>
                <a:cubicBezTo>
                  <a:pt x="3510331" y="2626269"/>
                  <a:pt x="3566114" y="2671413"/>
                  <a:pt x="3630795" y="2699375"/>
                </a:cubicBezTo>
                <a:cubicBezTo>
                  <a:pt x="3696290" y="2725681"/>
                  <a:pt x="3767983" y="2732559"/>
                  <a:pt x="3837284" y="2719168"/>
                </a:cubicBezTo>
                <a:cubicBezTo>
                  <a:pt x="3907108" y="2705256"/>
                  <a:pt x="3971160" y="2670739"/>
                  <a:pt x="4021173" y="2620064"/>
                </a:cubicBezTo>
                <a:cubicBezTo>
                  <a:pt x="4071339" y="2569670"/>
                  <a:pt x="4105771" y="2505786"/>
                  <a:pt x="4120276" y="2436175"/>
                </a:cubicBezTo>
                <a:cubicBezTo>
                  <a:pt x="4123778" y="2418479"/>
                  <a:pt x="4125919" y="2400735"/>
                  <a:pt x="4126753" y="2383073"/>
                </a:cubicBezTo>
                <a:close/>
                <a:moveTo>
                  <a:pt x="3248840" y="2161746"/>
                </a:moveTo>
                <a:lnTo>
                  <a:pt x="2662782" y="1822183"/>
                </a:lnTo>
                <a:cubicBezTo>
                  <a:pt x="2574277" y="1985592"/>
                  <a:pt x="2527603" y="2168357"/>
                  <a:pt x="2526901" y="2354198"/>
                </a:cubicBezTo>
                <a:cubicBezTo>
                  <a:pt x="2526438" y="2402542"/>
                  <a:pt x="2530242" y="2450830"/>
                  <a:pt x="2538271" y="2498501"/>
                </a:cubicBezTo>
                <a:lnTo>
                  <a:pt x="3212062" y="2334405"/>
                </a:lnTo>
                <a:cubicBezTo>
                  <a:pt x="3217194" y="2275560"/>
                  <a:pt x="3229545" y="2217572"/>
                  <a:pt x="3248840" y="2161746"/>
                </a:cubicBezTo>
                <a:close/>
                <a:moveTo>
                  <a:pt x="3246453" y="2549456"/>
                </a:moveTo>
                <a:cubicBezTo>
                  <a:pt x="3240125" y="2532008"/>
                  <a:pt x="3235427" y="2514012"/>
                  <a:pt x="3232416" y="2495693"/>
                </a:cubicBezTo>
                <a:lnTo>
                  <a:pt x="2572662" y="2656982"/>
                </a:lnTo>
                <a:cubicBezTo>
                  <a:pt x="2595684" y="2735984"/>
                  <a:pt x="2626004" y="2812670"/>
                  <a:pt x="2663203" y="2886071"/>
                </a:cubicBezTo>
                <a:lnTo>
                  <a:pt x="3246453" y="2549456"/>
                </a:lnTo>
                <a:close/>
                <a:moveTo>
                  <a:pt x="2538692" y="2965382"/>
                </a:moveTo>
                <a:cubicBezTo>
                  <a:pt x="2490530" y="2880218"/>
                  <a:pt x="2454356" y="2788807"/>
                  <a:pt x="2431166" y="2693760"/>
                </a:cubicBezTo>
                <a:lnTo>
                  <a:pt x="790064" y="3098315"/>
                </a:lnTo>
                <a:cubicBezTo>
                  <a:pt x="863325" y="3342522"/>
                  <a:pt x="978150" y="3572257"/>
                  <a:pt x="1129486" y="3777440"/>
                </a:cubicBezTo>
                <a:lnTo>
                  <a:pt x="2538692" y="2965382"/>
                </a:lnTo>
                <a:close/>
                <a:moveTo>
                  <a:pt x="2529989" y="1745820"/>
                </a:moveTo>
                <a:lnTo>
                  <a:pt x="1123731" y="933762"/>
                </a:lnTo>
                <a:cubicBezTo>
                  <a:pt x="827839" y="1349217"/>
                  <a:pt x="669568" y="1846945"/>
                  <a:pt x="671168" y="2357005"/>
                </a:cubicBezTo>
                <a:cubicBezTo>
                  <a:pt x="672572" y="2554005"/>
                  <a:pt x="695298" y="2750260"/>
                  <a:pt x="738968" y="2942361"/>
                </a:cubicBezTo>
                <a:lnTo>
                  <a:pt x="2391441" y="2535279"/>
                </a:lnTo>
                <a:cubicBezTo>
                  <a:pt x="2383397" y="2475255"/>
                  <a:pt x="2379593" y="2414754"/>
                  <a:pt x="2380070" y="2354198"/>
                </a:cubicBezTo>
                <a:cubicBezTo>
                  <a:pt x="2379677" y="2142220"/>
                  <a:pt x="2431152" y="1933345"/>
                  <a:pt x="2529989" y="1745820"/>
                </a:cubicBezTo>
                <a:close/>
              </a:path>
            </a:pathLst>
          </a:custGeom>
          <a:solidFill>
            <a:srgbClr val="4091F7"/>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sz="1800" dirty="0">
              <a:solidFill>
                <a:schemeClr val="tx1"/>
              </a:solidFill>
            </a:endParaRPr>
          </a:p>
        </p:txBody>
      </p:sp>
      <p:sp>
        <p:nvSpPr>
          <p:cNvPr id="11" name="Title 1">
            <a:extLst>
              <a:ext uri="{FF2B5EF4-FFF2-40B4-BE49-F238E27FC236}">
                <a16:creationId xmlns:a16="http://schemas.microsoft.com/office/drawing/2014/main" id="{187BCE96-E4DD-49EE-AE5A-0DE1B9D63642}"/>
              </a:ext>
            </a:extLst>
          </p:cNvPr>
          <p:cNvSpPr>
            <a:spLocks noGrp="1"/>
          </p:cNvSpPr>
          <p:nvPr>
            <p:ph type="title"/>
          </p:nvPr>
        </p:nvSpPr>
        <p:spPr bwMode="white">
          <a:xfrm>
            <a:off x="658369" y="3136392"/>
            <a:ext cx="8723225" cy="1680816"/>
          </a:xfrm>
        </p:spPr>
        <p:txBody>
          <a:bodyPr vert="horz" anchor="t">
            <a:noAutofit/>
          </a:bodyPr>
          <a:lstStyle>
            <a:lvl1pPr algn="l">
              <a:defRPr lang="en-US" sz="3200" b="0" kern="1200" dirty="0">
                <a:solidFill>
                  <a:schemeClr val="bg1"/>
                </a:solidFill>
                <a:latin typeface="+mj-lt"/>
                <a:ea typeface="Verdana" panose="020B0604030504040204" pitchFamily="34" charset="0"/>
                <a:cs typeface="Segoe UI Light" panose="020B0502040204020203" pitchFamily="34" charset="0"/>
              </a:defRPr>
            </a:lvl1pPr>
          </a:lstStyle>
          <a:p>
            <a:r>
              <a:rPr lang="en-US" dirty="0"/>
              <a:t>Click to edit Master title style</a:t>
            </a:r>
          </a:p>
        </p:txBody>
      </p:sp>
      <p:sp>
        <p:nvSpPr>
          <p:cNvPr id="12" name="Content Placeholder 5">
            <a:extLst>
              <a:ext uri="{FF2B5EF4-FFF2-40B4-BE49-F238E27FC236}">
                <a16:creationId xmlns:a16="http://schemas.microsoft.com/office/drawing/2014/main" id="{C1349791-BB86-4672-B81B-5F77BCE2CDBD}"/>
              </a:ext>
            </a:extLst>
          </p:cNvPr>
          <p:cNvSpPr>
            <a:spLocks noGrp="1"/>
          </p:cNvSpPr>
          <p:nvPr>
            <p:ph sz="quarter" idx="10" hasCustomPrompt="1"/>
          </p:nvPr>
        </p:nvSpPr>
        <p:spPr bwMode="white">
          <a:xfrm>
            <a:off x="658369" y="2546647"/>
            <a:ext cx="8723225" cy="582147"/>
          </a:xfrm>
        </p:spPr>
        <p:txBody>
          <a:bodyPr anchor="b"/>
          <a:lstStyle>
            <a:lvl1pPr marL="0" indent="0">
              <a:buNone/>
              <a:defRPr b="1" cap="all" baseline="0">
                <a:solidFill>
                  <a:srgbClr val="4091F7"/>
                </a:solidFill>
              </a:defRPr>
            </a:lvl1pPr>
          </a:lstStyle>
          <a:p>
            <a:pPr lvl="0"/>
            <a:r>
              <a:rPr lang="en-US" dirty="0"/>
              <a:t>Click to edit highlight text</a:t>
            </a:r>
          </a:p>
        </p:txBody>
      </p:sp>
      <p:sp>
        <p:nvSpPr>
          <p:cNvPr id="43" name="Rectangle 42" hidden="1">
            <a:extLst>
              <a:ext uri="{FF2B5EF4-FFF2-40B4-BE49-F238E27FC236}">
                <a16:creationId xmlns:a16="http://schemas.microsoft.com/office/drawing/2014/main" id="{FC46BD1D-C7B8-40FC-879A-4A713945D225}"/>
              </a:ext>
            </a:extLst>
          </p:cNvPr>
          <p:cNvSpPr/>
          <p:nvPr userDrawn="1">
            <p:custDataLst>
              <p:tags r:id="rId3"/>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Tree>
    <p:extLst>
      <p:ext uri="{BB962C8B-B14F-4D97-AF65-F5344CB8AC3E}">
        <p14:creationId xmlns:p14="http://schemas.microsoft.com/office/powerpoint/2010/main" val="58050953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0_Title Only - Dark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p:custDataLst>
              <p:tags r:id="rId1"/>
            </p:custDataLst>
            <p:extLst>
              <p:ext uri="{D42A27DB-BD31-4B8C-83A1-F6EECF244321}">
                <p14:modId xmlns:p14="http://schemas.microsoft.com/office/powerpoint/2010/main" val="3632808855"/>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9803FF90-5D9D-4101-91D3-AAA71C6CF0AE}"/>
              </a:ext>
            </a:extLst>
          </p:cNvPr>
          <p:cNvGrpSpPr/>
          <p:nvPr userDrawn="1"/>
        </p:nvGrpSpPr>
        <p:grpSpPr>
          <a:xfrm>
            <a:off x="-9367" y="-99378"/>
            <a:ext cx="12201368" cy="6596901"/>
            <a:chOff x="-9366" y="-84138"/>
            <a:chExt cx="12201368" cy="6596901"/>
          </a:xfrm>
        </p:grpSpPr>
        <p:sp>
          <p:nvSpPr>
            <p:cNvPr id="7" name="Freeform: Shape 6">
              <a:extLst>
                <a:ext uri="{FF2B5EF4-FFF2-40B4-BE49-F238E27FC236}">
                  <a16:creationId xmlns:a16="http://schemas.microsoft.com/office/drawing/2014/main" id="{FFBEBB5F-F7C2-407F-88B1-34810B2BAFB4}"/>
                </a:ext>
              </a:extLst>
            </p:cNvPr>
            <p:cNvSpPr/>
            <p:nvPr/>
          </p:nvSpPr>
          <p:spPr>
            <a:xfrm>
              <a:off x="1" y="-84137"/>
              <a:ext cx="12192001" cy="6596900"/>
            </a:xfrm>
            <a:custGeom>
              <a:avLst/>
              <a:gdLst>
                <a:gd name="connsiteX0" fmla="*/ 700271 w 12192001"/>
                <a:gd name="connsiteY0" fmla="*/ 6509761 h 6523037"/>
                <a:gd name="connsiteX1" fmla="*/ 714941 w 12192001"/>
                <a:gd name="connsiteY1" fmla="*/ 6516802 h 6523037"/>
                <a:gd name="connsiteX2" fmla="*/ 710807 w 12192001"/>
                <a:gd name="connsiteY2" fmla="*/ 6516802 h 6523037"/>
                <a:gd name="connsiteX3" fmla="*/ 704588 w 12192001"/>
                <a:gd name="connsiteY3" fmla="*/ 6523037 h 6523037"/>
                <a:gd name="connsiteX4" fmla="*/ 694116 w 12192001"/>
                <a:gd name="connsiteY4" fmla="*/ 6523037 h 6523037"/>
                <a:gd name="connsiteX5" fmla="*/ 703819 w 12192001"/>
                <a:gd name="connsiteY5" fmla="*/ 6513309 h 6523037"/>
                <a:gd name="connsiteX6" fmla="*/ 5360377 w 12192001"/>
                <a:gd name="connsiteY6" fmla="*/ 6504999 h 6523037"/>
                <a:gd name="connsiteX7" fmla="*/ 5375047 w 12192001"/>
                <a:gd name="connsiteY7" fmla="*/ 6512040 h 6523037"/>
                <a:gd name="connsiteX8" fmla="*/ 5370913 w 12192001"/>
                <a:gd name="connsiteY8" fmla="*/ 6512040 h 6523037"/>
                <a:gd name="connsiteX9" fmla="*/ 5364694 w 12192001"/>
                <a:gd name="connsiteY9" fmla="*/ 6518275 h 6523037"/>
                <a:gd name="connsiteX10" fmla="*/ 5354222 w 12192001"/>
                <a:gd name="connsiteY10" fmla="*/ 6518275 h 6523037"/>
                <a:gd name="connsiteX11" fmla="*/ 5363925 w 12192001"/>
                <a:gd name="connsiteY11" fmla="*/ 6508547 h 6523037"/>
                <a:gd name="connsiteX12" fmla="*/ 10020794 w 12192001"/>
                <a:gd name="connsiteY12" fmla="*/ 6501824 h 6523037"/>
                <a:gd name="connsiteX13" fmla="*/ 10035464 w 12192001"/>
                <a:gd name="connsiteY13" fmla="*/ 6508865 h 6523037"/>
                <a:gd name="connsiteX14" fmla="*/ 10031330 w 12192001"/>
                <a:gd name="connsiteY14" fmla="*/ 6508865 h 6523037"/>
                <a:gd name="connsiteX15" fmla="*/ 10025111 w 12192001"/>
                <a:gd name="connsiteY15" fmla="*/ 6515100 h 6523037"/>
                <a:gd name="connsiteX16" fmla="*/ 10014639 w 12192001"/>
                <a:gd name="connsiteY16" fmla="*/ 6515100 h 6523037"/>
                <a:gd name="connsiteX17" fmla="*/ 10024342 w 12192001"/>
                <a:gd name="connsiteY17" fmla="*/ 6505372 h 6523037"/>
                <a:gd name="connsiteX18" fmla="*/ 4558064 w 12192001"/>
                <a:gd name="connsiteY18" fmla="*/ 6240102 h 6523037"/>
                <a:gd name="connsiteX19" fmla="*/ 4825101 w 12192001"/>
                <a:gd name="connsiteY19" fmla="*/ 6506450 h 6523037"/>
                <a:gd name="connsiteX20" fmla="*/ 5085827 w 12192001"/>
                <a:gd name="connsiteY20" fmla="*/ 6506450 h 6523037"/>
                <a:gd name="connsiteX21" fmla="*/ 4818791 w 12192001"/>
                <a:gd name="connsiteY21" fmla="*/ 6240102 h 6523037"/>
                <a:gd name="connsiteX22" fmla="*/ 9218170 w 12192001"/>
                <a:gd name="connsiteY22" fmla="*/ 6235340 h 6523037"/>
                <a:gd name="connsiteX23" fmla="*/ 9486798 w 12192001"/>
                <a:gd name="connsiteY23" fmla="*/ 6503275 h 6523037"/>
                <a:gd name="connsiteX24" fmla="*/ 9746244 w 12192001"/>
                <a:gd name="connsiteY24" fmla="*/ 6503275 h 6523037"/>
                <a:gd name="connsiteX25" fmla="*/ 9477616 w 12192001"/>
                <a:gd name="connsiteY25" fmla="*/ 6235340 h 6523037"/>
                <a:gd name="connsiteX26" fmla="*/ 710108 w 12192001"/>
                <a:gd name="connsiteY26" fmla="*/ 5969690 h 6523037"/>
                <a:gd name="connsiteX27" fmla="*/ 439696 w 12192001"/>
                <a:gd name="connsiteY27" fmla="*/ 6240800 h 6523037"/>
                <a:gd name="connsiteX28" fmla="*/ 710807 w 12192001"/>
                <a:gd name="connsiteY28" fmla="*/ 6511212 h 6523037"/>
                <a:gd name="connsiteX29" fmla="*/ 974930 w 12192001"/>
                <a:gd name="connsiteY29" fmla="*/ 6511212 h 6523037"/>
                <a:gd name="connsiteX30" fmla="*/ 703819 w 12192001"/>
                <a:gd name="connsiteY30" fmla="*/ 6240800 h 6523037"/>
                <a:gd name="connsiteX31" fmla="*/ 974231 w 12192001"/>
                <a:gd name="connsiteY31" fmla="*/ 5969690 h 6523037"/>
                <a:gd name="connsiteX32" fmla="*/ 1807827 w 12192001"/>
                <a:gd name="connsiteY32" fmla="*/ 5968991 h 6523037"/>
                <a:gd name="connsiteX33" fmla="*/ 1537414 w 12192001"/>
                <a:gd name="connsiteY33" fmla="*/ 6240102 h 6523037"/>
                <a:gd name="connsiteX34" fmla="*/ 1808526 w 12192001"/>
                <a:gd name="connsiteY34" fmla="*/ 6510514 h 6523037"/>
                <a:gd name="connsiteX35" fmla="*/ 2072648 w 12192001"/>
                <a:gd name="connsiteY35" fmla="*/ 6510514 h 6523037"/>
                <a:gd name="connsiteX36" fmla="*/ 1801539 w 12192001"/>
                <a:gd name="connsiteY36" fmla="*/ 6240102 h 6523037"/>
                <a:gd name="connsiteX37" fmla="*/ 2071951 w 12192001"/>
                <a:gd name="connsiteY37" fmla="*/ 5968991 h 6523037"/>
                <a:gd name="connsiteX38" fmla="*/ 1257919 w 12192001"/>
                <a:gd name="connsiteY38" fmla="*/ 5968991 h 6523037"/>
                <a:gd name="connsiteX39" fmla="*/ 988206 w 12192001"/>
                <a:gd name="connsiteY39" fmla="*/ 6240102 h 6523037"/>
                <a:gd name="connsiteX40" fmla="*/ 1188744 w 12192001"/>
                <a:gd name="connsiteY40" fmla="*/ 6440640 h 6523037"/>
                <a:gd name="connsiteX41" fmla="*/ 1259317 w 12192001"/>
                <a:gd name="connsiteY41" fmla="*/ 6510514 h 6523037"/>
                <a:gd name="connsiteX42" fmla="*/ 1327793 w 12192001"/>
                <a:gd name="connsiteY42" fmla="*/ 6510514 h 6523037"/>
                <a:gd name="connsiteX43" fmla="*/ 1327094 w 12192001"/>
                <a:gd name="connsiteY43" fmla="*/ 6511911 h 6523037"/>
                <a:gd name="connsiteX44" fmla="*/ 1524139 w 12192001"/>
                <a:gd name="connsiteY44" fmla="*/ 6511911 h 6523037"/>
                <a:gd name="connsiteX45" fmla="*/ 1253028 w 12192001"/>
                <a:gd name="connsiteY45" fmla="*/ 6241499 h 6523037"/>
                <a:gd name="connsiteX46" fmla="*/ 1253727 w 12192001"/>
                <a:gd name="connsiteY46" fmla="*/ 6240800 h 6523037"/>
                <a:gd name="connsiteX47" fmla="*/ 1251631 w 12192001"/>
                <a:gd name="connsiteY47" fmla="*/ 6240102 h 6523037"/>
                <a:gd name="connsiteX48" fmla="*/ 1522043 w 12192001"/>
                <a:gd name="connsiteY48" fmla="*/ 5968991 h 6523037"/>
                <a:gd name="connsiteX49" fmla="*/ 2904847 w 12192001"/>
                <a:gd name="connsiteY49" fmla="*/ 5968292 h 6523037"/>
                <a:gd name="connsiteX50" fmla="*/ 2634435 w 12192001"/>
                <a:gd name="connsiteY50" fmla="*/ 6239403 h 6523037"/>
                <a:gd name="connsiteX51" fmla="*/ 2905546 w 12192001"/>
                <a:gd name="connsiteY51" fmla="*/ 6509815 h 6523037"/>
                <a:gd name="connsiteX52" fmla="*/ 3169669 w 12192001"/>
                <a:gd name="connsiteY52" fmla="*/ 6509815 h 6523037"/>
                <a:gd name="connsiteX53" fmla="*/ 2898558 w 12192001"/>
                <a:gd name="connsiteY53" fmla="*/ 6239403 h 6523037"/>
                <a:gd name="connsiteX54" fmla="*/ 3168970 w 12192001"/>
                <a:gd name="connsiteY54" fmla="*/ 5968292 h 6523037"/>
                <a:gd name="connsiteX55" fmla="*/ 2356338 w 12192001"/>
                <a:gd name="connsiteY55" fmla="*/ 5968292 h 6523037"/>
                <a:gd name="connsiteX56" fmla="*/ 2085925 w 12192001"/>
                <a:gd name="connsiteY56" fmla="*/ 6239403 h 6523037"/>
                <a:gd name="connsiteX57" fmla="*/ 2357035 w 12192001"/>
                <a:gd name="connsiteY57" fmla="*/ 6509815 h 6523037"/>
                <a:gd name="connsiteX58" fmla="*/ 2620460 w 12192001"/>
                <a:gd name="connsiteY58" fmla="*/ 6509815 h 6523037"/>
                <a:gd name="connsiteX59" fmla="*/ 2490495 w 12192001"/>
                <a:gd name="connsiteY59" fmla="*/ 6379850 h 6523037"/>
                <a:gd name="connsiteX60" fmla="*/ 2350049 w 12192001"/>
                <a:gd name="connsiteY60" fmla="*/ 6239403 h 6523037"/>
                <a:gd name="connsiteX61" fmla="*/ 2620460 w 12192001"/>
                <a:gd name="connsiteY61" fmla="*/ 5968292 h 6523037"/>
                <a:gd name="connsiteX62" fmla="*/ 3453357 w 12192001"/>
                <a:gd name="connsiteY62" fmla="*/ 5967593 h 6523037"/>
                <a:gd name="connsiteX63" fmla="*/ 3182945 w 12192001"/>
                <a:gd name="connsiteY63" fmla="*/ 6238704 h 6523037"/>
                <a:gd name="connsiteX64" fmla="*/ 3454056 w 12192001"/>
                <a:gd name="connsiteY64" fmla="*/ 6508417 h 6523037"/>
                <a:gd name="connsiteX65" fmla="*/ 3718179 w 12192001"/>
                <a:gd name="connsiteY65" fmla="*/ 6508417 h 6523037"/>
                <a:gd name="connsiteX66" fmla="*/ 3447069 w 12192001"/>
                <a:gd name="connsiteY66" fmla="*/ 6238006 h 6523037"/>
                <a:gd name="connsiteX67" fmla="*/ 3631536 w 12192001"/>
                <a:gd name="connsiteY67" fmla="*/ 6053539 h 6523037"/>
                <a:gd name="connsiteX68" fmla="*/ 3717481 w 12192001"/>
                <a:gd name="connsiteY68" fmla="*/ 5967593 h 6523037"/>
                <a:gd name="connsiteX69" fmla="*/ 4550379 w 12192001"/>
                <a:gd name="connsiteY69" fmla="*/ 5966196 h 6523037"/>
                <a:gd name="connsiteX70" fmla="*/ 4279967 w 12192001"/>
                <a:gd name="connsiteY70" fmla="*/ 6237307 h 6523037"/>
                <a:gd name="connsiteX71" fmla="*/ 4551077 w 12192001"/>
                <a:gd name="connsiteY71" fmla="*/ 6507020 h 6523037"/>
                <a:gd name="connsiteX72" fmla="*/ 4812475 w 12192001"/>
                <a:gd name="connsiteY72" fmla="*/ 6507020 h 6523037"/>
                <a:gd name="connsiteX73" fmla="*/ 4681256 w 12192001"/>
                <a:gd name="connsiteY73" fmla="*/ 6376485 h 6523037"/>
                <a:gd name="connsiteX74" fmla="*/ 4665187 w 12192001"/>
                <a:gd name="connsiteY74" fmla="*/ 6360414 h 6523037"/>
                <a:gd name="connsiteX75" fmla="*/ 4665187 w 12192001"/>
                <a:gd name="connsiteY75" fmla="*/ 6357393 h 6523037"/>
                <a:gd name="connsiteX76" fmla="*/ 4544090 w 12192001"/>
                <a:gd name="connsiteY76" fmla="*/ 6236608 h 6523037"/>
                <a:gd name="connsiteX77" fmla="*/ 4665187 w 12192001"/>
                <a:gd name="connsiteY77" fmla="*/ 6115511 h 6523037"/>
                <a:gd name="connsiteX78" fmla="*/ 4665187 w 12192001"/>
                <a:gd name="connsiteY78" fmla="*/ 6111663 h 6523037"/>
                <a:gd name="connsiteX79" fmla="*/ 4810652 w 12192001"/>
                <a:gd name="connsiteY79" fmla="*/ 5966196 h 6523037"/>
                <a:gd name="connsiteX80" fmla="*/ 4824862 w 12192001"/>
                <a:gd name="connsiteY80" fmla="*/ 5965627 h 6523037"/>
                <a:gd name="connsiteX81" fmla="*/ 4558064 w 12192001"/>
                <a:gd name="connsiteY81" fmla="*/ 6233114 h 6523037"/>
                <a:gd name="connsiteX82" fmla="*/ 4818335 w 12192001"/>
                <a:gd name="connsiteY82" fmla="*/ 6233114 h 6523037"/>
                <a:gd name="connsiteX83" fmla="*/ 5085129 w 12192001"/>
                <a:gd name="connsiteY83" fmla="*/ 5965627 h 6523037"/>
                <a:gd name="connsiteX84" fmla="*/ 5370215 w 12192001"/>
                <a:gd name="connsiteY84" fmla="*/ 5964928 h 6523037"/>
                <a:gd name="connsiteX85" fmla="*/ 5099802 w 12192001"/>
                <a:gd name="connsiteY85" fmla="*/ 6236038 h 6523037"/>
                <a:gd name="connsiteX86" fmla="*/ 5370913 w 12192001"/>
                <a:gd name="connsiteY86" fmla="*/ 6506450 h 6523037"/>
                <a:gd name="connsiteX87" fmla="*/ 5635036 w 12192001"/>
                <a:gd name="connsiteY87" fmla="*/ 6506450 h 6523037"/>
                <a:gd name="connsiteX88" fmla="*/ 5363925 w 12192001"/>
                <a:gd name="connsiteY88" fmla="*/ 6236038 h 6523037"/>
                <a:gd name="connsiteX89" fmla="*/ 5634338 w 12192001"/>
                <a:gd name="connsiteY89" fmla="*/ 5964928 h 6523037"/>
                <a:gd name="connsiteX90" fmla="*/ 6467933 w 12192001"/>
                <a:gd name="connsiteY90" fmla="*/ 5964229 h 6523037"/>
                <a:gd name="connsiteX91" fmla="*/ 6197521 w 12192001"/>
                <a:gd name="connsiteY91" fmla="*/ 6235340 h 6523037"/>
                <a:gd name="connsiteX92" fmla="*/ 6468632 w 12192001"/>
                <a:gd name="connsiteY92" fmla="*/ 6505752 h 6523037"/>
                <a:gd name="connsiteX93" fmla="*/ 6732754 w 12192001"/>
                <a:gd name="connsiteY93" fmla="*/ 6505752 h 6523037"/>
                <a:gd name="connsiteX94" fmla="*/ 6461645 w 12192001"/>
                <a:gd name="connsiteY94" fmla="*/ 6235340 h 6523037"/>
                <a:gd name="connsiteX95" fmla="*/ 6732057 w 12192001"/>
                <a:gd name="connsiteY95" fmla="*/ 5964229 h 6523037"/>
                <a:gd name="connsiteX96" fmla="*/ 5918025 w 12192001"/>
                <a:gd name="connsiteY96" fmla="*/ 5964229 h 6523037"/>
                <a:gd name="connsiteX97" fmla="*/ 5648312 w 12192001"/>
                <a:gd name="connsiteY97" fmla="*/ 6235340 h 6523037"/>
                <a:gd name="connsiteX98" fmla="*/ 5848851 w 12192001"/>
                <a:gd name="connsiteY98" fmla="*/ 6435878 h 6523037"/>
                <a:gd name="connsiteX99" fmla="*/ 5919423 w 12192001"/>
                <a:gd name="connsiteY99" fmla="*/ 6505752 h 6523037"/>
                <a:gd name="connsiteX100" fmla="*/ 5987899 w 12192001"/>
                <a:gd name="connsiteY100" fmla="*/ 6505752 h 6523037"/>
                <a:gd name="connsiteX101" fmla="*/ 5987200 w 12192001"/>
                <a:gd name="connsiteY101" fmla="*/ 6507149 h 6523037"/>
                <a:gd name="connsiteX102" fmla="*/ 6184245 w 12192001"/>
                <a:gd name="connsiteY102" fmla="*/ 6507149 h 6523037"/>
                <a:gd name="connsiteX103" fmla="*/ 5913134 w 12192001"/>
                <a:gd name="connsiteY103" fmla="*/ 6236737 h 6523037"/>
                <a:gd name="connsiteX104" fmla="*/ 5913834 w 12192001"/>
                <a:gd name="connsiteY104" fmla="*/ 6236038 h 6523037"/>
                <a:gd name="connsiteX105" fmla="*/ 5911738 w 12192001"/>
                <a:gd name="connsiteY105" fmla="*/ 6235340 h 6523037"/>
                <a:gd name="connsiteX106" fmla="*/ 6182150 w 12192001"/>
                <a:gd name="connsiteY106" fmla="*/ 5964229 h 6523037"/>
                <a:gd name="connsiteX107" fmla="*/ 7564953 w 12192001"/>
                <a:gd name="connsiteY107" fmla="*/ 5963530 h 6523037"/>
                <a:gd name="connsiteX108" fmla="*/ 7294541 w 12192001"/>
                <a:gd name="connsiteY108" fmla="*/ 6234641 h 6523037"/>
                <a:gd name="connsiteX109" fmla="*/ 7565652 w 12192001"/>
                <a:gd name="connsiteY109" fmla="*/ 6505053 h 6523037"/>
                <a:gd name="connsiteX110" fmla="*/ 7829775 w 12192001"/>
                <a:gd name="connsiteY110" fmla="*/ 6505053 h 6523037"/>
                <a:gd name="connsiteX111" fmla="*/ 7558664 w 12192001"/>
                <a:gd name="connsiteY111" fmla="*/ 6234641 h 6523037"/>
                <a:gd name="connsiteX112" fmla="*/ 7829076 w 12192001"/>
                <a:gd name="connsiteY112" fmla="*/ 5963530 h 6523037"/>
                <a:gd name="connsiteX113" fmla="*/ 7016444 w 12192001"/>
                <a:gd name="connsiteY113" fmla="*/ 5963530 h 6523037"/>
                <a:gd name="connsiteX114" fmla="*/ 6746031 w 12192001"/>
                <a:gd name="connsiteY114" fmla="*/ 6234641 h 6523037"/>
                <a:gd name="connsiteX115" fmla="*/ 7017141 w 12192001"/>
                <a:gd name="connsiteY115" fmla="*/ 6505053 h 6523037"/>
                <a:gd name="connsiteX116" fmla="*/ 7280566 w 12192001"/>
                <a:gd name="connsiteY116" fmla="*/ 6505053 h 6523037"/>
                <a:gd name="connsiteX117" fmla="*/ 7150601 w 12192001"/>
                <a:gd name="connsiteY117" fmla="*/ 6375088 h 6523037"/>
                <a:gd name="connsiteX118" fmla="*/ 7010155 w 12192001"/>
                <a:gd name="connsiteY118" fmla="*/ 6234641 h 6523037"/>
                <a:gd name="connsiteX119" fmla="*/ 7280566 w 12192001"/>
                <a:gd name="connsiteY119" fmla="*/ 5963530 h 6523037"/>
                <a:gd name="connsiteX120" fmla="*/ 8113463 w 12192001"/>
                <a:gd name="connsiteY120" fmla="*/ 5962831 h 6523037"/>
                <a:gd name="connsiteX121" fmla="*/ 7843051 w 12192001"/>
                <a:gd name="connsiteY121" fmla="*/ 6233942 h 6523037"/>
                <a:gd name="connsiteX122" fmla="*/ 8114162 w 12192001"/>
                <a:gd name="connsiteY122" fmla="*/ 6503655 h 6523037"/>
                <a:gd name="connsiteX123" fmla="*/ 8378285 w 12192001"/>
                <a:gd name="connsiteY123" fmla="*/ 6503655 h 6523037"/>
                <a:gd name="connsiteX124" fmla="*/ 8107175 w 12192001"/>
                <a:gd name="connsiteY124" fmla="*/ 6233244 h 6523037"/>
                <a:gd name="connsiteX125" fmla="*/ 8291642 w 12192001"/>
                <a:gd name="connsiteY125" fmla="*/ 6048777 h 6523037"/>
                <a:gd name="connsiteX126" fmla="*/ 8377587 w 12192001"/>
                <a:gd name="connsiteY126" fmla="*/ 5962831 h 6523037"/>
                <a:gd name="connsiteX127" fmla="*/ 9483384 w 12192001"/>
                <a:gd name="connsiteY127" fmla="*/ 5962452 h 6523037"/>
                <a:gd name="connsiteX128" fmla="*/ 9218170 w 12192001"/>
                <a:gd name="connsiteY128" fmla="*/ 6228352 h 6523037"/>
                <a:gd name="connsiteX129" fmla="*/ 9480335 w 12192001"/>
                <a:gd name="connsiteY129" fmla="*/ 6228352 h 6523037"/>
                <a:gd name="connsiteX130" fmla="*/ 9745545 w 12192001"/>
                <a:gd name="connsiteY130" fmla="*/ 5962452 h 6523037"/>
                <a:gd name="connsiteX131" fmla="*/ 10030631 w 12192001"/>
                <a:gd name="connsiteY131" fmla="*/ 5961753 h 6523037"/>
                <a:gd name="connsiteX132" fmla="*/ 9760219 w 12192001"/>
                <a:gd name="connsiteY132" fmla="*/ 6232863 h 6523037"/>
                <a:gd name="connsiteX133" fmla="*/ 10031330 w 12192001"/>
                <a:gd name="connsiteY133" fmla="*/ 6503275 h 6523037"/>
                <a:gd name="connsiteX134" fmla="*/ 10295453 w 12192001"/>
                <a:gd name="connsiteY134" fmla="*/ 6503275 h 6523037"/>
                <a:gd name="connsiteX135" fmla="*/ 10024342 w 12192001"/>
                <a:gd name="connsiteY135" fmla="*/ 6232863 h 6523037"/>
                <a:gd name="connsiteX136" fmla="*/ 10294754 w 12192001"/>
                <a:gd name="connsiteY136" fmla="*/ 5961753 h 6523037"/>
                <a:gd name="connsiteX137" fmla="*/ 9210484 w 12192001"/>
                <a:gd name="connsiteY137" fmla="*/ 5961434 h 6523037"/>
                <a:gd name="connsiteX138" fmla="*/ 8940072 w 12192001"/>
                <a:gd name="connsiteY138" fmla="*/ 6232545 h 6523037"/>
                <a:gd name="connsiteX139" fmla="*/ 9211183 w 12192001"/>
                <a:gd name="connsiteY139" fmla="*/ 6502258 h 6523037"/>
                <a:gd name="connsiteX140" fmla="*/ 9471296 w 12192001"/>
                <a:gd name="connsiteY140" fmla="*/ 6502258 h 6523037"/>
                <a:gd name="connsiteX141" fmla="*/ 9341673 w 12192001"/>
                <a:gd name="connsiteY141" fmla="*/ 6373310 h 6523037"/>
                <a:gd name="connsiteX142" fmla="*/ 9325603 w 12192001"/>
                <a:gd name="connsiteY142" fmla="*/ 6357239 h 6523037"/>
                <a:gd name="connsiteX143" fmla="*/ 9325603 w 12192001"/>
                <a:gd name="connsiteY143" fmla="*/ 6352941 h 6523037"/>
                <a:gd name="connsiteX144" fmla="*/ 9204195 w 12192001"/>
                <a:gd name="connsiteY144" fmla="*/ 6231846 h 6523037"/>
                <a:gd name="connsiteX145" fmla="*/ 9325603 w 12192001"/>
                <a:gd name="connsiteY145" fmla="*/ 6110438 h 6523037"/>
                <a:gd name="connsiteX146" fmla="*/ 9325603 w 12192001"/>
                <a:gd name="connsiteY146" fmla="*/ 6108488 h 6523037"/>
                <a:gd name="connsiteX147" fmla="*/ 9472656 w 12192001"/>
                <a:gd name="connsiteY147" fmla="*/ 5961434 h 6523037"/>
                <a:gd name="connsiteX148" fmla="*/ 11128350 w 12192001"/>
                <a:gd name="connsiteY148" fmla="*/ 5961054 h 6523037"/>
                <a:gd name="connsiteX149" fmla="*/ 10857937 w 12192001"/>
                <a:gd name="connsiteY149" fmla="*/ 6232165 h 6523037"/>
                <a:gd name="connsiteX150" fmla="*/ 11129049 w 12192001"/>
                <a:gd name="connsiteY150" fmla="*/ 6502577 h 6523037"/>
                <a:gd name="connsiteX151" fmla="*/ 11393171 w 12192001"/>
                <a:gd name="connsiteY151" fmla="*/ 6502577 h 6523037"/>
                <a:gd name="connsiteX152" fmla="*/ 11122062 w 12192001"/>
                <a:gd name="connsiteY152" fmla="*/ 6232165 h 6523037"/>
                <a:gd name="connsiteX153" fmla="*/ 11392474 w 12192001"/>
                <a:gd name="connsiteY153" fmla="*/ 5961054 h 6523037"/>
                <a:gd name="connsiteX154" fmla="*/ 10578442 w 12192001"/>
                <a:gd name="connsiteY154" fmla="*/ 5961054 h 6523037"/>
                <a:gd name="connsiteX155" fmla="*/ 10308729 w 12192001"/>
                <a:gd name="connsiteY155" fmla="*/ 6232165 h 6523037"/>
                <a:gd name="connsiteX156" fmla="*/ 10509267 w 12192001"/>
                <a:gd name="connsiteY156" fmla="*/ 6432703 h 6523037"/>
                <a:gd name="connsiteX157" fmla="*/ 10579840 w 12192001"/>
                <a:gd name="connsiteY157" fmla="*/ 6502577 h 6523037"/>
                <a:gd name="connsiteX158" fmla="*/ 10648316 w 12192001"/>
                <a:gd name="connsiteY158" fmla="*/ 6502577 h 6523037"/>
                <a:gd name="connsiteX159" fmla="*/ 10647617 w 12192001"/>
                <a:gd name="connsiteY159" fmla="*/ 6503974 h 6523037"/>
                <a:gd name="connsiteX160" fmla="*/ 10844662 w 12192001"/>
                <a:gd name="connsiteY160" fmla="*/ 6503974 h 6523037"/>
                <a:gd name="connsiteX161" fmla="*/ 10573551 w 12192001"/>
                <a:gd name="connsiteY161" fmla="*/ 6233562 h 6523037"/>
                <a:gd name="connsiteX162" fmla="*/ 10574250 w 12192001"/>
                <a:gd name="connsiteY162" fmla="*/ 6232863 h 6523037"/>
                <a:gd name="connsiteX163" fmla="*/ 10572154 w 12192001"/>
                <a:gd name="connsiteY163" fmla="*/ 6232165 h 6523037"/>
                <a:gd name="connsiteX164" fmla="*/ 10842566 w 12192001"/>
                <a:gd name="connsiteY164" fmla="*/ 5961054 h 6523037"/>
                <a:gd name="connsiteX165" fmla="*/ 11676861 w 12192001"/>
                <a:gd name="connsiteY165" fmla="*/ 5960355 h 6523037"/>
                <a:gd name="connsiteX166" fmla="*/ 11406448 w 12192001"/>
                <a:gd name="connsiteY166" fmla="*/ 6231466 h 6523037"/>
                <a:gd name="connsiteX167" fmla="*/ 11677558 w 12192001"/>
                <a:gd name="connsiteY167" fmla="*/ 6501878 h 6523037"/>
                <a:gd name="connsiteX168" fmla="*/ 11940983 w 12192001"/>
                <a:gd name="connsiteY168" fmla="*/ 6501878 h 6523037"/>
                <a:gd name="connsiteX169" fmla="*/ 11811018 w 12192001"/>
                <a:gd name="connsiteY169" fmla="*/ 6371913 h 6523037"/>
                <a:gd name="connsiteX170" fmla="*/ 11670572 w 12192001"/>
                <a:gd name="connsiteY170" fmla="*/ 6231466 h 6523037"/>
                <a:gd name="connsiteX171" fmla="*/ 11940983 w 12192001"/>
                <a:gd name="connsiteY171" fmla="*/ 5960355 h 6523037"/>
                <a:gd name="connsiteX172" fmla="*/ 169284 w 12192001"/>
                <a:gd name="connsiteY172" fmla="*/ 5695784 h 6523037"/>
                <a:gd name="connsiteX173" fmla="*/ 299249 w 12192001"/>
                <a:gd name="connsiteY173" fmla="*/ 5825750 h 6523037"/>
                <a:gd name="connsiteX174" fmla="*/ 439696 w 12192001"/>
                <a:gd name="connsiteY174" fmla="*/ 5966196 h 6523037"/>
                <a:gd name="connsiteX175" fmla="*/ 169284 w 12192001"/>
                <a:gd name="connsiteY175" fmla="*/ 6237307 h 6523037"/>
                <a:gd name="connsiteX176" fmla="*/ 433407 w 12192001"/>
                <a:gd name="connsiteY176" fmla="*/ 6237307 h 6523037"/>
                <a:gd name="connsiteX177" fmla="*/ 703819 w 12192001"/>
                <a:gd name="connsiteY177" fmla="*/ 5966196 h 6523037"/>
                <a:gd name="connsiteX178" fmla="*/ 432708 w 12192001"/>
                <a:gd name="connsiteY178" fmla="*/ 5695784 h 6523037"/>
                <a:gd name="connsiteX179" fmla="*/ 1814814 w 12192001"/>
                <a:gd name="connsiteY179" fmla="*/ 5695086 h 6523037"/>
                <a:gd name="connsiteX180" fmla="*/ 2085925 w 12192001"/>
                <a:gd name="connsiteY180" fmla="*/ 5965498 h 6523037"/>
                <a:gd name="connsiteX181" fmla="*/ 1815513 w 12192001"/>
                <a:gd name="connsiteY181" fmla="*/ 6235910 h 6523037"/>
                <a:gd name="connsiteX182" fmla="*/ 2079636 w 12192001"/>
                <a:gd name="connsiteY182" fmla="*/ 6235910 h 6523037"/>
                <a:gd name="connsiteX183" fmla="*/ 2350049 w 12192001"/>
                <a:gd name="connsiteY183" fmla="*/ 5965498 h 6523037"/>
                <a:gd name="connsiteX184" fmla="*/ 2078937 w 12192001"/>
                <a:gd name="connsiteY184" fmla="*/ 5695086 h 6523037"/>
                <a:gd name="connsiteX185" fmla="*/ 717095 w 12192001"/>
                <a:gd name="connsiteY185" fmla="*/ 5695086 h 6523037"/>
                <a:gd name="connsiteX186" fmla="*/ 988206 w 12192001"/>
                <a:gd name="connsiteY186" fmla="*/ 5965498 h 6523037"/>
                <a:gd name="connsiteX187" fmla="*/ 717794 w 12192001"/>
                <a:gd name="connsiteY187" fmla="*/ 6236608 h 6523037"/>
                <a:gd name="connsiteX188" fmla="*/ 981917 w 12192001"/>
                <a:gd name="connsiteY188" fmla="*/ 6236608 h 6523037"/>
                <a:gd name="connsiteX189" fmla="*/ 1252329 w 12192001"/>
                <a:gd name="connsiteY189" fmla="*/ 5965498 h 6523037"/>
                <a:gd name="connsiteX190" fmla="*/ 981219 w 12192001"/>
                <a:gd name="connsiteY190" fmla="*/ 5695086 h 6523037"/>
                <a:gd name="connsiteX191" fmla="*/ 2363324 w 12192001"/>
                <a:gd name="connsiteY191" fmla="*/ 5694387 h 6523037"/>
                <a:gd name="connsiteX192" fmla="*/ 2634435 w 12192001"/>
                <a:gd name="connsiteY192" fmla="*/ 5964799 h 6523037"/>
                <a:gd name="connsiteX193" fmla="*/ 2364722 w 12192001"/>
                <a:gd name="connsiteY193" fmla="*/ 6235910 h 6523037"/>
                <a:gd name="connsiteX194" fmla="*/ 2628146 w 12192001"/>
                <a:gd name="connsiteY194" fmla="*/ 6235910 h 6523037"/>
                <a:gd name="connsiteX195" fmla="*/ 2898558 w 12192001"/>
                <a:gd name="connsiteY195" fmla="*/ 5964799 h 6523037"/>
                <a:gd name="connsiteX196" fmla="*/ 2764401 w 12192001"/>
                <a:gd name="connsiteY196" fmla="*/ 5831339 h 6523037"/>
                <a:gd name="connsiteX197" fmla="*/ 2627447 w 12192001"/>
                <a:gd name="connsiteY197" fmla="*/ 5694387 h 6523037"/>
                <a:gd name="connsiteX198" fmla="*/ 2911834 w 12192001"/>
                <a:gd name="connsiteY198" fmla="*/ 5693688 h 6523037"/>
                <a:gd name="connsiteX199" fmla="*/ 2913232 w 12192001"/>
                <a:gd name="connsiteY199" fmla="*/ 5695086 h 6523037"/>
                <a:gd name="connsiteX200" fmla="*/ 3182945 w 12192001"/>
                <a:gd name="connsiteY200" fmla="*/ 5964100 h 6523037"/>
                <a:gd name="connsiteX201" fmla="*/ 2912533 w 12192001"/>
                <a:gd name="connsiteY201" fmla="*/ 6234512 h 6523037"/>
                <a:gd name="connsiteX202" fmla="*/ 3176657 w 12192001"/>
                <a:gd name="connsiteY202" fmla="*/ 6234512 h 6523037"/>
                <a:gd name="connsiteX203" fmla="*/ 3447069 w 12192001"/>
                <a:gd name="connsiteY203" fmla="*/ 5964100 h 6523037"/>
                <a:gd name="connsiteX204" fmla="*/ 3441479 w 12192001"/>
                <a:gd name="connsiteY204" fmla="*/ 5959209 h 6523037"/>
                <a:gd name="connsiteX205" fmla="*/ 3175958 w 12192001"/>
                <a:gd name="connsiteY205" fmla="*/ 5693688 h 6523037"/>
                <a:gd name="connsiteX206" fmla="*/ 1530428 w 12192001"/>
                <a:gd name="connsiteY206" fmla="*/ 5693688 h 6523037"/>
                <a:gd name="connsiteX207" fmla="*/ 1529030 w 12192001"/>
                <a:gd name="connsiteY207" fmla="*/ 5694387 h 6523037"/>
                <a:gd name="connsiteX208" fmla="*/ 1264907 w 12192001"/>
                <a:gd name="connsiteY208" fmla="*/ 5694387 h 6523037"/>
                <a:gd name="connsiteX209" fmla="*/ 1536018 w 12192001"/>
                <a:gd name="connsiteY209" fmla="*/ 5964799 h 6523037"/>
                <a:gd name="connsiteX210" fmla="*/ 1531824 w 12192001"/>
                <a:gd name="connsiteY210" fmla="*/ 5968991 h 6523037"/>
                <a:gd name="connsiteX211" fmla="*/ 1537414 w 12192001"/>
                <a:gd name="connsiteY211" fmla="*/ 5966196 h 6523037"/>
                <a:gd name="connsiteX212" fmla="*/ 1267002 w 12192001"/>
                <a:gd name="connsiteY212" fmla="*/ 6237307 h 6523037"/>
                <a:gd name="connsiteX213" fmla="*/ 1531127 w 12192001"/>
                <a:gd name="connsiteY213" fmla="*/ 6237307 h 6523037"/>
                <a:gd name="connsiteX214" fmla="*/ 1801539 w 12192001"/>
                <a:gd name="connsiteY214" fmla="*/ 5966196 h 6523037"/>
                <a:gd name="connsiteX215" fmla="*/ 1530428 w 12192001"/>
                <a:gd name="connsiteY215" fmla="*/ 5695784 h 6523037"/>
                <a:gd name="connsiteX216" fmla="*/ 3459646 w 12192001"/>
                <a:gd name="connsiteY216" fmla="*/ 5692989 h 6523037"/>
                <a:gd name="connsiteX217" fmla="*/ 3730757 w 12192001"/>
                <a:gd name="connsiteY217" fmla="*/ 5963401 h 6523037"/>
                <a:gd name="connsiteX218" fmla="*/ 3727962 w 12192001"/>
                <a:gd name="connsiteY218" fmla="*/ 5966196 h 6523037"/>
                <a:gd name="connsiteX219" fmla="*/ 3637825 w 12192001"/>
                <a:gd name="connsiteY219" fmla="*/ 6057032 h 6523037"/>
                <a:gd name="connsiteX220" fmla="*/ 3460345 w 12192001"/>
                <a:gd name="connsiteY220" fmla="*/ 6233813 h 6523037"/>
                <a:gd name="connsiteX221" fmla="*/ 3724468 w 12192001"/>
                <a:gd name="connsiteY221" fmla="*/ 6233813 h 6523037"/>
                <a:gd name="connsiteX222" fmla="*/ 3813907 w 12192001"/>
                <a:gd name="connsiteY222" fmla="*/ 6144374 h 6523037"/>
                <a:gd name="connsiteX223" fmla="*/ 3994880 w 12192001"/>
                <a:gd name="connsiteY223" fmla="*/ 5963401 h 6523037"/>
                <a:gd name="connsiteX224" fmla="*/ 3723769 w 12192001"/>
                <a:gd name="connsiteY224" fmla="*/ 5692989 h 6523037"/>
                <a:gd name="connsiteX225" fmla="*/ 4818785 w 12192001"/>
                <a:gd name="connsiteY225" fmla="*/ 5691597 h 6523037"/>
                <a:gd name="connsiteX226" fmla="*/ 4556667 w 12192001"/>
                <a:gd name="connsiteY226" fmla="*/ 5692290 h 6523037"/>
                <a:gd name="connsiteX227" fmla="*/ 4824382 w 12192001"/>
                <a:gd name="connsiteY227" fmla="*/ 5957940 h 6523037"/>
                <a:gd name="connsiteX228" fmla="*/ 5085129 w 12192001"/>
                <a:gd name="connsiteY228" fmla="*/ 5957940 h 6523037"/>
                <a:gd name="connsiteX229" fmla="*/ 4955163 w 12192001"/>
                <a:gd name="connsiteY229" fmla="*/ 5827975 h 6523037"/>
                <a:gd name="connsiteX230" fmla="*/ 4829390 w 12192001"/>
                <a:gd name="connsiteY230" fmla="*/ 5691022 h 6523037"/>
                <a:gd name="connsiteX231" fmla="*/ 4959356 w 12192001"/>
                <a:gd name="connsiteY231" fmla="*/ 5820988 h 6523037"/>
                <a:gd name="connsiteX232" fmla="*/ 5099802 w 12192001"/>
                <a:gd name="connsiteY232" fmla="*/ 5961434 h 6523037"/>
                <a:gd name="connsiteX233" fmla="*/ 4829390 w 12192001"/>
                <a:gd name="connsiteY233" fmla="*/ 6232545 h 6523037"/>
                <a:gd name="connsiteX234" fmla="*/ 5093513 w 12192001"/>
                <a:gd name="connsiteY234" fmla="*/ 6232545 h 6523037"/>
                <a:gd name="connsiteX235" fmla="*/ 5363925 w 12192001"/>
                <a:gd name="connsiteY235" fmla="*/ 5961434 h 6523037"/>
                <a:gd name="connsiteX236" fmla="*/ 5092815 w 12192001"/>
                <a:gd name="connsiteY236" fmla="*/ 5691022 h 6523037"/>
                <a:gd name="connsiteX237" fmla="*/ 6474921 w 12192001"/>
                <a:gd name="connsiteY237" fmla="*/ 5690324 h 6523037"/>
                <a:gd name="connsiteX238" fmla="*/ 6746031 w 12192001"/>
                <a:gd name="connsiteY238" fmla="*/ 5960736 h 6523037"/>
                <a:gd name="connsiteX239" fmla="*/ 6475619 w 12192001"/>
                <a:gd name="connsiteY239" fmla="*/ 6231148 h 6523037"/>
                <a:gd name="connsiteX240" fmla="*/ 6739742 w 12192001"/>
                <a:gd name="connsiteY240" fmla="*/ 6231148 h 6523037"/>
                <a:gd name="connsiteX241" fmla="*/ 7010155 w 12192001"/>
                <a:gd name="connsiteY241" fmla="*/ 5960736 h 6523037"/>
                <a:gd name="connsiteX242" fmla="*/ 6739044 w 12192001"/>
                <a:gd name="connsiteY242" fmla="*/ 5690324 h 6523037"/>
                <a:gd name="connsiteX243" fmla="*/ 5377202 w 12192001"/>
                <a:gd name="connsiteY243" fmla="*/ 5690324 h 6523037"/>
                <a:gd name="connsiteX244" fmla="*/ 5648312 w 12192001"/>
                <a:gd name="connsiteY244" fmla="*/ 5960736 h 6523037"/>
                <a:gd name="connsiteX245" fmla="*/ 5377900 w 12192001"/>
                <a:gd name="connsiteY245" fmla="*/ 6231846 h 6523037"/>
                <a:gd name="connsiteX246" fmla="*/ 5642023 w 12192001"/>
                <a:gd name="connsiteY246" fmla="*/ 6231846 h 6523037"/>
                <a:gd name="connsiteX247" fmla="*/ 5912435 w 12192001"/>
                <a:gd name="connsiteY247" fmla="*/ 5960736 h 6523037"/>
                <a:gd name="connsiteX248" fmla="*/ 5641325 w 12192001"/>
                <a:gd name="connsiteY248" fmla="*/ 5690324 h 6523037"/>
                <a:gd name="connsiteX249" fmla="*/ 7023431 w 12192001"/>
                <a:gd name="connsiteY249" fmla="*/ 5689625 h 6523037"/>
                <a:gd name="connsiteX250" fmla="*/ 7294541 w 12192001"/>
                <a:gd name="connsiteY250" fmla="*/ 5960037 h 6523037"/>
                <a:gd name="connsiteX251" fmla="*/ 7024828 w 12192001"/>
                <a:gd name="connsiteY251" fmla="*/ 6231148 h 6523037"/>
                <a:gd name="connsiteX252" fmla="*/ 7288252 w 12192001"/>
                <a:gd name="connsiteY252" fmla="*/ 6231148 h 6523037"/>
                <a:gd name="connsiteX253" fmla="*/ 7558664 w 12192001"/>
                <a:gd name="connsiteY253" fmla="*/ 5960037 h 6523037"/>
                <a:gd name="connsiteX254" fmla="*/ 7424507 w 12192001"/>
                <a:gd name="connsiteY254" fmla="*/ 5826577 h 6523037"/>
                <a:gd name="connsiteX255" fmla="*/ 7287553 w 12192001"/>
                <a:gd name="connsiteY255" fmla="*/ 5689625 h 6523037"/>
                <a:gd name="connsiteX256" fmla="*/ 7571940 w 12192001"/>
                <a:gd name="connsiteY256" fmla="*/ 5688926 h 6523037"/>
                <a:gd name="connsiteX257" fmla="*/ 7573338 w 12192001"/>
                <a:gd name="connsiteY257" fmla="*/ 5690324 h 6523037"/>
                <a:gd name="connsiteX258" fmla="*/ 7843051 w 12192001"/>
                <a:gd name="connsiteY258" fmla="*/ 5959338 h 6523037"/>
                <a:gd name="connsiteX259" fmla="*/ 7572639 w 12192001"/>
                <a:gd name="connsiteY259" fmla="*/ 6229750 h 6523037"/>
                <a:gd name="connsiteX260" fmla="*/ 7836763 w 12192001"/>
                <a:gd name="connsiteY260" fmla="*/ 6229750 h 6523037"/>
                <a:gd name="connsiteX261" fmla="*/ 8107175 w 12192001"/>
                <a:gd name="connsiteY261" fmla="*/ 5959338 h 6523037"/>
                <a:gd name="connsiteX262" fmla="*/ 8101585 w 12192001"/>
                <a:gd name="connsiteY262" fmla="*/ 5954447 h 6523037"/>
                <a:gd name="connsiteX263" fmla="*/ 7836064 w 12192001"/>
                <a:gd name="connsiteY263" fmla="*/ 5688926 h 6523037"/>
                <a:gd name="connsiteX264" fmla="*/ 6190534 w 12192001"/>
                <a:gd name="connsiteY264" fmla="*/ 5688926 h 6523037"/>
                <a:gd name="connsiteX265" fmla="*/ 6189136 w 12192001"/>
                <a:gd name="connsiteY265" fmla="*/ 5689625 h 6523037"/>
                <a:gd name="connsiteX266" fmla="*/ 5925013 w 12192001"/>
                <a:gd name="connsiteY266" fmla="*/ 5689625 h 6523037"/>
                <a:gd name="connsiteX267" fmla="*/ 6196125 w 12192001"/>
                <a:gd name="connsiteY267" fmla="*/ 5960037 h 6523037"/>
                <a:gd name="connsiteX268" fmla="*/ 6191930 w 12192001"/>
                <a:gd name="connsiteY268" fmla="*/ 5964229 h 6523037"/>
                <a:gd name="connsiteX269" fmla="*/ 6197521 w 12192001"/>
                <a:gd name="connsiteY269" fmla="*/ 5961434 h 6523037"/>
                <a:gd name="connsiteX270" fmla="*/ 5927108 w 12192001"/>
                <a:gd name="connsiteY270" fmla="*/ 6232545 h 6523037"/>
                <a:gd name="connsiteX271" fmla="*/ 6191234 w 12192001"/>
                <a:gd name="connsiteY271" fmla="*/ 6232545 h 6523037"/>
                <a:gd name="connsiteX272" fmla="*/ 6461645 w 12192001"/>
                <a:gd name="connsiteY272" fmla="*/ 5961434 h 6523037"/>
                <a:gd name="connsiteX273" fmla="*/ 6190534 w 12192001"/>
                <a:gd name="connsiteY273" fmla="*/ 5691022 h 6523037"/>
                <a:gd name="connsiteX274" fmla="*/ 8119752 w 12192001"/>
                <a:gd name="connsiteY274" fmla="*/ 5688227 h 6523037"/>
                <a:gd name="connsiteX275" fmla="*/ 8390863 w 12192001"/>
                <a:gd name="connsiteY275" fmla="*/ 5958639 h 6523037"/>
                <a:gd name="connsiteX276" fmla="*/ 8388068 w 12192001"/>
                <a:gd name="connsiteY276" fmla="*/ 5961434 h 6523037"/>
                <a:gd name="connsiteX277" fmla="*/ 8297931 w 12192001"/>
                <a:gd name="connsiteY277" fmla="*/ 6052270 h 6523037"/>
                <a:gd name="connsiteX278" fmla="*/ 8120451 w 12192001"/>
                <a:gd name="connsiteY278" fmla="*/ 6229051 h 6523037"/>
                <a:gd name="connsiteX279" fmla="*/ 8384574 w 12192001"/>
                <a:gd name="connsiteY279" fmla="*/ 6229051 h 6523037"/>
                <a:gd name="connsiteX280" fmla="*/ 8474013 w 12192001"/>
                <a:gd name="connsiteY280" fmla="*/ 6139612 h 6523037"/>
                <a:gd name="connsiteX281" fmla="*/ 8654986 w 12192001"/>
                <a:gd name="connsiteY281" fmla="*/ 5958639 h 6523037"/>
                <a:gd name="connsiteX282" fmla="*/ 8383875 w 12192001"/>
                <a:gd name="connsiteY282" fmla="*/ 5688227 h 6523037"/>
                <a:gd name="connsiteX283" fmla="*/ 9489807 w 12192001"/>
                <a:gd name="connsiteY283" fmla="*/ 5687847 h 6523037"/>
                <a:gd name="connsiteX284" fmla="*/ 9619772 w 12192001"/>
                <a:gd name="connsiteY284" fmla="*/ 5817813 h 6523037"/>
                <a:gd name="connsiteX285" fmla="*/ 9760219 w 12192001"/>
                <a:gd name="connsiteY285" fmla="*/ 5958259 h 6523037"/>
                <a:gd name="connsiteX286" fmla="*/ 9489807 w 12192001"/>
                <a:gd name="connsiteY286" fmla="*/ 6229370 h 6523037"/>
                <a:gd name="connsiteX287" fmla="*/ 9753930 w 12192001"/>
                <a:gd name="connsiteY287" fmla="*/ 6229370 h 6523037"/>
                <a:gd name="connsiteX288" fmla="*/ 10024342 w 12192001"/>
                <a:gd name="connsiteY288" fmla="*/ 5958259 h 6523037"/>
                <a:gd name="connsiteX289" fmla="*/ 9753231 w 12192001"/>
                <a:gd name="connsiteY289" fmla="*/ 5687847 h 6523037"/>
                <a:gd name="connsiteX290" fmla="*/ 11135337 w 12192001"/>
                <a:gd name="connsiteY290" fmla="*/ 5687149 h 6523037"/>
                <a:gd name="connsiteX291" fmla="*/ 11406448 w 12192001"/>
                <a:gd name="connsiteY291" fmla="*/ 5957561 h 6523037"/>
                <a:gd name="connsiteX292" fmla="*/ 11136036 w 12192001"/>
                <a:gd name="connsiteY292" fmla="*/ 6227973 h 6523037"/>
                <a:gd name="connsiteX293" fmla="*/ 11400159 w 12192001"/>
                <a:gd name="connsiteY293" fmla="*/ 6227973 h 6523037"/>
                <a:gd name="connsiteX294" fmla="*/ 11670572 w 12192001"/>
                <a:gd name="connsiteY294" fmla="*/ 5957561 h 6523037"/>
                <a:gd name="connsiteX295" fmla="*/ 11399460 w 12192001"/>
                <a:gd name="connsiteY295" fmla="*/ 5687149 h 6523037"/>
                <a:gd name="connsiteX296" fmla="*/ 10037618 w 12192001"/>
                <a:gd name="connsiteY296" fmla="*/ 5687149 h 6523037"/>
                <a:gd name="connsiteX297" fmla="*/ 10308729 w 12192001"/>
                <a:gd name="connsiteY297" fmla="*/ 5957561 h 6523037"/>
                <a:gd name="connsiteX298" fmla="*/ 10038317 w 12192001"/>
                <a:gd name="connsiteY298" fmla="*/ 6228671 h 6523037"/>
                <a:gd name="connsiteX299" fmla="*/ 10302440 w 12192001"/>
                <a:gd name="connsiteY299" fmla="*/ 6228671 h 6523037"/>
                <a:gd name="connsiteX300" fmla="*/ 10572852 w 12192001"/>
                <a:gd name="connsiteY300" fmla="*/ 5957561 h 6523037"/>
                <a:gd name="connsiteX301" fmla="*/ 10301742 w 12192001"/>
                <a:gd name="connsiteY301" fmla="*/ 5687149 h 6523037"/>
                <a:gd name="connsiteX302" fmla="*/ 9477618 w 12192001"/>
                <a:gd name="connsiteY302" fmla="*/ 5686838 h 6523037"/>
                <a:gd name="connsiteX303" fmla="*/ 9216773 w 12192001"/>
                <a:gd name="connsiteY303" fmla="*/ 5687528 h 6523037"/>
                <a:gd name="connsiteX304" fmla="*/ 9486087 w 12192001"/>
                <a:gd name="connsiteY304" fmla="*/ 5954765 h 6523037"/>
                <a:gd name="connsiteX305" fmla="*/ 9745545 w 12192001"/>
                <a:gd name="connsiteY305" fmla="*/ 5954765 h 6523037"/>
                <a:gd name="connsiteX306" fmla="*/ 9615580 w 12192001"/>
                <a:gd name="connsiteY306" fmla="*/ 5824800 h 6523037"/>
                <a:gd name="connsiteX307" fmla="*/ 10850951 w 12192001"/>
                <a:gd name="connsiteY307" fmla="*/ 5685751 h 6523037"/>
                <a:gd name="connsiteX308" fmla="*/ 10849553 w 12192001"/>
                <a:gd name="connsiteY308" fmla="*/ 5686450 h 6523037"/>
                <a:gd name="connsiteX309" fmla="*/ 10585430 w 12192001"/>
                <a:gd name="connsiteY309" fmla="*/ 5686450 h 6523037"/>
                <a:gd name="connsiteX310" fmla="*/ 10856541 w 12192001"/>
                <a:gd name="connsiteY310" fmla="*/ 5956862 h 6523037"/>
                <a:gd name="connsiteX311" fmla="*/ 10852347 w 12192001"/>
                <a:gd name="connsiteY311" fmla="*/ 5961054 h 6523037"/>
                <a:gd name="connsiteX312" fmla="*/ 10857937 w 12192001"/>
                <a:gd name="connsiteY312" fmla="*/ 5958259 h 6523037"/>
                <a:gd name="connsiteX313" fmla="*/ 10587525 w 12192001"/>
                <a:gd name="connsiteY313" fmla="*/ 6229370 h 6523037"/>
                <a:gd name="connsiteX314" fmla="*/ 10851650 w 12192001"/>
                <a:gd name="connsiteY314" fmla="*/ 6229370 h 6523037"/>
                <a:gd name="connsiteX315" fmla="*/ 11122062 w 12192001"/>
                <a:gd name="connsiteY315" fmla="*/ 5958259 h 6523037"/>
                <a:gd name="connsiteX316" fmla="*/ 10850951 w 12192001"/>
                <a:gd name="connsiteY316" fmla="*/ 5687847 h 6523037"/>
                <a:gd name="connsiteX317" fmla="*/ 1807128 w 12192001"/>
                <a:gd name="connsiteY317" fmla="*/ 5420480 h 6523037"/>
                <a:gd name="connsiteX318" fmla="*/ 1536716 w 12192001"/>
                <a:gd name="connsiteY318" fmla="*/ 5691591 h 6523037"/>
                <a:gd name="connsiteX319" fmla="*/ 1807827 w 12192001"/>
                <a:gd name="connsiteY319" fmla="*/ 5962003 h 6523037"/>
                <a:gd name="connsiteX320" fmla="*/ 2071951 w 12192001"/>
                <a:gd name="connsiteY320" fmla="*/ 5962003 h 6523037"/>
                <a:gd name="connsiteX321" fmla="*/ 1800840 w 12192001"/>
                <a:gd name="connsiteY321" fmla="*/ 5691591 h 6523037"/>
                <a:gd name="connsiteX322" fmla="*/ 2071252 w 12192001"/>
                <a:gd name="connsiteY322" fmla="*/ 5420480 h 6523037"/>
                <a:gd name="connsiteX323" fmla="*/ 709409 w 12192001"/>
                <a:gd name="connsiteY323" fmla="*/ 5420480 h 6523037"/>
                <a:gd name="connsiteX324" fmla="*/ 438997 w 12192001"/>
                <a:gd name="connsiteY324" fmla="*/ 5691591 h 6523037"/>
                <a:gd name="connsiteX325" fmla="*/ 710108 w 12192001"/>
                <a:gd name="connsiteY325" fmla="*/ 5962003 h 6523037"/>
                <a:gd name="connsiteX326" fmla="*/ 974231 w 12192001"/>
                <a:gd name="connsiteY326" fmla="*/ 5962003 h 6523037"/>
                <a:gd name="connsiteX327" fmla="*/ 703120 w 12192001"/>
                <a:gd name="connsiteY327" fmla="*/ 5691591 h 6523037"/>
                <a:gd name="connsiteX328" fmla="*/ 972833 w 12192001"/>
                <a:gd name="connsiteY328" fmla="*/ 5420480 h 6523037"/>
                <a:gd name="connsiteX329" fmla="*/ 2904148 w 12192001"/>
                <a:gd name="connsiteY329" fmla="*/ 5419782 h 6523037"/>
                <a:gd name="connsiteX330" fmla="*/ 2723874 w 12192001"/>
                <a:gd name="connsiteY330" fmla="*/ 5600057 h 6523037"/>
                <a:gd name="connsiteX331" fmla="*/ 2634435 w 12192001"/>
                <a:gd name="connsiteY331" fmla="*/ 5690195 h 6523037"/>
                <a:gd name="connsiteX332" fmla="*/ 2768593 w 12192001"/>
                <a:gd name="connsiteY332" fmla="*/ 5823653 h 6523037"/>
                <a:gd name="connsiteX333" fmla="*/ 2905546 w 12192001"/>
                <a:gd name="connsiteY333" fmla="*/ 5960606 h 6523037"/>
                <a:gd name="connsiteX334" fmla="*/ 3169669 w 12192001"/>
                <a:gd name="connsiteY334" fmla="*/ 5960606 h 6523037"/>
                <a:gd name="connsiteX335" fmla="*/ 2898558 w 12192001"/>
                <a:gd name="connsiteY335" fmla="*/ 5690195 h 6523037"/>
                <a:gd name="connsiteX336" fmla="*/ 2899956 w 12192001"/>
                <a:gd name="connsiteY336" fmla="*/ 5688797 h 6523037"/>
                <a:gd name="connsiteX337" fmla="*/ 3168271 w 12192001"/>
                <a:gd name="connsiteY337" fmla="*/ 5419782 h 6523037"/>
                <a:gd name="connsiteX338" fmla="*/ 2355639 w 12192001"/>
                <a:gd name="connsiteY338" fmla="*/ 5419782 h 6523037"/>
                <a:gd name="connsiteX339" fmla="*/ 2085226 w 12192001"/>
                <a:gd name="connsiteY339" fmla="*/ 5690892 h 6523037"/>
                <a:gd name="connsiteX340" fmla="*/ 2356338 w 12192001"/>
                <a:gd name="connsiteY340" fmla="*/ 5961304 h 6523037"/>
                <a:gd name="connsiteX341" fmla="*/ 2620460 w 12192001"/>
                <a:gd name="connsiteY341" fmla="*/ 5961304 h 6523037"/>
                <a:gd name="connsiteX342" fmla="*/ 2349350 w 12192001"/>
                <a:gd name="connsiteY342" fmla="*/ 5690892 h 6523037"/>
                <a:gd name="connsiteX343" fmla="*/ 2533816 w 12192001"/>
                <a:gd name="connsiteY343" fmla="*/ 5506426 h 6523037"/>
                <a:gd name="connsiteX344" fmla="*/ 2619762 w 12192001"/>
                <a:gd name="connsiteY344" fmla="*/ 5420480 h 6523037"/>
                <a:gd name="connsiteX345" fmla="*/ 2361229 w 12192001"/>
                <a:gd name="connsiteY345" fmla="*/ 5420480 h 6523037"/>
                <a:gd name="connsiteX346" fmla="*/ 1257919 w 12192001"/>
                <a:gd name="connsiteY346" fmla="*/ 5419782 h 6523037"/>
                <a:gd name="connsiteX347" fmla="*/ 987507 w 12192001"/>
                <a:gd name="connsiteY347" fmla="*/ 5690892 h 6523037"/>
                <a:gd name="connsiteX348" fmla="*/ 1258618 w 12192001"/>
                <a:gd name="connsiteY348" fmla="*/ 5961304 h 6523037"/>
                <a:gd name="connsiteX349" fmla="*/ 1522741 w 12192001"/>
                <a:gd name="connsiteY349" fmla="*/ 5961304 h 6523037"/>
                <a:gd name="connsiteX350" fmla="*/ 1251631 w 12192001"/>
                <a:gd name="connsiteY350" fmla="*/ 5690892 h 6523037"/>
                <a:gd name="connsiteX351" fmla="*/ 1436098 w 12192001"/>
                <a:gd name="connsiteY351" fmla="*/ 5506426 h 6523037"/>
                <a:gd name="connsiteX352" fmla="*/ 1522043 w 12192001"/>
                <a:gd name="connsiteY352" fmla="*/ 5419782 h 6523037"/>
                <a:gd name="connsiteX353" fmla="*/ 3452658 w 12192001"/>
                <a:gd name="connsiteY353" fmla="*/ 5419084 h 6523037"/>
                <a:gd name="connsiteX354" fmla="*/ 3182246 w 12192001"/>
                <a:gd name="connsiteY354" fmla="*/ 5690195 h 6523037"/>
                <a:gd name="connsiteX355" fmla="*/ 3453357 w 12192001"/>
                <a:gd name="connsiteY355" fmla="*/ 5960606 h 6523037"/>
                <a:gd name="connsiteX356" fmla="*/ 3717481 w 12192001"/>
                <a:gd name="connsiteY356" fmla="*/ 5960606 h 6523037"/>
                <a:gd name="connsiteX357" fmla="*/ 3446370 w 12192001"/>
                <a:gd name="connsiteY357" fmla="*/ 5690195 h 6523037"/>
                <a:gd name="connsiteX358" fmla="*/ 3716782 w 12192001"/>
                <a:gd name="connsiteY358" fmla="*/ 5419084 h 6523037"/>
                <a:gd name="connsiteX359" fmla="*/ 4549679 w 12192001"/>
                <a:gd name="connsiteY359" fmla="*/ 5417686 h 6523037"/>
                <a:gd name="connsiteX360" fmla="*/ 4279267 w 12192001"/>
                <a:gd name="connsiteY360" fmla="*/ 5688797 h 6523037"/>
                <a:gd name="connsiteX361" fmla="*/ 4550379 w 12192001"/>
                <a:gd name="connsiteY361" fmla="*/ 5959209 h 6523037"/>
                <a:gd name="connsiteX362" fmla="*/ 4811794 w 12192001"/>
                <a:gd name="connsiteY362" fmla="*/ 5959209 h 6523037"/>
                <a:gd name="connsiteX363" fmla="*/ 4665187 w 12192001"/>
                <a:gd name="connsiteY363" fmla="*/ 5812602 h 6523037"/>
                <a:gd name="connsiteX364" fmla="*/ 4665187 w 12192001"/>
                <a:gd name="connsiteY364" fmla="*/ 5810279 h 6523037"/>
                <a:gd name="connsiteX365" fmla="*/ 4543392 w 12192001"/>
                <a:gd name="connsiteY365" fmla="*/ 5688797 h 6523037"/>
                <a:gd name="connsiteX366" fmla="*/ 4665187 w 12192001"/>
                <a:gd name="connsiteY366" fmla="*/ 5566541 h 6523037"/>
                <a:gd name="connsiteX367" fmla="*/ 4665187 w 12192001"/>
                <a:gd name="connsiteY367" fmla="*/ 5562454 h 6523037"/>
                <a:gd name="connsiteX368" fmla="*/ 4809954 w 12192001"/>
                <a:gd name="connsiteY368" fmla="*/ 5417686 h 6523037"/>
                <a:gd name="connsiteX369" fmla="*/ 4824163 w 12192001"/>
                <a:gd name="connsiteY369" fmla="*/ 5417116 h 6523037"/>
                <a:gd name="connsiteX370" fmla="*/ 4556667 w 12192001"/>
                <a:gd name="connsiteY370" fmla="*/ 5685303 h 6523037"/>
                <a:gd name="connsiteX371" fmla="*/ 4816942 w 12192001"/>
                <a:gd name="connsiteY371" fmla="*/ 5685303 h 6523037"/>
                <a:gd name="connsiteX372" fmla="*/ 5085129 w 12192001"/>
                <a:gd name="connsiteY372" fmla="*/ 5417116 h 6523037"/>
                <a:gd name="connsiteX373" fmla="*/ 6467235 w 12192001"/>
                <a:gd name="connsiteY373" fmla="*/ 5415718 h 6523037"/>
                <a:gd name="connsiteX374" fmla="*/ 6196823 w 12192001"/>
                <a:gd name="connsiteY374" fmla="*/ 5686829 h 6523037"/>
                <a:gd name="connsiteX375" fmla="*/ 6467933 w 12192001"/>
                <a:gd name="connsiteY375" fmla="*/ 5957241 h 6523037"/>
                <a:gd name="connsiteX376" fmla="*/ 6732057 w 12192001"/>
                <a:gd name="connsiteY376" fmla="*/ 5957241 h 6523037"/>
                <a:gd name="connsiteX377" fmla="*/ 6460946 w 12192001"/>
                <a:gd name="connsiteY377" fmla="*/ 5686829 h 6523037"/>
                <a:gd name="connsiteX378" fmla="*/ 6731358 w 12192001"/>
                <a:gd name="connsiteY378" fmla="*/ 5415718 h 6523037"/>
                <a:gd name="connsiteX379" fmla="*/ 5369515 w 12192001"/>
                <a:gd name="connsiteY379" fmla="*/ 5415718 h 6523037"/>
                <a:gd name="connsiteX380" fmla="*/ 5099104 w 12192001"/>
                <a:gd name="connsiteY380" fmla="*/ 5686829 h 6523037"/>
                <a:gd name="connsiteX381" fmla="*/ 5370215 w 12192001"/>
                <a:gd name="connsiteY381" fmla="*/ 5957241 h 6523037"/>
                <a:gd name="connsiteX382" fmla="*/ 5634338 w 12192001"/>
                <a:gd name="connsiteY382" fmla="*/ 5957241 h 6523037"/>
                <a:gd name="connsiteX383" fmla="*/ 5363227 w 12192001"/>
                <a:gd name="connsiteY383" fmla="*/ 5686829 h 6523037"/>
                <a:gd name="connsiteX384" fmla="*/ 5632939 w 12192001"/>
                <a:gd name="connsiteY384" fmla="*/ 5415718 h 6523037"/>
                <a:gd name="connsiteX385" fmla="*/ 7564254 w 12192001"/>
                <a:gd name="connsiteY385" fmla="*/ 5415020 h 6523037"/>
                <a:gd name="connsiteX386" fmla="*/ 7383980 w 12192001"/>
                <a:gd name="connsiteY386" fmla="*/ 5595295 h 6523037"/>
                <a:gd name="connsiteX387" fmla="*/ 7294541 w 12192001"/>
                <a:gd name="connsiteY387" fmla="*/ 5685433 h 6523037"/>
                <a:gd name="connsiteX388" fmla="*/ 7428699 w 12192001"/>
                <a:gd name="connsiteY388" fmla="*/ 5818891 h 6523037"/>
                <a:gd name="connsiteX389" fmla="*/ 7565652 w 12192001"/>
                <a:gd name="connsiteY389" fmla="*/ 5955844 h 6523037"/>
                <a:gd name="connsiteX390" fmla="*/ 7829775 w 12192001"/>
                <a:gd name="connsiteY390" fmla="*/ 5955844 h 6523037"/>
                <a:gd name="connsiteX391" fmla="*/ 7558664 w 12192001"/>
                <a:gd name="connsiteY391" fmla="*/ 5685433 h 6523037"/>
                <a:gd name="connsiteX392" fmla="*/ 7560062 w 12192001"/>
                <a:gd name="connsiteY392" fmla="*/ 5684035 h 6523037"/>
                <a:gd name="connsiteX393" fmla="*/ 7828377 w 12192001"/>
                <a:gd name="connsiteY393" fmla="*/ 5415020 h 6523037"/>
                <a:gd name="connsiteX394" fmla="*/ 7015746 w 12192001"/>
                <a:gd name="connsiteY394" fmla="*/ 5415020 h 6523037"/>
                <a:gd name="connsiteX395" fmla="*/ 6745333 w 12192001"/>
                <a:gd name="connsiteY395" fmla="*/ 5686130 h 6523037"/>
                <a:gd name="connsiteX396" fmla="*/ 7016444 w 12192001"/>
                <a:gd name="connsiteY396" fmla="*/ 5956542 h 6523037"/>
                <a:gd name="connsiteX397" fmla="*/ 7280566 w 12192001"/>
                <a:gd name="connsiteY397" fmla="*/ 5956542 h 6523037"/>
                <a:gd name="connsiteX398" fmla="*/ 7009456 w 12192001"/>
                <a:gd name="connsiteY398" fmla="*/ 5686130 h 6523037"/>
                <a:gd name="connsiteX399" fmla="*/ 7193922 w 12192001"/>
                <a:gd name="connsiteY399" fmla="*/ 5501664 h 6523037"/>
                <a:gd name="connsiteX400" fmla="*/ 7279868 w 12192001"/>
                <a:gd name="connsiteY400" fmla="*/ 5415718 h 6523037"/>
                <a:gd name="connsiteX401" fmla="*/ 7021335 w 12192001"/>
                <a:gd name="connsiteY401" fmla="*/ 5415718 h 6523037"/>
                <a:gd name="connsiteX402" fmla="*/ 5918025 w 12192001"/>
                <a:gd name="connsiteY402" fmla="*/ 5415020 h 6523037"/>
                <a:gd name="connsiteX403" fmla="*/ 5647613 w 12192001"/>
                <a:gd name="connsiteY403" fmla="*/ 5686130 h 6523037"/>
                <a:gd name="connsiteX404" fmla="*/ 5918725 w 12192001"/>
                <a:gd name="connsiteY404" fmla="*/ 5956542 h 6523037"/>
                <a:gd name="connsiteX405" fmla="*/ 6182848 w 12192001"/>
                <a:gd name="connsiteY405" fmla="*/ 5956542 h 6523037"/>
                <a:gd name="connsiteX406" fmla="*/ 5911738 w 12192001"/>
                <a:gd name="connsiteY406" fmla="*/ 5686130 h 6523037"/>
                <a:gd name="connsiteX407" fmla="*/ 6096205 w 12192001"/>
                <a:gd name="connsiteY407" fmla="*/ 5501664 h 6523037"/>
                <a:gd name="connsiteX408" fmla="*/ 6182150 w 12192001"/>
                <a:gd name="connsiteY408" fmla="*/ 5415020 h 6523037"/>
                <a:gd name="connsiteX409" fmla="*/ 8112764 w 12192001"/>
                <a:gd name="connsiteY409" fmla="*/ 5414322 h 6523037"/>
                <a:gd name="connsiteX410" fmla="*/ 7842352 w 12192001"/>
                <a:gd name="connsiteY410" fmla="*/ 5685433 h 6523037"/>
                <a:gd name="connsiteX411" fmla="*/ 8113463 w 12192001"/>
                <a:gd name="connsiteY411" fmla="*/ 5955844 h 6523037"/>
                <a:gd name="connsiteX412" fmla="*/ 8377587 w 12192001"/>
                <a:gd name="connsiteY412" fmla="*/ 5955844 h 6523037"/>
                <a:gd name="connsiteX413" fmla="*/ 8106476 w 12192001"/>
                <a:gd name="connsiteY413" fmla="*/ 5685433 h 6523037"/>
                <a:gd name="connsiteX414" fmla="*/ 8376888 w 12192001"/>
                <a:gd name="connsiteY414" fmla="*/ 5414322 h 6523037"/>
                <a:gd name="connsiteX415" fmla="*/ 9482686 w 12192001"/>
                <a:gd name="connsiteY415" fmla="*/ 5413941 h 6523037"/>
                <a:gd name="connsiteX416" fmla="*/ 9216773 w 12192001"/>
                <a:gd name="connsiteY416" fmla="*/ 5680541 h 6523037"/>
                <a:gd name="connsiteX417" fmla="*/ 9478945 w 12192001"/>
                <a:gd name="connsiteY417" fmla="*/ 5680541 h 6523037"/>
                <a:gd name="connsiteX418" fmla="*/ 9745545 w 12192001"/>
                <a:gd name="connsiteY418" fmla="*/ 5413941 h 6523037"/>
                <a:gd name="connsiteX419" fmla="*/ 9209785 w 12192001"/>
                <a:gd name="connsiteY419" fmla="*/ 5412924 h 6523037"/>
                <a:gd name="connsiteX420" fmla="*/ 8939373 w 12192001"/>
                <a:gd name="connsiteY420" fmla="*/ 5684035 h 6523037"/>
                <a:gd name="connsiteX421" fmla="*/ 9210484 w 12192001"/>
                <a:gd name="connsiteY421" fmla="*/ 5954447 h 6523037"/>
                <a:gd name="connsiteX422" fmla="*/ 9470623 w 12192001"/>
                <a:gd name="connsiteY422" fmla="*/ 5954447 h 6523037"/>
                <a:gd name="connsiteX423" fmla="*/ 9325603 w 12192001"/>
                <a:gd name="connsiteY423" fmla="*/ 5809427 h 6523037"/>
                <a:gd name="connsiteX424" fmla="*/ 9325603 w 12192001"/>
                <a:gd name="connsiteY424" fmla="*/ 5805827 h 6523037"/>
                <a:gd name="connsiteX425" fmla="*/ 9203497 w 12192001"/>
                <a:gd name="connsiteY425" fmla="*/ 5684035 h 6523037"/>
                <a:gd name="connsiteX426" fmla="*/ 9325603 w 12192001"/>
                <a:gd name="connsiteY426" fmla="*/ 5561467 h 6523037"/>
                <a:gd name="connsiteX427" fmla="*/ 9325603 w 12192001"/>
                <a:gd name="connsiteY427" fmla="*/ 5559279 h 6523037"/>
                <a:gd name="connsiteX428" fmla="*/ 9471958 w 12192001"/>
                <a:gd name="connsiteY428" fmla="*/ 5412924 h 6523037"/>
                <a:gd name="connsiteX429" fmla="*/ 11127651 w 12192001"/>
                <a:gd name="connsiteY429" fmla="*/ 5412543 h 6523037"/>
                <a:gd name="connsiteX430" fmla="*/ 10857239 w 12192001"/>
                <a:gd name="connsiteY430" fmla="*/ 5683654 h 6523037"/>
                <a:gd name="connsiteX431" fmla="*/ 11128350 w 12192001"/>
                <a:gd name="connsiteY431" fmla="*/ 5954066 h 6523037"/>
                <a:gd name="connsiteX432" fmla="*/ 11392474 w 12192001"/>
                <a:gd name="connsiteY432" fmla="*/ 5954066 h 6523037"/>
                <a:gd name="connsiteX433" fmla="*/ 11121363 w 12192001"/>
                <a:gd name="connsiteY433" fmla="*/ 5683654 h 6523037"/>
                <a:gd name="connsiteX434" fmla="*/ 11391775 w 12192001"/>
                <a:gd name="connsiteY434" fmla="*/ 5412543 h 6523037"/>
                <a:gd name="connsiteX435" fmla="*/ 10029932 w 12192001"/>
                <a:gd name="connsiteY435" fmla="*/ 5412543 h 6523037"/>
                <a:gd name="connsiteX436" fmla="*/ 9759520 w 12192001"/>
                <a:gd name="connsiteY436" fmla="*/ 5683654 h 6523037"/>
                <a:gd name="connsiteX437" fmla="*/ 10030631 w 12192001"/>
                <a:gd name="connsiteY437" fmla="*/ 5954066 h 6523037"/>
                <a:gd name="connsiteX438" fmla="*/ 10294754 w 12192001"/>
                <a:gd name="connsiteY438" fmla="*/ 5954066 h 6523037"/>
                <a:gd name="connsiteX439" fmla="*/ 10023643 w 12192001"/>
                <a:gd name="connsiteY439" fmla="*/ 5683654 h 6523037"/>
                <a:gd name="connsiteX440" fmla="*/ 10293356 w 12192001"/>
                <a:gd name="connsiteY440" fmla="*/ 5412543 h 6523037"/>
                <a:gd name="connsiteX441" fmla="*/ 11676162 w 12192001"/>
                <a:gd name="connsiteY441" fmla="*/ 5411845 h 6523037"/>
                <a:gd name="connsiteX442" fmla="*/ 11405749 w 12192001"/>
                <a:gd name="connsiteY442" fmla="*/ 5682955 h 6523037"/>
                <a:gd name="connsiteX443" fmla="*/ 11676861 w 12192001"/>
                <a:gd name="connsiteY443" fmla="*/ 5953367 h 6523037"/>
                <a:gd name="connsiteX444" fmla="*/ 11940983 w 12192001"/>
                <a:gd name="connsiteY444" fmla="*/ 5953367 h 6523037"/>
                <a:gd name="connsiteX445" fmla="*/ 11669873 w 12192001"/>
                <a:gd name="connsiteY445" fmla="*/ 5682955 h 6523037"/>
                <a:gd name="connsiteX446" fmla="*/ 11854339 w 12192001"/>
                <a:gd name="connsiteY446" fmla="*/ 5498489 h 6523037"/>
                <a:gd name="connsiteX447" fmla="*/ 11940285 w 12192001"/>
                <a:gd name="connsiteY447" fmla="*/ 5412543 h 6523037"/>
                <a:gd name="connsiteX448" fmla="*/ 11681752 w 12192001"/>
                <a:gd name="connsiteY448" fmla="*/ 5412543 h 6523037"/>
                <a:gd name="connsiteX449" fmla="*/ 10578442 w 12192001"/>
                <a:gd name="connsiteY449" fmla="*/ 5411845 h 6523037"/>
                <a:gd name="connsiteX450" fmla="*/ 10308030 w 12192001"/>
                <a:gd name="connsiteY450" fmla="*/ 5682955 h 6523037"/>
                <a:gd name="connsiteX451" fmla="*/ 10579141 w 12192001"/>
                <a:gd name="connsiteY451" fmla="*/ 5953367 h 6523037"/>
                <a:gd name="connsiteX452" fmla="*/ 10843264 w 12192001"/>
                <a:gd name="connsiteY452" fmla="*/ 5953367 h 6523037"/>
                <a:gd name="connsiteX453" fmla="*/ 10572154 w 12192001"/>
                <a:gd name="connsiteY453" fmla="*/ 5682955 h 6523037"/>
                <a:gd name="connsiteX454" fmla="*/ 10756621 w 12192001"/>
                <a:gd name="connsiteY454" fmla="*/ 5498489 h 6523037"/>
                <a:gd name="connsiteX455" fmla="*/ 10842566 w 12192001"/>
                <a:gd name="connsiteY455" fmla="*/ 5411845 h 6523037"/>
                <a:gd name="connsiteX456" fmla="*/ 167886 w 12192001"/>
                <a:gd name="connsiteY456" fmla="*/ 5147274 h 6523037"/>
                <a:gd name="connsiteX457" fmla="*/ 438997 w 12192001"/>
                <a:gd name="connsiteY457" fmla="*/ 5417686 h 6523037"/>
                <a:gd name="connsiteX458" fmla="*/ 169284 w 12192001"/>
                <a:gd name="connsiteY458" fmla="*/ 5688797 h 6523037"/>
                <a:gd name="connsiteX459" fmla="*/ 432708 w 12192001"/>
                <a:gd name="connsiteY459" fmla="*/ 5688797 h 6523037"/>
                <a:gd name="connsiteX460" fmla="*/ 703120 w 12192001"/>
                <a:gd name="connsiteY460" fmla="*/ 5417686 h 6523037"/>
                <a:gd name="connsiteX461" fmla="*/ 568962 w 12192001"/>
                <a:gd name="connsiteY461" fmla="*/ 5284227 h 6523037"/>
                <a:gd name="connsiteX462" fmla="*/ 432009 w 12192001"/>
                <a:gd name="connsiteY462" fmla="*/ 5147274 h 6523037"/>
                <a:gd name="connsiteX463" fmla="*/ 1814116 w 12192001"/>
                <a:gd name="connsiteY463" fmla="*/ 5146575 h 6523037"/>
                <a:gd name="connsiteX464" fmla="*/ 1942683 w 12192001"/>
                <a:gd name="connsiteY464" fmla="*/ 5275144 h 6523037"/>
                <a:gd name="connsiteX465" fmla="*/ 2084528 w 12192001"/>
                <a:gd name="connsiteY465" fmla="*/ 5416987 h 6523037"/>
                <a:gd name="connsiteX466" fmla="*/ 1814116 w 12192001"/>
                <a:gd name="connsiteY466" fmla="*/ 5688098 h 6523037"/>
                <a:gd name="connsiteX467" fmla="*/ 2078239 w 12192001"/>
                <a:gd name="connsiteY467" fmla="*/ 5688098 h 6523037"/>
                <a:gd name="connsiteX468" fmla="*/ 2348651 w 12192001"/>
                <a:gd name="connsiteY468" fmla="*/ 5416987 h 6523037"/>
                <a:gd name="connsiteX469" fmla="*/ 2343759 w 12192001"/>
                <a:gd name="connsiteY469" fmla="*/ 5412096 h 6523037"/>
                <a:gd name="connsiteX470" fmla="*/ 2078239 w 12192001"/>
                <a:gd name="connsiteY470" fmla="*/ 5146575 h 6523037"/>
                <a:gd name="connsiteX471" fmla="*/ 2362625 w 12192001"/>
                <a:gd name="connsiteY471" fmla="*/ 5145876 h 6523037"/>
                <a:gd name="connsiteX472" fmla="*/ 2633736 w 12192001"/>
                <a:gd name="connsiteY472" fmla="*/ 5415590 h 6523037"/>
                <a:gd name="connsiteX473" fmla="*/ 2630942 w 12192001"/>
                <a:gd name="connsiteY473" fmla="*/ 5418385 h 6523037"/>
                <a:gd name="connsiteX474" fmla="*/ 2540804 w 12192001"/>
                <a:gd name="connsiteY474" fmla="*/ 5509220 h 6523037"/>
                <a:gd name="connsiteX475" fmla="*/ 2363324 w 12192001"/>
                <a:gd name="connsiteY475" fmla="*/ 5686700 h 6523037"/>
                <a:gd name="connsiteX476" fmla="*/ 2627447 w 12192001"/>
                <a:gd name="connsiteY476" fmla="*/ 5686700 h 6523037"/>
                <a:gd name="connsiteX477" fmla="*/ 2716886 w 12192001"/>
                <a:gd name="connsiteY477" fmla="*/ 5597262 h 6523037"/>
                <a:gd name="connsiteX478" fmla="*/ 2897859 w 12192001"/>
                <a:gd name="connsiteY478" fmla="*/ 5416288 h 6523037"/>
                <a:gd name="connsiteX479" fmla="*/ 2626749 w 12192001"/>
                <a:gd name="connsiteY479" fmla="*/ 5145876 h 6523037"/>
                <a:gd name="connsiteX480" fmla="*/ 1264208 w 12192001"/>
                <a:gd name="connsiteY480" fmla="*/ 5145876 h 6523037"/>
                <a:gd name="connsiteX481" fmla="*/ 1535319 w 12192001"/>
                <a:gd name="connsiteY481" fmla="*/ 5415590 h 6523037"/>
                <a:gd name="connsiteX482" fmla="*/ 1532523 w 12192001"/>
                <a:gd name="connsiteY482" fmla="*/ 5418385 h 6523037"/>
                <a:gd name="connsiteX483" fmla="*/ 1442387 w 12192001"/>
                <a:gd name="connsiteY483" fmla="*/ 5509220 h 6523037"/>
                <a:gd name="connsiteX484" fmla="*/ 1264907 w 12192001"/>
                <a:gd name="connsiteY484" fmla="*/ 5686700 h 6523037"/>
                <a:gd name="connsiteX485" fmla="*/ 1529030 w 12192001"/>
                <a:gd name="connsiteY485" fmla="*/ 5686700 h 6523037"/>
                <a:gd name="connsiteX486" fmla="*/ 1618469 w 12192001"/>
                <a:gd name="connsiteY486" fmla="*/ 5597262 h 6523037"/>
                <a:gd name="connsiteX487" fmla="*/ 1799442 w 12192001"/>
                <a:gd name="connsiteY487" fmla="*/ 5416288 h 6523037"/>
                <a:gd name="connsiteX488" fmla="*/ 1528331 w 12192001"/>
                <a:gd name="connsiteY488" fmla="*/ 5145876 h 6523037"/>
                <a:gd name="connsiteX489" fmla="*/ 715697 w 12192001"/>
                <a:gd name="connsiteY489" fmla="*/ 5145876 h 6523037"/>
                <a:gd name="connsiteX490" fmla="*/ 717095 w 12192001"/>
                <a:gd name="connsiteY490" fmla="*/ 5147274 h 6523037"/>
                <a:gd name="connsiteX491" fmla="*/ 986808 w 12192001"/>
                <a:gd name="connsiteY491" fmla="*/ 5416288 h 6523037"/>
                <a:gd name="connsiteX492" fmla="*/ 716396 w 12192001"/>
                <a:gd name="connsiteY492" fmla="*/ 5687399 h 6523037"/>
                <a:gd name="connsiteX493" fmla="*/ 980520 w 12192001"/>
                <a:gd name="connsiteY493" fmla="*/ 5687399 h 6523037"/>
                <a:gd name="connsiteX494" fmla="*/ 1250932 w 12192001"/>
                <a:gd name="connsiteY494" fmla="*/ 5416288 h 6523037"/>
                <a:gd name="connsiteX495" fmla="*/ 1245342 w 12192001"/>
                <a:gd name="connsiteY495" fmla="*/ 5411397 h 6523037"/>
                <a:gd name="connsiteX496" fmla="*/ 979821 w 12192001"/>
                <a:gd name="connsiteY496" fmla="*/ 5145876 h 6523037"/>
                <a:gd name="connsiteX497" fmla="*/ 2911136 w 12192001"/>
                <a:gd name="connsiteY497" fmla="*/ 5145178 h 6523037"/>
                <a:gd name="connsiteX498" fmla="*/ 3041801 w 12192001"/>
                <a:gd name="connsiteY498" fmla="*/ 5274445 h 6523037"/>
                <a:gd name="connsiteX499" fmla="*/ 3182246 w 12192001"/>
                <a:gd name="connsiteY499" fmla="*/ 5414891 h 6523037"/>
                <a:gd name="connsiteX500" fmla="*/ 2911834 w 12192001"/>
                <a:gd name="connsiteY500" fmla="*/ 5686002 h 6523037"/>
                <a:gd name="connsiteX501" fmla="*/ 3175958 w 12192001"/>
                <a:gd name="connsiteY501" fmla="*/ 5686002 h 6523037"/>
                <a:gd name="connsiteX502" fmla="*/ 3446370 w 12192001"/>
                <a:gd name="connsiteY502" fmla="*/ 5415590 h 6523037"/>
                <a:gd name="connsiteX503" fmla="*/ 3175259 w 12192001"/>
                <a:gd name="connsiteY503" fmla="*/ 5145178 h 6523037"/>
                <a:gd name="connsiteX504" fmla="*/ 3459646 w 12192001"/>
                <a:gd name="connsiteY504" fmla="*/ 5144479 h 6523037"/>
                <a:gd name="connsiteX505" fmla="*/ 3730757 w 12192001"/>
                <a:gd name="connsiteY505" fmla="*/ 5414891 h 6523037"/>
                <a:gd name="connsiteX506" fmla="*/ 3460345 w 12192001"/>
                <a:gd name="connsiteY506" fmla="*/ 5686002 h 6523037"/>
                <a:gd name="connsiteX507" fmla="*/ 3724468 w 12192001"/>
                <a:gd name="connsiteY507" fmla="*/ 5686002 h 6523037"/>
                <a:gd name="connsiteX508" fmla="*/ 3994880 w 12192001"/>
                <a:gd name="connsiteY508" fmla="*/ 5414891 h 6523037"/>
                <a:gd name="connsiteX509" fmla="*/ 3723769 w 12192001"/>
                <a:gd name="connsiteY509" fmla="*/ 5144479 h 6523037"/>
                <a:gd name="connsiteX510" fmla="*/ 4008156 w 12192001"/>
                <a:gd name="connsiteY510" fmla="*/ 5143780 h 6523037"/>
                <a:gd name="connsiteX511" fmla="*/ 4279267 w 12192001"/>
                <a:gd name="connsiteY511" fmla="*/ 5414192 h 6523037"/>
                <a:gd name="connsiteX512" fmla="*/ 4008855 w 12192001"/>
                <a:gd name="connsiteY512" fmla="*/ 5685303 h 6523037"/>
                <a:gd name="connsiteX513" fmla="*/ 4207298 w 12192001"/>
                <a:gd name="connsiteY513" fmla="*/ 5685303 h 6523037"/>
                <a:gd name="connsiteX514" fmla="*/ 4272281 w 12192001"/>
                <a:gd name="connsiteY514" fmla="*/ 5685303 h 6523037"/>
                <a:gd name="connsiteX515" fmla="*/ 4543392 w 12192001"/>
                <a:gd name="connsiteY515" fmla="*/ 5414192 h 6523037"/>
                <a:gd name="connsiteX516" fmla="*/ 4409232 w 12192001"/>
                <a:gd name="connsiteY516" fmla="*/ 5280734 h 6523037"/>
                <a:gd name="connsiteX517" fmla="*/ 4272281 w 12192001"/>
                <a:gd name="connsiteY517" fmla="*/ 5143780 h 6523037"/>
                <a:gd name="connsiteX518" fmla="*/ 4555270 w 12192001"/>
                <a:gd name="connsiteY518" fmla="*/ 5143081 h 6523037"/>
                <a:gd name="connsiteX519" fmla="*/ 4822307 w 12192001"/>
                <a:gd name="connsiteY519" fmla="*/ 5409430 h 6523037"/>
                <a:gd name="connsiteX520" fmla="*/ 5085129 w 12192001"/>
                <a:gd name="connsiteY520" fmla="*/ 5409430 h 6523037"/>
                <a:gd name="connsiteX521" fmla="*/ 4818091 w 12192001"/>
                <a:gd name="connsiteY521" fmla="*/ 5143081 h 6523037"/>
                <a:gd name="connsiteX522" fmla="*/ 4828477 w 12192001"/>
                <a:gd name="connsiteY522" fmla="*/ 5142512 h 6523037"/>
                <a:gd name="connsiteX523" fmla="*/ 4828477 w 12192001"/>
                <a:gd name="connsiteY523" fmla="*/ 5142995 h 6523037"/>
                <a:gd name="connsiteX524" fmla="*/ 5099104 w 12192001"/>
                <a:gd name="connsiteY524" fmla="*/ 5412924 h 6523037"/>
                <a:gd name="connsiteX525" fmla="*/ 4829390 w 12192001"/>
                <a:gd name="connsiteY525" fmla="*/ 5684035 h 6523037"/>
                <a:gd name="connsiteX526" fmla="*/ 5092815 w 12192001"/>
                <a:gd name="connsiteY526" fmla="*/ 5684035 h 6523037"/>
                <a:gd name="connsiteX527" fmla="*/ 5363227 w 12192001"/>
                <a:gd name="connsiteY527" fmla="*/ 5412924 h 6523037"/>
                <a:gd name="connsiteX528" fmla="*/ 5229068 w 12192001"/>
                <a:gd name="connsiteY528" fmla="*/ 5279465 h 6523037"/>
                <a:gd name="connsiteX529" fmla="*/ 5092115 w 12192001"/>
                <a:gd name="connsiteY529" fmla="*/ 5142512 h 6523037"/>
                <a:gd name="connsiteX530" fmla="*/ 6474223 w 12192001"/>
                <a:gd name="connsiteY530" fmla="*/ 5141813 h 6523037"/>
                <a:gd name="connsiteX531" fmla="*/ 6602789 w 12192001"/>
                <a:gd name="connsiteY531" fmla="*/ 5270382 h 6523037"/>
                <a:gd name="connsiteX532" fmla="*/ 6744635 w 12192001"/>
                <a:gd name="connsiteY532" fmla="*/ 5412225 h 6523037"/>
                <a:gd name="connsiteX533" fmla="*/ 6474223 w 12192001"/>
                <a:gd name="connsiteY533" fmla="*/ 5683336 h 6523037"/>
                <a:gd name="connsiteX534" fmla="*/ 6738346 w 12192001"/>
                <a:gd name="connsiteY534" fmla="*/ 5683336 h 6523037"/>
                <a:gd name="connsiteX535" fmla="*/ 7008758 w 12192001"/>
                <a:gd name="connsiteY535" fmla="*/ 5412225 h 6523037"/>
                <a:gd name="connsiteX536" fmla="*/ 7003865 w 12192001"/>
                <a:gd name="connsiteY536" fmla="*/ 5407334 h 6523037"/>
                <a:gd name="connsiteX537" fmla="*/ 6738346 w 12192001"/>
                <a:gd name="connsiteY537" fmla="*/ 5141813 h 6523037"/>
                <a:gd name="connsiteX538" fmla="*/ 7022731 w 12192001"/>
                <a:gd name="connsiteY538" fmla="*/ 5141114 h 6523037"/>
                <a:gd name="connsiteX539" fmla="*/ 7293842 w 12192001"/>
                <a:gd name="connsiteY539" fmla="*/ 5410828 h 6523037"/>
                <a:gd name="connsiteX540" fmla="*/ 7291048 w 12192001"/>
                <a:gd name="connsiteY540" fmla="*/ 5413623 h 6523037"/>
                <a:gd name="connsiteX541" fmla="*/ 7200910 w 12192001"/>
                <a:gd name="connsiteY541" fmla="*/ 5504458 h 6523037"/>
                <a:gd name="connsiteX542" fmla="*/ 7023431 w 12192001"/>
                <a:gd name="connsiteY542" fmla="*/ 5681938 h 6523037"/>
                <a:gd name="connsiteX543" fmla="*/ 7287553 w 12192001"/>
                <a:gd name="connsiteY543" fmla="*/ 5681938 h 6523037"/>
                <a:gd name="connsiteX544" fmla="*/ 7376992 w 12192001"/>
                <a:gd name="connsiteY544" fmla="*/ 5592500 h 6523037"/>
                <a:gd name="connsiteX545" fmla="*/ 7557965 w 12192001"/>
                <a:gd name="connsiteY545" fmla="*/ 5411526 h 6523037"/>
                <a:gd name="connsiteX546" fmla="*/ 7286855 w 12192001"/>
                <a:gd name="connsiteY546" fmla="*/ 5141114 h 6523037"/>
                <a:gd name="connsiteX547" fmla="*/ 5924314 w 12192001"/>
                <a:gd name="connsiteY547" fmla="*/ 5141114 h 6523037"/>
                <a:gd name="connsiteX548" fmla="*/ 6195425 w 12192001"/>
                <a:gd name="connsiteY548" fmla="*/ 5410828 h 6523037"/>
                <a:gd name="connsiteX549" fmla="*/ 6192630 w 12192001"/>
                <a:gd name="connsiteY549" fmla="*/ 5413623 h 6523037"/>
                <a:gd name="connsiteX550" fmla="*/ 6102494 w 12192001"/>
                <a:gd name="connsiteY550" fmla="*/ 5504458 h 6523037"/>
                <a:gd name="connsiteX551" fmla="*/ 5925013 w 12192001"/>
                <a:gd name="connsiteY551" fmla="*/ 5681938 h 6523037"/>
                <a:gd name="connsiteX552" fmla="*/ 6189136 w 12192001"/>
                <a:gd name="connsiteY552" fmla="*/ 5681938 h 6523037"/>
                <a:gd name="connsiteX553" fmla="*/ 6278575 w 12192001"/>
                <a:gd name="connsiteY553" fmla="*/ 5592500 h 6523037"/>
                <a:gd name="connsiteX554" fmla="*/ 6459548 w 12192001"/>
                <a:gd name="connsiteY554" fmla="*/ 5411526 h 6523037"/>
                <a:gd name="connsiteX555" fmla="*/ 6188437 w 12192001"/>
                <a:gd name="connsiteY555" fmla="*/ 5141114 h 6523037"/>
                <a:gd name="connsiteX556" fmla="*/ 5375803 w 12192001"/>
                <a:gd name="connsiteY556" fmla="*/ 5141114 h 6523037"/>
                <a:gd name="connsiteX557" fmla="*/ 5377202 w 12192001"/>
                <a:gd name="connsiteY557" fmla="*/ 5142512 h 6523037"/>
                <a:gd name="connsiteX558" fmla="*/ 5646914 w 12192001"/>
                <a:gd name="connsiteY558" fmla="*/ 5411526 h 6523037"/>
                <a:gd name="connsiteX559" fmla="*/ 5376502 w 12192001"/>
                <a:gd name="connsiteY559" fmla="*/ 5682637 h 6523037"/>
                <a:gd name="connsiteX560" fmla="*/ 5640627 w 12192001"/>
                <a:gd name="connsiteY560" fmla="*/ 5682637 h 6523037"/>
                <a:gd name="connsiteX561" fmla="*/ 5911038 w 12192001"/>
                <a:gd name="connsiteY561" fmla="*/ 5411526 h 6523037"/>
                <a:gd name="connsiteX562" fmla="*/ 5905448 w 12192001"/>
                <a:gd name="connsiteY562" fmla="*/ 5406635 h 6523037"/>
                <a:gd name="connsiteX563" fmla="*/ 5639927 w 12192001"/>
                <a:gd name="connsiteY563" fmla="*/ 5141114 h 6523037"/>
                <a:gd name="connsiteX564" fmla="*/ 7571242 w 12192001"/>
                <a:gd name="connsiteY564" fmla="*/ 5140416 h 6523037"/>
                <a:gd name="connsiteX565" fmla="*/ 7701907 w 12192001"/>
                <a:gd name="connsiteY565" fmla="*/ 5269683 h 6523037"/>
                <a:gd name="connsiteX566" fmla="*/ 7842352 w 12192001"/>
                <a:gd name="connsiteY566" fmla="*/ 5410129 h 6523037"/>
                <a:gd name="connsiteX567" fmla="*/ 7571940 w 12192001"/>
                <a:gd name="connsiteY567" fmla="*/ 5681240 h 6523037"/>
                <a:gd name="connsiteX568" fmla="*/ 7836064 w 12192001"/>
                <a:gd name="connsiteY568" fmla="*/ 5681240 h 6523037"/>
                <a:gd name="connsiteX569" fmla="*/ 8106476 w 12192001"/>
                <a:gd name="connsiteY569" fmla="*/ 5410828 h 6523037"/>
                <a:gd name="connsiteX570" fmla="*/ 7835365 w 12192001"/>
                <a:gd name="connsiteY570" fmla="*/ 5140416 h 6523037"/>
                <a:gd name="connsiteX571" fmla="*/ 8119752 w 12192001"/>
                <a:gd name="connsiteY571" fmla="*/ 5139717 h 6523037"/>
                <a:gd name="connsiteX572" fmla="*/ 8390863 w 12192001"/>
                <a:gd name="connsiteY572" fmla="*/ 5410129 h 6523037"/>
                <a:gd name="connsiteX573" fmla="*/ 8120451 w 12192001"/>
                <a:gd name="connsiteY573" fmla="*/ 5681240 h 6523037"/>
                <a:gd name="connsiteX574" fmla="*/ 8384574 w 12192001"/>
                <a:gd name="connsiteY574" fmla="*/ 5681240 h 6523037"/>
                <a:gd name="connsiteX575" fmla="*/ 8654986 w 12192001"/>
                <a:gd name="connsiteY575" fmla="*/ 5410129 h 6523037"/>
                <a:gd name="connsiteX576" fmla="*/ 8383875 w 12192001"/>
                <a:gd name="connsiteY576" fmla="*/ 5139717 h 6523037"/>
                <a:gd name="connsiteX577" fmla="*/ 9488582 w 12192001"/>
                <a:gd name="connsiteY577" fmla="*/ 5139337 h 6523037"/>
                <a:gd name="connsiteX578" fmla="*/ 9488582 w 12192001"/>
                <a:gd name="connsiteY578" fmla="*/ 5139510 h 6523037"/>
                <a:gd name="connsiteX579" fmla="*/ 9759520 w 12192001"/>
                <a:gd name="connsiteY579" fmla="*/ 5409749 h 6523037"/>
                <a:gd name="connsiteX580" fmla="*/ 9489807 w 12192001"/>
                <a:gd name="connsiteY580" fmla="*/ 5680860 h 6523037"/>
                <a:gd name="connsiteX581" fmla="*/ 9753231 w 12192001"/>
                <a:gd name="connsiteY581" fmla="*/ 5680860 h 6523037"/>
                <a:gd name="connsiteX582" fmla="*/ 10023643 w 12192001"/>
                <a:gd name="connsiteY582" fmla="*/ 5409749 h 6523037"/>
                <a:gd name="connsiteX583" fmla="*/ 9889485 w 12192001"/>
                <a:gd name="connsiteY583" fmla="*/ 5276290 h 6523037"/>
                <a:gd name="connsiteX584" fmla="*/ 9752532 w 12192001"/>
                <a:gd name="connsiteY584" fmla="*/ 5139337 h 6523037"/>
                <a:gd name="connsiteX585" fmla="*/ 8668262 w 12192001"/>
                <a:gd name="connsiteY585" fmla="*/ 5139018 h 6523037"/>
                <a:gd name="connsiteX586" fmla="*/ 8939373 w 12192001"/>
                <a:gd name="connsiteY586" fmla="*/ 5409430 h 6523037"/>
                <a:gd name="connsiteX587" fmla="*/ 8668961 w 12192001"/>
                <a:gd name="connsiteY587" fmla="*/ 5680541 h 6523037"/>
                <a:gd name="connsiteX588" fmla="*/ 8867403 w 12192001"/>
                <a:gd name="connsiteY588" fmla="*/ 5680541 h 6523037"/>
                <a:gd name="connsiteX589" fmla="*/ 8932386 w 12192001"/>
                <a:gd name="connsiteY589" fmla="*/ 5680541 h 6523037"/>
                <a:gd name="connsiteX590" fmla="*/ 9203497 w 12192001"/>
                <a:gd name="connsiteY590" fmla="*/ 5409430 h 6523037"/>
                <a:gd name="connsiteX591" fmla="*/ 9069338 w 12192001"/>
                <a:gd name="connsiteY591" fmla="*/ 5275972 h 6523037"/>
                <a:gd name="connsiteX592" fmla="*/ 8932386 w 12192001"/>
                <a:gd name="connsiteY592" fmla="*/ 5139018 h 6523037"/>
                <a:gd name="connsiteX593" fmla="*/ 11134639 w 12192001"/>
                <a:gd name="connsiteY593" fmla="*/ 5138638 h 6523037"/>
                <a:gd name="connsiteX594" fmla="*/ 11263206 w 12192001"/>
                <a:gd name="connsiteY594" fmla="*/ 5267207 h 6523037"/>
                <a:gd name="connsiteX595" fmla="*/ 11405051 w 12192001"/>
                <a:gd name="connsiteY595" fmla="*/ 5409050 h 6523037"/>
                <a:gd name="connsiteX596" fmla="*/ 11134639 w 12192001"/>
                <a:gd name="connsiteY596" fmla="*/ 5680161 h 6523037"/>
                <a:gd name="connsiteX597" fmla="*/ 11398762 w 12192001"/>
                <a:gd name="connsiteY597" fmla="*/ 5680161 h 6523037"/>
                <a:gd name="connsiteX598" fmla="*/ 11669174 w 12192001"/>
                <a:gd name="connsiteY598" fmla="*/ 5409050 h 6523037"/>
                <a:gd name="connsiteX599" fmla="*/ 11664282 w 12192001"/>
                <a:gd name="connsiteY599" fmla="*/ 5404159 h 6523037"/>
                <a:gd name="connsiteX600" fmla="*/ 11398762 w 12192001"/>
                <a:gd name="connsiteY600" fmla="*/ 5138638 h 6523037"/>
                <a:gd name="connsiteX601" fmla="*/ 9215375 w 12192001"/>
                <a:gd name="connsiteY601" fmla="*/ 5138319 h 6523037"/>
                <a:gd name="connsiteX602" fmla="*/ 9484003 w 12192001"/>
                <a:gd name="connsiteY602" fmla="*/ 5406255 h 6523037"/>
                <a:gd name="connsiteX603" fmla="*/ 9745545 w 12192001"/>
                <a:gd name="connsiteY603" fmla="*/ 5406255 h 6523037"/>
                <a:gd name="connsiteX604" fmla="*/ 9476916 w 12192001"/>
                <a:gd name="connsiteY604" fmla="*/ 5138319 h 6523037"/>
                <a:gd name="connsiteX605" fmla="*/ 10584731 w 12192001"/>
                <a:gd name="connsiteY605" fmla="*/ 5137939 h 6523037"/>
                <a:gd name="connsiteX606" fmla="*/ 10855842 w 12192001"/>
                <a:gd name="connsiteY606" fmla="*/ 5407653 h 6523037"/>
                <a:gd name="connsiteX607" fmla="*/ 10853046 w 12192001"/>
                <a:gd name="connsiteY607" fmla="*/ 5410448 h 6523037"/>
                <a:gd name="connsiteX608" fmla="*/ 10762910 w 12192001"/>
                <a:gd name="connsiteY608" fmla="*/ 5501283 h 6523037"/>
                <a:gd name="connsiteX609" fmla="*/ 10585430 w 12192001"/>
                <a:gd name="connsiteY609" fmla="*/ 5678763 h 6523037"/>
                <a:gd name="connsiteX610" fmla="*/ 10849553 w 12192001"/>
                <a:gd name="connsiteY610" fmla="*/ 5678763 h 6523037"/>
                <a:gd name="connsiteX611" fmla="*/ 10938992 w 12192001"/>
                <a:gd name="connsiteY611" fmla="*/ 5589325 h 6523037"/>
                <a:gd name="connsiteX612" fmla="*/ 11119965 w 12192001"/>
                <a:gd name="connsiteY612" fmla="*/ 5408351 h 6523037"/>
                <a:gd name="connsiteX613" fmla="*/ 10848854 w 12192001"/>
                <a:gd name="connsiteY613" fmla="*/ 5137939 h 6523037"/>
                <a:gd name="connsiteX614" fmla="*/ 10036220 w 12192001"/>
                <a:gd name="connsiteY614" fmla="*/ 5137939 h 6523037"/>
                <a:gd name="connsiteX615" fmla="*/ 10037618 w 12192001"/>
                <a:gd name="connsiteY615" fmla="*/ 5139337 h 6523037"/>
                <a:gd name="connsiteX616" fmla="*/ 10307331 w 12192001"/>
                <a:gd name="connsiteY616" fmla="*/ 5408351 h 6523037"/>
                <a:gd name="connsiteX617" fmla="*/ 10036919 w 12192001"/>
                <a:gd name="connsiteY617" fmla="*/ 5679462 h 6523037"/>
                <a:gd name="connsiteX618" fmla="*/ 10301043 w 12192001"/>
                <a:gd name="connsiteY618" fmla="*/ 5679462 h 6523037"/>
                <a:gd name="connsiteX619" fmla="*/ 10571455 w 12192001"/>
                <a:gd name="connsiteY619" fmla="*/ 5408351 h 6523037"/>
                <a:gd name="connsiteX620" fmla="*/ 10565865 w 12192001"/>
                <a:gd name="connsiteY620" fmla="*/ 5403460 h 6523037"/>
                <a:gd name="connsiteX621" fmla="*/ 10300344 w 12192001"/>
                <a:gd name="connsiteY621" fmla="*/ 5137939 h 6523037"/>
                <a:gd name="connsiteX622" fmla="*/ 708011 w 12192001"/>
                <a:gd name="connsiteY622" fmla="*/ 4871971 h 6523037"/>
                <a:gd name="connsiteX623" fmla="*/ 527737 w 12192001"/>
                <a:gd name="connsiteY623" fmla="*/ 5052944 h 6523037"/>
                <a:gd name="connsiteX624" fmla="*/ 438298 w 12192001"/>
                <a:gd name="connsiteY624" fmla="*/ 5143081 h 6523037"/>
                <a:gd name="connsiteX625" fmla="*/ 572456 w 12192001"/>
                <a:gd name="connsiteY625" fmla="*/ 5276540 h 6523037"/>
                <a:gd name="connsiteX626" fmla="*/ 709409 w 12192001"/>
                <a:gd name="connsiteY626" fmla="*/ 5413494 h 6523037"/>
                <a:gd name="connsiteX627" fmla="*/ 973532 w 12192001"/>
                <a:gd name="connsiteY627" fmla="*/ 5413494 h 6523037"/>
                <a:gd name="connsiteX628" fmla="*/ 702421 w 12192001"/>
                <a:gd name="connsiteY628" fmla="*/ 5143081 h 6523037"/>
                <a:gd name="connsiteX629" fmla="*/ 703819 w 12192001"/>
                <a:gd name="connsiteY629" fmla="*/ 5141684 h 6523037"/>
                <a:gd name="connsiteX630" fmla="*/ 972135 w 12192001"/>
                <a:gd name="connsiteY630" fmla="*/ 4871971 h 6523037"/>
                <a:gd name="connsiteX631" fmla="*/ 1257220 w 12192001"/>
                <a:gd name="connsiteY631" fmla="*/ 4871272 h 6523037"/>
                <a:gd name="connsiteX632" fmla="*/ 986808 w 12192001"/>
                <a:gd name="connsiteY632" fmla="*/ 5142383 h 6523037"/>
                <a:gd name="connsiteX633" fmla="*/ 1257919 w 12192001"/>
                <a:gd name="connsiteY633" fmla="*/ 5412795 h 6523037"/>
                <a:gd name="connsiteX634" fmla="*/ 1522043 w 12192001"/>
                <a:gd name="connsiteY634" fmla="*/ 5412795 h 6523037"/>
                <a:gd name="connsiteX635" fmla="*/ 1250932 w 12192001"/>
                <a:gd name="connsiteY635" fmla="*/ 5142383 h 6523037"/>
                <a:gd name="connsiteX636" fmla="*/ 1521344 w 12192001"/>
                <a:gd name="connsiteY636" fmla="*/ 4871272 h 6523037"/>
                <a:gd name="connsiteX637" fmla="*/ 2904148 w 12192001"/>
                <a:gd name="connsiteY637" fmla="*/ 4870573 h 6523037"/>
                <a:gd name="connsiteX638" fmla="*/ 2633736 w 12192001"/>
                <a:gd name="connsiteY638" fmla="*/ 5141684 h 6523037"/>
                <a:gd name="connsiteX639" fmla="*/ 2904847 w 12192001"/>
                <a:gd name="connsiteY639" fmla="*/ 5412096 h 6523037"/>
                <a:gd name="connsiteX640" fmla="*/ 3168271 w 12192001"/>
                <a:gd name="connsiteY640" fmla="*/ 5412096 h 6523037"/>
                <a:gd name="connsiteX641" fmla="*/ 3037607 w 12192001"/>
                <a:gd name="connsiteY641" fmla="*/ 5282130 h 6523037"/>
                <a:gd name="connsiteX642" fmla="*/ 2897162 w 12192001"/>
                <a:gd name="connsiteY642" fmla="*/ 5141684 h 6523037"/>
                <a:gd name="connsiteX643" fmla="*/ 3168271 w 12192001"/>
                <a:gd name="connsiteY643" fmla="*/ 4870573 h 6523037"/>
                <a:gd name="connsiteX644" fmla="*/ 1805032 w 12192001"/>
                <a:gd name="connsiteY644" fmla="*/ 4870573 h 6523037"/>
                <a:gd name="connsiteX645" fmla="*/ 1534620 w 12192001"/>
                <a:gd name="connsiteY645" fmla="*/ 5141684 h 6523037"/>
                <a:gd name="connsiteX646" fmla="*/ 1805731 w 12192001"/>
                <a:gd name="connsiteY646" fmla="*/ 5412096 h 6523037"/>
                <a:gd name="connsiteX647" fmla="*/ 1807128 w 12192001"/>
                <a:gd name="connsiteY647" fmla="*/ 5413494 h 6523037"/>
                <a:gd name="connsiteX648" fmla="*/ 2071252 w 12192001"/>
                <a:gd name="connsiteY648" fmla="*/ 5413494 h 6523037"/>
                <a:gd name="connsiteX649" fmla="*/ 1939889 w 12192001"/>
                <a:gd name="connsiteY649" fmla="*/ 5282130 h 6523037"/>
                <a:gd name="connsiteX650" fmla="*/ 1802236 w 12192001"/>
                <a:gd name="connsiteY650" fmla="*/ 5144479 h 6523037"/>
                <a:gd name="connsiteX651" fmla="*/ 2071252 w 12192001"/>
                <a:gd name="connsiteY651" fmla="*/ 4870573 h 6523037"/>
                <a:gd name="connsiteX652" fmla="*/ 3451960 w 12192001"/>
                <a:gd name="connsiteY652" fmla="*/ 4869875 h 6523037"/>
                <a:gd name="connsiteX653" fmla="*/ 3181548 w 12192001"/>
                <a:gd name="connsiteY653" fmla="*/ 5140985 h 6523037"/>
                <a:gd name="connsiteX654" fmla="*/ 3452658 w 12192001"/>
                <a:gd name="connsiteY654" fmla="*/ 5411397 h 6523037"/>
                <a:gd name="connsiteX655" fmla="*/ 3716782 w 12192001"/>
                <a:gd name="connsiteY655" fmla="*/ 5411397 h 6523037"/>
                <a:gd name="connsiteX656" fmla="*/ 3445671 w 12192001"/>
                <a:gd name="connsiteY656" fmla="*/ 5140985 h 6523037"/>
                <a:gd name="connsiteX657" fmla="*/ 3630138 w 12192001"/>
                <a:gd name="connsiteY657" fmla="*/ 4956518 h 6523037"/>
                <a:gd name="connsiteX658" fmla="*/ 3714686 w 12192001"/>
                <a:gd name="connsiteY658" fmla="*/ 4869875 h 6523037"/>
                <a:gd name="connsiteX659" fmla="*/ 4000470 w 12192001"/>
                <a:gd name="connsiteY659" fmla="*/ 4869176 h 6523037"/>
                <a:gd name="connsiteX660" fmla="*/ 3730058 w 12192001"/>
                <a:gd name="connsiteY660" fmla="*/ 5140287 h 6523037"/>
                <a:gd name="connsiteX661" fmla="*/ 4001169 w 12192001"/>
                <a:gd name="connsiteY661" fmla="*/ 5410699 h 6523037"/>
                <a:gd name="connsiteX662" fmla="*/ 4265292 w 12192001"/>
                <a:gd name="connsiteY662" fmla="*/ 5410699 h 6523037"/>
                <a:gd name="connsiteX663" fmla="*/ 3994181 w 12192001"/>
                <a:gd name="connsiteY663" fmla="*/ 5140287 h 6523037"/>
                <a:gd name="connsiteX664" fmla="*/ 3995579 w 12192001"/>
                <a:gd name="connsiteY664" fmla="*/ 5138889 h 6523037"/>
                <a:gd name="connsiteX665" fmla="*/ 3994880 w 12192001"/>
                <a:gd name="connsiteY665" fmla="*/ 5138889 h 6523037"/>
                <a:gd name="connsiteX666" fmla="*/ 4263197 w 12192001"/>
                <a:gd name="connsiteY666" fmla="*/ 4869875 h 6523037"/>
                <a:gd name="connsiteX667" fmla="*/ 4004663 w 12192001"/>
                <a:gd name="connsiteY667" fmla="*/ 4869875 h 6523037"/>
                <a:gd name="connsiteX668" fmla="*/ 4006060 w 12192001"/>
                <a:gd name="connsiteY668" fmla="*/ 4869176 h 6523037"/>
                <a:gd name="connsiteX669" fmla="*/ 4823465 w 12192001"/>
                <a:gd name="connsiteY669" fmla="*/ 4868606 h 6523037"/>
                <a:gd name="connsiteX670" fmla="*/ 4555968 w 12192001"/>
                <a:gd name="connsiteY670" fmla="*/ 5136792 h 6523037"/>
                <a:gd name="connsiteX671" fmla="*/ 4816244 w 12192001"/>
                <a:gd name="connsiteY671" fmla="*/ 5136792 h 6523037"/>
                <a:gd name="connsiteX672" fmla="*/ 4998484 w 12192001"/>
                <a:gd name="connsiteY672" fmla="*/ 4954551 h 6523037"/>
                <a:gd name="connsiteX673" fmla="*/ 5084429 w 12192001"/>
                <a:gd name="connsiteY673" fmla="*/ 4868606 h 6523037"/>
                <a:gd name="connsiteX674" fmla="*/ 4548281 w 12192001"/>
                <a:gd name="connsiteY674" fmla="*/ 4868477 h 6523037"/>
                <a:gd name="connsiteX675" fmla="*/ 4367308 w 12192001"/>
                <a:gd name="connsiteY675" fmla="*/ 5049450 h 6523037"/>
                <a:gd name="connsiteX676" fmla="*/ 4368007 w 12192001"/>
                <a:gd name="connsiteY676" fmla="*/ 5050149 h 6523037"/>
                <a:gd name="connsiteX677" fmla="*/ 4278568 w 12192001"/>
                <a:gd name="connsiteY677" fmla="*/ 5140287 h 6523037"/>
                <a:gd name="connsiteX678" fmla="*/ 4412727 w 12192001"/>
                <a:gd name="connsiteY678" fmla="*/ 5273746 h 6523037"/>
                <a:gd name="connsiteX679" fmla="*/ 4548980 w 12192001"/>
                <a:gd name="connsiteY679" fmla="*/ 5410000 h 6523037"/>
                <a:gd name="connsiteX680" fmla="*/ 4810394 w 12192001"/>
                <a:gd name="connsiteY680" fmla="*/ 5410000 h 6523037"/>
                <a:gd name="connsiteX681" fmla="*/ 4665187 w 12192001"/>
                <a:gd name="connsiteY681" fmla="*/ 5264791 h 6523037"/>
                <a:gd name="connsiteX682" fmla="*/ 4665187 w 12192001"/>
                <a:gd name="connsiteY682" fmla="*/ 5262463 h 6523037"/>
                <a:gd name="connsiteX683" fmla="*/ 4541993 w 12192001"/>
                <a:gd name="connsiteY683" fmla="*/ 5139588 h 6523037"/>
                <a:gd name="connsiteX684" fmla="*/ 4665187 w 12192001"/>
                <a:gd name="connsiteY684" fmla="*/ 5016077 h 6523037"/>
                <a:gd name="connsiteX685" fmla="*/ 4665187 w 12192001"/>
                <a:gd name="connsiteY685" fmla="*/ 5013245 h 6523037"/>
                <a:gd name="connsiteX686" fmla="*/ 4809274 w 12192001"/>
                <a:gd name="connsiteY686" fmla="*/ 4868477 h 6523037"/>
                <a:gd name="connsiteX687" fmla="*/ 2621159 w 12192001"/>
                <a:gd name="connsiteY687" fmla="*/ 4868477 h 6523037"/>
                <a:gd name="connsiteX688" fmla="*/ 2354940 w 12192001"/>
                <a:gd name="connsiteY688" fmla="*/ 4871272 h 6523037"/>
                <a:gd name="connsiteX689" fmla="*/ 2084528 w 12192001"/>
                <a:gd name="connsiteY689" fmla="*/ 5142383 h 6523037"/>
                <a:gd name="connsiteX690" fmla="*/ 2355639 w 12192001"/>
                <a:gd name="connsiteY690" fmla="*/ 5412795 h 6523037"/>
                <a:gd name="connsiteX691" fmla="*/ 2619762 w 12192001"/>
                <a:gd name="connsiteY691" fmla="*/ 5412795 h 6523037"/>
                <a:gd name="connsiteX692" fmla="*/ 2348651 w 12192001"/>
                <a:gd name="connsiteY692" fmla="*/ 5142383 h 6523037"/>
                <a:gd name="connsiteX693" fmla="*/ 5368118 w 12192001"/>
                <a:gd name="connsiteY693" fmla="*/ 4867209 h 6523037"/>
                <a:gd name="connsiteX694" fmla="*/ 5187844 w 12192001"/>
                <a:gd name="connsiteY694" fmla="*/ 5048182 h 6523037"/>
                <a:gd name="connsiteX695" fmla="*/ 5098404 w 12192001"/>
                <a:gd name="connsiteY695" fmla="*/ 5138319 h 6523037"/>
                <a:gd name="connsiteX696" fmla="*/ 5232563 w 12192001"/>
                <a:gd name="connsiteY696" fmla="*/ 5271778 h 6523037"/>
                <a:gd name="connsiteX697" fmla="*/ 5369515 w 12192001"/>
                <a:gd name="connsiteY697" fmla="*/ 5408732 h 6523037"/>
                <a:gd name="connsiteX698" fmla="*/ 5633638 w 12192001"/>
                <a:gd name="connsiteY698" fmla="*/ 5408732 h 6523037"/>
                <a:gd name="connsiteX699" fmla="*/ 5362527 w 12192001"/>
                <a:gd name="connsiteY699" fmla="*/ 5138319 h 6523037"/>
                <a:gd name="connsiteX700" fmla="*/ 5363925 w 12192001"/>
                <a:gd name="connsiteY700" fmla="*/ 5136922 h 6523037"/>
                <a:gd name="connsiteX701" fmla="*/ 5632241 w 12192001"/>
                <a:gd name="connsiteY701" fmla="*/ 4867209 h 6523037"/>
                <a:gd name="connsiteX702" fmla="*/ 5917326 w 12192001"/>
                <a:gd name="connsiteY702" fmla="*/ 4866510 h 6523037"/>
                <a:gd name="connsiteX703" fmla="*/ 5646914 w 12192001"/>
                <a:gd name="connsiteY703" fmla="*/ 5137621 h 6523037"/>
                <a:gd name="connsiteX704" fmla="*/ 5918025 w 12192001"/>
                <a:gd name="connsiteY704" fmla="*/ 5408033 h 6523037"/>
                <a:gd name="connsiteX705" fmla="*/ 6182150 w 12192001"/>
                <a:gd name="connsiteY705" fmla="*/ 5408033 h 6523037"/>
                <a:gd name="connsiteX706" fmla="*/ 5911038 w 12192001"/>
                <a:gd name="connsiteY706" fmla="*/ 5137621 h 6523037"/>
                <a:gd name="connsiteX707" fmla="*/ 6181450 w 12192001"/>
                <a:gd name="connsiteY707" fmla="*/ 4866510 h 6523037"/>
                <a:gd name="connsiteX708" fmla="*/ 7564254 w 12192001"/>
                <a:gd name="connsiteY708" fmla="*/ 4865811 h 6523037"/>
                <a:gd name="connsiteX709" fmla="*/ 7293842 w 12192001"/>
                <a:gd name="connsiteY709" fmla="*/ 5136922 h 6523037"/>
                <a:gd name="connsiteX710" fmla="*/ 7564953 w 12192001"/>
                <a:gd name="connsiteY710" fmla="*/ 5407334 h 6523037"/>
                <a:gd name="connsiteX711" fmla="*/ 7828377 w 12192001"/>
                <a:gd name="connsiteY711" fmla="*/ 5407334 h 6523037"/>
                <a:gd name="connsiteX712" fmla="*/ 7697713 w 12192001"/>
                <a:gd name="connsiteY712" fmla="*/ 5277368 h 6523037"/>
                <a:gd name="connsiteX713" fmla="*/ 7557268 w 12192001"/>
                <a:gd name="connsiteY713" fmla="*/ 5136922 h 6523037"/>
                <a:gd name="connsiteX714" fmla="*/ 7828377 w 12192001"/>
                <a:gd name="connsiteY714" fmla="*/ 4865811 h 6523037"/>
                <a:gd name="connsiteX715" fmla="*/ 6465139 w 12192001"/>
                <a:gd name="connsiteY715" fmla="*/ 4865811 h 6523037"/>
                <a:gd name="connsiteX716" fmla="*/ 6194726 w 12192001"/>
                <a:gd name="connsiteY716" fmla="*/ 5136922 h 6523037"/>
                <a:gd name="connsiteX717" fmla="*/ 6465837 w 12192001"/>
                <a:gd name="connsiteY717" fmla="*/ 5407334 h 6523037"/>
                <a:gd name="connsiteX718" fmla="*/ 6467235 w 12192001"/>
                <a:gd name="connsiteY718" fmla="*/ 5408732 h 6523037"/>
                <a:gd name="connsiteX719" fmla="*/ 6731358 w 12192001"/>
                <a:gd name="connsiteY719" fmla="*/ 5408732 h 6523037"/>
                <a:gd name="connsiteX720" fmla="*/ 6599996 w 12192001"/>
                <a:gd name="connsiteY720" fmla="*/ 5277368 h 6523037"/>
                <a:gd name="connsiteX721" fmla="*/ 6462342 w 12192001"/>
                <a:gd name="connsiteY721" fmla="*/ 5139717 h 6523037"/>
                <a:gd name="connsiteX722" fmla="*/ 6731358 w 12192001"/>
                <a:gd name="connsiteY722" fmla="*/ 4865811 h 6523037"/>
                <a:gd name="connsiteX723" fmla="*/ 9481988 w 12192001"/>
                <a:gd name="connsiteY723" fmla="*/ 4865431 h 6523037"/>
                <a:gd name="connsiteX724" fmla="*/ 9216074 w 12192001"/>
                <a:gd name="connsiteY724" fmla="*/ 5132030 h 6523037"/>
                <a:gd name="connsiteX725" fmla="*/ 9478247 w 12192001"/>
                <a:gd name="connsiteY725" fmla="*/ 5132030 h 6523037"/>
                <a:gd name="connsiteX726" fmla="*/ 9658901 w 12192001"/>
                <a:gd name="connsiteY726" fmla="*/ 4951376 h 6523037"/>
                <a:gd name="connsiteX727" fmla="*/ 9744846 w 12192001"/>
                <a:gd name="connsiteY727" fmla="*/ 4865431 h 6523037"/>
                <a:gd name="connsiteX728" fmla="*/ 8112066 w 12192001"/>
                <a:gd name="connsiteY728" fmla="*/ 4865113 h 6523037"/>
                <a:gd name="connsiteX729" fmla="*/ 7841654 w 12192001"/>
                <a:gd name="connsiteY729" fmla="*/ 5136223 h 6523037"/>
                <a:gd name="connsiteX730" fmla="*/ 8112764 w 12192001"/>
                <a:gd name="connsiteY730" fmla="*/ 5406635 h 6523037"/>
                <a:gd name="connsiteX731" fmla="*/ 8376888 w 12192001"/>
                <a:gd name="connsiteY731" fmla="*/ 5406635 h 6523037"/>
                <a:gd name="connsiteX732" fmla="*/ 8105777 w 12192001"/>
                <a:gd name="connsiteY732" fmla="*/ 5136223 h 6523037"/>
                <a:gd name="connsiteX733" fmla="*/ 8290244 w 12192001"/>
                <a:gd name="connsiteY733" fmla="*/ 4951756 h 6523037"/>
                <a:gd name="connsiteX734" fmla="*/ 8374792 w 12192001"/>
                <a:gd name="connsiteY734" fmla="*/ 4865113 h 6523037"/>
                <a:gd name="connsiteX735" fmla="*/ 8660576 w 12192001"/>
                <a:gd name="connsiteY735" fmla="*/ 4864414 h 6523037"/>
                <a:gd name="connsiteX736" fmla="*/ 8390164 w 12192001"/>
                <a:gd name="connsiteY736" fmla="*/ 5135525 h 6523037"/>
                <a:gd name="connsiteX737" fmla="*/ 8661275 w 12192001"/>
                <a:gd name="connsiteY737" fmla="*/ 5405937 h 6523037"/>
                <a:gd name="connsiteX738" fmla="*/ 8925398 w 12192001"/>
                <a:gd name="connsiteY738" fmla="*/ 5405937 h 6523037"/>
                <a:gd name="connsiteX739" fmla="*/ 8654287 w 12192001"/>
                <a:gd name="connsiteY739" fmla="*/ 5135525 h 6523037"/>
                <a:gd name="connsiteX740" fmla="*/ 8655685 w 12192001"/>
                <a:gd name="connsiteY740" fmla="*/ 5134127 h 6523037"/>
                <a:gd name="connsiteX741" fmla="*/ 8654986 w 12192001"/>
                <a:gd name="connsiteY741" fmla="*/ 5134127 h 6523037"/>
                <a:gd name="connsiteX742" fmla="*/ 8923303 w 12192001"/>
                <a:gd name="connsiteY742" fmla="*/ 4865113 h 6523037"/>
                <a:gd name="connsiteX743" fmla="*/ 8664769 w 12192001"/>
                <a:gd name="connsiteY743" fmla="*/ 4865113 h 6523037"/>
                <a:gd name="connsiteX744" fmla="*/ 8666166 w 12192001"/>
                <a:gd name="connsiteY744" fmla="*/ 4864414 h 6523037"/>
                <a:gd name="connsiteX745" fmla="*/ 10028534 w 12192001"/>
                <a:gd name="connsiteY745" fmla="*/ 4864034 h 6523037"/>
                <a:gd name="connsiteX746" fmla="*/ 9848260 w 12192001"/>
                <a:gd name="connsiteY746" fmla="*/ 5045007 h 6523037"/>
                <a:gd name="connsiteX747" fmla="*/ 9758821 w 12192001"/>
                <a:gd name="connsiteY747" fmla="*/ 5135144 h 6523037"/>
                <a:gd name="connsiteX748" fmla="*/ 9892979 w 12192001"/>
                <a:gd name="connsiteY748" fmla="*/ 5268603 h 6523037"/>
                <a:gd name="connsiteX749" fmla="*/ 10029932 w 12192001"/>
                <a:gd name="connsiteY749" fmla="*/ 5405557 h 6523037"/>
                <a:gd name="connsiteX750" fmla="*/ 10294055 w 12192001"/>
                <a:gd name="connsiteY750" fmla="*/ 5405557 h 6523037"/>
                <a:gd name="connsiteX751" fmla="*/ 10022944 w 12192001"/>
                <a:gd name="connsiteY751" fmla="*/ 5135144 h 6523037"/>
                <a:gd name="connsiteX752" fmla="*/ 10024342 w 12192001"/>
                <a:gd name="connsiteY752" fmla="*/ 5133747 h 6523037"/>
                <a:gd name="connsiteX753" fmla="*/ 10292658 w 12192001"/>
                <a:gd name="connsiteY753" fmla="*/ 4864034 h 6523037"/>
                <a:gd name="connsiteX754" fmla="*/ 9208387 w 12192001"/>
                <a:gd name="connsiteY754" fmla="*/ 4863715 h 6523037"/>
                <a:gd name="connsiteX755" fmla="*/ 9027414 w 12192001"/>
                <a:gd name="connsiteY755" fmla="*/ 5044688 h 6523037"/>
                <a:gd name="connsiteX756" fmla="*/ 9028113 w 12192001"/>
                <a:gd name="connsiteY756" fmla="*/ 5045387 h 6523037"/>
                <a:gd name="connsiteX757" fmla="*/ 8938674 w 12192001"/>
                <a:gd name="connsiteY757" fmla="*/ 5135525 h 6523037"/>
                <a:gd name="connsiteX758" fmla="*/ 9072833 w 12192001"/>
                <a:gd name="connsiteY758" fmla="*/ 5268984 h 6523037"/>
                <a:gd name="connsiteX759" fmla="*/ 9209086 w 12192001"/>
                <a:gd name="connsiteY759" fmla="*/ 5405238 h 6523037"/>
                <a:gd name="connsiteX760" fmla="*/ 9469224 w 12192001"/>
                <a:gd name="connsiteY760" fmla="*/ 5405238 h 6523037"/>
                <a:gd name="connsiteX761" fmla="*/ 9325603 w 12192001"/>
                <a:gd name="connsiteY761" fmla="*/ 5261616 h 6523037"/>
                <a:gd name="connsiteX762" fmla="*/ 9325603 w 12192001"/>
                <a:gd name="connsiteY762" fmla="*/ 5258012 h 6523037"/>
                <a:gd name="connsiteX763" fmla="*/ 9202099 w 12192001"/>
                <a:gd name="connsiteY763" fmla="*/ 5134826 h 6523037"/>
                <a:gd name="connsiteX764" fmla="*/ 9325603 w 12192001"/>
                <a:gd name="connsiteY764" fmla="*/ 5011003 h 6523037"/>
                <a:gd name="connsiteX765" fmla="*/ 9325603 w 12192001"/>
                <a:gd name="connsiteY765" fmla="*/ 5010070 h 6523037"/>
                <a:gd name="connsiteX766" fmla="*/ 9471271 w 12192001"/>
                <a:gd name="connsiteY766" fmla="*/ 4863715 h 6523037"/>
                <a:gd name="connsiteX767" fmla="*/ 7281265 w 12192001"/>
                <a:gd name="connsiteY767" fmla="*/ 4863715 h 6523037"/>
                <a:gd name="connsiteX768" fmla="*/ 7015046 w 12192001"/>
                <a:gd name="connsiteY768" fmla="*/ 4866510 h 6523037"/>
                <a:gd name="connsiteX769" fmla="*/ 6744635 w 12192001"/>
                <a:gd name="connsiteY769" fmla="*/ 5137621 h 6523037"/>
                <a:gd name="connsiteX770" fmla="*/ 7015746 w 12192001"/>
                <a:gd name="connsiteY770" fmla="*/ 5408033 h 6523037"/>
                <a:gd name="connsiteX771" fmla="*/ 7279868 w 12192001"/>
                <a:gd name="connsiteY771" fmla="*/ 5408033 h 6523037"/>
                <a:gd name="connsiteX772" fmla="*/ 7008758 w 12192001"/>
                <a:gd name="connsiteY772" fmla="*/ 5137621 h 6523037"/>
                <a:gd name="connsiteX773" fmla="*/ 10577743 w 12192001"/>
                <a:gd name="connsiteY773" fmla="*/ 4863335 h 6523037"/>
                <a:gd name="connsiteX774" fmla="*/ 10307331 w 12192001"/>
                <a:gd name="connsiteY774" fmla="*/ 5134446 h 6523037"/>
                <a:gd name="connsiteX775" fmla="*/ 10578442 w 12192001"/>
                <a:gd name="connsiteY775" fmla="*/ 5404858 h 6523037"/>
                <a:gd name="connsiteX776" fmla="*/ 10842566 w 12192001"/>
                <a:gd name="connsiteY776" fmla="*/ 5404858 h 6523037"/>
                <a:gd name="connsiteX777" fmla="*/ 10571455 w 12192001"/>
                <a:gd name="connsiteY777" fmla="*/ 5134446 h 6523037"/>
                <a:gd name="connsiteX778" fmla="*/ 10841867 w 12192001"/>
                <a:gd name="connsiteY778" fmla="*/ 4863335 h 6523037"/>
                <a:gd name="connsiteX779" fmla="*/ 11125555 w 12192001"/>
                <a:gd name="connsiteY779" fmla="*/ 4862636 h 6523037"/>
                <a:gd name="connsiteX780" fmla="*/ 10855143 w 12192001"/>
                <a:gd name="connsiteY780" fmla="*/ 5133747 h 6523037"/>
                <a:gd name="connsiteX781" fmla="*/ 11126254 w 12192001"/>
                <a:gd name="connsiteY781" fmla="*/ 5404159 h 6523037"/>
                <a:gd name="connsiteX782" fmla="*/ 11127651 w 12192001"/>
                <a:gd name="connsiteY782" fmla="*/ 5405557 h 6523037"/>
                <a:gd name="connsiteX783" fmla="*/ 11391775 w 12192001"/>
                <a:gd name="connsiteY783" fmla="*/ 5405557 h 6523037"/>
                <a:gd name="connsiteX784" fmla="*/ 11260412 w 12192001"/>
                <a:gd name="connsiteY784" fmla="*/ 5274193 h 6523037"/>
                <a:gd name="connsiteX785" fmla="*/ 11122759 w 12192001"/>
                <a:gd name="connsiteY785" fmla="*/ 5136542 h 6523037"/>
                <a:gd name="connsiteX786" fmla="*/ 11391775 w 12192001"/>
                <a:gd name="connsiteY786" fmla="*/ 4862636 h 6523037"/>
                <a:gd name="connsiteX787" fmla="*/ 11941682 w 12192001"/>
                <a:gd name="connsiteY787" fmla="*/ 4860540 h 6523037"/>
                <a:gd name="connsiteX788" fmla="*/ 11675463 w 12192001"/>
                <a:gd name="connsiteY788" fmla="*/ 4863335 h 6523037"/>
                <a:gd name="connsiteX789" fmla="*/ 11405051 w 12192001"/>
                <a:gd name="connsiteY789" fmla="*/ 5134446 h 6523037"/>
                <a:gd name="connsiteX790" fmla="*/ 11676162 w 12192001"/>
                <a:gd name="connsiteY790" fmla="*/ 5404858 h 6523037"/>
                <a:gd name="connsiteX791" fmla="*/ 11940285 w 12192001"/>
                <a:gd name="connsiteY791" fmla="*/ 5404858 h 6523037"/>
                <a:gd name="connsiteX792" fmla="*/ 11669174 w 12192001"/>
                <a:gd name="connsiteY792" fmla="*/ 5134446 h 6523037"/>
                <a:gd name="connsiteX793" fmla="*/ 166488 w 12192001"/>
                <a:gd name="connsiteY793" fmla="*/ 4598764 h 6523037"/>
                <a:gd name="connsiteX794" fmla="*/ 437599 w 12192001"/>
                <a:gd name="connsiteY794" fmla="*/ 4869176 h 6523037"/>
                <a:gd name="connsiteX795" fmla="*/ 434805 w 12192001"/>
                <a:gd name="connsiteY795" fmla="*/ 4871971 h 6523037"/>
                <a:gd name="connsiteX796" fmla="*/ 344667 w 12192001"/>
                <a:gd name="connsiteY796" fmla="*/ 4962807 h 6523037"/>
                <a:gd name="connsiteX797" fmla="*/ 167187 w 12192001"/>
                <a:gd name="connsiteY797" fmla="*/ 5139588 h 6523037"/>
                <a:gd name="connsiteX798" fmla="*/ 431311 w 12192001"/>
                <a:gd name="connsiteY798" fmla="*/ 5139588 h 6523037"/>
                <a:gd name="connsiteX799" fmla="*/ 520749 w 12192001"/>
                <a:gd name="connsiteY799" fmla="*/ 5050149 h 6523037"/>
                <a:gd name="connsiteX800" fmla="*/ 701722 w 12192001"/>
                <a:gd name="connsiteY800" fmla="*/ 4869176 h 6523037"/>
                <a:gd name="connsiteX801" fmla="*/ 430612 w 12192001"/>
                <a:gd name="connsiteY801" fmla="*/ 4598764 h 6523037"/>
                <a:gd name="connsiteX802" fmla="*/ 715697 w 12192001"/>
                <a:gd name="connsiteY802" fmla="*/ 4598065 h 6523037"/>
                <a:gd name="connsiteX803" fmla="*/ 845663 w 12192001"/>
                <a:gd name="connsiteY803" fmla="*/ 4728030 h 6523037"/>
                <a:gd name="connsiteX804" fmla="*/ 986109 w 12192001"/>
                <a:gd name="connsiteY804" fmla="*/ 4867778 h 6523037"/>
                <a:gd name="connsiteX805" fmla="*/ 715697 w 12192001"/>
                <a:gd name="connsiteY805" fmla="*/ 5138889 h 6523037"/>
                <a:gd name="connsiteX806" fmla="*/ 979821 w 12192001"/>
                <a:gd name="connsiteY806" fmla="*/ 5138889 h 6523037"/>
                <a:gd name="connsiteX807" fmla="*/ 1250932 w 12192001"/>
                <a:gd name="connsiteY807" fmla="*/ 4868477 h 6523037"/>
                <a:gd name="connsiteX808" fmla="*/ 979821 w 12192001"/>
                <a:gd name="connsiteY808" fmla="*/ 4598065 h 6523037"/>
                <a:gd name="connsiteX809" fmla="*/ 2911136 w 12192001"/>
                <a:gd name="connsiteY809" fmla="*/ 4597366 h 6523037"/>
                <a:gd name="connsiteX810" fmla="*/ 3040403 w 12192001"/>
                <a:gd name="connsiteY810" fmla="*/ 4725236 h 6523037"/>
                <a:gd name="connsiteX811" fmla="*/ 3040403 w 12192001"/>
                <a:gd name="connsiteY811" fmla="*/ 4725935 h 6523037"/>
                <a:gd name="connsiteX812" fmla="*/ 3182246 w 12192001"/>
                <a:gd name="connsiteY812" fmla="*/ 4867778 h 6523037"/>
                <a:gd name="connsiteX813" fmla="*/ 2911834 w 12192001"/>
                <a:gd name="connsiteY813" fmla="*/ 5138889 h 6523037"/>
                <a:gd name="connsiteX814" fmla="*/ 3175259 w 12192001"/>
                <a:gd name="connsiteY814" fmla="*/ 5138889 h 6523037"/>
                <a:gd name="connsiteX815" fmla="*/ 3445671 w 12192001"/>
                <a:gd name="connsiteY815" fmla="*/ 4867778 h 6523037"/>
                <a:gd name="connsiteX816" fmla="*/ 3440081 w 12192001"/>
                <a:gd name="connsiteY816" fmla="*/ 4862188 h 6523037"/>
                <a:gd name="connsiteX817" fmla="*/ 3439382 w 12192001"/>
                <a:gd name="connsiteY817" fmla="*/ 4862188 h 6523037"/>
                <a:gd name="connsiteX818" fmla="*/ 3173862 w 12192001"/>
                <a:gd name="connsiteY818" fmla="*/ 4597366 h 6523037"/>
                <a:gd name="connsiteX819" fmla="*/ 1813417 w 12192001"/>
                <a:gd name="connsiteY819" fmla="*/ 4597366 h 6523037"/>
                <a:gd name="connsiteX820" fmla="*/ 1815507 w 12192001"/>
                <a:gd name="connsiteY820" fmla="*/ 4600154 h 6523037"/>
                <a:gd name="connsiteX821" fmla="*/ 1814814 w 12192001"/>
                <a:gd name="connsiteY821" fmla="*/ 4599463 h 6523037"/>
                <a:gd name="connsiteX822" fmla="*/ 1815513 w 12192001"/>
                <a:gd name="connsiteY822" fmla="*/ 4600162 h 6523037"/>
                <a:gd name="connsiteX823" fmla="*/ 1815507 w 12192001"/>
                <a:gd name="connsiteY823" fmla="*/ 4600154 h 6523037"/>
                <a:gd name="connsiteX824" fmla="*/ 2074046 w 12192001"/>
                <a:gd name="connsiteY824" fmla="*/ 4857996 h 6523037"/>
                <a:gd name="connsiteX825" fmla="*/ 2083829 w 12192001"/>
                <a:gd name="connsiteY825" fmla="*/ 4867079 h 6523037"/>
                <a:gd name="connsiteX826" fmla="*/ 2085925 w 12192001"/>
                <a:gd name="connsiteY826" fmla="*/ 4869176 h 6523037"/>
                <a:gd name="connsiteX827" fmla="*/ 1821102 w 12192001"/>
                <a:gd name="connsiteY827" fmla="*/ 5138889 h 6523037"/>
                <a:gd name="connsiteX828" fmla="*/ 2080335 w 12192001"/>
                <a:gd name="connsiteY828" fmla="*/ 5139588 h 6523037"/>
                <a:gd name="connsiteX829" fmla="*/ 2350049 w 12192001"/>
                <a:gd name="connsiteY829" fmla="*/ 4869176 h 6523037"/>
                <a:gd name="connsiteX830" fmla="*/ 2214493 w 12192001"/>
                <a:gd name="connsiteY830" fmla="*/ 4734319 h 6523037"/>
                <a:gd name="connsiteX831" fmla="*/ 2197724 w 12192001"/>
                <a:gd name="connsiteY831" fmla="*/ 4717549 h 6523037"/>
                <a:gd name="connsiteX832" fmla="*/ 2078239 w 12192001"/>
                <a:gd name="connsiteY832" fmla="*/ 4598764 h 6523037"/>
                <a:gd name="connsiteX833" fmla="*/ 2074046 w 12192001"/>
                <a:gd name="connsiteY833" fmla="*/ 4597366 h 6523037"/>
                <a:gd name="connsiteX834" fmla="*/ 1263509 w 12192001"/>
                <a:gd name="connsiteY834" fmla="*/ 4597366 h 6523037"/>
                <a:gd name="connsiteX835" fmla="*/ 1534620 w 12192001"/>
                <a:gd name="connsiteY835" fmla="*/ 4867778 h 6523037"/>
                <a:gd name="connsiteX836" fmla="*/ 1264208 w 12192001"/>
                <a:gd name="connsiteY836" fmla="*/ 5138889 h 6523037"/>
                <a:gd name="connsiteX837" fmla="*/ 1528331 w 12192001"/>
                <a:gd name="connsiteY837" fmla="*/ 5138889 h 6523037"/>
                <a:gd name="connsiteX838" fmla="*/ 1798743 w 12192001"/>
                <a:gd name="connsiteY838" fmla="*/ 4867778 h 6523037"/>
                <a:gd name="connsiteX839" fmla="*/ 1527632 w 12192001"/>
                <a:gd name="connsiteY839" fmla="*/ 4597366 h 6523037"/>
                <a:gd name="connsiteX840" fmla="*/ 2626749 w 12192001"/>
                <a:gd name="connsiteY840" fmla="*/ 4595968 h 6523037"/>
                <a:gd name="connsiteX841" fmla="*/ 2363324 w 12192001"/>
                <a:gd name="connsiteY841" fmla="*/ 4596667 h 6523037"/>
                <a:gd name="connsiteX842" fmla="*/ 2632339 w 12192001"/>
                <a:gd name="connsiteY842" fmla="*/ 4864984 h 6523037"/>
                <a:gd name="connsiteX843" fmla="*/ 2631641 w 12192001"/>
                <a:gd name="connsiteY843" fmla="*/ 4865683 h 6523037"/>
                <a:gd name="connsiteX844" fmla="*/ 2633038 w 12192001"/>
                <a:gd name="connsiteY844" fmla="*/ 4867079 h 6523037"/>
                <a:gd name="connsiteX845" fmla="*/ 2362625 w 12192001"/>
                <a:gd name="connsiteY845" fmla="*/ 5138190 h 6523037"/>
                <a:gd name="connsiteX846" fmla="*/ 2626749 w 12192001"/>
                <a:gd name="connsiteY846" fmla="*/ 5138190 h 6523037"/>
                <a:gd name="connsiteX847" fmla="*/ 2716886 w 12192001"/>
                <a:gd name="connsiteY847" fmla="*/ 5048053 h 6523037"/>
                <a:gd name="connsiteX848" fmla="*/ 2896463 w 12192001"/>
                <a:gd name="connsiteY848" fmla="*/ 4864984 h 6523037"/>
                <a:gd name="connsiteX849" fmla="*/ 4555270 w 12192001"/>
                <a:gd name="connsiteY849" fmla="*/ 4595271 h 6523037"/>
                <a:gd name="connsiteX850" fmla="*/ 4822299 w 12192001"/>
                <a:gd name="connsiteY850" fmla="*/ 4861613 h 6523037"/>
                <a:gd name="connsiteX851" fmla="*/ 5084429 w 12192001"/>
                <a:gd name="connsiteY851" fmla="*/ 4860921 h 6523037"/>
                <a:gd name="connsiteX852" fmla="*/ 4818093 w 12192001"/>
                <a:gd name="connsiteY852" fmla="*/ 4595271 h 6523037"/>
                <a:gd name="connsiteX853" fmla="*/ 4006759 w 12192001"/>
                <a:gd name="connsiteY853" fmla="*/ 4595271 h 6523037"/>
                <a:gd name="connsiteX854" fmla="*/ 4136725 w 12192001"/>
                <a:gd name="connsiteY854" fmla="*/ 4724537 h 6523037"/>
                <a:gd name="connsiteX855" fmla="*/ 4277172 w 12192001"/>
                <a:gd name="connsiteY855" fmla="*/ 4864984 h 6523037"/>
                <a:gd name="connsiteX856" fmla="*/ 4184238 w 12192001"/>
                <a:gd name="connsiteY856" fmla="*/ 4958615 h 6523037"/>
                <a:gd name="connsiteX857" fmla="*/ 4184937 w 12192001"/>
                <a:gd name="connsiteY857" fmla="*/ 4959313 h 6523037"/>
                <a:gd name="connsiteX858" fmla="*/ 4008156 w 12192001"/>
                <a:gd name="connsiteY858" fmla="*/ 5136792 h 6523037"/>
                <a:gd name="connsiteX859" fmla="*/ 4270883 w 12192001"/>
                <a:gd name="connsiteY859" fmla="*/ 5136792 h 6523037"/>
                <a:gd name="connsiteX860" fmla="*/ 4541295 w 12192001"/>
                <a:gd name="connsiteY860" fmla="*/ 4865683 h 6523037"/>
                <a:gd name="connsiteX861" fmla="*/ 4270183 w 12192001"/>
                <a:gd name="connsiteY861" fmla="*/ 4595271 h 6523037"/>
                <a:gd name="connsiteX862" fmla="*/ 3458248 w 12192001"/>
                <a:gd name="connsiteY862" fmla="*/ 4595271 h 6523037"/>
                <a:gd name="connsiteX863" fmla="*/ 3729359 w 12192001"/>
                <a:gd name="connsiteY863" fmla="*/ 4865683 h 6523037"/>
                <a:gd name="connsiteX864" fmla="*/ 3730058 w 12192001"/>
                <a:gd name="connsiteY864" fmla="*/ 4866380 h 6523037"/>
                <a:gd name="connsiteX865" fmla="*/ 3459646 w 12192001"/>
                <a:gd name="connsiteY865" fmla="*/ 5137491 h 6523037"/>
                <a:gd name="connsiteX866" fmla="*/ 3723769 w 12192001"/>
                <a:gd name="connsiteY866" fmla="*/ 5137491 h 6523037"/>
                <a:gd name="connsiteX867" fmla="*/ 3813208 w 12192001"/>
                <a:gd name="connsiteY867" fmla="*/ 5047355 h 6523037"/>
                <a:gd name="connsiteX868" fmla="*/ 3812509 w 12192001"/>
                <a:gd name="connsiteY868" fmla="*/ 5047355 h 6523037"/>
                <a:gd name="connsiteX869" fmla="*/ 3993483 w 12192001"/>
                <a:gd name="connsiteY869" fmla="*/ 4866380 h 6523037"/>
                <a:gd name="connsiteX870" fmla="*/ 3988591 w 12192001"/>
                <a:gd name="connsiteY870" fmla="*/ 4860791 h 6523037"/>
                <a:gd name="connsiteX871" fmla="*/ 3722372 w 12192001"/>
                <a:gd name="connsiteY871" fmla="*/ 4595271 h 6523037"/>
                <a:gd name="connsiteX872" fmla="*/ 4828477 w 12192001"/>
                <a:gd name="connsiteY872" fmla="*/ 4594002 h 6523037"/>
                <a:gd name="connsiteX873" fmla="*/ 4828477 w 12192001"/>
                <a:gd name="connsiteY873" fmla="*/ 4595879 h 6523037"/>
                <a:gd name="connsiteX874" fmla="*/ 5097706 w 12192001"/>
                <a:gd name="connsiteY874" fmla="*/ 4864414 h 6523037"/>
                <a:gd name="connsiteX875" fmla="*/ 5094911 w 12192001"/>
                <a:gd name="connsiteY875" fmla="*/ 4867209 h 6523037"/>
                <a:gd name="connsiteX876" fmla="*/ 5004773 w 12192001"/>
                <a:gd name="connsiteY876" fmla="*/ 4958045 h 6523037"/>
                <a:gd name="connsiteX877" fmla="*/ 4828477 w 12192001"/>
                <a:gd name="connsiteY877" fmla="*/ 5133648 h 6523037"/>
                <a:gd name="connsiteX878" fmla="*/ 4828477 w 12192001"/>
                <a:gd name="connsiteY878" fmla="*/ 5134826 h 6523037"/>
                <a:gd name="connsiteX879" fmla="*/ 5091417 w 12192001"/>
                <a:gd name="connsiteY879" fmla="*/ 5134826 h 6523037"/>
                <a:gd name="connsiteX880" fmla="*/ 5180855 w 12192001"/>
                <a:gd name="connsiteY880" fmla="*/ 5045387 h 6523037"/>
                <a:gd name="connsiteX881" fmla="*/ 5361829 w 12192001"/>
                <a:gd name="connsiteY881" fmla="*/ 4864414 h 6523037"/>
                <a:gd name="connsiteX882" fmla="*/ 5090718 w 12192001"/>
                <a:gd name="connsiteY882" fmla="*/ 4594002 h 6523037"/>
                <a:gd name="connsiteX883" fmla="*/ 5375803 w 12192001"/>
                <a:gd name="connsiteY883" fmla="*/ 4593303 h 6523037"/>
                <a:gd name="connsiteX884" fmla="*/ 5505770 w 12192001"/>
                <a:gd name="connsiteY884" fmla="*/ 4723268 h 6523037"/>
                <a:gd name="connsiteX885" fmla="*/ 5646216 w 12192001"/>
                <a:gd name="connsiteY885" fmla="*/ 4863016 h 6523037"/>
                <a:gd name="connsiteX886" fmla="*/ 5375803 w 12192001"/>
                <a:gd name="connsiteY886" fmla="*/ 5134127 h 6523037"/>
                <a:gd name="connsiteX887" fmla="*/ 5639927 w 12192001"/>
                <a:gd name="connsiteY887" fmla="*/ 5134127 h 6523037"/>
                <a:gd name="connsiteX888" fmla="*/ 5911038 w 12192001"/>
                <a:gd name="connsiteY888" fmla="*/ 4863715 h 6523037"/>
                <a:gd name="connsiteX889" fmla="*/ 5639927 w 12192001"/>
                <a:gd name="connsiteY889" fmla="*/ 4593303 h 6523037"/>
                <a:gd name="connsiteX890" fmla="*/ 7571242 w 12192001"/>
                <a:gd name="connsiteY890" fmla="*/ 4592604 h 6523037"/>
                <a:gd name="connsiteX891" fmla="*/ 7700509 w 12192001"/>
                <a:gd name="connsiteY891" fmla="*/ 4720474 h 6523037"/>
                <a:gd name="connsiteX892" fmla="*/ 7700509 w 12192001"/>
                <a:gd name="connsiteY892" fmla="*/ 4721173 h 6523037"/>
                <a:gd name="connsiteX893" fmla="*/ 7842352 w 12192001"/>
                <a:gd name="connsiteY893" fmla="*/ 4863016 h 6523037"/>
                <a:gd name="connsiteX894" fmla="*/ 7571940 w 12192001"/>
                <a:gd name="connsiteY894" fmla="*/ 5134127 h 6523037"/>
                <a:gd name="connsiteX895" fmla="*/ 7835365 w 12192001"/>
                <a:gd name="connsiteY895" fmla="*/ 5134127 h 6523037"/>
                <a:gd name="connsiteX896" fmla="*/ 8105777 w 12192001"/>
                <a:gd name="connsiteY896" fmla="*/ 4863016 h 6523037"/>
                <a:gd name="connsiteX897" fmla="*/ 8100187 w 12192001"/>
                <a:gd name="connsiteY897" fmla="*/ 4857426 h 6523037"/>
                <a:gd name="connsiteX898" fmla="*/ 8099488 w 12192001"/>
                <a:gd name="connsiteY898" fmla="*/ 4857426 h 6523037"/>
                <a:gd name="connsiteX899" fmla="*/ 7833968 w 12192001"/>
                <a:gd name="connsiteY899" fmla="*/ 4592604 h 6523037"/>
                <a:gd name="connsiteX900" fmla="*/ 6473523 w 12192001"/>
                <a:gd name="connsiteY900" fmla="*/ 4592604 h 6523037"/>
                <a:gd name="connsiteX901" fmla="*/ 6475613 w 12192001"/>
                <a:gd name="connsiteY901" fmla="*/ 4595392 h 6523037"/>
                <a:gd name="connsiteX902" fmla="*/ 6474921 w 12192001"/>
                <a:gd name="connsiteY902" fmla="*/ 4594701 h 6523037"/>
                <a:gd name="connsiteX903" fmla="*/ 6475619 w 12192001"/>
                <a:gd name="connsiteY903" fmla="*/ 4595400 h 6523037"/>
                <a:gd name="connsiteX904" fmla="*/ 6475613 w 12192001"/>
                <a:gd name="connsiteY904" fmla="*/ 4595392 h 6523037"/>
                <a:gd name="connsiteX905" fmla="*/ 6734153 w 12192001"/>
                <a:gd name="connsiteY905" fmla="*/ 4853234 h 6523037"/>
                <a:gd name="connsiteX906" fmla="*/ 6743935 w 12192001"/>
                <a:gd name="connsiteY906" fmla="*/ 4862317 h 6523037"/>
                <a:gd name="connsiteX907" fmla="*/ 6746031 w 12192001"/>
                <a:gd name="connsiteY907" fmla="*/ 4864414 h 6523037"/>
                <a:gd name="connsiteX908" fmla="*/ 6481208 w 12192001"/>
                <a:gd name="connsiteY908" fmla="*/ 5134127 h 6523037"/>
                <a:gd name="connsiteX909" fmla="*/ 6740442 w 12192001"/>
                <a:gd name="connsiteY909" fmla="*/ 5134826 h 6523037"/>
                <a:gd name="connsiteX910" fmla="*/ 7010155 w 12192001"/>
                <a:gd name="connsiteY910" fmla="*/ 4864414 h 6523037"/>
                <a:gd name="connsiteX911" fmla="*/ 6874599 w 12192001"/>
                <a:gd name="connsiteY911" fmla="*/ 4729557 h 6523037"/>
                <a:gd name="connsiteX912" fmla="*/ 6857830 w 12192001"/>
                <a:gd name="connsiteY912" fmla="*/ 4712787 h 6523037"/>
                <a:gd name="connsiteX913" fmla="*/ 6738346 w 12192001"/>
                <a:gd name="connsiteY913" fmla="*/ 4594002 h 6523037"/>
                <a:gd name="connsiteX914" fmla="*/ 6734153 w 12192001"/>
                <a:gd name="connsiteY914" fmla="*/ 4592604 h 6523037"/>
                <a:gd name="connsiteX915" fmla="*/ 5923616 w 12192001"/>
                <a:gd name="connsiteY915" fmla="*/ 4592604 h 6523037"/>
                <a:gd name="connsiteX916" fmla="*/ 6194726 w 12192001"/>
                <a:gd name="connsiteY916" fmla="*/ 4863016 h 6523037"/>
                <a:gd name="connsiteX917" fmla="*/ 5924314 w 12192001"/>
                <a:gd name="connsiteY917" fmla="*/ 5134127 h 6523037"/>
                <a:gd name="connsiteX918" fmla="*/ 6188437 w 12192001"/>
                <a:gd name="connsiteY918" fmla="*/ 5134127 h 6523037"/>
                <a:gd name="connsiteX919" fmla="*/ 6458849 w 12192001"/>
                <a:gd name="connsiteY919" fmla="*/ 4863016 h 6523037"/>
                <a:gd name="connsiteX920" fmla="*/ 6187739 w 12192001"/>
                <a:gd name="connsiteY920" fmla="*/ 4592604 h 6523037"/>
                <a:gd name="connsiteX921" fmla="*/ 7286855 w 12192001"/>
                <a:gd name="connsiteY921" fmla="*/ 4591206 h 6523037"/>
                <a:gd name="connsiteX922" fmla="*/ 7023431 w 12192001"/>
                <a:gd name="connsiteY922" fmla="*/ 4591905 h 6523037"/>
                <a:gd name="connsiteX923" fmla="*/ 7292445 w 12192001"/>
                <a:gd name="connsiteY923" fmla="*/ 4860222 h 6523037"/>
                <a:gd name="connsiteX924" fmla="*/ 7291747 w 12192001"/>
                <a:gd name="connsiteY924" fmla="*/ 4860921 h 6523037"/>
                <a:gd name="connsiteX925" fmla="*/ 7293144 w 12192001"/>
                <a:gd name="connsiteY925" fmla="*/ 4862317 h 6523037"/>
                <a:gd name="connsiteX926" fmla="*/ 7022731 w 12192001"/>
                <a:gd name="connsiteY926" fmla="*/ 5133428 h 6523037"/>
                <a:gd name="connsiteX927" fmla="*/ 7286855 w 12192001"/>
                <a:gd name="connsiteY927" fmla="*/ 5133428 h 6523037"/>
                <a:gd name="connsiteX928" fmla="*/ 7376992 w 12192001"/>
                <a:gd name="connsiteY928" fmla="*/ 5043291 h 6523037"/>
                <a:gd name="connsiteX929" fmla="*/ 7556569 w 12192001"/>
                <a:gd name="connsiteY929" fmla="*/ 4860222 h 6523037"/>
                <a:gd name="connsiteX930" fmla="*/ 9488582 w 12192001"/>
                <a:gd name="connsiteY930" fmla="*/ 4590827 h 6523037"/>
                <a:gd name="connsiteX931" fmla="*/ 9488582 w 12192001"/>
                <a:gd name="connsiteY931" fmla="*/ 4592394 h 6523037"/>
                <a:gd name="connsiteX932" fmla="*/ 9758122 w 12192001"/>
                <a:gd name="connsiteY932" fmla="*/ 4861239 h 6523037"/>
                <a:gd name="connsiteX933" fmla="*/ 9755328 w 12192001"/>
                <a:gd name="connsiteY933" fmla="*/ 4864034 h 6523037"/>
                <a:gd name="connsiteX934" fmla="*/ 9665190 w 12192001"/>
                <a:gd name="connsiteY934" fmla="*/ 4954870 h 6523037"/>
                <a:gd name="connsiteX935" fmla="*/ 9488582 w 12192001"/>
                <a:gd name="connsiteY935" fmla="*/ 5130783 h 6523037"/>
                <a:gd name="connsiteX936" fmla="*/ 9488582 w 12192001"/>
                <a:gd name="connsiteY936" fmla="*/ 5131651 h 6523037"/>
                <a:gd name="connsiteX937" fmla="*/ 9751834 w 12192001"/>
                <a:gd name="connsiteY937" fmla="*/ 5131651 h 6523037"/>
                <a:gd name="connsiteX938" fmla="*/ 9841272 w 12192001"/>
                <a:gd name="connsiteY938" fmla="*/ 5042212 h 6523037"/>
                <a:gd name="connsiteX939" fmla="*/ 10022245 w 12192001"/>
                <a:gd name="connsiteY939" fmla="*/ 4861239 h 6523037"/>
                <a:gd name="connsiteX940" fmla="*/ 9751135 w 12192001"/>
                <a:gd name="connsiteY940" fmla="*/ 4590827 h 6523037"/>
                <a:gd name="connsiteX941" fmla="*/ 9215375 w 12192001"/>
                <a:gd name="connsiteY941" fmla="*/ 4590509 h 6523037"/>
                <a:gd name="connsiteX942" fmla="*/ 9483993 w 12192001"/>
                <a:gd name="connsiteY942" fmla="*/ 4858435 h 6523037"/>
                <a:gd name="connsiteX943" fmla="*/ 9744846 w 12192001"/>
                <a:gd name="connsiteY943" fmla="*/ 4857746 h 6523037"/>
                <a:gd name="connsiteX944" fmla="*/ 9476918 w 12192001"/>
                <a:gd name="connsiteY944" fmla="*/ 4590509 h 6523037"/>
                <a:gd name="connsiteX945" fmla="*/ 8666865 w 12192001"/>
                <a:gd name="connsiteY945" fmla="*/ 4590509 h 6523037"/>
                <a:gd name="connsiteX946" fmla="*/ 8796831 w 12192001"/>
                <a:gd name="connsiteY946" fmla="*/ 4719775 h 6523037"/>
                <a:gd name="connsiteX947" fmla="*/ 8937277 w 12192001"/>
                <a:gd name="connsiteY947" fmla="*/ 4860222 h 6523037"/>
                <a:gd name="connsiteX948" fmla="*/ 8844344 w 12192001"/>
                <a:gd name="connsiteY948" fmla="*/ 4953853 h 6523037"/>
                <a:gd name="connsiteX949" fmla="*/ 8845043 w 12192001"/>
                <a:gd name="connsiteY949" fmla="*/ 4954551 h 6523037"/>
                <a:gd name="connsiteX950" fmla="*/ 8668262 w 12192001"/>
                <a:gd name="connsiteY950" fmla="*/ 5132030 h 6523037"/>
                <a:gd name="connsiteX951" fmla="*/ 8930988 w 12192001"/>
                <a:gd name="connsiteY951" fmla="*/ 5132030 h 6523037"/>
                <a:gd name="connsiteX952" fmla="*/ 9201400 w 12192001"/>
                <a:gd name="connsiteY952" fmla="*/ 4860921 h 6523037"/>
                <a:gd name="connsiteX953" fmla="*/ 8930289 w 12192001"/>
                <a:gd name="connsiteY953" fmla="*/ 4590509 h 6523037"/>
                <a:gd name="connsiteX954" fmla="*/ 8118354 w 12192001"/>
                <a:gd name="connsiteY954" fmla="*/ 4590509 h 6523037"/>
                <a:gd name="connsiteX955" fmla="*/ 8389465 w 12192001"/>
                <a:gd name="connsiteY955" fmla="*/ 4860921 h 6523037"/>
                <a:gd name="connsiteX956" fmla="*/ 8390164 w 12192001"/>
                <a:gd name="connsiteY956" fmla="*/ 4861618 h 6523037"/>
                <a:gd name="connsiteX957" fmla="*/ 8119752 w 12192001"/>
                <a:gd name="connsiteY957" fmla="*/ 5132729 h 6523037"/>
                <a:gd name="connsiteX958" fmla="*/ 8383875 w 12192001"/>
                <a:gd name="connsiteY958" fmla="*/ 5132729 h 6523037"/>
                <a:gd name="connsiteX959" fmla="*/ 8473314 w 12192001"/>
                <a:gd name="connsiteY959" fmla="*/ 5042593 h 6523037"/>
                <a:gd name="connsiteX960" fmla="*/ 8472615 w 12192001"/>
                <a:gd name="connsiteY960" fmla="*/ 5042593 h 6523037"/>
                <a:gd name="connsiteX961" fmla="*/ 8653589 w 12192001"/>
                <a:gd name="connsiteY961" fmla="*/ 4861618 h 6523037"/>
                <a:gd name="connsiteX962" fmla="*/ 8648697 w 12192001"/>
                <a:gd name="connsiteY962" fmla="*/ 4856029 h 6523037"/>
                <a:gd name="connsiteX963" fmla="*/ 8382478 w 12192001"/>
                <a:gd name="connsiteY963" fmla="*/ 4590509 h 6523037"/>
                <a:gd name="connsiteX964" fmla="*/ 10036220 w 12192001"/>
                <a:gd name="connsiteY964" fmla="*/ 4590128 h 6523037"/>
                <a:gd name="connsiteX965" fmla="*/ 10166186 w 12192001"/>
                <a:gd name="connsiteY965" fmla="*/ 4720093 h 6523037"/>
                <a:gd name="connsiteX966" fmla="*/ 10306632 w 12192001"/>
                <a:gd name="connsiteY966" fmla="*/ 4859841 h 6523037"/>
                <a:gd name="connsiteX967" fmla="*/ 10036220 w 12192001"/>
                <a:gd name="connsiteY967" fmla="*/ 5130952 h 6523037"/>
                <a:gd name="connsiteX968" fmla="*/ 10300344 w 12192001"/>
                <a:gd name="connsiteY968" fmla="*/ 5130952 h 6523037"/>
                <a:gd name="connsiteX969" fmla="*/ 10571455 w 12192001"/>
                <a:gd name="connsiteY969" fmla="*/ 4860540 h 6523037"/>
                <a:gd name="connsiteX970" fmla="*/ 10300344 w 12192001"/>
                <a:gd name="connsiteY970" fmla="*/ 4590128 h 6523037"/>
                <a:gd name="connsiteX971" fmla="*/ 11133940 w 12192001"/>
                <a:gd name="connsiteY971" fmla="*/ 4589429 h 6523037"/>
                <a:gd name="connsiteX972" fmla="*/ 11136030 w 12192001"/>
                <a:gd name="connsiteY972" fmla="*/ 4592217 h 6523037"/>
                <a:gd name="connsiteX973" fmla="*/ 11135337 w 12192001"/>
                <a:gd name="connsiteY973" fmla="*/ 4591526 h 6523037"/>
                <a:gd name="connsiteX974" fmla="*/ 11136036 w 12192001"/>
                <a:gd name="connsiteY974" fmla="*/ 4592225 h 6523037"/>
                <a:gd name="connsiteX975" fmla="*/ 11136030 w 12192001"/>
                <a:gd name="connsiteY975" fmla="*/ 4592217 h 6523037"/>
                <a:gd name="connsiteX976" fmla="*/ 11394569 w 12192001"/>
                <a:gd name="connsiteY976" fmla="*/ 4850059 h 6523037"/>
                <a:gd name="connsiteX977" fmla="*/ 11404352 w 12192001"/>
                <a:gd name="connsiteY977" fmla="*/ 4859142 h 6523037"/>
                <a:gd name="connsiteX978" fmla="*/ 11406448 w 12192001"/>
                <a:gd name="connsiteY978" fmla="*/ 4861239 h 6523037"/>
                <a:gd name="connsiteX979" fmla="*/ 11141625 w 12192001"/>
                <a:gd name="connsiteY979" fmla="*/ 5130952 h 6523037"/>
                <a:gd name="connsiteX980" fmla="*/ 11400858 w 12192001"/>
                <a:gd name="connsiteY980" fmla="*/ 5131651 h 6523037"/>
                <a:gd name="connsiteX981" fmla="*/ 11670572 w 12192001"/>
                <a:gd name="connsiteY981" fmla="*/ 4861239 h 6523037"/>
                <a:gd name="connsiteX982" fmla="*/ 11535016 w 12192001"/>
                <a:gd name="connsiteY982" fmla="*/ 4726382 h 6523037"/>
                <a:gd name="connsiteX983" fmla="*/ 11518247 w 12192001"/>
                <a:gd name="connsiteY983" fmla="*/ 4709612 h 6523037"/>
                <a:gd name="connsiteX984" fmla="*/ 11398762 w 12192001"/>
                <a:gd name="connsiteY984" fmla="*/ 4590827 h 6523037"/>
                <a:gd name="connsiteX985" fmla="*/ 11394569 w 12192001"/>
                <a:gd name="connsiteY985" fmla="*/ 4589429 h 6523037"/>
                <a:gd name="connsiteX986" fmla="*/ 10584032 w 12192001"/>
                <a:gd name="connsiteY986" fmla="*/ 4589429 h 6523037"/>
                <a:gd name="connsiteX987" fmla="*/ 10855143 w 12192001"/>
                <a:gd name="connsiteY987" fmla="*/ 4859841 h 6523037"/>
                <a:gd name="connsiteX988" fmla="*/ 10584731 w 12192001"/>
                <a:gd name="connsiteY988" fmla="*/ 5130952 h 6523037"/>
                <a:gd name="connsiteX989" fmla="*/ 10848854 w 12192001"/>
                <a:gd name="connsiteY989" fmla="*/ 5130952 h 6523037"/>
                <a:gd name="connsiteX990" fmla="*/ 11119266 w 12192001"/>
                <a:gd name="connsiteY990" fmla="*/ 4859841 h 6523037"/>
                <a:gd name="connsiteX991" fmla="*/ 10848155 w 12192001"/>
                <a:gd name="connsiteY991" fmla="*/ 4589429 h 6523037"/>
                <a:gd name="connsiteX992" fmla="*/ 708011 w 12192001"/>
                <a:gd name="connsiteY992" fmla="*/ 4324160 h 6523037"/>
                <a:gd name="connsiteX993" fmla="*/ 437599 w 12192001"/>
                <a:gd name="connsiteY993" fmla="*/ 4595271 h 6523037"/>
                <a:gd name="connsiteX994" fmla="*/ 709409 w 12192001"/>
                <a:gd name="connsiteY994" fmla="*/ 4865683 h 6523037"/>
                <a:gd name="connsiteX995" fmla="*/ 972833 w 12192001"/>
                <a:gd name="connsiteY995" fmla="*/ 4865683 h 6523037"/>
                <a:gd name="connsiteX996" fmla="*/ 842169 w 12192001"/>
                <a:gd name="connsiteY996" fmla="*/ 4735716 h 6523037"/>
                <a:gd name="connsiteX997" fmla="*/ 701722 w 12192001"/>
                <a:gd name="connsiteY997" fmla="*/ 4595271 h 6523037"/>
                <a:gd name="connsiteX998" fmla="*/ 972135 w 12192001"/>
                <a:gd name="connsiteY998" fmla="*/ 4324160 h 6523037"/>
                <a:gd name="connsiteX999" fmla="*/ 2354241 w 12192001"/>
                <a:gd name="connsiteY999" fmla="*/ 4323461 h 6523037"/>
                <a:gd name="connsiteX1000" fmla="*/ 2083829 w 12192001"/>
                <a:gd name="connsiteY1000" fmla="*/ 4594572 h 6523037"/>
                <a:gd name="connsiteX1001" fmla="*/ 2353542 w 12192001"/>
                <a:gd name="connsiteY1001" fmla="*/ 4863586 h 6523037"/>
                <a:gd name="connsiteX1002" fmla="*/ 2616967 w 12192001"/>
                <a:gd name="connsiteY1002" fmla="*/ 4863586 h 6523037"/>
                <a:gd name="connsiteX1003" fmla="*/ 2347952 w 12192001"/>
                <a:gd name="connsiteY1003" fmla="*/ 4594572 h 6523037"/>
                <a:gd name="connsiteX1004" fmla="*/ 2348651 w 12192001"/>
                <a:gd name="connsiteY1004" fmla="*/ 4593873 h 6523037"/>
                <a:gd name="connsiteX1005" fmla="*/ 2347254 w 12192001"/>
                <a:gd name="connsiteY1005" fmla="*/ 4592475 h 6523037"/>
                <a:gd name="connsiteX1006" fmla="*/ 2615569 w 12192001"/>
                <a:gd name="connsiteY1006" fmla="*/ 4323461 h 6523037"/>
                <a:gd name="connsiteX1007" fmla="*/ 1256521 w 12192001"/>
                <a:gd name="connsiteY1007" fmla="*/ 4323461 h 6523037"/>
                <a:gd name="connsiteX1008" fmla="*/ 986109 w 12192001"/>
                <a:gd name="connsiteY1008" fmla="*/ 4594572 h 6523037"/>
                <a:gd name="connsiteX1009" fmla="*/ 1257220 w 12192001"/>
                <a:gd name="connsiteY1009" fmla="*/ 4864984 h 6523037"/>
                <a:gd name="connsiteX1010" fmla="*/ 1521344 w 12192001"/>
                <a:gd name="connsiteY1010" fmla="*/ 4864984 h 6523037"/>
                <a:gd name="connsiteX1011" fmla="*/ 1250233 w 12192001"/>
                <a:gd name="connsiteY1011" fmla="*/ 4594572 h 6523037"/>
                <a:gd name="connsiteX1012" fmla="*/ 1520645 w 12192001"/>
                <a:gd name="connsiteY1012" fmla="*/ 4323461 h 6523037"/>
                <a:gd name="connsiteX1013" fmla="*/ 1392775 w 12192001"/>
                <a:gd name="connsiteY1013" fmla="*/ 4323461 h 6523037"/>
                <a:gd name="connsiteX1014" fmla="*/ 1805731 w 12192001"/>
                <a:gd name="connsiteY1014" fmla="*/ 4322762 h 6523037"/>
                <a:gd name="connsiteX1015" fmla="*/ 1625456 w 12192001"/>
                <a:gd name="connsiteY1015" fmla="*/ 4503735 h 6523037"/>
                <a:gd name="connsiteX1016" fmla="*/ 1624758 w 12192001"/>
                <a:gd name="connsiteY1016" fmla="*/ 4503735 h 6523037"/>
                <a:gd name="connsiteX1017" fmla="*/ 1534620 w 12192001"/>
                <a:gd name="connsiteY1017" fmla="*/ 4593873 h 6523037"/>
                <a:gd name="connsiteX1018" fmla="*/ 1805032 w 12192001"/>
                <a:gd name="connsiteY1018" fmla="*/ 4864984 h 6523037"/>
                <a:gd name="connsiteX1019" fmla="*/ 2069155 w 12192001"/>
                <a:gd name="connsiteY1019" fmla="*/ 4864984 h 6523037"/>
                <a:gd name="connsiteX1020" fmla="*/ 1798044 w 12192001"/>
                <a:gd name="connsiteY1020" fmla="*/ 4594572 h 6523037"/>
                <a:gd name="connsiteX1021" fmla="*/ 1982512 w 12192001"/>
                <a:gd name="connsiteY1021" fmla="*/ 4410104 h 6523037"/>
                <a:gd name="connsiteX1022" fmla="*/ 1983211 w 12192001"/>
                <a:gd name="connsiteY1022" fmla="*/ 4410104 h 6523037"/>
                <a:gd name="connsiteX1023" fmla="*/ 2069155 w 12192001"/>
                <a:gd name="connsiteY1023" fmla="*/ 4323461 h 6523037"/>
                <a:gd name="connsiteX1024" fmla="*/ 1810622 w 12192001"/>
                <a:gd name="connsiteY1024" fmla="*/ 4323461 h 6523037"/>
                <a:gd name="connsiteX1025" fmla="*/ 3450563 w 12192001"/>
                <a:gd name="connsiteY1025" fmla="*/ 4321364 h 6523037"/>
                <a:gd name="connsiteX1026" fmla="*/ 3269589 w 12192001"/>
                <a:gd name="connsiteY1026" fmla="*/ 4503036 h 6523037"/>
                <a:gd name="connsiteX1027" fmla="*/ 3270986 w 12192001"/>
                <a:gd name="connsiteY1027" fmla="*/ 4503735 h 6523037"/>
                <a:gd name="connsiteX1028" fmla="*/ 3181548 w 12192001"/>
                <a:gd name="connsiteY1028" fmla="*/ 4593174 h 6523037"/>
                <a:gd name="connsiteX1029" fmla="*/ 3451960 w 12192001"/>
                <a:gd name="connsiteY1029" fmla="*/ 4862887 h 6523037"/>
                <a:gd name="connsiteX1030" fmla="*/ 3715384 w 12192001"/>
                <a:gd name="connsiteY1030" fmla="*/ 4862887 h 6523037"/>
                <a:gd name="connsiteX1031" fmla="*/ 3444972 w 12192001"/>
                <a:gd name="connsiteY1031" fmla="*/ 4593174 h 6523037"/>
                <a:gd name="connsiteX1032" fmla="*/ 3444274 w 12192001"/>
                <a:gd name="connsiteY1032" fmla="*/ 4592475 h 6523037"/>
                <a:gd name="connsiteX1033" fmla="*/ 3714686 w 12192001"/>
                <a:gd name="connsiteY1033" fmla="*/ 4321364 h 6523037"/>
                <a:gd name="connsiteX1034" fmla="*/ 2904847 w 12192001"/>
                <a:gd name="connsiteY1034" fmla="*/ 4321364 h 6523037"/>
                <a:gd name="connsiteX1035" fmla="*/ 2908341 w 12192001"/>
                <a:gd name="connsiteY1035" fmla="*/ 4322762 h 6523037"/>
                <a:gd name="connsiteX1036" fmla="*/ 2902751 w 12192001"/>
                <a:gd name="connsiteY1036" fmla="*/ 4322762 h 6523037"/>
                <a:gd name="connsiteX1037" fmla="*/ 2633736 w 12192001"/>
                <a:gd name="connsiteY1037" fmla="*/ 4593174 h 6523037"/>
                <a:gd name="connsiteX1038" fmla="*/ 2903449 w 12192001"/>
                <a:gd name="connsiteY1038" fmla="*/ 4862188 h 6523037"/>
                <a:gd name="connsiteX1039" fmla="*/ 3168271 w 12192001"/>
                <a:gd name="connsiteY1039" fmla="*/ 4863586 h 6523037"/>
                <a:gd name="connsiteX1040" fmla="*/ 2897162 w 12192001"/>
                <a:gd name="connsiteY1040" fmla="*/ 4593174 h 6523037"/>
                <a:gd name="connsiteX1041" fmla="*/ 2895764 w 12192001"/>
                <a:gd name="connsiteY1041" fmla="*/ 4591776 h 6523037"/>
                <a:gd name="connsiteX1042" fmla="*/ 3164778 w 12192001"/>
                <a:gd name="connsiteY1042" fmla="*/ 4322063 h 6523037"/>
                <a:gd name="connsiteX1043" fmla="*/ 2967035 w 12192001"/>
                <a:gd name="connsiteY1043" fmla="*/ 4322063 h 6523037"/>
                <a:gd name="connsiteX1044" fmla="*/ 2967733 w 12192001"/>
                <a:gd name="connsiteY1044" fmla="*/ 4321364 h 6523037"/>
                <a:gd name="connsiteX1045" fmla="*/ 3999073 w 12192001"/>
                <a:gd name="connsiteY1045" fmla="*/ 4320665 h 6523037"/>
                <a:gd name="connsiteX1046" fmla="*/ 3728660 w 12192001"/>
                <a:gd name="connsiteY1046" fmla="*/ 4591776 h 6523037"/>
                <a:gd name="connsiteX1047" fmla="*/ 3999771 w 12192001"/>
                <a:gd name="connsiteY1047" fmla="*/ 4862188 h 6523037"/>
                <a:gd name="connsiteX1048" fmla="*/ 4263197 w 12192001"/>
                <a:gd name="connsiteY1048" fmla="*/ 4862188 h 6523037"/>
                <a:gd name="connsiteX1049" fmla="*/ 4133230 w 12192001"/>
                <a:gd name="connsiteY1049" fmla="*/ 4732223 h 6523037"/>
                <a:gd name="connsiteX1050" fmla="*/ 3992783 w 12192001"/>
                <a:gd name="connsiteY1050" fmla="*/ 4591776 h 6523037"/>
                <a:gd name="connsiteX1051" fmla="*/ 4263197 w 12192001"/>
                <a:gd name="connsiteY1051" fmla="*/ 4320665 h 6523037"/>
                <a:gd name="connsiteX1052" fmla="*/ 4822057 w 12192001"/>
                <a:gd name="connsiteY1052" fmla="*/ 4320097 h 6523037"/>
                <a:gd name="connsiteX1053" fmla="*/ 4554570 w 12192001"/>
                <a:gd name="connsiteY1053" fmla="*/ 4587584 h 6523037"/>
                <a:gd name="connsiteX1054" fmla="*/ 4816244 w 12192001"/>
                <a:gd name="connsiteY1054" fmla="*/ 4587584 h 6523037"/>
                <a:gd name="connsiteX1055" fmla="*/ 5083731 w 12192001"/>
                <a:gd name="connsiteY1055" fmla="*/ 4320097 h 6523037"/>
                <a:gd name="connsiteX1056" fmla="*/ 4547585 w 12192001"/>
                <a:gd name="connsiteY1056" fmla="*/ 4319967 h 6523037"/>
                <a:gd name="connsiteX1057" fmla="*/ 4277172 w 12192001"/>
                <a:gd name="connsiteY1057" fmla="*/ 4591077 h 6523037"/>
                <a:gd name="connsiteX1058" fmla="*/ 4548281 w 12192001"/>
                <a:gd name="connsiteY1058" fmla="*/ 4861489 h 6523037"/>
                <a:gd name="connsiteX1059" fmla="*/ 4810393 w 12192001"/>
                <a:gd name="connsiteY1059" fmla="*/ 4861489 h 6523037"/>
                <a:gd name="connsiteX1060" fmla="*/ 4808427 w 12192001"/>
                <a:gd name="connsiteY1060" fmla="*/ 4859523 h 6523037"/>
                <a:gd name="connsiteX1061" fmla="*/ 4665187 w 12192001"/>
                <a:gd name="connsiteY1061" fmla="*/ 4716979 h 6523037"/>
                <a:gd name="connsiteX1062" fmla="*/ 4665187 w 12192001"/>
                <a:gd name="connsiteY1062" fmla="*/ 4714650 h 6523037"/>
                <a:gd name="connsiteX1063" fmla="*/ 4541295 w 12192001"/>
                <a:gd name="connsiteY1063" fmla="*/ 4591077 h 6523037"/>
                <a:gd name="connsiteX1064" fmla="*/ 4665187 w 12192001"/>
                <a:gd name="connsiteY1064" fmla="*/ 4466865 h 6523037"/>
                <a:gd name="connsiteX1065" fmla="*/ 4665187 w 12192001"/>
                <a:gd name="connsiteY1065" fmla="*/ 4464037 h 6523037"/>
                <a:gd name="connsiteX1066" fmla="*/ 4808574 w 12192001"/>
                <a:gd name="connsiteY1066" fmla="*/ 4319967 h 6523037"/>
                <a:gd name="connsiteX1067" fmla="*/ 5368118 w 12192001"/>
                <a:gd name="connsiteY1067" fmla="*/ 4319398 h 6523037"/>
                <a:gd name="connsiteX1068" fmla="*/ 5097706 w 12192001"/>
                <a:gd name="connsiteY1068" fmla="*/ 4590509 h 6523037"/>
                <a:gd name="connsiteX1069" fmla="*/ 5369515 w 12192001"/>
                <a:gd name="connsiteY1069" fmla="*/ 4860921 h 6523037"/>
                <a:gd name="connsiteX1070" fmla="*/ 5632939 w 12192001"/>
                <a:gd name="connsiteY1070" fmla="*/ 4860921 h 6523037"/>
                <a:gd name="connsiteX1071" fmla="*/ 5502275 w 12192001"/>
                <a:gd name="connsiteY1071" fmla="*/ 4730954 h 6523037"/>
                <a:gd name="connsiteX1072" fmla="*/ 5361829 w 12192001"/>
                <a:gd name="connsiteY1072" fmla="*/ 4590509 h 6523037"/>
                <a:gd name="connsiteX1073" fmla="*/ 5632241 w 12192001"/>
                <a:gd name="connsiteY1073" fmla="*/ 4319398 h 6523037"/>
                <a:gd name="connsiteX1074" fmla="*/ 7014347 w 12192001"/>
                <a:gd name="connsiteY1074" fmla="*/ 4318699 h 6523037"/>
                <a:gd name="connsiteX1075" fmla="*/ 6743935 w 12192001"/>
                <a:gd name="connsiteY1075" fmla="*/ 4589810 h 6523037"/>
                <a:gd name="connsiteX1076" fmla="*/ 7013649 w 12192001"/>
                <a:gd name="connsiteY1076" fmla="*/ 4858824 h 6523037"/>
                <a:gd name="connsiteX1077" fmla="*/ 7277073 w 12192001"/>
                <a:gd name="connsiteY1077" fmla="*/ 4858824 h 6523037"/>
                <a:gd name="connsiteX1078" fmla="*/ 7008058 w 12192001"/>
                <a:gd name="connsiteY1078" fmla="*/ 4589810 h 6523037"/>
                <a:gd name="connsiteX1079" fmla="*/ 7008758 w 12192001"/>
                <a:gd name="connsiteY1079" fmla="*/ 4589111 h 6523037"/>
                <a:gd name="connsiteX1080" fmla="*/ 7007360 w 12192001"/>
                <a:gd name="connsiteY1080" fmla="*/ 4587713 h 6523037"/>
                <a:gd name="connsiteX1081" fmla="*/ 7275675 w 12192001"/>
                <a:gd name="connsiteY1081" fmla="*/ 4318699 h 6523037"/>
                <a:gd name="connsiteX1082" fmla="*/ 5916628 w 12192001"/>
                <a:gd name="connsiteY1082" fmla="*/ 4318699 h 6523037"/>
                <a:gd name="connsiteX1083" fmla="*/ 5646216 w 12192001"/>
                <a:gd name="connsiteY1083" fmla="*/ 4589810 h 6523037"/>
                <a:gd name="connsiteX1084" fmla="*/ 5917326 w 12192001"/>
                <a:gd name="connsiteY1084" fmla="*/ 4860222 h 6523037"/>
                <a:gd name="connsiteX1085" fmla="*/ 6181450 w 12192001"/>
                <a:gd name="connsiteY1085" fmla="*/ 4860222 h 6523037"/>
                <a:gd name="connsiteX1086" fmla="*/ 5910339 w 12192001"/>
                <a:gd name="connsiteY1086" fmla="*/ 4589810 h 6523037"/>
                <a:gd name="connsiteX1087" fmla="*/ 6180751 w 12192001"/>
                <a:gd name="connsiteY1087" fmla="*/ 4318699 h 6523037"/>
                <a:gd name="connsiteX1088" fmla="*/ 6052882 w 12192001"/>
                <a:gd name="connsiteY1088" fmla="*/ 4318699 h 6523037"/>
                <a:gd name="connsiteX1089" fmla="*/ 6465837 w 12192001"/>
                <a:gd name="connsiteY1089" fmla="*/ 4318000 h 6523037"/>
                <a:gd name="connsiteX1090" fmla="*/ 6285563 w 12192001"/>
                <a:gd name="connsiteY1090" fmla="*/ 4498973 h 6523037"/>
                <a:gd name="connsiteX1091" fmla="*/ 6284865 w 12192001"/>
                <a:gd name="connsiteY1091" fmla="*/ 4498973 h 6523037"/>
                <a:gd name="connsiteX1092" fmla="*/ 6194726 w 12192001"/>
                <a:gd name="connsiteY1092" fmla="*/ 4589111 h 6523037"/>
                <a:gd name="connsiteX1093" fmla="*/ 6465139 w 12192001"/>
                <a:gd name="connsiteY1093" fmla="*/ 4860222 h 6523037"/>
                <a:gd name="connsiteX1094" fmla="*/ 6729262 w 12192001"/>
                <a:gd name="connsiteY1094" fmla="*/ 4860222 h 6523037"/>
                <a:gd name="connsiteX1095" fmla="*/ 6458151 w 12192001"/>
                <a:gd name="connsiteY1095" fmla="*/ 4589810 h 6523037"/>
                <a:gd name="connsiteX1096" fmla="*/ 6642619 w 12192001"/>
                <a:gd name="connsiteY1096" fmla="*/ 4405342 h 6523037"/>
                <a:gd name="connsiteX1097" fmla="*/ 6643317 w 12192001"/>
                <a:gd name="connsiteY1097" fmla="*/ 4405342 h 6523037"/>
                <a:gd name="connsiteX1098" fmla="*/ 6729262 w 12192001"/>
                <a:gd name="connsiteY1098" fmla="*/ 4318699 h 6523037"/>
                <a:gd name="connsiteX1099" fmla="*/ 6470728 w 12192001"/>
                <a:gd name="connsiteY1099" fmla="*/ 4318699 h 6523037"/>
                <a:gd name="connsiteX1100" fmla="*/ 9480576 w 12192001"/>
                <a:gd name="connsiteY1100" fmla="*/ 4316922 h 6523037"/>
                <a:gd name="connsiteX1101" fmla="*/ 9214676 w 12192001"/>
                <a:gd name="connsiteY1101" fmla="*/ 4582822 h 6523037"/>
                <a:gd name="connsiteX1102" fmla="*/ 9478247 w 12192001"/>
                <a:gd name="connsiteY1102" fmla="*/ 4582822 h 6523037"/>
                <a:gd name="connsiteX1103" fmla="*/ 9744147 w 12192001"/>
                <a:gd name="connsiteY1103" fmla="*/ 4316922 h 6523037"/>
                <a:gd name="connsiteX1104" fmla="*/ 8110669 w 12192001"/>
                <a:gd name="connsiteY1104" fmla="*/ 4316602 h 6523037"/>
                <a:gd name="connsiteX1105" fmla="*/ 7929695 w 12192001"/>
                <a:gd name="connsiteY1105" fmla="*/ 4498274 h 6523037"/>
                <a:gd name="connsiteX1106" fmla="*/ 7931092 w 12192001"/>
                <a:gd name="connsiteY1106" fmla="*/ 4498973 h 6523037"/>
                <a:gd name="connsiteX1107" fmla="*/ 7841654 w 12192001"/>
                <a:gd name="connsiteY1107" fmla="*/ 4588412 h 6523037"/>
                <a:gd name="connsiteX1108" fmla="*/ 8112066 w 12192001"/>
                <a:gd name="connsiteY1108" fmla="*/ 4858125 h 6523037"/>
                <a:gd name="connsiteX1109" fmla="*/ 8375490 w 12192001"/>
                <a:gd name="connsiteY1109" fmla="*/ 4858125 h 6523037"/>
                <a:gd name="connsiteX1110" fmla="*/ 8105078 w 12192001"/>
                <a:gd name="connsiteY1110" fmla="*/ 4588412 h 6523037"/>
                <a:gd name="connsiteX1111" fmla="*/ 8104380 w 12192001"/>
                <a:gd name="connsiteY1111" fmla="*/ 4587713 h 6523037"/>
                <a:gd name="connsiteX1112" fmla="*/ 8374792 w 12192001"/>
                <a:gd name="connsiteY1112" fmla="*/ 4316602 h 6523037"/>
                <a:gd name="connsiteX1113" fmla="*/ 7564953 w 12192001"/>
                <a:gd name="connsiteY1113" fmla="*/ 4316602 h 6523037"/>
                <a:gd name="connsiteX1114" fmla="*/ 7568447 w 12192001"/>
                <a:gd name="connsiteY1114" fmla="*/ 4318000 h 6523037"/>
                <a:gd name="connsiteX1115" fmla="*/ 7562857 w 12192001"/>
                <a:gd name="connsiteY1115" fmla="*/ 4318000 h 6523037"/>
                <a:gd name="connsiteX1116" fmla="*/ 7293842 w 12192001"/>
                <a:gd name="connsiteY1116" fmla="*/ 4588412 h 6523037"/>
                <a:gd name="connsiteX1117" fmla="*/ 7563555 w 12192001"/>
                <a:gd name="connsiteY1117" fmla="*/ 4857426 h 6523037"/>
                <a:gd name="connsiteX1118" fmla="*/ 7828377 w 12192001"/>
                <a:gd name="connsiteY1118" fmla="*/ 4858824 h 6523037"/>
                <a:gd name="connsiteX1119" fmla="*/ 7557268 w 12192001"/>
                <a:gd name="connsiteY1119" fmla="*/ 4588412 h 6523037"/>
                <a:gd name="connsiteX1120" fmla="*/ 7555870 w 12192001"/>
                <a:gd name="connsiteY1120" fmla="*/ 4587014 h 6523037"/>
                <a:gd name="connsiteX1121" fmla="*/ 7824884 w 12192001"/>
                <a:gd name="connsiteY1121" fmla="*/ 4317301 h 6523037"/>
                <a:gd name="connsiteX1122" fmla="*/ 7627141 w 12192001"/>
                <a:gd name="connsiteY1122" fmla="*/ 4317301 h 6523037"/>
                <a:gd name="connsiteX1123" fmla="*/ 7627839 w 12192001"/>
                <a:gd name="connsiteY1123" fmla="*/ 4316602 h 6523037"/>
                <a:gd name="connsiteX1124" fmla="*/ 10028534 w 12192001"/>
                <a:gd name="connsiteY1124" fmla="*/ 4316223 h 6523037"/>
                <a:gd name="connsiteX1125" fmla="*/ 9758122 w 12192001"/>
                <a:gd name="connsiteY1125" fmla="*/ 4587334 h 6523037"/>
                <a:gd name="connsiteX1126" fmla="*/ 10029932 w 12192001"/>
                <a:gd name="connsiteY1126" fmla="*/ 4857746 h 6523037"/>
                <a:gd name="connsiteX1127" fmla="*/ 10293356 w 12192001"/>
                <a:gd name="connsiteY1127" fmla="*/ 4857746 h 6523037"/>
                <a:gd name="connsiteX1128" fmla="*/ 10162692 w 12192001"/>
                <a:gd name="connsiteY1128" fmla="*/ 4727779 h 6523037"/>
                <a:gd name="connsiteX1129" fmla="*/ 10022245 w 12192001"/>
                <a:gd name="connsiteY1129" fmla="*/ 4587334 h 6523037"/>
                <a:gd name="connsiteX1130" fmla="*/ 10292658 w 12192001"/>
                <a:gd name="connsiteY1130" fmla="*/ 4316223 h 6523037"/>
                <a:gd name="connsiteX1131" fmla="*/ 8659179 w 12192001"/>
                <a:gd name="connsiteY1131" fmla="*/ 4315903 h 6523037"/>
                <a:gd name="connsiteX1132" fmla="*/ 8388766 w 12192001"/>
                <a:gd name="connsiteY1132" fmla="*/ 4587014 h 6523037"/>
                <a:gd name="connsiteX1133" fmla="*/ 8659877 w 12192001"/>
                <a:gd name="connsiteY1133" fmla="*/ 4857426 h 6523037"/>
                <a:gd name="connsiteX1134" fmla="*/ 8923303 w 12192001"/>
                <a:gd name="connsiteY1134" fmla="*/ 4857426 h 6523037"/>
                <a:gd name="connsiteX1135" fmla="*/ 8793336 w 12192001"/>
                <a:gd name="connsiteY1135" fmla="*/ 4727461 h 6523037"/>
                <a:gd name="connsiteX1136" fmla="*/ 8652889 w 12192001"/>
                <a:gd name="connsiteY1136" fmla="*/ 4587014 h 6523037"/>
                <a:gd name="connsiteX1137" fmla="*/ 8923303 w 12192001"/>
                <a:gd name="connsiteY1137" fmla="*/ 4315903 h 6523037"/>
                <a:gd name="connsiteX1138" fmla="*/ 11674764 w 12192001"/>
                <a:gd name="connsiteY1138" fmla="*/ 4315524 h 6523037"/>
                <a:gd name="connsiteX1139" fmla="*/ 11404352 w 12192001"/>
                <a:gd name="connsiteY1139" fmla="*/ 4586635 h 6523037"/>
                <a:gd name="connsiteX1140" fmla="*/ 11674065 w 12192001"/>
                <a:gd name="connsiteY1140" fmla="*/ 4855649 h 6523037"/>
                <a:gd name="connsiteX1141" fmla="*/ 11937490 w 12192001"/>
                <a:gd name="connsiteY1141" fmla="*/ 4855649 h 6523037"/>
                <a:gd name="connsiteX1142" fmla="*/ 11668475 w 12192001"/>
                <a:gd name="connsiteY1142" fmla="*/ 4586635 h 6523037"/>
                <a:gd name="connsiteX1143" fmla="*/ 11669174 w 12192001"/>
                <a:gd name="connsiteY1143" fmla="*/ 4585936 h 6523037"/>
                <a:gd name="connsiteX1144" fmla="*/ 11667777 w 12192001"/>
                <a:gd name="connsiteY1144" fmla="*/ 4584538 h 6523037"/>
                <a:gd name="connsiteX1145" fmla="*/ 11936092 w 12192001"/>
                <a:gd name="connsiteY1145" fmla="*/ 4315524 h 6523037"/>
                <a:gd name="connsiteX1146" fmla="*/ 10577044 w 12192001"/>
                <a:gd name="connsiteY1146" fmla="*/ 4315524 h 6523037"/>
                <a:gd name="connsiteX1147" fmla="*/ 10306632 w 12192001"/>
                <a:gd name="connsiteY1147" fmla="*/ 4586635 h 6523037"/>
                <a:gd name="connsiteX1148" fmla="*/ 10577743 w 12192001"/>
                <a:gd name="connsiteY1148" fmla="*/ 4857047 h 6523037"/>
                <a:gd name="connsiteX1149" fmla="*/ 10841867 w 12192001"/>
                <a:gd name="connsiteY1149" fmla="*/ 4857047 h 6523037"/>
                <a:gd name="connsiteX1150" fmla="*/ 10570756 w 12192001"/>
                <a:gd name="connsiteY1150" fmla="*/ 4586635 h 6523037"/>
                <a:gd name="connsiteX1151" fmla="*/ 10841168 w 12192001"/>
                <a:gd name="connsiteY1151" fmla="*/ 4315524 h 6523037"/>
                <a:gd name="connsiteX1152" fmla="*/ 10713298 w 12192001"/>
                <a:gd name="connsiteY1152" fmla="*/ 4315524 h 6523037"/>
                <a:gd name="connsiteX1153" fmla="*/ 9207690 w 12192001"/>
                <a:gd name="connsiteY1153" fmla="*/ 4315205 h 6523037"/>
                <a:gd name="connsiteX1154" fmla="*/ 8937277 w 12192001"/>
                <a:gd name="connsiteY1154" fmla="*/ 4586315 h 6523037"/>
                <a:gd name="connsiteX1155" fmla="*/ 9208387 w 12192001"/>
                <a:gd name="connsiteY1155" fmla="*/ 4856727 h 6523037"/>
                <a:gd name="connsiteX1156" fmla="*/ 9469223 w 12192001"/>
                <a:gd name="connsiteY1156" fmla="*/ 4856727 h 6523037"/>
                <a:gd name="connsiteX1157" fmla="*/ 9468844 w 12192001"/>
                <a:gd name="connsiteY1157" fmla="*/ 4856348 h 6523037"/>
                <a:gd name="connsiteX1158" fmla="*/ 9325603 w 12192001"/>
                <a:gd name="connsiteY1158" fmla="*/ 4713804 h 6523037"/>
                <a:gd name="connsiteX1159" fmla="*/ 9325603 w 12192001"/>
                <a:gd name="connsiteY1159" fmla="*/ 4710198 h 6523037"/>
                <a:gd name="connsiteX1160" fmla="*/ 9201400 w 12192001"/>
                <a:gd name="connsiteY1160" fmla="*/ 4586315 h 6523037"/>
                <a:gd name="connsiteX1161" fmla="*/ 9325603 w 12192001"/>
                <a:gd name="connsiteY1161" fmla="*/ 4461792 h 6523037"/>
                <a:gd name="connsiteX1162" fmla="*/ 9325603 w 12192001"/>
                <a:gd name="connsiteY1162" fmla="*/ 4460862 h 6523037"/>
                <a:gd name="connsiteX1163" fmla="*/ 9470571 w 12192001"/>
                <a:gd name="connsiteY1163" fmla="*/ 4315205 h 6523037"/>
                <a:gd name="connsiteX1164" fmla="*/ 11126254 w 12192001"/>
                <a:gd name="connsiteY1164" fmla="*/ 4314825 h 6523037"/>
                <a:gd name="connsiteX1165" fmla="*/ 10945979 w 12192001"/>
                <a:gd name="connsiteY1165" fmla="*/ 4495798 h 6523037"/>
                <a:gd name="connsiteX1166" fmla="*/ 10945281 w 12192001"/>
                <a:gd name="connsiteY1166" fmla="*/ 4495798 h 6523037"/>
                <a:gd name="connsiteX1167" fmla="*/ 10855143 w 12192001"/>
                <a:gd name="connsiteY1167" fmla="*/ 4585936 h 6523037"/>
                <a:gd name="connsiteX1168" fmla="*/ 11125555 w 12192001"/>
                <a:gd name="connsiteY1168" fmla="*/ 4857047 h 6523037"/>
                <a:gd name="connsiteX1169" fmla="*/ 11389678 w 12192001"/>
                <a:gd name="connsiteY1169" fmla="*/ 4857047 h 6523037"/>
                <a:gd name="connsiteX1170" fmla="*/ 11118567 w 12192001"/>
                <a:gd name="connsiteY1170" fmla="*/ 4586635 h 6523037"/>
                <a:gd name="connsiteX1171" fmla="*/ 11303035 w 12192001"/>
                <a:gd name="connsiteY1171" fmla="*/ 4402167 h 6523037"/>
                <a:gd name="connsiteX1172" fmla="*/ 11303734 w 12192001"/>
                <a:gd name="connsiteY1172" fmla="*/ 4402167 h 6523037"/>
                <a:gd name="connsiteX1173" fmla="*/ 11389678 w 12192001"/>
                <a:gd name="connsiteY1173" fmla="*/ 4315524 h 6523037"/>
                <a:gd name="connsiteX1174" fmla="*/ 11131145 w 12192001"/>
                <a:gd name="connsiteY1174" fmla="*/ 4315524 h 6523037"/>
                <a:gd name="connsiteX1175" fmla="*/ 717155 w 12192001"/>
                <a:gd name="connsiteY1175" fmla="*/ 4052402 h 6523037"/>
                <a:gd name="connsiteX1176" fmla="*/ 986808 w 12192001"/>
                <a:gd name="connsiteY1176" fmla="*/ 4320665 h 6523037"/>
                <a:gd name="connsiteX1177" fmla="*/ 716396 w 12192001"/>
                <a:gd name="connsiteY1177" fmla="*/ 4591776 h 6523037"/>
                <a:gd name="connsiteX1178" fmla="*/ 979821 w 12192001"/>
                <a:gd name="connsiteY1178" fmla="*/ 4591776 h 6523037"/>
                <a:gd name="connsiteX1179" fmla="*/ 1250233 w 12192001"/>
                <a:gd name="connsiteY1179" fmla="*/ 4320665 h 6523037"/>
                <a:gd name="connsiteX1180" fmla="*/ 1116075 w 12192001"/>
                <a:gd name="connsiteY1180" fmla="*/ 4187206 h 6523037"/>
                <a:gd name="connsiteX1181" fmla="*/ 1019702 w 12192001"/>
                <a:gd name="connsiteY1181" fmla="*/ 4090833 h 6523037"/>
                <a:gd name="connsiteX1182" fmla="*/ 1018761 w 12192001"/>
                <a:gd name="connsiteY1182" fmla="*/ 4090833 h 6523037"/>
                <a:gd name="connsiteX1183" fmla="*/ 980330 w 12192001"/>
                <a:gd name="connsiteY1183" fmla="*/ 4052402 h 6523037"/>
                <a:gd name="connsiteX1184" fmla="*/ 168395 w 12192001"/>
                <a:gd name="connsiteY1184" fmla="*/ 4052402 h 6523037"/>
                <a:gd name="connsiteX1185" fmla="*/ 206127 w 12192001"/>
                <a:gd name="connsiteY1185" fmla="*/ 4090134 h 6523037"/>
                <a:gd name="connsiteX1186" fmla="*/ 205772 w 12192001"/>
                <a:gd name="connsiteY1186" fmla="*/ 4090134 h 6523037"/>
                <a:gd name="connsiteX1187" fmla="*/ 437599 w 12192001"/>
                <a:gd name="connsiteY1187" fmla="*/ 4321364 h 6523037"/>
                <a:gd name="connsiteX1188" fmla="*/ 167187 w 12192001"/>
                <a:gd name="connsiteY1188" fmla="*/ 4591776 h 6523037"/>
                <a:gd name="connsiteX1189" fmla="*/ 431311 w 12192001"/>
                <a:gd name="connsiteY1189" fmla="*/ 4591776 h 6523037"/>
                <a:gd name="connsiteX1190" fmla="*/ 701722 w 12192001"/>
                <a:gd name="connsiteY1190" fmla="*/ 4320665 h 6523037"/>
                <a:gd name="connsiteX1191" fmla="*/ 470596 w 12192001"/>
                <a:gd name="connsiteY1191" fmla="*/ 4090134 h 6523037"/>
                <a:gd name="connsiteX1192" fmla="*/ 470250 w 12192001"/>
                <a:gd name="connsiteY1192" fmla="*/ 4090134 h 6523037"/>
                <a:gd name="connsiteX1193" fmla="*/ 432518 w 12192001"/>
                <a:gd name="connsiteY1193" fmla="*/ 4052402 h 6523037"/>
                <a:gd name="connsiteX1194" fmla="*/ 1816265 w 12192001"/>
                <a:gd name="connsiteY1194" fmla="*/ 4051703 h 6523037"/>
                <a:gd name="connsiteX1195" fmla="*/ 1942683 w 12192001"/>
                <a:gd name="connsiteY1195" fmla="*/ 4178123 h 6523037"/>
                <a:gd name="connsiteX1196" fmla="*/ 2083829 w 12192001"/>
                <a:gd name="connsiteY1196" fmla="*/ 4318569 h 6523037"/>
                <a:gd name="connsiteX1197" fmla="*/ 1813417 w 12192001"/>
                <a:gd name="connsiteY1197" fmla="*/ 4589680 h 6523037"/>
                <a:gd name="connsiteX1198" fmla="*/ 2076842 w 12192001"/>
                <a:gd name="connsiteY1198" fmla="*/ 4589680 h 6523037"/>
                <a:gd name="connsiteX1199" fmla="*/ 2347254 w 12192001"/>
                <a:gd name="connsiteY1199" fmla="*/ 4319268 h 6523037"/>
                <a:gd name="connsiteX1200" fmla="*/ 2214493 w 12192001"/>
                <a:gd name="connsiteY1200" fmla="*/ 4186507 h 6523037"/>
                <a:gd name="connsiteX1201" fmla="*/ 2214493 w 12192001"/>
                <a:gd name="connsiteY1201" fmla="*/ 4185809 h 6523037"/>
                <a:gd name="connsiteX1202" fmla="*/ 2119736 w 12192001"/>
                <a:gd name="connsiteY1202" fmla="*/ 4091531 h 6523037"/>
                <a:gd name="connsiteX1203" fmla="*/ 2116480 w 12192001"/>
                <a:gd name="connsiteY1203" fmla="*/ 4091531 h 6523037"/>
                <a:gd name="connsiteX1204" fmla="*/ 2076652 w 12192001"/>
                <a:gd name="connsiteY1204" fmla="*/ 4051703 h 6523037"/>
                <a:gd name="connsiteX1205" fmla="*/ 1266369 w 12192001"/>
                <a:gd name="connsiteY1205" fmla="*/ 4051703 h 6523037"/>
                <a:gd name="connsiteX1206" fmla="*/ 1534620 w 12192001"/>
                <a:gd name="connsiteY1206" fmla="*/ 4318569 h 6523037"/>
                <a:gd name="connsiteX1207" fmla="*/ 1531824 w 12192001"/>
                <a:gd name="connsiteY1207" fmla="*/ 4321364 h 6523037"/>
                <a:gd name="connsiteX1208" fmla="*/ 1441688 w 12192001"/>
                <a:gd name="connsiteY1208" fmla="*/ 4412201 h 6523037"/>
                <a:gd name="connsiteX1209" fmla="*/ 1440989 w 12192001"/>
                <a:gd name="connsiteY1209" fmla="*/ 4412201 h 6523037"/>
                <a:gd name="connsiteX1210" fmla="*/ 1263509 w 12192001"/>
                <a:gd name="connsiteY1210" fmla="*/ 4590379 h 6523037"/>
                <a:gd name="connsiteX1211" fmla="*/ 1527632 w 12192001"/>
                <a:gd name="connsiteY1211" fmla="*/ 4590379 h 6523037"/>
                <a:gd name="connsiteX1212" fmla="*/ 1798044 w 12192001"/>
                <a:gd name="connsiteY1212" fmla="*/ 4319967 h 6523037"/>
                <a:gd name="connsiteX1213" fmla="*/ 1793153 w 12192001"/>
                <a:gd name="connsiteY1213" fmla="*/ 4315076 h 6523037"/>
                <a:gd name="connsiteX1214" fmla="*/ 1795249 w 12192001"/>
                <a:gd name="connsiteY1214" fmla="*/ 4315775 h 6523037"/>
                <a:gd name="connsiteX1215" fmla="*/ 1569718 w 12192001"/>
                <a:gd name="connsiteY1215" fmla="*/ 4090833 h 6523037"/>
                <a:gd name="connsiteX1216" fmla="*/ 1567271 w 12192001"/>
                <a:gd name="connsiteY1216" fmla="*/ 4090833 h 6523037"/>
                <a:gd name="connsiteX1217" fmla="*/ 1528141 w 12192001"/>
                <a:gd name="connsiteY1217" fmla="*/ 4051703 h 6523037"/>
                <a:gd name="connsiteX1218" fmla="*/ 2363377 w 12192001"/>
                <a:gd name="connsiteY1218" fmla="*/ 4051005 h 6523037"/>
                <a:gd name="connsiteX1219" fmla="*/ 2630942 w 12192001"/>
                <a:gd name="connsiteY1219" fmla="*/ 4318569 h 6523037"/>
                <a:gd name="connsiteX1220" fmla="*/ 2632339 w 12192001"/>
                <a:gd name="connsiteY1220" fmla="*/ 4319967 h 6523037"/>
                <a:gd name="connsiteX1221" fmla="*/ 2363324 w 12192001"/>
                <a:gd name="connsiteY1221" fmla="*/ 4589680 h 6523037"/>
                <a:gd name="connsiteX1222" fmla="*/ 2625352 w 12192001"/>
                <a:gd name="connsiteY1222" fmla="*/ 4589680 h 6523037"/>
                <a:gd name="connsiteX1223" fmla="*/ 2895065 w 12192001"/>
                <a:gd name="connsiteY1223" fmla="*/ 4319268 h 6523037"/>
                <a:gd name="connsiteX1224" fmla="*/ 2890873 w 12192001"/>
                <a:gd name="connsiteY1224" fmla="*/ 4315076 h 6523037"/>
                <a:gd name="connsiteX1225" fmla="*/ 2892968 w 12192001"/>
                <a:gd name="connsiteY1225" fmla="*/ 4315775 h 6523037"/>
                <a:gd name="connsiteX1226" fmla="*/ 2668140 w 12192001"/>
                <a:gd name="connsiteY1226" fmla="*/ 4091531 h 6523037"/>
                <a:gd name="connsiteX1227" fmla="*/ 2666387 w 12192001"/>
                <a:gd name="connsiteY1227" fmla="*/ 4091531 h 6523037"/>
                <a:gd name="connsiteX1228" fmla="*/ 2625861 w 12192001"/>
                <a:gd name="connsiteY1228" fmla="*/ 4051005 h 6523037"/>
                <a:gd name="connsiteX1229" fmla="*/ 2911879 w 12192001"/>
                <a:gd name="connsiteY1229" fmla="*/ 4049607 h 6523037"/>
                <a:gd name="connsiteX1230" fmla="*/ 3179452 w 12192001"/>
                <a:gd name="connsiteY1230" fmla="*/ 4317871 h 6523037"/>
                <a:gd name="connsiteX1231" fmla="*/ 3087218 w 12192001"/>
                <a:gd name="connsiteY1231" fmla="*/ 4410803 h 6523037"/>
                <a:gd name="connsiteX1232" fmla="*/ 3087917 w 12192001"/>
                <a:gd name="connsiteY1232" fmla="*/ 4411502 h 6523037"/>
                <a:gd name="connsiteX1233" fmla="*/ 2911834 w 12192001"/>
                <a:gd name="connsiteY1233" fmla="*/ 4587584 h 6523037"/>
                <a:gd name="connsiteX1234" fmla="*/ 3108180 w 12192001"/>
                <a:gd name="connsiteY1234" fmla="*/ 4587584 h 6523037"/>
                <a:gd name="connsiteX1235" fmla="*/ 3107481 w 12192001"/>
                <a:gd name="connsiteY1235" fmla="*/ 4588982 h 6523037"/>
                <a:gd name="connsiteX1236" fmla="*/ 3173163 w 12192001"/>
                <a:gd name="connsiteY1236" fmla="*/ 4588982 h 6523037"/>
                <a:gd name="connsiteX1237" fmla="*/ 3443575 w 12192001"/>
                <a:gd name="connsiteY1237" fmla="*/ 4317871 h 6523037"/>
                <a:gd name="connsiteX1238" fmla="*/ 3215951 w 12192001"/>
                <a:gd name="connsiteY1238" fmla="*/ 4090833 h 6523037"/>
                <a:gd name="connsiteX1239" fmla="*/ 3215596 w 12192001"/>
                <a:gd name="connsiteY1239" fmla="*/ 4090833 h 6523037"/>
                <a:gd name="connsiteX1240" fmla="*/ 3174371 w 12192001"/>
                <a:gd name="connsiteY1240" fmla="*/ 4049607 h 6523037"/>
                <a:gd name="connsiteX1241" fmla="*/ 3459004 w 12192001"/>
                <a:gd name="connsiteY1241" fmla="*/ 4048908 h 6523037"/>
                <a:gd name="connsiteX1242" fmla="*/ 3728660 w 12192001"/>
                <a:gd name="connsiteY1242" fmla="*/ 4317871 h 6523037"/>
                <a:gd name="connsiteX1243" fmla="*/ 3458248 w 12192001"/>
                <a:gd name="connsiteY1243" fmla="*/ 4588283 h 6523037"/>
                <a:gd name="connsiteX1244" fmla="*/ 3722372 w 12192001"/>
                <a:gd name="connsiteY1244" fmla="*/ 4588283 h 6523037"/>
                <a:gd name="connsiteX1245" fmla="*/ 3992783 w 12192001"/>
                <a:gd name="connsiteY1245" fmla="*/ 4317871 h 6523037"/>
                <a:gd name="connsiteX1246" fmla="*/ 3765160 w 12192001"/>
                <a:gd name="connsiteY1246" fmla="*/ 4090833 h 6523037"/>
                <a:gd name="connsiteX1247" fmla="*/ 3764107 w 12192001"/>
                <a:gd name="connsiteY1247" fmla="*/ 4090833 h 6523037"/>
                <a:gd name="connsiteX1248" fmla="*/ 3722183 w 12192001"/>
                <a:gd name="connsiteY1248" fmla="*/ 4048908 h 6523037"/>
                <a:gd name="connsiteX1249" fmla="*/ 4007520 w 12192001"/>
                <a:gd name="connsiteY1249" fmla="*/ 4048209 h 6523037"/>
                <a:gd name="connsiteX1250" fmla="*/ 4277870 w 12192001"/>
                <a:gd name="connsiteY1250" fmla="*/ 4316473 h 6523037"/>
                <a:gd name="connsiteX1251" fmla="*/ 4007457 w 12192001"/>
                <a:gd name="connsiteY1251" fmla="*/ 4587584 h 6523037"/>
                <a:gd name="connsiteX1252" fmla="*/ 4270883 w 12192001"/>
                <a:gd name="connsiteY1252" fmla="*/ 4587584 h 6523037"/>
                <a:gd name="connsiteX1253" fmla="*/ 4541295 w 12192001"/>
                <a:gd name="connsiteY1253" fmla="*/ 4316473 h 6523037"/>
                <a:gd name="connsiteX1254" fmla="*/ 4407136 w 12192001"/>
                <a:gd name="connsiteY1254" fmla="*/ 4183014 h 6523037"/>
                <a:gd name="connsiteX1255" fmla="*/ 4314483 w 12192001"/>
                <a:gd name="connsiteY1255" fmla="*/ 4090833 h 6523037"/>
                <a:gd name="connsiteX1256" fmla="*/ 4313317 w 12192001"/>
                <a:gd name="connsiteY1256" fmla="*/ 4090833 h 6523037"/>
                <a:gd name="connsiteX1257" fmla="*/ 4270692 w 12192001"/>
                <a:gd name="connsiteY1257" fmla="*/ 4048209 h 6523037"/>
                <a:gd name="connsiteX1258" fmla="*/ 5377262 w 12192001"/>
                <a:gd name="connsiteY1258" fmla="*/ 4047640 h 6523037"/>
                <a:gd name="connsiteX1259" fmla="*/ 5646914 w 12192001"/>
                <a:gd name="connsiteY1259" fmla="*/ 4315903 h 6523037"/>
                <a:gd name="connsiteX1260" fmla="*/ 5376502 w 12192001"/>
                <a:gd name="connsiteY1260" fmla="*/ 4587014 h 6523037"/>
                <a:gd name="connsiteX1261" fmla="*/ 5639927 w 12192001"/>
                <a:gd name="connsiteY1261" fmla="*/ 4587014 h 6523037"/>
                <a:gd name="connsiteX1262" fmla="*/ 5910339 w 12192001"/>
                <a:gd name="connsiteY1262" fmla="*/ 4315903 h 6523037"/>
                <a:gd name="connsiteX1263" fmla="*/ 5776182 w 12192001"/>
                <a:gd name="connsiteY1263" fmla="*/ 4182444 h 6523037"/>
                <a:gd name="connsiteX1264" fmla="*/ 5679808 w 12192001"/>
                <a:gd name="connsiteY1264" fmla="*/ 4086071 h 6523037"/>
                <a:gd name="connsiteX1265" fmla="*/ 5678867 w 12192001"/>
                <a:gd name="connsiteY1265" fmla="*/ 4086071 h 6523037"/>
                <a:gd name="connsiteX1266" fmla="*/ 5640436 w 12192001"/>
                <a:gd name="connsiteY1266" fmla="*/ 4047640 h 6523037"/>
                <a:gd name="connsiteX1267" fmla="*/ 4828501 w 12192001"/>
                <a:gd name="connsiteY1267" fmla="*/ 4047640 h 6523037"/>
                <a:gd name="connsiteX1268" fmla="*/ 4866233 w 12192001"/>
                <a:gd name="connsiteY1268" fmla="*/ 4085372 h 6523037"/>
                <a:gd name="connsiteX1269" fmla="*/ 4865878 w 12192001"/>
                <a:gd name="connsiteY1269" fmla="*/ 4085372 h 6523037"/>
                <a:gd name="connsiteX1270" fmla="*/ 5097706 w 12192001"/>
                <a:gd name="connsiteY1270" fmla="*/ 4316602 h 6523037"/>
                <a:gd name="connsiteX1271" fmla="*/ 4828477 w 12192001"/>
                <a:gd name="connsiteY1271" fmla="*/ 4585831 h 6523037"/>
                <a:gd name="connsiteX1272" fmla="*/ 4828477 w 12192001"/>
                <a:gd name="connsiteY1272" fmla="*/ 4587014 h 6523037"/>
                <a:gd name="connsiteX1273" fmla="*/ 5091417 w 12192001"/>
                <a:gd name="connsiteY1273" fmla="*/ 4587014 h 6523037"/>
                <a:gd name="connsiteX1274" fmla="*/ 5361829 w 12192001"/>
                <a:gd name="connsiteY1274" fmla="*/ 4315903 h 6523037"/>
                <a:gd name="connsiteX1275" fmla="*/ 5130702 w 12192001"/>
                <a:gd name="connsiteY1275" fmla="*/ 4085372 h 6523037"/>
                <a:gd name="connsiteX1276" fmla="*/ 5130356 w 12192001"/>
                <a:gd name="connsiteY1276" fmla="*/ 4085372 h 6523037"/>
                <a:gd name="connsiteX1277" fmla="*/ 5092624 w 12192001"/>
                <a:gd name="connsiteY1277" fmla="*/ 4047640 h 6523037"/>
                <a:gd name="connsiteX1278" fmla="*/ 6476371 w 12192001"/>
                <a:gd name="connsiteY1278" fmla="*/ 4046941 h 6523037"/>
                <a:gd name="connsiteX1279" fmla="*/ 6602789 w 12192001"/>
                <a:gd name="connsiteY1279" fmla="*/ 4173361 h 6523037"/>
                <a:gd name="connsiteX1280" fmla="*/ 6743935 w 12192001"/>
                <a:gd name="connsiteY1280" fmla="*/ 4313807 h 6523037"/>
                <a:gd name="connsiteX1281" fmla="*/ 6473523 w 12192001"/>
                <a:gd name="connsiteY1281" fmla="*/ 4584918 h 6523037"/>
                <a:gd name="connsiteX1282" fmla="*/ 6736948 w 12192001"/>
                <a:gd name="connsiteY1282" fmla="*/ 4584918 h 6523037"/>
                <a:gd name="connsiteX1283" fmla="*/ 7007360 w 12192001"/>
                <a:gd name="connsiteY1283" fmla="*/ 4314506 h 6523037"/>
                <a:gd name="connsiteX1284" fmla="*/ 6874599 w 12192001"/>
                <a:gd name="connsiteY1284" fmla="*/ 4181745 h 6523037"/>
                <a:gd name="connsiteX1285" fmla="*/ 6874599 w 12192001"/>
                <a:gd name="connsiteY1285" fmla="*/ 4181047 h 6523037"/>
                <a:gd name="connsiteX1286" fmla="*/ 6779842 w 12192001"/>
                <a:gd name="connsiteY1286" fmla="*/ 4086769 h 6523037"/>
                <a:gd name="connsiteX1287" fmla="*/ 6776587 w 12192001"/>
                <a:gd name="connsiteY1287" fmla="*/ 4086769 h 6523037"/>
                <a:gd name="connsiteX1288" fmla="*/ 6736759 w 12192001"/>
                <a:gd name="connsiteY1288" fmla="*/ 4046941 h 6523037"/>
                <a:gd name="connsiteX1289" fmla="*/ 5926476 w 12192001"/>
                <a:gd name="connsiteY1289" fmla="*/ 4046941 h 6523037"/>
                <a:gd name="connsiteX1290" fmla="*/ 6194726 w 12192001"/>
                <a:gd name="connsiteY1290" fmla="*/ 4313807 h 6523037"/>
                <a:gd name="connsiteX1291" fmla="*/ 6191930 w 12192001"/>
                <a:gd name="connsiteY1291" fmla="*/ 4316602 h 6523037"/>
                <a:gd name="connsiteX1292" fmla="*/ 6101794 w 12192001"/>
                <a:gd name="connsiteY1292" fmla="*/ 4407439 h 6523037"/>
                <a:gd name="connsiteX1293" fmla="*/ 6101096 w 12192001"/>
                <a:gd name="connsiteY1293" fmla="*/ 4407439 h 6523037"/>
                <a:gd name="connsiteX1294" fmla="*/ 5923616 w 12192001"/>
                <a:gd name="connsiteY1294" fmla="*/ 4585617 h 6523037"/>
                <a:gd name="connsiteX1295" fmla="*/ 6187739 w 12192001"/>
                <a:gd name="connsiteY1295" fmla="*/ 4585617 h 6523037"/>
                <a:gd name="connsiteX1296" fmla="*/ 6458151 w 12192001"/>
                <a:gd name="connsiteY1296" fmla="*/ 4315205 h 6523037"/>
                <a:gd name="connsiteX1297" fmla="*/ 6453259 w 12192001"/>
                <a:gd name="connsiteY1297" fmla="*/ 4310314 h 6523037"/>
                <a:gd name="connsiteX1298" fmla="*/ 6455355 w 12192001"/>
                <a:gd name="connsiteY1298" fmla="*/ 4311013 h 6523037"/>
                <a:gd name="connsiteX1299" fmla="*/ 6229824 w 12192001"/>
                <a:gd name="connsiteY1299" fmla="*/ 4086071 h 6523037"/>
                <a:gd name="connsiteX1300" fmla="*/ 6227377 w 12192001"/>
                <a:gd name="connsiteY1300" fmla="*/ 4086071 h 6523037"/>
                <a:gd name="connsiteX1301" fmla="*/ 6188247 w 12192001"/>
                <a:gd name="connsiteY1301" fmla="*/ 4046941 h 6523037"/>
                <a:gd name="connsiteX1302" fmla="*/ 4555321 w 12192001"/>
                <a:gd name="connsiteY1302" fmla="*/ 4046813 h 6523037"/>
                <a:gd name="connsiteX1303" fmla="*/ 4555968 w 12192001"/>
                <a:gd name="connsiteY1303" fmla="*/ 4047459 h 6523037"/>
                <a:gd name="connsiteX1304" fmla="*/ 4821607 w 12192001"/>
                <a:gd name="connsiteY1304" fmla="*/ 4312410 h 6523037"/>
                <a:gd name="connsiteX1305" fmla="*/ 5083731 w 12192001"/>
                <a:gd name="connsiteY1305" fmla="*/ 4312410 h 6523037"/>
                <a:gd name="connsiteX1306" fmla="*/ 4816757 w 12192001"/>
                <a:gd name="connsiteY1306" fmla="*/ 4046813 h 6523037"/>
                <a:gd name="connsiteX1307" fmla="*/ 7023483 w 12192001"/>
                <a:gd name="connsiteY1307" fmla="*/ 4046243 h 6523037"/>
                <a:gd name="connsiteX1308" fmla="*/ 7291048 w 12192001"/>
                <a:gd name="connsiteY1308" fmla="*/ 4313807 h 6523037"/>
                <a:gd name="connsiteX1309" fmla="*/ 7292445 w 12192001"/>
                <a:gd name="connsiteY1309" fmla="*/ 4315205 h 6523037"/>
                <a:gd name="connsiteX1310" fmla="*/ 7023431 w 12192001"/>
                <a:gd name="connsiteY1310" fmla="*/ 4584918 h 6523037"/>
                <a:gd name="connsiteX1311" fmla="*/ 7285458 w 12192001"/>
                <a:gd name="connsiteY1311" fmla="*/ 4584918 h 6523037"/>
                <a:gd name="connsiteX1312" fmla="*/ 7555171 w 12192001"/>
                <a:gd name="connsiteY1312" fmla="*/ 4314506 h 6523037"/>
                <a:gd name="connsiteX1313" fmla="*/ 7550979 w 12192001"/>
                <a:gd name="connsiteY1313" fmla="*/ 4310314 h 6523037"/>
                <a:gd name="connsiteX1314" fmla="*/ 7553074 w 12192001"/>
                <a:gd name="connsiteY1314" fmla="*/ 4311013 h 6523037"/>
                <a:gd name="connsiteX1315" fmla="*/ 7328246 w 12192001"/>
                <a:gd name="connsiteY1315" fmla="*/ 4086769 h 6523037"/>
                <a:gd name="connsiteX1316" fmla="*/ 7326493 w 12192001"/>
                <a:gd name="connsiteY1316" fmla="*/ 4086769 h 6523037"/>
                <a:gd name="connsiteX1317" fmla="*/ 7285967 w 12192001"/>
                <a:gd name="connsiteY1317" fmla="*/ 4046243 h 6523037"/>
                <a:gd name="connsiteX1318" fmla="*/ 7571985 w 12192001"/>
                <a:gd name="connsiteY1318" fmla="*/ 4044845 h 6523037"/>
                <a:gd name="connsiteX1319" fmla="*/ 7839558 w 12192001"/>
                <a:gd name="connsiteY1319" fmla="*/ 4313109 h 6523037"/>
                <a:gd name="connsiteX1320" fmla="*/ 7747324 w 12192001"/>
                <a:gd name="connsiteY1320" fmla="*/ 4406041 h 6523037"/>
                <a:gd name="connsiteX1321" fmla="*/ 7748023 w 12192001"/>
                <a:gd name="connsiteY1321" fmla="*/ 4406740 h 6523037"/>
                <a:gd name="connsiteX1322" fmla="*/ 7571940 w 12192001"/>
                <a:gd name="connsiteY1322" fmla="*/ 4582822 h 6523037"/>
                <a:gd name="connsiteX1323" fmla="*/ 7768286 w 12192001"/>
                <a:gd name="connsiteY1323" fmla="*/ 4582822 h 6523037"/>
                <a:gd name="connsiteX1324" fmla="*/ 7767587 w 12192001"/>
                <a:gd name="connsiteY1324" fmla="*/ 4584220 h 6523037"/>
                <a:gd name="connsiteX1325" fmla="*/ 7833269 w 12192001"/>
                <a:gd name="connsiteY1325" fmla="*/ 4584220 h 6523037"/>
                <a:gd name="connsiteX1326" fmla="*/ 8103681 w 12192001"/>
                <a:gd name="connsiteY1326" fmla="*/ 4313109 h 6523037"/>
                <a:gd name="connsiteX1327" fmla="*/ 7876057 w 12192001"/>
                <a:gd name="connsiteY1327" fmla="*/ 4086071 h 6523037"/>
                <a:gd name="connsiteX1328" fmla="*/ 7875702 w 12192001"/>
                <a:gd name="connsiteY1328" fmla="*/ 4086071 h 6523037"/>
                <a:gd name="connsiteX1329" fmla="*/ 7834477 w 12192001"/>
                <a:gd name="connsiteY1329" fmla="*/ 4044845 h 6523037"/>
                <a:gd name="connsiteX1330" fmla="*/ 10037678 w 12192001"/>
                <a:gd name="connsiteY1330" fmla="*/ 4044465 h 6523037"/>
                <a:gd name="connsiteX1331" fmla="*/ 10307331 w 12192001"/>
                <a:gd name="connsiteY1331" fmla="*/ 4312728 h 6523037"/>
                <a:gd name="connsiteX1332" fmla="*/ 10036919 w 12192001"/>
                <a:gd name="connsiteY1332" fmla="*/ 4583839 h 6523037"/>
                <a:gd name="connsiteX1333" fmla="*/ 10300344 w 12192001"/>
                <a:gd name="connsiteY1333" fmla="*/ 4583839 h 6523037"/>
                <a:gd name="connsiteX1334" fmla="*/ 10570756 w 12192001"/>
                <a:gd name="connsiteY1334" fmla="*/ 4312728 h 6523037"/>
                <a:gd name="connsiteX1335" fmla="*/ 10436598 w 12192001"/>
                <a:gd name="connsiteY1335" fmla="*/ 4179269 h 6523037"/>
                <a:gd name="connsiteX1336" fmla="*/ 10340225 w 12192001"/>
                <a:gd name="connsiteY1336" fmla="*/ 4082896 h 6523037"/>
                <a:gd name="connsiteX1337" fmla="*/ 10339284 w 12192001"/>
                <a:gd name="connsiteY1337" fmla="*/ 4082896 h 6523037"/>
                <a:gd name="connsiteX1338" fmla="*/ 10300853 w 12192001"/>
                <a:gd name="connsiteY1338" fmla="*/ 4044465 h 6523037"/>
                <a:gd name="connsiteX1339" fmla="*/ 9488918 w 12192001"/>
                <a:gd name="connsiteY1339" fmla="*/ 4044465 h 6523037"/>
                <a:gd name="connsiteX1340" fmla="*/ 9526650 w 12192001"/>
                <a:gd name="connsiteY1340" fmla="*/ 4082197 h 6523037"/>
                <a:gd name="connsiteX1341" fmla="*/ 9526295 w 12192001"/>
                <a:gd name="connsiteY1341" fmla="*/ 4082197 h 6523037"/>
                <a:gd name="connsiteX1342" fmla="*/ 9758122 w 12192001"/>
                <a:gd name="connsiteY1342" fmla="*/ 4313427 h 6523037"/>
                <a:gd name="connsiteX1343" fmla="*/ 9488582 w 12192001"/>
                <a:gd name="connsiteY1343" fmla="*/ 4582967 h 6523037"/>
                <a:gd name="connsiteX1344" fmla="*/ 9488582 w 12192001"/>
                <a:gd name="connsiteY1344" fmla="*/ 4583521 h 6523037"/>
                <a:gd name="connsiteX1345" fmla="*/ 9488264 w 12192001"/>
                <a:gd name="connsiteY1345" fmla="*/ 4583839 h 6523037"/>
                <a:gd name="connsiteX1346" fmla="*/ 9751834 w 12192001"/>
                <a:gd name="connsiteY1346" fmla="*/ 4583839 h 6523037"/>
                <a:gd name="connsiteX1347" fmla="*/ 10022245 w 12192001"/>
                <a:gd name="connsiteY1347" fmla="*/ 4312728 h 6523037"/>
                <a:gd name="connsiteX1348" fmla="*/ 9791119 w 12192001"/>
                <a:gd name="connsiteY1348" fmla="*/ 4082197 h 6523037"/>
                <a:gd name="connsiteX1349" fmla="*/ 9790773 w 12192001"/>
                <a:gd name="connsiteY1349" fmla="*/ 4082197 h 6523037"/>
                <a:gd name="connsiteX1350" fmla="*/ 9753041 w 12192001"/>
                <a:gd name="connsiteY1350" fmla="*/ 4044465 h 6523037"/>
                <a:gd name="connsiteX1351" fmla="*/ 8119110 w 12192001"/>
                <a:gd name="connsiteY1351" fmla="*/ 4044146 h 6523037"/>
                <a:gd name="connsiteX1352" fmla="*/ 8388766 w 12192001"/>
                <a:gd name="connsiteY1352" fmla="*/ 4313109 h 6523037"/>
                <a:gd name="connsiteX1353" fmla="*/ 8118354 w 12192001"/>
                <a:gd name="connsiteY1353" fmla="*/ 4583521 h 6523037"/>
                <a:gd name="connsiteX1354" fmla="*/ 8382478 w 12192001"/>
                <a:gd name="connsiteY1354" fmla="*/ 4583521 h 6523037"/>
                <a:gd name="connsiteX1355" fmla="*/ 8652889 w 12192001"/>
                <a:gd name="connsiteY1355" fmla="*/ 4313109 h 6523037"/>
                <a:gd name="connsiteX1356" fmla="*/ 8425266 w 12192001"/>
                <a:gd name="connsiteY1356" fmla="*/ 4086071 h 6523037"/>
                <a:gd name="connsiteX1357" fmla="*/ 8424213 w 12192001"/>
                <a:gd name="connsiteY1357" fmla="*/ 4086071 h 6523037"/>
                <a:gd name="connsiteX1358" fmla="*/ 8382289 w 12192001"/>
                <a:gd name="connsiteY1358" fmla="*/ 4044146 h 6523037"/>
                <a:gd name="connsiteX1359" fmla="*/ 11136788 w 12192001"/>
                <a:gd name="connsiteY1359" fmla="*/ 4043766 h 6523037"/>
                <a:gd name="connsiteX1360" fmla="*/ 11263206 w 12192001"/>
                <a:gd name="connsiteY1360" fmla="*/ 4170186 h 6523037"/>
                <a:gd name="connsiteX1361" fmla="*/ 11404352 w 12192001"/>
                <a:gd name="connsiteY1361" fmla="*/ 4310632 h 6523037"/>
                <a:gd name="connsiteX1362" fmla="*/ 11133940 w 12192001"/>
                <a:gd name="connsiteY1362" fmla="*/ 4581743 h 6523037"/>
                <a:gd name="connsiteX1363" fmla="*/ 11397365 w 12192001"/>
                <a:gd name="connsiteY1363" fmla="*/ 4581743 h 6523037"/>
                <a:gd name="connsiteX1364" fmla="*/ 11667777 w 12192001"/>
                <a:gd name="connsiteY1364" fmla="*/ 4311331 h 6523037"/>
                <a:gd name="connsiteX1365" fmla="*/ 11535016 w 12192001"/>
                <a:gd name="connsiteY1365" fmla="*/ 4178570 h 6523037"/>
                <a:gd name="connsiteX1366" fmla="*/ 11535016 w 12192001"/>
                <a:gd name="connsiteY1366" fmla="*/ 4177872 h 6523037"/>
                <a:gd name="connsiteX1367" fmla="*/ 11440259 w 12192001"/>
                <a:gd name="connsiteY1367" fmla="*/ 4083594 h 6523037"/>
                <a:gd name="connsiteX1368" fmla="*/ 11437003 w 12192001"/>
                <a:gd name="connsiteY1368" fmla="*/ 4083594 h 6523037"/>
                <a:gd name="connsiteX1369" fmla="*/ 11397175 w 12192001"/>
                <a:gd name="connsiteY1369" fmla="*/ 4043766 h 6523037"/>
                <a:gd name="connsiteX1370" fmla="*/ 10586892 w 12192001"/>
                <a:gd name="connsiteY1370" fmla="*/ 4043766 h 6523037"/>
                <a:gd name="connsiteX1371" fmla="*/ 10855143 w 12192001"/>
                <a:gd name="connsiteY1371" fmla="*/ 4310632 h 6523037"/>
                <a:gd name="connsiteX1372" fmla="*/ 10852347 w 12192001"/>
                <a:gd name="connsiteY1372" fmla="*/ 4313427 h 6523037"/>
                <a:gd name="connsiteX1373" fmla="*/ 10762211 w 12192001"/>
                <a:gd name="connsiteY1373" fmla="*/ 4404264 h 6523037"/>
                <a:gd name="connsiteX1374" fmla="*/ 10761512 w 12192001"/>
                <a:gd name="connsiteY1374" fmla="*/ 4404264 h 6523037"/>
                <a:gd name="connsiteX1375" fmla="*/ 10584032 w 12192001"/>
                <a:gd name="connsiteY1375" fmla="*/ 4582442 h 6523037"/>
                <a:gd name="connsiteX1376" fmla="*/ 10848155 w 12192001"/>
                <a:gd name="connsiteY1376" fmla="*/ 4582442 h 6523037"/>
                <a:gd name="connsiteX1377" fmla="*/ 11118567 w 12192001"/>
                <a:gd name="connsiteY1377" fmla="*/ 4312030 h 6523037"/>
                <a:gd name="connsiteX1378" fmla="*/ 11113676 w 12192001"/>
                <a:gd name="connsiteY1378" fmla="*/ 4307139 h 6523037"/>
                <a:gd name="connsiteX1379" fmla="*/ 11115772 w 12192001"/>
                <a:gd name="connsiteY1379" fmla="*/ 4307838 h 6523037"/>
                <a:gd name="connsiteX1380" fmla="*/ 10890241 w 12192001"/>
                <a:gd name="connsiteY1380" fmla="*/ 4082896 h 6523037"/>
                <a:gd name="connsiteX1381" fmla="*/ 10887794 w 12192001"/>
                <a:gd name="connsiteY1381" fmla="*/ 4082896 h 6523037"/>
                <a:gd name="connsiteX1382" fmla="*/ 10848664 w 12192001"/>
                <a:gd name="connsiteY1382" fmla="*/ 4043766 h 6523037"/>
                <a:gd name="connsiteX1383" fmla="*/ 8667626 w 12192001"/>
                <a:gd name="connsiteY1383" fmla="*/ 4043447 h 6523037"/>
                <a:gd name="connsiteX1384" fmla="*/ 8937975 w 12192001"/>
                <a:gd name="connsiteY1384" fmla="*/ 4311711 h 6523037"/>
                <a:gd name="connsiteX1385" fmla="*/ 8667563 w 12192001"/>
                <a:gd name="connsiteY1385" fmla="*/ 4582822 h 6523037"/>
                <a:gd name="connsiteX1386" fmla="*/ 8930988 w 12192001"/>
                <a:gd name="connsiteY1386" fmla="*/ 4582822 h 6523037"/>
                <a:gd name="connsiteX1387" fmla="*/ 9201400 w 12192001"/>
                <a:gd name="connsiteY1387" fmla="*/ 4311711 h 6523037"/>
                <a:gd name="connsiteX1388" fmla="*/ 9067242 w 12192001"/>
                <a:gd name="connsiteY1388" fmla="*/ 4178252 h 6523037"/>
                <a:gd name="connsiteX1389" fmla="*/ 8974588 w 12192001"/>
                <a:gd name="connsiteY1389" fmla="*/ 4086071 h 6523037"/>
                <a:gd name="connsiteX1390" fmla="*/ 8973422 w 12192001"/>
                <a:gd name="connsiteY1390" fmla="*/ 4086071 h 6523037"/>
                <a:gd name="connsiteX1391" fmla="*/ 8930798 w 12192001"/>
                <a:gd name="connsiteY1391" fmla="*/ 4043447 h 6523037"/>
                <a:gd name="connsiteX1392" fmla="*/ 9215427 w 12192001"/>
                <a:gd name="connsiteY1392" fmla="*/ 4042051 h 6523037"/>
                <a:gd name="connsiteX1393" fmla="*/ 9216074 w 12192001"/>
                <a:gd name="connsiteY1393" fmla="*/ 4042697 h 6523037"/>
                <a:gd name="connsiteX1394" fmla="*/ 9483305 w 12192001"/>
                <a:gd name="connsiteY1394" fmla="*/ 4309235 h 6523037"/>
                <a:gd name="connsiteX1395" fmla="*/ 9744147 w 12192001"/>
                <a:gd name="connsiteY1395" fmla="*/ 4309235 h 6523037"/>
                <a:gd name="connsiteX1396" fmla="*/ 9475578 w 12192001"/>
                <a:gd name="connsiteY1396" fmla="*/ 4042051 h 6523037"/>
                <a:gd name="connsiteX1397" fmla="*/ 2354051 w 12192001"/>
                <a:gd name="connsiteY1397" fmla="*/ 3777098 h 6523037"/>
                <a:gd name="connsiteX1398" fmla="*/ 2084461 w 12192001"/>
                <a:gd name="connsiteY1398" fmla="*/ 4047387 h 6523037"/>
                <a:gd name="connsiteX1399" fmla="*/ 2353542 w 12192001"/>
                <a:gd name="connsiteY1399" fmla="*/ 4315775 h 6523037"/>
                <a:gd name="connsiteX1400" fmla="*/ 2616967 w 12192001"/>
                <a:gd name="connsiteY1400" fmla="*/ 4315775 h 6523037"/>
                <a:gd name="connsiteX1401" fmla="*/ 2392140 w 12192001"/>
                <a:gd name="connsiteY1401" fmla="*/ 4091531 h 6523037"/>
                <a:gd name="connsiteX1402" fmla="*/ 2391783 w 12192001"/>
                <a:gd name="connsiteY1402" fmla="*/ 4091531 h 6523037"/>
                <a:gd name="connsiteX1403" fmla="*/ 2347762 w 12192001"/>
                <a:gd name="connsiteY1403" fmla="*/ 4047510 h 6523037"/>
                <a:gd name="connsiteX1404" fmla="*/ 2347884 w 12192001"/>
                <a:gd name="connsiteY1404" fmla="*/ 4047389 h 6523037"/>
                <a:gd name="connsiteX1405" fmla="*/ 2347254 w 12192001"/>
                <a:gd name="connsiteY1405" fmla="*/ 4046760 h 6523037"/>
                <a:gd name="connsiteX1406" fmla="*/ 2347952 w 12192001"/>
                <a:gd name="connsiteY1406" fmla="*/ 4046061 h 6523037"/>
                <a:gd name="connsiteX1407" fmla="*/ 2346555 w 12192001"/>
                <a:gd name="connsiteY1407" fmla="*/ 4044664 h 6523037"/>
                <a:gd name="connsiteX1408" fmla="*/ 2521938 w 12192001"/>
                <a:gd name="connsiteY1408" fmla="*/ 3868581 h 6523037"/>
                <a:gd name="connsiteX1409" fmla="*/ 2526691 w 12192001"/>
                <a:gd name="connsiteY1409" fmla="*/ 3868581 h 6523037"/>
                <a:gd name="connsiteX1410" fmla="*/ 2532230 w 12192001"/>
                <a:gd name="connsiteY1410" fmla="*/ 3863043 h 6523037"/>
                <a:gd name="connsiteX1411" fmla="*/ 2618174 w 12192001"/>
                <a:gd name="connsiteY1411" fmla="*/ 3777098 h 6523037"/>
                <a:gd name="connsiteX1412" fmla="*/ 1804842 w 12192001"/>
                <a:gd name="connsiteY1412" fmla="*/ 3777098 h 6523037"/>
                <a:gd name="connsiteX1413" fmla="*/ 1535948 w 12192001"/>
                <a:gd name="connsiteY1413" fmla="*/ 4046688 h 6523037"/>
                <a:gd name="connsiteX1414" fmla="*/ 1805731 w 12192001"/>
                <a:gd name="connsiteY1414" fmla="*/ 4315775 h 6523037"/>
                <a:gd name="connsiteX1415" fmla="*/ 2069155 w 12192001"/>
                <a:gd name="connsiteY1415" fmla="*/ 4315775 h 6523037"/>
                <a:gd name="connsiteX1416" fmla="*/ 1939190 w 12192001"/>
                <a:gd name="connsiteY1416" fmla="*/ 4185809 h 6523037"/>
                <a:gd name="connsiteX1417" fmla="*/ 1844912 w 12192001"/>
                <a:gd name="connsiteY1417" fmla="*/ 4091531 h 6523037"/>
                <a:gd name="connsiteX1418" fmla="*/ 1841875 w 12192001"/>
                <a:gd name="connsiteY1418" fmla="*/ 4091531 h 6523037"/>
                <a:gd name="connsiteX1419" fmla="*/ 1798553 w 12192001"/>
                <a:gd name="connsiteY1419" fmla="*/ 4048209 h 6523037"/>
                <a:gd name="connsiteX1420" fmla="*/ 1800069 w 12192001"/>
                <a:gd name="connsiteY1420" fmla="*/ 4046689 h 6523037"/>
                <a:gd name="connsiteX1421" fmla="*/ 1798743 w 12192001"/>
                <a:gd name="connsiteY1421" fmla="*/ 4045363 h 6523037"/>
                <a:gd name="connsiteX1422" fmla="*/ 1974825 w 12192001"/>
                <a:gd name="connsiteY1422" fmla="*/ 3868581 h 6523037"/>
                <a:gd name="connsiteX1423" fmla="*/ 1977718 w 12192001"/>
                <a:gd name="connsiteY1423" fmla="*/ 3868581 h 6523037"/>
                <a:gd name="connsiteX1424" fmla="*/ 2068965 w 12192001"/>
                <a:gd name="connsiteY1424" fmla="*/ 3777098 h 6523037"/>
                <a:gd name="connsiteX1425" fmla="*/ 1257031 w 12192001"/>
                <a:gd name="connsiteY1425" fmla="*/ 3777098 h 6523037"/>
                <a:gd name="connsiteX1426" fmla="*/ 987788 w 12192001"/>
                <a:gd name="connsiteY1426" fmla="*/ 4047037 h 6523037"/>
                <a:gd name="connsiteX1427" fmla="*/ 1257220 w 12192001"/>
                <a:gd name="connsiteY1427" fmla="*/ 4315775 h 6523037"/>
                <a:gd name="connsiteX1428" fmla="*/ 1519946 w 12192001"/>
                <a:gd name="connsiteY1428" fmla="*/ 4315775 h 6523037"/>
                <a:gd name="connsiteX1429" fmla="*/ 1294422 w 12192001"/>
                <a:gd name="connsiteY1429" fmla="*/ 4090833 h 6523037"/>
                <a:gd name="connsiteX1430" fmla="*/ 1293365 w 12192001"/>
                <a:gd name="connsiteY1430" fmla="*/ 4090833 h 6523037"/>
                <a:gd name="connsiteX1431" fmla="*/ 1250742 w 12192001"/>
                <a:gd name="connsiteY1431" fmla="*/ 4048209 h 6523037"/>
                <a:gd name="connsiteX1432" fmla="*/ 1251213 w 12192001"/>
                <a:gd name="connsiteY1432" fmla="*/ 4047737 h 6523037"/>
                <a:gd name="connsiteX1433" fmla="*/ 1249534 w 12192001"/>
                <a:gd name="connsiteY1433" fmla="*/ 4046061 h 6523037"/>
                <a:gd name="connsiteX1434" fmla="*/ 1250932 w 12192001"/>
                <a:gd name="connsiteY1434" fmla="*/ 4044664 h 6523037"/>
                <a:gd name="connsiteX1435" fmla="*/ 1426315 w 12192001"/>
                <a:gd name="connsiteY1435" fmla="*/ 3868581 h 6523037"/>
                <a:gd name="connsiteX1436" fmla="*/ 1429907 w 12192001"/>
                <a:gd name="connsiteY1436" fmla="*/ 3868581 h 6523037"/>
                <a:gd name="connsiteX1437" fmla="*/ 1521154 w 12192001"/>
                <a:gd name="connsiteY1437" fmla="*/ 3777098 h 6523037"/>
                <a:gd name="connsiteX1438" fmla="*/ 709219 w 12192001"/>
                <a:gd name="connsiteY1438" fmla="*/ 3777098 h 6523037"/>
                <a:gd name="connsiteX1439" fmla="*/ 438807 w 12192001"/>
                <a:gd name="connsiteY1439" fmla="*/ 4048209 h 6523037"/>
                <a:gd name="connsiteX1440" fmla="*/ 480732 w 12192001"/>
                <a:gd name="connsiteY1440" fmla="*/ 4090134 h 6523037"/>
                <a:gd name="connsiteX1441" fmla="*/ 480499 w 12192001"/>
                <a:gd name="connsiteY1441" fmla="*/ 4090134 h 6523037"/>
                <a:gd name="connsiteX1442" fmla="*/ 708011 w 12192001"/>
                <a:gd name="connsiteY1442" fmla="*/ 4316473 h 6523037"/>
                <a:gd name="connsiteX1443" fmla="*/ 972135 w 12192001"/>
                <a:gd name="connsiteY1443" fmla="*/ 4316473 h 6523037"/>
                <a:gd name="connsiteX1444" fmla="*/ 745211 w 12192001"/>
                <a:gd name="connsiteY1444" fmla="*/ 4090134 h 6523037"/>
                <a:gd name="connsiteX1445" fmla="*/ 744855 w 12192001"/>
                <a:gd name="connsiteY1445" fmla="*/ 4090134 h 6523037"/>
                <a:gd name="connsiteX1446" fmla="*/ 702930 w 12192001"/>
                <a:gd name="connsiteY1446" fmla="*/ 4048209 h 6523037"/>
                <a:gd name="connsiteX1447" fmla="*/ 703053 w 12192001"/>
                <a:gd name="connsiteY1447" fmla="*/ 4048086 h 6523037"/>
                <a:gd name="connsiteX1448" fmla="*/ 701024 w 12192001"/>
                <a:gd name="connsiteY1448" fmla="*/ 4046061 h 6523037"/>
                <a:gd name="connsiteX1449" fmla="*/ 878504 w 12192001"/>
                <a:gd name="connsiteY1449" fmla="*/ 3868581 h 6523037"/>
                <a:gd name="connsiteX1450" fmla="*/ 882095 w 12192001"/>
                <a:gd name="connsiteY1450" fmla="*/ 3868581 h 6523037"/>
                <a:gd name="connsiteX1451" fmla="*/ 973342 w 12192001"/>
                <a:gd name="connsiteY1451" fmla="*/ 3777098 h 6523037"/>
                <a:gd name="connsiteX1452" fmla="*/ 3451072 w 12192001"/>
                <a:gd name="connsiteY1452" fmla="*/ 3775003 h 6523037"/>
                <a:gd name="connsiteX1453" fmla="*/ 3181135 w 12192001"/>
                <a:gd name="connsiteY1453" fmla="*/ 4045639 h 6523037"/>
                <a:gd name="connsiteX1454" fmla="*/ 3312910 w 12192001"/>
                <a:gd name="connsiteY1454" fmla="*/ 4176725 h 6523037"/>
                <a:gd name="connsiteX1455" fmla="*/ 3312910 w 12192001"/>
                <a:gd name="connsiteY1455" fmla="*/ 4177424 h 6523037"/>
                <a:gd name="connsiteX1456" fmla="*/ 3450563 w 12192001"/>
                <a:gd name="connsiteY1456" fmla="*/ 4314377 h 6523037"/>
                <a:gd name="connsiteX1457" fmla="*/ 3714686 w 12192001"/>
                <a:gd name="connsiteY1457" fmla="*/ 4314377 h 6523037"/>
                <a:gd name="connsiteX1458" fmla="*/ 3490444 w 12192001"/>
                <a:gd name="connsiteY1458" fmla="*/ 4090134 h 6523037"/>
                <a:gd name="connsiteX1459" fmla="*/ 3489503 w 12192001"/>
                <a:gd name="connsiteY1459" fmla="*/ 4090134 h 6523037"/>
                <a:gd name="connsiteX1460" fmla="*/ 3444084 w 12192001"/>
                <a:gd name="connsiteY1460" fmla="*/ 4044716 h 6523037"/>
                <a:gd name="connsiteX1461" fmla="*/ 3444556 w 12192001"/>
                <a:gd name="connsiteY1461" fmla="*/ 4044247 h 6523037"/>
                <a:gd name="connsiteX1462" fmla="*/ 3444274 w 12192001"/>
                <a:gd name="connsiteY1462" fmla="*/ 4043965 h 6523037"/>
                <a:gd name="connsiteX1463" fmla="*/ 3618959 w 12192001"/>
                <a:gd name="connsiteY1463" fmla="*/ 3868581 h 6523037"/>
                <a:gd name="connsiteX1464" fmla="*/ 3621132 w 12192001"/>
                <a:gd name="connsiteY1464" fmla="*/ 3868581 h 6523037"/>
                <a:gd name="connsiteX1465" fmla="*/ 3715195 w 12192001"/>
                <a:gd name="connsiteY1465" fmla="*/ 3775003 h 6523037"/>
                <a:gd name="connsiteX1466" fmla="*/ 3999582 w 12192001"/>
                <a:gd name="connsiteY1466" fmla="*/ 3774304 h 6523037"/>
                <a:gd name="connsiteX1467" fmla="*/ 3729642 w 12192001"/>
                <a:gd name="connsiteY1467" fmla="*/ 4044941 h 6523037"/>
                <a:gd name="connsiteX1468" fmla="*/ 3999073 w 12192001"/>
                <a:gd name="connsiteY1468" fmla="*/ 4313678 h 6523037"/>
                <a:gd name="connsiteX1469" fmla="*/ 4263197 w 12192001"/>
                <a:gd name="connsiteY1469" fmla="*/ 4313678 h 6523037"/>
                <a:gd name="connsiteX1470" fmla="*/ 4039076 w 12192001"/>
                <a:gd name="connsiteY1470" fmla="*/ 4090134 h 6523037"/>
                <a:gd name="connsiteX1471" fmla="*/ 4038711 w 12192001"/>
                <a:gd name="connsiteY1471" fmla="*/ 4090134 h 6523037"/>
                <a:gd name="connsiteX1472" fmla="*/ 3992595 w 12192001"/>
                <a:gd name="connsiteY1472" fmla="*/ 4044017 h 6523037"/>
                <a:gd name="connsiteX1473" fmla="*/ 3992717 w 12192001"/>
                <a:gd name="connsiteY1473" fmla="*/ 4043895 h 6523037"/>
                <a:gd name="connsiteX1474" fmla="*/ 3992086 w 12192001"/>
                <a:gd name="connsiteY1474" fmla="*/ 4043266 h 6523037"/>
                <a:gd name="connsiteX1475" fmla="*/ 4166770 w 12192001"/>
                <a:gd name="connsiteY1475" fmla="*/ 3868581 h 6523037"/>
                <a:gd name="connsiteX1476" fmla="*/ 4168939 w 12192001"/>
                <a:gd name="connsiteY1476" fmla="*/ 3868581 h 6523037"/>
                <a:gd name="connsiteX1477" fmla="*/ 4263707 w 12192001"/>
                <a:gd name="connsiteY1477" fmla="*/ 3774304 h 6523037"/>
                <a:gd name="connsiteX1478" fmla="*/ 4547394 w 12192001"/>
                <a:gd name="connsiteY1478" fmla="*/ 3773605 h 6523037"/>
                <a:gd name="connsiteX1479" fmla="*/ 4277804 w 12192001"/>
                <a:gd name="connsiteY1479" fmla="*/ 4043891 h 6523037"/>
                <a:gd name="connsiteX1480" fmla="*/ 4410631 w 12192001"/>
                <a:gd name="connsiteY1480" fmla="*/ 4176026 h 6523037"/>
                <a:gd name="connsiteX1481" fmla="*/ 4547585 w 12192001"/>
                <a:gd name="connsiteY1481" fmla="*/ 4312979 h 6523037"/>
                <a:gd name="connsiteX1482" fmla="*/ 4809681 w 12192001"/>
                <a:gd name="connsiteY1482" fmla="*/ 4312979 h 6523037"/>
                <a:gd name="connsiteX1483" fmla="*/ 4665187 w 12192001"/>
                <a:gd name="connsiteY1483" fmla="*/ 4169168 h 6523037"/>
                <a:gd name="connsiteX1484" fmla="*/ 4665187 w 12192001"/>
                <a:gd name="connsiteY1484" fmla="*/ 4166459 h 6523037"/>
                <a:gd name="connsiteX1485" fmla="*/ 4588162 w 12192001"/>
                <a:gd name="connsiteY1485" fmla="*/ 4089435 h 6523037"/>
                <a:gd name="connsiteX1486" fmla="*/ 4587920 w 12192001"/>
                <a:gd name="connsiteY1486" fmla="*/ 4089435 h 6523037"/>
                <a:gd name="connsiteX1487" fmla="*/ 4541105 w 12192001"/>
                <a:gd name="connsiteY1487" fmla="*/ 4043318 h 6523037"/>
                <a:gd name="connsiteX1488" fmla="*/ 4541576 w 12192001"/>
                <a:gd name="connsiteY1488" fmla="*/ 4042849 h 6523037"/>
                <a:gd name="connsiteX1489" fmla="*/ 4541295 w 12192001"/>
                <a:gd name="connsiteY1489" fmla="*/ 4042567 h 6523037"/>
                <a:gd name="connsiteX1490" fmla="*/ 4542692 w 12192001"/>
                <a:gd name="connsiteY1490" fmla="*/ 4041170 h 6523037"/>
                <a:gd name="connsiteX1491" fmla="*/ 4660106 w 12192001"/>
                <a:gd name="connsiteY1491" fmla="*/ 3923279 h 6523037"/>
                <a:gd name="connsiteX1492" fmla="*/ 4660106 w 12192001"/>
                <a:gd name="connsiteY1492" fmla="*/ 3920469 h 6523037"/>
                <a:gd name="connsiteX1493" fmla="*/ 4806969 w 12192001"/>
                <a:gd name="connsiteY1493" fmla="*/ 3773605 h 6523037"/>
                <a:gd name="connsiteX1494" fmla="*/ 7014157 w 12192001"/>
                <a:gd name="connsiteY1494" fmla="*/ 3772336 h 6523037"/>
                <a:gd name="connsiteX1495" fmla="*/ 6744567 w 12192001"/>
                <a:gd name="connsiteY1495" fmla="*/ 4042625 h 6523037"/>
                <a:gd name="connsiteX1496" fmla="*/ 7013649 w 12192001"/>
                <a:gd name="connsiteY1496" fmla="*/ 4311013 h 6523037"/>
                <a:gd name="connsiteX1497" fmla="*/ 7277073 w 12192001"/>
                <a:gd name="connsiteY1497" fmla="*/ 4311013 h 6523037"/>
                <a:gd name="connsiteX1498" fmla="*/ 7052246 w 12192001"/>
                <a:gd name="connsiteY1498" fmla="*/ 4086769 h 6523037"/>
                <a:gd name="connsiteX1499" fmla="*/ 7051889 w 12192001"/>
                <a:gd name="connsiteY1499" fmla="*/ 4086769 h 6523037"/>
                <a:gd name="connsiteX1500" fmla="*/ 7007868 w 12192001"/>
                <a:gd name="connsiteY1500" fmla="*/ 4042748 h 6523037"/>
                <a:gd name="connsiteX1501" fmla="*/ 7007990 w 12192001"/>
                <a:gd name="connsiteY1501" fmla="*/ 4042627 h 6523037"/>
                <a:gd name="connsiteX1502" fmla="*/ 7007360 w 12192001"/>
                <a:gd name="connsiteY1502" fmla="*/ 4041998 h 6523037"/>
                <a:gd name="connsiteX1503" fmla="*/ 7008058 w 12192001"/>
                <a:gd name="connsiteY1503" fmla="*/ 4041299 h 6523037"/>
                <a:gd name="connsiteX1504" fmla="*/ 7006662 w 12192001"/>
                <a:gd name="connsiteY1504" fmla="*/ 4039902 h 6523037"/>
                <a:gd name="connsiteX1505" fmla="*/ 7182045 w 12192001"/>
                <a:gd name="connsiteY1505" fmla="*/ 3863819 h 6523037"/>
                <a:gd name="connsiteX1506" fmla="*/ 7186797 w 12192001"/>
                <a:gd name="connsiteY1506" fmla="*/ 3863819 h 6523037"/>
                <a:gd name="connsiteX1507" fmla="*/ 7192337 w 12192001"/>
                <a:gd name="connsiteY1507" fmla="*/ 3858281 h 6523037"/>
                <a:gd name="connsiteX1508" fmla="*/ 7278280 w 12192001"/>
                <a:gd name="connsiteY1508" fmla="*/ 3772336 h 6523037"/>
                <a:gd name="connsiteX1509" fmla="*/ 6464948 w 12192001"/>
                <a:gd name="connsiteY1509" fmla="*/ 3772336 h 6523037"/>
                <a:gd name="connsiteX1510" fmla="*/ 6196054 w 12192001"/>
                <a:gd name="connsiteY1510" fmla="*/ 4041926 h 6523037"/>
                <a:gd name="connsiteX1511" fmla="*/ 6465837 w 12192001"/>
                <a:gd name="connsiteY1511" fmla="*/ 4311013 h 6523037"/>
                <a:gd name="connsiteX1512" fmla="*/ 6729262 w 12192001"/>
                <a:gd name="connsiteY1512" fmla="*/ 4311013 h 6523037"/>
                <a:gd name="connsiteX1513" fmla="*/ 6599296 w 12192001"/>
                <a:gd name="connsiteY1513" fmla="*/ 4181047 h 6523037"/>
                <a:gd name="connsiteX1514" fmla="*/ 6505018 w 12192001"/>
                <a:gd name="connsiteY1514" fmla="*/ 4086769 h 6523037"/>
                <a:gd name="connsiteX1515" fmla="*/ 6501982 w 12192001"/>
                <a:gd name="connsiteY1515" fmla="*/ 4086769 h 6523037"/>
                <a:gd name="connsiteX1516" fmla="*/ 6458659 w 12192001"/>
                <a:gd name="connsiteY1516" fmla="*/ 4043447 h 6523037"/>
                <a:gd name="connsiteX1517" fmla="*/ 6460176 w 12192001"/>
                <a:gd name="connsiteY1517" fmla="*/ 4041927 h 6523037"/>
                <a:gd name="connsiteX1518" fmla="*/ 6458849 w 12192001"/>
                <a:gd name="connsiteY1518" fmla="*/ 4040601 h 6523037"/>
                <a:gd name="connsiteX1519" fmla="*/ 6634931 w 12192001"/>
                <a:gd name="connsiteY1519" fmla="*/ 3863819 h 6523037"/>
                <a:gd name="connsiteX1520" fmla="*/ 6637824 w 12192001"/>
                <a:gd name="connsiteY1520" fmla="*/ 3863819 h 6523037"/>
                <a:gd name="connsiteX1521" fmla="*/ 6729071 w 12192001"/>
                <a:gd name="connsiteY1521" fmla="*/ 3772336 h 6523037"/>
                <a:gd name="connsiteX1522" fmla="*/ 5917138 w 12192001"/>
                <a:gd name="connsiteY1522" fmla="*/ 3772336 h 6523037"/>
                <a:gd name="connsiteX1523" fmla="*/ 5647895 w 12192001"/>
                <a:gd name="connsiteY1523" fmla="*/ 4042275 h 6523037"/>
                <a:gd name="connsiteX1524" fmla="*/ 5917326 w 12192001"/>
                <a:gd name="connsiteY1524" fmla="*/ 4311013 h 6523037"/>
                <a:gd name="connsiteX1525" fmla="*/ 6180052 w 12192001"/>
                <a:gd name="connsiteY1525" fmla="*/ 4311013 h 6523037"/>
                <a:gd name="connsiteX1526" fmla="*/ 5954528 w 12192001"/>
                <a:gd name="connsiteY1526" fmla="*/ 4086071 h 6523037"/>
                <a:gd name="connsiteX1527" fmla="*/ 5953471 w 12192001"/>
                <a:gd name="connsiteY1527" fmla="*/ 4086071 h 6523037"/>
                <a:gd name="connsiteX1528" fmla="*/ 5910849 w 12192001"/>
                <a:gd name="connsiteY1528" fmla="*/ 4043447 h 6523037"/>
                <a:gd name="connsiteX1529" fmla="*/ 5911320 w 12192001"/>
                <a:gd name="connsiteY1529" fmla="*/ 4042975 h 6523037"/>
                <a:gd name="connsiteX1530" fmla="*/ 5909641 w 12192001"/>
                <a:gd name="connsiteY1530" fmla="*/ 4041299 h 6523037"/>
                <a:gd name="connsiteX1531" fmla="*/ 5911038 w 12192001"/>
                <a:gd name="connsiteY1531" fmla="*/ 4039902 h 6523037"/>
                <a:gd name="connsiteX1532" fmla="*/ 6086421 w 12192001"/>
                <a:gd name="connsiteY1532" fmla="*/ 3863819 h 6523037"/>
                <a:gd name="connsiteX1533" fmla="*/ 6090013 w 12192001"/>
                <a:gd name="connsiteY1533" fmla="*/ 3863819 h 6523037"/>
                <a:gd name="connsiteX1534" fmla="*/ 6181261 w 12192001"/>
                <a:gd name="connsiteY1534" fmla="*/ 3772336 h 6523037"/>
                <a:gd name="connsiteX1535" fmla="*/ 5369326 w 12192001"/>
                <a:gd name="connsiteY1535" fmla="*/ 3772336 h 6523037"/>
                <a:gd name="connsiteX1536" fmla="*/ 5098913 w 12192001"/>
                <a:gd name="connsiteY1536" fmla="*/ 4043447 h 6523037"/>
                <a:gd name="connsiteX1537" fmla="*/ 5140838 w 12192001"/>
                <a:gd name="connsiteY1537" fmla="*/ 4085372 h 6523037"/>
                <a:gd name="connsiteX1538" fmla="*/ 5140605 w 12192001"/>
                <a:gd name="connsiteY1538" fmla="*/ 4085372 h 6523037"/>
                <a:gd name="connsiteX1539" fmla="*/ 5368118 w 12192001"/>
                <a:gd name="connsiteY1539" fmla="*/ 4311711 h 6523037"/>
                <a:gd name="connsiteX1540" fmla="*/ 5632241 w 12192001"/>
                <a:gd name="connsiteY1540" fmla="*/ 4311711 h 6523037"/>
                <a:gd name="connsiteX1541" fmla="*/ 5405317 w 12192001"/>
                <a:gd name="connsiteY1541" fmla="*/ 4085372 h 6523037"/>
                <a:gd name="connsiteX1542" fmla="*/ 5404961 w 12192001"/>
                <a:gd name="connsiteY1542" fmla="*/ 4085372 h 6523037"/>
                <a:gd name="connsiteX1543" fmla="*/ 5363036 w 12192001"/>
                <a:gd name="connsiteY1543" fmla="*/ 4043447 h 6523037"/>
                <a:gd name="connsiteX1544" fmla="*/ 5363159 w 12192001"/>
                <a:gd name="connsiteY1544" fmla="*/ 4043324 h 6523037"/>
                <a:gd name="connsiteX1545" fmla="*/ 5361131 w 12192001"/>
                <a:gd name="connsiteY1545" fmla="*/ 4041299 h 6523037"/>
                <a:gd name="connsiteX1546" fmla="*/ 5538610 w 12192001"/>
                <a:gd name="connsiteY1546" fmla="*/ 3863819 h 6523037"/>
                <a:gd name="connsiteX1547" fmla="*/ 5542201 w 12192001"/>
                <a:gd name="connsiteY1547" fmla="*/ 3863819 h 6523037"/>
                <a:gd name="connsiteX1548" fmla="*/ 5633449 w 12192001"/>
                <a:gd name="connsiteY1548" fmla="*/ 3772336 h 6523037"/>
                <a:gd name="connsiteX1549" fmla="*/ 4821872 w 12192001"/>
                <a:gd name="connsiteY1549" fmla="*/ 3771639 h 6523037"/>
                <a:gd name="connsiteX1550" fmla="*/ 4555828 w 12192001"/>
                <a:gd name="connsiteY1550" fmla="*/ 4038375 h 6523037"/>
                <a:gd name="connsiteX1551" fmla="*/ 4816942 w 12192001"/>
                <a:gd name="connsiteY1551" fmla="*/ 4038375 h 6523037"/>
                <a:gd name="connsiteX1552" fmla="*/ 4991497 w 12192001"/>
                <a:gd name="connsiteY1552" fmla="*/ 3863819 h 6523037"/>
                <a:gd name="connsiteX1553" fmla="*/ 4991595 w 12192001"/>
                <a:gd name="connsiteY1553" fmla="*/ 3863819 h 6523037"/>
                <a:gd name="connsiteX1554" fmla="*/ 5082144 w 12192001"/>
                <a:gd name="connsiteY1554" fmla="*/ 3773035 h 6523037"/>
                <a:gd name="connsiteX1555" fmla="*/ 4885799 w 12192001"/>
                <a:gd name="connsiteY1555" fmla="*/ 3773035 h 6523037"/>
                <a:gd name="connsiteX1556" fmla="*/ 4886497 w 12192001"/>
                <a:gd name="connsiteY1556" fmla="*/ 3771639 h 6523037"/>
                <a:gd name="connsiteX1557" fmla="*/ 8111178 w 12192001"/>
                <a:gd name="connsiteY1557" fmla="*/ 3770241 h 6523037"/>
                <a:gd name="connsiteX1558" fmla="*/ 7841241 w 12192001"/>
                <a:gd name="connsiteY1558" fmla="*/ 4040877 h 6523037"/>
                <a:gd name="connsiteX1559" fmla="*/ 7973016 w 12192001"/>
                <a:gd name="connsiteY1559" fmla="*/ 4171963 h 6523037"/>
                <a:gd name="connsiteX1560" fmla="*/ 7973016 w 12192001"/>
                <a:gd name="connsiteY1560" fmla="*/ 4172662 h 6523037"/>
                <a:gd name="connsiteX1561" fmla="*/ 8110669 w 12192001"/>
                <a:gd name="connsiteY1561" fmla="*/ 4309615 h 6523037"/>
                <a:gd name="connsiteX1562" fmla="*/ 8374792 w 12192001"/>
                <a:gd name="connsiteY1562" fmla="*/ 4309615 h 6523037"/>
                <a:gd name="connsiteX1563" fmla="*/ 8150550 w 12192001"/>
                <a:gd name="connsiteY1563" fmla="*/ 4085372 h 6523037"/>
                <a:gd name="connsiteX1564" fmla="*/ 8149609 w 12192001"/>
                <a:gd name="connsiteY1564" fmla="*/ 4085372 h 6523037"/>
                <a:gd name="connsiteX1565" fmla="*/ 8104190 w 12192001"/>
                <a:gd name="connsiteY1565" fmla="*/ 4039954 h 6523037"/>
                <a:gd name="connsiteX1566" fmla="*/ 8104662 w 12192001"/>
                <a:gd name="connsiteY1566" fmla="*/ 4039485 h 6523037"/>
                <a:gd name="connsiteX1567" fmla="*/ 8104380 w 12192001"/>
                <a:gd name="connsiteY1567" fmla="*/ 4039203 h 6523037"/>
                <a:gd name="connsiteX1568" fmla="*/ 8279065 w 12192001"/>
                <a:gd name="connsiteY1568" fmla="*/ 3863819 h 6523037"/>
                <a:gd name="connsiteX1569" fmla="*/ 8281238 w 12192001"/>
                <a:gd name="connsiteY1569" fmla="*/ 3863819 h 6523037"/>
                <a:gd name="connsiteX1570" fmla="*/ 8375301 w 12192001"/>
                <a:gd name="connsiteY1570" fmla="*/ 3770241 h 6523037"/>
                <a:gd name="connsiteX1571" fmla="*/ 8659688 w 12192001"/>
                <a:gd name="connsiteY1571" fmla="*/ 3769542 h 6523037"/>
                <a:gd name="connsiteX1572" fmla="*/ 8389748 w 12192001"/>
                <a:gd name="connsiteY1572" fmla="*/ 4040179 h 6523037"/>
                <a:gd name="connsiteX1573" fmla="*/ 8659179 w 12192001"/>
                <a:gd name="connsiteY1573" fmla="*/ 4308916 h 6523037"/>
                <a:gd name="connsiteX1574" fmla="*/ 8923303 w 12192001"/>
                <a:gd name="connsiteY1574" fmla="*/ 4308916 h 6523037"/>
                <a:gd name="connsiteX1575" fmla="*/ 8699182 w 12192001"/>
                <a:gd name="connsiteY1575" fmla="*/ 4085372 h 6523037"/>
                <a:gd name="connsiteX1576" fmla="*/ 8698817 w 12192001"/>
                <a:gd name="connsiteY1576" fmla="*/ 4085372 h 6523037"/>
                <a:gd name="connsiteX1577" fmla="*/ 8652701 w 12192001"/>
                <a:gd name="connsiteY1577" fmla="*/ 4039255 h 6523037"/>
                <a:gd name="connsiteX1578" fmla="*/ 8652823 w 12192001"/>
                <a:gd name="connsiteY1578" fmla="*/ 4039133 h 6523037"/>
                <a:gd name="connsiteX1579" fmla="*/ 8652192 w 12192001"/>
                <a:gd name="connsiteY1579" fmla="*/ 4038504 h 6523037"/>
                <a:gd name="connsiteX1580" fmla="*/ 8826876 w 12192001"/>
                <a:gd name="connsiteY1580" fmla="*/ 3863819 h 6523037"/>
                <a:gd name="connsiteX1581" fmla="*/ 8829045 w 12192001"/>
                <a:gd name="connsiteY1581" fmla="*/ 3863819 h 6523037"/>
                <a:gd name="connsiteX1582" fmla="*/ 8923812 w 12192001"/>
                <a:gd name="connsiteY1582" fmla="*/ 3769542 h 6523037"/>
                <a:gd name="connsiteX1583" fmla="*/ 11674574 w 12192001"/>
                <a:gd name="connsiteY1583" fmla="*/ 3769161 h 6523037"/>
                <a:gd name="connsiteX1584" fmla="*/ 11404984 w 12192001"/>
                <a:gd name="connsiteY1584" fmla="*/ 4039450 h 6523037"/>
                <a:gd name="connsiteX1585" fmla="*/ 11674065 w 12192001"/>
                <a:gd name="connsiteY1585" fmla="*/ 4307838 h 6523037"/>
                <a:gd name="connsiteX1586" fmla="*/ 11937490 w 12192001"/>
                <a:gd name="connsiteY1586" fmla="*/ 4307838 h 6523037"/>
                <a:gd name="connsiteX1587" fmla="*/ 11712663 w 12192001"/>
                <a:gd name="connsiteY1587" fmla="*/ 4083594 h 6523037"/>
                <a:gd name="connsiteX1588" fmla="*/ 11712306 w 12192001"/>
                <a:gd name="connsiteY1588" fmla="*/ 4083594 h 6523037"/>
                <a:gd name="connsiteX1589" fmla="*/ 11668285 w 12192001"/>
                <a:gd name="connsiteY1589" fmla="*/ 4039573 h 6523037"/>
                <a:gd name="connsiteX1590" fmla="*/ 11668407 w 12192001"/>
                <a:gd name="connsiteY1590" fmla="*/ 4039452 h 6523037"/>
                <a:gd name="connsiteX1591" fmla="*/ 11667777 w 12192001"/>
                <a:gd name="connsiteY1591" fmla="*/ 4038823 h 6523037"/>
                <a:gd name="connsiteX1592" fmla="*/ 11668475 w 12192001"/>
                <a:gd name="connsiteY1592" fmla="*/ 4038124 h 6523037"/>
                <a:gd name="connsiteX1593" fmla="*/ 11667078 w 12192001"/>
                <a:gd name="connsiteY1593" fmla="*/ 4036727 h 6523037"/>
                <a:gd name="connsiteX1594" fmla="*/ 11842461 w 12192001"/>
                <a:gd name="connsiteY1594" fmla="*/ 3860644 h 6523037"/>
                <a:gd name="connsiteX1595" fmla="*/ 11847214 w 12192001"/>
                <a:gd name="connsiteY1595" fmla="*/ 3860644 h 6523037"/>
                <a:gd name="connsiteX1596" fmla="*/ 11852753 w 12192001"/>
                <a:gd name="connsiteY1596" fmla="*/ 3855106 h 6523037"/>
                <a:gd name="connsiteX1597" fmla="*/ 11938697 w 12192001"/>
                <a:gd name="connsiteY1597" fmla="*/ 3769161 h 6523037"/>
                <a:gd name="connsiteX1598" fmla="*/ 11125365 w 12192001"/>
                <a:gd name="connsiteY1598" fmla="*/ 3769161 h 6523037"/>
                <a:gd name="connsiteX1599" fmla="*/ 10856471 w 12192001"/>
                <a:gd name="connsiteY1599" fmla="*/ 4038751 h 6523037"/>
                <a:gd name="connsiteX1600" fmla="*/ 11126254 w 12192001"/>
                <a:gd name="connsiteY1600" fmla="*/ 4307838 h 6523037"/>
                <a:gd name="connsiteX1601" fmla="*/ 11389678 w 12192001"/>
                <a:gd name="connsiteY1601" fmla="*/ 4307838 h 6523037"/>
                <a:gd name="connsiteX1602" fmla="*/ 11259713 w 12192001"/>
                <a:gd name="connsiteY1602" fmla="*/ 4177872 h 6523037"/>
                <a:gd name="connsiteX1603" fmla="*/ 11165435 w 12192001"/>
                <a:gd name="connsiteY1603" fmla="*/ 4083594 h 6523037"/>
                <a:gd name="connsiteX1604" fmla="*/ 11162398 w 12192001"/>
                <a:gd name="connsiteY1604" fmla="*/ 4083594 h 6523037"/>
                <a:gd name="connsiteX1605" fmla="*/ 11119076 w 12192001"/>
                <a:gd name="connsiteY1605" fmla="*/ 4040272 h 6523037"/>
                <a:gd name="connsiteX1606" fmla="*/ 11120592 w 12192001"/>
                <a:gd name="connsiteY1606" fmla="*/ 4038752 h 6523037"/>
                <a:gd name="connsiteX1607" fmla="*/ 11119266 w 12192001"/>
                <a:gd name="connsiteY1607" fmla="*/ 4037426 h 6523037"/>
                <a:gd name="connsiteX1608" fmla="*/ 11295348 w 12192001"/>
                <a:gd name="connsiteY1608" fmla="*/ 3860644 h 6523037"/>
                <a:gd name="connsiteX1609" fmla="*/ 11298241 w 12192001"/>
                <a:gd name="connsiteY1609" fmla="*/ 3860644 h 6523037"/>
                <a:gd name="connsiteX1610" fmla="*/ 11389488 w 12192001"/>
                <a:gd name="connsiteY1610" fmla="*/ 3769161 h 6523037"/>
                <a:gd name="connsiteX1611" fmla="*/ 10577554 w 12192001"/>
                <a:gd name="connsiteY1611" fmla="*/ 3769161 h 6523037"/>
                <a:gd name="connsiteX1612" fmla="*/ 10308311 w 12192001"/>
                <a:gd name="connsiteY1612" fmla="*/ 4039100 h 6523037"/>
                <a:gd name="connsiteX1613" fmla="*/ 10577743 w 12192001"/>
                <a:gd name="connsiteY1613" fmla="*/ 4307838 h 6523037"/>
                <a:gd name="connsiteX1614" fmla="*/ 10840469 w 12192001"/>
                <a:gd name="connsiteY1614" fmla="*/ 4307838 h 6523037"/>
                <a:gd name="connsiteX1615" fmla="*/ 10614945 w 12192001"/>
                <a:gd name="connsiteY1615" fmla="*/ 4082896 h 6523037"/>
                <a:gd name="connsiteX1616" fmla="*/ 10613888 w 12192001"/>
                <a:gd name="connsiteY1616" fmla="*/ 4082896 h 6523037"/>
                <a:gd name="connsiteX1617" fmla="*/ 10571265 w 12192001"/>
                <a:gd name="connsiteY1617" fmla="*/ 4040272 h 6523037"/>
                <a:gd name="connsiteX1618" fmla="*/ 10571736 w 12192001"/>
                <a:gd name="connsiteY1618" fmla="*/ 4039800 h 6523037"/>
                <a:gd name="connsiteX1619" fmla="*/ 10570057 w 12192001"/>
                <a:gd name="connsiteY1619" fmla="*/ 4038124 h 6523037"/>
                <a:gd name="connsiteX1620" fmla="*/ 10571455 w 12192001"/>
                <a:gd name="connsiteY1620" fmla="*/ 4036727 h 6523037"/>
                <a:gd name="connsiteX1621" fmla="*/ 10746838 w 12192001"/>
                <a:gd name="connsiteY1621" fmla="*/ 3860644 h 6523037"/>
                <a:gd name="connsiteX1622" fmla="*/ 10750430 w 12192001"/>
                <a:gd name="connsiteY1622" fmla="*/ 3860644 h 6523037"/>
                <a:gd name="connsiteX1623" fmla="*/ 10841677 w 12192001"/>
                <a:gd name="connsiteY1623" fmla="*/ 3769161 h 6523037"/>
                <a:gd name="connsiteX1624" fmla="*/ 10029742 w 12192001"/>
                <a:gd name="connsiteY1624" fmla="*/ 3769161 h 6523037"/>
                <a:gd name="connsiteX1625" fmla="*/ 9759330 w 12192001"/>
                <a:gd name="connsiteY1625" fmla="*/ 4040272 h 6523037"/>
                <a:gd name="connsiteX1626" fmla="*/ 9801255 w 12192001"/>
                <a:gd name="connsiteY1626" fmla="*/ 4082197 h 6523037"/>
                <a:gd name="connsiteX1627" fmla="*/ 9801022 w 12192001"/>
                <a:gd name="connsiteY1627" fmla="*/ 4082197 h 6523037"/>
                <a:gd name="connsiteX1628" fmla="*/ 10028534 w 12192001"/>
                <a:gd name="connsiteY1628" fmla="*/ 4308536 h 6523037"/>
                <a:gd name="connsiteX1629" fmla="*/ 10292658 w 12192001"/>
                <a:gd name="connsiteY1629" fmla="*/ 4308536 h 6523037"/>
                <a:gd name="connsiteX1630" fmla="*/ 10065734 w 12192001"/>
                <a:gd name="connsiteY1630" fmla="*/ 4082197 h 6523037"/>
                <a:gd name="connsiteX1631" fmla="*/ 10065378 w 12192001"/>
                <a:gd name="connsiteY1631" fmla="*/ 4082197 h 6523037"/>
                <a:gd name="connsiteX1632" fmla="*/ 10023453 w 12192001"/>
                <a:gd name="connsiteY1632" fmla="*/ 4040272 h 6523037"/>
                <a:gd name="connsiteX1633" fmla="*/ 10023576 w 12192001"/>
                <a:gd name="connsiteY1633" fmla="*/ 4040149 h 6523037"/>
                <a:gd name="connsiteX1634" fmla="*/ 10021547 w 12192001"/>
                <a:gd name="connsiteY1634" fmla="*/ 4038124 h 6523037"/>
                <a:gd name="connsiteX1635" fmla="*/ 10199027 w 12192001"/>
                <a:gd name="connsiteY1635" fmla="*/ 3860644 h 6523037"/>
                <a:gd name="connsiteX1636" fmla="*/ 10202618 w 12192001"/>
                <a:gd name="connsiteY1636" fmla="*/ 3860644 h 6523037"/>
                <a:gd name="connsiteX1637" fmla="*/ 10293865 w 12192001"/>
                <a:gd name="connsiteY1637" fmla="*/ 3769161 h 6523037"/>
                <a:gd name="connsiteX1638" fmla="*/ 9207500 w 12192001"/>
                <a:gd name="connsiteY1638" fmla="*/ 3768843 h 6523037"/>
                <a:gd name="connsiteX1639" fmla="*/ 8937910 w 12192001"/>
                <a:gd name="connsiteY1639" fmla="*/ 4039129 h 6523037"/>
                <a:gd name="connsiteX1640" fmla="*/ 9070736 w 12192001"/>
                <a:gd name="connsiteY1640" fmla="*/ 4171264 h 6523037"/>
                <a:gd name="connsiteX1641" fmla="*/ 9207690 w 12192001"/>
                <a:gd name="connsiteY1641" fmla="*/ 4308217 h 6523037"/>
                <a:gd name="connsiteX1642" fmla="*/ 9468504 w 12192001"/>
                <a:gd name="connsiteY1642" fmla="*/ 4308217 h 6523037"/>
                <a:gd name="connsiteX1643" fmla="*/ 9325603 w 12192001"/>
                <a:gd name="connsiteY1643" fmla="*/ 4165993 h 6523037"/>
                <a:gd name="connsiteX1644" fmla="*/ 9325603 w 12192001"/>
                <a:gd name="connsiteY1644" fmla="*/ 4162008 h 6523037"/>
                <a:gd name="connsiteX1645" fmla="*/ 9248268 w 12192001"/>
                <a:gd name="connsiteY1645" fmla="*/ 4084673 h 6523037"/>
                <a:gd name="connsiteX1646" fmla="*/ 9248026 w 12192001"/>
                <a:gd name="connsiteY1646" fmla="*/ 4084673 h 6523037"/>
                <a:gd name="connsiteX1647" fmla="*/ 9201211 w 12192001"/>
                <a:gd name="connsiteY1647" fmla="*/ 4038556 h 6523037"/>
                <a:gd name="connsiteX1648" fmla="*/ 9201682 w 12192001"/>
                <a:gd name="connsiteY1648" fmla="*/ 4038087 h 6523037"/>
                <a:gd name="connsiteX1649" fmla="*/ 9201400 w 12192001"/>
                <a:gd name="connsiteY1649" fmla="*/ 4037805 h 6523037"/>
                <a:gd name="connsiteX1650" fmla="*/ 9202798 w 12192001"/>
                <a:gd name="connsiteY1650" fmla="*/ 4036408 h 6523037"/>
                <a:gd name="connsiteX1651" fmla="*/ 9320523 w 12192001"/>
                <a:gd name="connsiteY1651" fmla="*/ 3918204 h 6523037"/>
                <a:gd name="connsiteX1652" fmla="*/ 9320523 w 12192001"/>
                <a:gd name="connsiteY1652" fmla="*/ 3917294 h 6523037"/>
                <a:gd name="connsiteX1653" fmla="*/ 9468973 w 12192001"/>
                <a:gd name="connsiteY1653" fmla="*/ 3768843 h 6523037"/>
                <a:gd name="connsiteX1654" fmla="*/ 9480395 w 12192001"/>
                <a:gd name="connsiteY1654" fmla="*/ 3768464 h 6523037"/>
                <a:gd name="connsiteX1655" fmla="*/ 9215934 w 12192001"/>
                <a:gd name="connsiteY1655" fmla="*/ 4033613 h 6523037"/>
                <a:gd name="connsiteX1656" fmla="*/ 9478102 w 12192001"/>
                <a:gd name="connsiteY1656" fmla="*/ 4033613 h 6523037"/>
                <a:gd name="connsiteX1657" fmla="*/ 9488582 w 12192001"/>
                <a:gd name="connsiteY1657" fmla="*/ 4023132 h 6523037"/>
                <a:gd name="connsiteX1658" fmla="*/ 9488582 w 12192001"/>
                <a:gd name="connsiteY1658" fmla="*/ 4023976 h 6523037"/>
                <a:gd name="connsiteX1659" fmla="*/ 9651914 w 12192001"/>
                <a:gd name="connsiteY1659" fmla="*/ 3860644 h 6523037"/>
                <a:gd name="connsiteX1660" fmla="*/ 9652012 w 12192001"/>
                <a:gd name="connsiteY1660" fmla="*/ 3860644 h 6523037"/>
                <a:gd name="connsiteX1661" fmla="*/ 9742561 w 12192001"/>
                <a:gd name="connsiteY1661" fmla="*/ 3769860 h 6523037"/>
                <a:gd name="connsiteX1662" fmla="*/ 9546215 w 12192001"/>
                <a:gd name="connsiteY1662" fmla="*/ 3769860 h 6523037"/>
                <a:gd name="connsiteX1663" fmla="*/ 9546914 w 12192001"/>
                <a:gd name="connsiteY1663" fmla="*/ 3768464 h 6523037"/>
                <a:gd name="connsiteX1664" fmla="*/ 1264018 w 12192001"/>
                <a:gd name="connsiteY1664" fmla="*/ 3501795 h 6523037"/>
                <a:gd name="connsiteX1665" fmla="*/ 1535828 w 12192001"/>
                <a:gd name="connsiteY1665" fmla="*/ 3771509 h 6523037"/>
                <a:gd name="connsiteX1666" fmla="*/ 1266165 w 12192001"/>
                <a:gd name="connsiteY1666" fmla="*/ 4041868 h 6523037"/>
                <a:gd name="connsiteX1667" fmla="*/ 1527632 w 12192001"/>
                <a:gd name="connsiteY1667" fmla="*/ 4041868 h 6523037"/>
                <a:gd name="connsiteX1668" fmla="*/ 1700221 w 12192001"/>
                <a:gd name="connsiteY1668" fmla="*/ 3868581 h 6523037"/>
                <a:gd name="connsiteX1669" fmla="*/ 1702878 w 12192001"/>
                <a:gd name="connsiteY1669" fmla="*/ 3868581 h 6523037"/>
                <a:gd name="connsiteX1670" fmla="*/ 1799252 w 12192001"/>
                <a:gd name="connsiteY1670" fmla="*/ 3772207 h 6523037"/>
                <a:gd name="connsiteX1671" fmla="*/ 1665094 w 12192001"/>
                <a:gd name="connsiteY1671" fmla="*/ 3638748 h 6523037"/>
                <a:gd name="connsiteX1672" fmla="*/ 1528141 w 12192001"/>
                <a:gd name="connsiteY1672" fmla="*/ 3501795 h 6523037"/>
                <a:gd name="connsiteX1673" fmla="*/ 715508 w 12192001"/>
                <a:gd name="connsiteY1673" fmla="*/ 3501795 h 6523037"/>
                <a:gd name="connsiteX1674" fmla="*/ 986618 w 12192001"/>
                <a:gd name="connsiteY1674" fmla="*/ 3772207 h 6523037"/>
                <a:gd name="connsiteX1675" fmla="*/ 716955 w 12192001"/>
                <a:gd name="connsiteY1675" fmla="*/ 4042567 h 6523037"/>
                <a:gd name="connsiteX1676" fmla="*/ 979122 w 12192001"/>
                <a:gd name="connsiteY1676" fmla="*/ 4042567 h 6523037"/>
                <a:gd name="connsiteX1677" fmla="*/ 1067862 w 12192001"/>
                <a:gd name="connsiteY1677" fmla="*/ 3953129 h 6523037"/>
                <a:gd name="connsiteX1678" fmla="*/ 1152410 w 12192001"/>
                <a:gd name="connsiteY1678" fmla="*/ 3868581 h 6523037"/>
                <a:gd name="connsiteX1679" fmla="*/ 1154616 w 12192001"/>
                <a:gd name="connsiteY1679" fmla="*/ 3868581 h 6523037"/>
                <a:gd name="connsiteX1680" fmla="*/ 1250742 w 12192001"/>
                <a:gd name="connsiteY1680" fmla="*/ 3772207 h 6523037"/>
                <a:gd name="connsiteX1681" fmla="*/ 979631 w 12192001"/>
                <a:gd name="connsiteY1681" fmla="*/ 3501795 h 6523037"/>
                <a:gd name="connsiteX1682" fmla="*/ 165601 w 12192001"/>
                <a:gd name="connsiteY1682" fmla="*/ 3501795 h 6523037"/>
                <a:gd name="connsiteX1683" fmla="*/ 436711 w 12192001"/>
                <a:gd name="connsiteY1683" fmla="*/ 3772207 h 6523037"/>
                <a:gd name="connsiteX1684" fmla="*/ 438108 w 12192001"/>
                <a:gd name="connsiteY1684" fmla="*/ 3772906 h 6523037"/>
                <a:gd name="connsiteX1685" fmla="*/ 169094 w 12192001"/>
                <a:gd name="connsiteY1685" fmla="*/ 4042619 h 6523037"/>
                <a:gd name="connsiteX1686" fmla="*/ 365440 w 12192001"/>
                <a:gd name="connsiteY1686" fmla="*/ 4042619 h 6523037"/>
                <a:gd name="connsiteX1687" fmla="*/ 365116 w 12192001"/>
                <a:gd name="connsiteY1687" fmla="*/ 4043266 h 6523037"/>
                <a:gd name="connsiteX1688" fmla="*/ 430612 w 12192001"/>
                <a:gd name="connsiteY1688" fmla="*/ 4043266 h 6523037"/>
                <a:gd name="connsiteX1689" fmla="*/ 604598 w 12192001"/>
                <a:gd name="connsiteY1689" fmla="*/ 3868581 h 6523037"/>
                <a:gd name="connsiteX1690" fmla="*/ 606802 w 12192001"/>
                <a:gd name="connsiteY1690" fmla="*/ 3868581 h 6523037"/>
                <a:gd name="connsiteX1691" fmla="*/ 701533 w 12192001"/>
                <a:gd name="connsiteY1691" fmla="*/ 3773605 h 6523037"/>
                <a:gd name="connsiteX1692" fmla="*/ 430423 w 12192001"/>
                <a:gd name="connsiteY1692" fmla="*/ 3503193 h 6523037"/>
                <a:gd name="connsiteX1693" fmla="*/ 362644 w 12192001"/>
                <a:gd name="connsiteY1693" fmla="*/ 3501795 h 6523037"/>
                <a:gd name="connsiteX1694" fmla="*/ 2361039 w 12192001"/>
                <a:gd name="connsiteY1694" fmla="*/ 3501097 h 6523037"/>
                <a:gd name="connsiteX1695" fmla="*/ 2631451 w 12192001"/>
                <a:gd name="connsiteY1695" fmla="*/ 3770111 h 6523037"/>
                <a:gd name="connsiteX1696" fmla="*/ 2628655 w 12192001"/>
                <a:gd name="connsiteY1696" fmla="*/ 3772906 h 6523037"/>
                <a:gd name="connsiteX1697" fmla="*/ 2538519 w 12192001"/>
                <a:gd name="connsiteY1697" fmla="*/ 3863743 h 6523037"/>
                <a:gd name="connsiteX1698" fmla="*/ 2361789 w 12192001"/>
                <a:gd name="connsiteY1698" fmla="*/ 4040472 h 6523037"/>
                <a:gd name="connsiteX1699" fmla="*/ 2624653 w 12192001"/>
                <a:gd name="connsiteY1699" fmla="*/ 4040472 h 6523037"/>
                <a:gd name="connsiteX1700" fmla="*/ 2795844 w 12192001"/>
                <a:gd name="connsiteY1700" fmla="*/ 3868581 h 6523037"/>
                <a:gd name="connsiteX1701" fmla="*/ 2797802 w 12192001"/>
                <a:gd name="connsiteY1701" fmla="*/ 3868581 h 6523037"/>
                <a:gd name="connsiteX1702" fmla="*/ 2895574 w 12192001"/>
                <a:gd name="connsiteY1702" fmla="*/ 3770810 h 6523037"/>
                <a:gd name="connsiteX1703" fmla="*/ 2625162 w 12192001"/>
                <a:gd name="connsiteY1703" fmla="*/ 3501097 h 6523037"/>
                <a:gd name="connsiteX1704" fmla="*/ 1812528 w 12192001"/>
                <a:gd name="connsiteY1704" fmla="*/ 3501097 h 6523037"/>
                <a:gd name="connsiteX1705" fmla="*/ 1813926 w 12192001"/>
                <a:gd name="connsiteY1705" fmla="*/ 3502494 h 6523037"/>
                <a:gd name="connsiteX1706" fmla="*/ 2083639 w 12192001"/>
                <a:gd name="connsiteY1706" fmla="*/ 3771509 h 6523037"/>
                <a:gd name="connsiteX1707" fmla="*/ 1814673 w 12192001"/>
                <a:gd name="connsiteY1707" fmla="*/ 4041170 h 6523037"/>
                <a:gd name="connsiteX1708" fmla="*/ 2076143 w 12192001"/>
                <a:gd name="connsiteY1708" fmla="*/ 4041170 h 6523037"/>
                <a:gd name="connsiteX1709" fmla="*/ 2248033 w 12192001"/>
                <a:gd name="connsiteY1709" fmla="*/ 3868581 h 6523037"/>
                <a:gd name="connsiteX1710" fmla="*/ 2250940 w 12192001"/>
                <a:gd name="connsiteY1710" fmla="*/ 3868581 h 6523037"/>
                <a:gd name="connsiteX1711" fmla="*/ 2347762 w 12192001"/>
                <a:gd name="connsiteY1711" fmla="*/ 3771509 h 6523037"/>
                <a:gd name="connsiteX1712" fmla="*/ 2342173 w 12192001"/>
                <a:gd name="connsiteY1712" fmla="*/ 3766618 h 6523037"/>
                <a:gd name="connsiteX1713" fmla="*/ 2076652 w 12192001"/>
                <a:gd name="connsiteY1713" fmla="*/ 3501097 h 6523037"/>
                <a:gd name="connsiteX1714" fmla="*/ 4005871 w 12192001"/>
                <a:gd name="connsiteY1714" fmla="*/ 3499001 h 6523037"/>
                <a:gd name="connsiteX1715" fmla="*/ 4277680 w 12192001"/>
                <a:gd name="connsiteY1715" fmla="*/ 3768713 h 6523037"/>
                <a:gd name="connsiteX1716" fmla="*/ 4008016 w 12192001"/>
                <a:gd name="connsiteY1716" fmla="*/ 4039074 h 6523037"/>
                <a:gd name="connsiteX1717" fmla="*/ 4270183 w 12192001"/>
                <a:gd name="connsiteY1717" fmla="*/ 4039074 h 6523037"/>
                <a:gd name="connsiteX1718" fmla="*/ 4359622 w 12192001"/>
                <a:gd name="connsiteY1718" fmla="*/ 3949635 h 6523037"/>
                <a:gd name="connsiteX1719" fmla="*/ 4440677 w 12192001"/>
                <a:gd name="connsiteY1719" fmla="*/ 3868581 h 6523037"/>
                <a:gd name="connsiteX1720" fmla="*/ 4441937 w 12192001"/>
                <a:gd name="connsiteY1720" fmla="*/ 3868581 h 6523037"/>
                <a:gd name="connsiteX1721" fmla="*/ 4541105 w 12192001"/>
                <a:gd name="connsiteY1721" fmla="*/ 3769413 h 6523037"/>
                <a:gd name="connsiteX1722" fmla="*/ 4406948 w 12192001"/>
                <a:gd name="connsiteY1722" fmla="*/ 3635954 h 6523037"/>
                <a:gd name="connsiteX1723" fmla="*/ 4269994 w 12192001"/>
                <a:gd name="connsiteY1723" fmla="*/ 3499001 h 6523037"/>
                <a:gd name="connsiteX1724" fmla="*/ 4554381 w 12192001"/>
                <a:gd name="connsiteY1724" fmla="*/ 3498302 h 6523037"/>
                <a:gd name="connsiteX1725" fmla="*/ 4555778 w 12192001"/>
                <a:gd name="connsiteY1725" fmla="*/ 3499699 h 6523037"/>
                <a:gd name="connsiteX1726" fmla="*/ 4820723 w 12192001"/>
                <a:gd name="connsiteY1726" fmla="*/ 3763951 h 6523037"/>
                <a:gd name="connsiteX1727" fmla="*/ 5083541 w 12192001"/>
                <a:gd name="connsiteY1727" fmla="*/ 3763951 h 6523037"/>
                <a:gd name="connsiteX1728" fmla="*/ 4954274 w 12192001"/>
                <a:gd name="connsiteY1728" fmla="*/ 3635384 h 6523037"/>
                <a:gd name="connsiteX1729" fmla="*/ 4816513 w 12192001"/>
                <a:gd name="connsiteY1729" fmla="*/ 3498302 h 6523037"/>
                <a:gd name="connsiteX1730" fmla="*/ 3721484 w 12192001"/>
                <a:gd name="connsiteY1730" fmla="*/ 3498302 h 6523037"/>
                <a:gd name="connsiteX1731" fmla="*/ 3457360 w 12192001"/>
                <a:gd name="connsiteY1731" fmla="*/ 3499001 h 6523037"/>
                <a:gd name="connsiteX1732" fmla="*/ 3728471 w 12192001"/>
                <a:gd name="connsiteY1732" fmla="*/ 3769413 h 6523037"/>
                <a:gd name="connsiteX1733" fmla="*/ 3458808 w 12192001"/>
                <a:gd name="connsiteY1733" fmla="*/ 4039773 h 6523037"/>
                <a:gd name="connsiteX1734" fmla="*/ 3721674 w 12192001"/>
                <a:gd name="connsiteY1734" fmla="*/ 4039773 h 6523037"/>
                <a:gd name="connsiteX1735" fmla="*/ 3892166 w 12192001"/>
                <a:gd name="connsiteY1735" fmla="*/ 3867883 h 6523037"/>
                <a:gd name="connsiteX1736" fmla="*/ 3893935 w 12192001"/>
                <a:gd name="connsiteY1736" fmla="*/ 3867883 h 6523037"/>
                <a:gd name="connsiteX1737" fmla="*/ 3992595 w 12192001"/>
                <a:gd name="connsiteY1737" fmla="*/ 3768713 h 6523037"/>
                <a:gd name="connsiteX1738" fmla="*/ 5924124 w 12192001"/>
                <a:gd name="connsiteY1738" fmla="*/ 3497033 h 6523037"/>
                <a:gd name="connsiteX1739" fmla="*/ 6195934 w 12192001"/>
                <a:gd name="connsiteY1739" fmla="*/ 3766747 h 6523037"/>
                <a:gd name="connsiteX1740" fmla="*/ 5926271 w 12192001"/>
                <a:gd name="connsiteY1740" fmla="*/ 4037106 h 6523037"/>
                <a:gd name="connsiteX1741" fmla="*/ 6187739 w 12192001"/>
                <a:gd name="connsiteY1741" fmla="*/ 4037106 h 6523037"/>
                <a:gd name="connsiteX1742" fmla="*/ 6360328 w 12192001"/>
                <a:gd name="connsiteY1742" fmla="*/ 3863819 h 6523037"/>
                <a:gd name="connsiteX1743" fmla="*/ 6362985 w 12192001"/>
                <a:gd name="connsiteY1743" fmla="*/ 3863819 h 6523037"/>
                <a:gd name="connsiteX1744" fmla="*/ 6459359 w 12192001"/>
                <a:gd name="connsiteY1744" fmla="*/ 3767445 h 6523037"/>
                <a:gd name="connsiteX1745" fmla="*/ 6325200 w 12192001"/>
                <a:gd name="connsiteY1745" fmla="*/ 3633986 h 6523037"/>
                <a:gd name="connsiteX1746" fmla="*/ 6188247 w 12192001"/>
                <a:gd name="connsiteY1746" fmla="*/ 3497033 h 6523037"/>
                <a:gd name="connsiteX1747" fmla="*/ 5375615 w 12192001"/>
                <a:gd name="connsiteY1747" fmla="*/ 3497033 h 6523037"/>
                <a:gd name="connsiteX1748" fmla="*/ 5646724 w 12192001"/>
                <a:gd name="connsiteY1748" fmla="*/ 3767445 h 6523037"/>
                <a:gd name="connsiteX1749" fmla="*/ 5377062 w 12192001"/>
                <a:gd name="connsiteY1749" fmla="*/ 4037805 h 6523037"/>
                <a:gd name="connsiteX1750" fmla="*/ 5639228 w 12192001"/>
                <a:gd name="connsiteY1750" fmla="*/ 4037805 h 6523037"/>
                <a:gd name="connsiteX1751" fmla="*/ 5727968 w 12192001"/>
                <a:gd name="connsiteY1751" fmla="*/ 3948367 h 6523037"/>
                <a:gd name="connsiteX1752" fmla="*/ 5812516 w 12192001"/>
                <a:gd name="connsiteY1752" fmla="*/ 3863819 h 6523037"/>
                <a:gd name="connsiteX1753" fmla="*/ 5814722 w 12192001"/>
                <a:gd name="connsiteY1753" fmla="*/ 3863819 h 6523037"/>
                <a:gd name="connsiteX1754" fmla="*/ 5910849 w 12192001"/>
                <a:gd name="connsiteY1754" fmla="*/ 3767445 h 6523037"/>
                <a:gd name="connsiteX1755" fmla="*/ 5639738 w 12192001"/>
                <a:gd name="connsiteY1755" fmla="*/ 3497033 h 6523037"/>
                <a:gd name="connsiteX1756" fmla="*/ 4825707 w 12192001"/>
                <a:gd name="connsiteY1756" fmla="*/ 3497033 h 6523037"/>
                <a:gd name="connsiteX1757" fmla="*/ 5096817 w 12192001"/>
                <a:gd name="connsiteY1757" fmla="*/ 3767445 h 6523037"/>
                <a:gd name="connsiteX1758" fmla="*/ 5098215 w 12192001"/>
                <a:gd name="connsiteY1758" fmla="*/ 3768144 h 6523037"/>
                <a:gd name="connsiteX1759" fmla="*/ 4829200 w 12192001"/>
                <a:gd name="connsiteY1759" fmla="*/ 4037857 h 6523037"/>
                <a:gd name="connsiteX1760" fmla="*/ 5025547 w 12192001"/>
                <a:gd name="connsiteY1760" fmla="*/ 4037857 h 6523037"/>
                <a:gd name="connsiteX1761" fmla="*/ 5025222 w 12192001"/>
                <a:gd name="connsiteY1761" fmla="*/ 4038504 h 6523037"/>
                <a:gd name="connsiteX1762" fmla="*/ 5090718 w 12192001"/>
                <a:gd name="connsiteY1762" fmla="*/ 4038504 h 6523037"/>
                <a:gd name="connsiteX1763" fmla="*/ 5264704 w 12192001"/>
                <a:gd name="connsiteY1763" fmla="*/ 3863819 h 6523037"/>
                <a:gd name="connsiteX1764" fmla="*/ 5266909 w 12192001"/>
                <a:gd name="connsiteY1764" fmla="*/ 3863819 h 6523037"/>
                <a:gd name="connsiteX1765" fmla="*/ 5361639 w 12192001"/>
                <a:gd name="connsiteY1765" fmla="*/ 3768843 h 6523037"/>
                <a:gd name="connsiteX1766" fmla="*/ 5090530 w 12192001"/>
                <a:gd name="connsiteY1766" fmla="*/ 3498431 h 6523037"/>
                <a:gd name="connsiteX1767" fmla="*/ 5022750 w 12192001"/>
                <a:gd name="connsiteY1767" fmla="*/ 3497033 h 6523037"/>
                <a:gd name="connsiteX1768" fmla="*/ 7021145 w 12192001"/>
                <a:gd name="connsiteY1768" fmla="*/ 3496335 h 6523037"/>
                <a:gd name="connsiteX1769" fmla="*/ 7291557 w 12192001"/>
                <a:gd name="connsiteY1769" fmla="*/ 3765349 h 6523037"/>
                <a:gd name="connsiteX1770" fmla="*/ 7288761 w 12192001"/>
                <a:gd name="connsiteY1770" fmla="*/ 3768144 h 6523037"/>
                <a:gd name="connsiteX1771" fmla="*/ 7198625 w 12192001"/>
                <a:gd name="connsiteY1771" fmla="*/ 3858981 h 6523037"/>
                <a:gd name="connsiteX1772" fmla="*/ 7021895 w 12192001"/>
                <a:gd name="connsiteY1772" fmla="*/ 4035710 h 6523037"/>
                <a:gd name="connsiteX1773" fmla="*/ 7284759 w 12192001"/>
                <a:gd name="connsiteY1773" fmla="*/ 4035710 h 6523037"/>
                <a:gd name="connsiteX1774" fmla="*/ 7455950 w 12192001"/>
                <a:gd name="connsiteY1774" fmla="*/ 3863819 h 6523037"/>
                <a:gd name="connsiteX1775" fmla="*/ 7457908 w 12192001"/>
                <a:gd name="connsiteY1775" fmla="*/ 3863819 h 6523037"/>
                <a:gd name="connsiteX1776" fmla="*/ 7555680 w 12192001"/>
                <a:gd name="connsiteY1776" fmla="*/ 3766048 h 6523037"/>
                <a:gd name="connsiteX1777" fmla="*/ 7285268 w 12192001"/>
                <a:gd name="connsiteY1777" fmla="*/ 3496335 h 6523037"/>
                <a:gd name="connsiteX1778" fmla="*/ 6472634 w 12192001"/>
                <a:gd name="connsiteY1778" fmla="*/ 3496335 h 6523037"/>
                <a:gd name="connsiteX1779" fmla="*/ 6474032 w 12192001"/>
                <a:gd name="connsiteY1779" fmla="*/ 3497732 h 6523037"/>
                <a:gd name="connsiteX1780" fmla="*/ 6743745 w 12192001"/>
                <a:gd name="connsiteY1780" fmla="*/ 3766747 h 6523037"/>
                <a:gd name="connsiteX1781" fmla="*/ 6474780 w 12192001"/>
                <a:gd name="connsiteY1781" fmla="*/ 4036408 h 6523037"/>
                <a:gd name="connsiteX1782" fmla="*/ 6736249 w 12192001"/>
                <a:gd name="connsiteY1782" fmla="*/ 4036408 h 6523037"/>
                <a:gd name="connsiteX1783" fmla="*/ 6908140 w 12192001"/>
                <a:gd name="connsiteY1783" fmla="*/ 3863819 h 6523037"/>
                <a:gd name="connsiteX1784" fmla="*/ 6911046 w 12192001"/>
                <a:gd name="connsiteY1784" fmla="*/ 3863819 h 6523037"/>
                <a:gd name="connsiteX1785" fmla="*/ 7007868 w 12192001"/>
                <a:gd name="connsiteY1785" fmla="*/ 3766747 h 6523037"/>
                <a:gd name="connsiteX1786" fmla="*/ 7002279 w 12192001"/>
                <a:gd name="connsiteY1786" fmla="*/ 3761856 h 6523037"/>
                <a:gd name="connsiteX1787" fmla="*/ 6736759 w 12192001"/>
                <a:gd name="connsiteY1787" fmla="*/ 3496335 h 6523037"/>
                <a:gd name="connsiteX1788" fmla="*/ 8665977 w 12192001"/>
                <a:gd name="connsiteY1788" fmla="*/ 3494239 h 6523037"/>
                <a:gd name="connsiteX1789" fmla="*/ 8937786 w 12192001"/>
                <a:gd name="connsiteY1789" fmla="*/ 3763951 h 6523037"/>
                <a:gd name="connsiteX1790" fmla="*/ 8668122 w 12192001"/>
                <a:gd name="connsiteY1790" fmla="*/ 4034312 h 6523037"/>
                <a:gd name="connsiteX1791" fmla="*/ 8930289 w 12192001"/>
                <a:gd name="connsiteY1791" fmla="*/ 4034312 h 6523037"/>
                <a:gd name="connsiteX1792" fmla="*/ 9019728 w 12192001"/>
                <a:gd name="connsiteY1792" fmla="*/ 3944873 h 6523037"/>
                <a:gd name="connsiteX1793" fmla="*/ 9100782 w 12192001"/>
                <a:gd name="connsiteY1793" fmla="*/ 3863819 h 6523037"/>
                <a:gd name="connsiteX1794" fmla="*/ 9102043 w 12192001"/>
                <a:gd name="connsiteY1794" fmla="*/ 3863819 h 6523037"/>
                <a:gd name="connsiteX1795" fmla="*/ 9201211 w 12192001"/>
                <a:gd name="connsiteY1795" fmla="*/ 3764651 h 6523037"/>
                <a:gd name="connsiteX1796" fmla="*/ 9067053 w 12192001"/>
                <a:gd name="connsiteY1796" fmla="*/ 3631192 h 6523037"/>
                <a:gd name="connsiteX1797" fmla="*/ 8930100 w 12192001"/>
                <a:gd name="connsiteY1797" fmla="*/ 3494239 h 6523037"/>
                <a:gd name="connsiteX1798" fmla="*/ 10584541 w 12192001"/>
                <a:gd name="connsiteY1798" fmla="*/ 3493858 h 6523037"/>
                <a:gd name="connsiteX1799" fmla="*/ 10856351 w 12192001"/>
                <a:gd name="connsiteY1799" fmla="*/ 3763572 h 6523037"/>
                <a:gd name="connsiteX1800" fmla="*/ 10586688 w 12192001"/>
                <a:gd name="connsiteY1800" fmla="*/ 4033931 h 6523037"/>
                <a:gd name="connsiteX1801" fmla="*/ 10848155 w 12192001"/>
                <a:gd name="connsiteY1801" fmla="*/ 4033931 h 6523037"/>
                <a:gd name="connsiteX1802" fmla="*/ 11020744 w 12192001"/>
                <a:gd name="connsiteY1802" fmla="*/ 3860644 h 6523037"/>
                <a:gd name="connsiteX1803" fmla="*/ 11023401 w 12192001"/>
                <a:gd name="connsiteY1803" fmla="*/ 3860644 h 6523037"/>
                <a:gd name="connsiteX1804" fmla="*/ 11119775 w 12192001"/>
                <a:gd name="connsiteY1804" fmla="*/ 3764270 h 6523037"/>
                <a:gd name="connsiteX1805" fmla="*/ 10985617 w 12192001"/>
                <a:gd name="connsiteY1805" fmla="*/ 3630811 h 6523037"/>
                <a:gd name="connsiteX1806" fmla="*/ 10848664 w 12192001"/>
                <a:gd name="connsiteY1806" fmla="*/ 3493858 h 6523037"/>
                <a:gd name="connsiteX1807" fmla="*/ 10036031 w 12192001"/>
                <a:gd name="connsiteY1807" fmla="*/ 3493858 h 6523037"/>
                <a:gd name="connsiteX1808" fmla="*/ 10307141 w 12192001"/>
                <a:gd name="connsiteY1808" fmla="*/ 3764270 h 6523037"/>
                <a:gd name="connsiteX1809" fmla="*/ 10037478 w 12192001"/>
                <a:gd name="connsiteY1809" fmla="*/ 4034630 h 6523037"/>
                <a:gd name="connsiteX1810" fmla="*/ 10299645 w 12192001"/>
                <a:gd name="connsiteY1810" fmla="*/ 4034630 h 6523037"/>
                <a:gd name="connsiteX1811" fmla="*/ 10388385 w 12192001"/>
                <a:gd name="connsiteY1811" fmla="*/ 3945192 h 6523037"/>
                <a:gd name="connsiteX1812" fmla="*/ 10472933 w 12192001"/>
                <a:gd name="connsiteY1812" fmla="*/ 3860644 h 6523037"/>
                <a:gd name="connsiteX1813" fmla="*/ 10475139 w 12192001"/>
                <a:gd name="connsiteY1813" fmla="*/ 3860644 h 6523037"/>
                <a:gd name="connsiteX1814" fmla="*/ 10571265 w 12192001"/>
                <a:gd name="connsiteY1814" fmla="*/ 3764270 h 6523037"/>
                <a:gd name="connsiteX1815" fmla="*/ 10300154 w 12192001"/>
                <a:gd name="connsiteY1815" fmla="*/ 3493858 h 6523037"/>
                <a:gd name="connsiteX1816" fmla="*/ 9486124 w 12192001"/>
                <a:gd name="connsiteY1816" fmla="*/ 3493858 h 6523037"/>
                <a:gd name="connsiteX1817" fmla="*/ 9757234 w 12192001"/>
                <a:gd name="connsiteY1817" fmla="*/ 3764270 h 6523037"/>
                <a:gd name="connsiteX1818" fmla="*/ 9758631 w 12192001"/>
                <a:gd name="connsiteY1818" fmla="*/ 3764969 h 6523037"/>
                <a:gd name="connsiteX1819" fmla="*/ 9489617 w 12192001"/>
                <a:gd name="connsiteY1819" fmla="*/ 4034682 h 6523037"/>
                <a:gd name="connsiteX1820" fmla="*/ 9685963 w 12192001"/>
                <a:gd name="connsiteY1820" fmla="*/ 4034682 h 6523037"/>
                <a:gd name="connsiteX1821" fmla="*/ 9685639 w 12192001"/>
                <a:gd name="connsiteY1821" fmla="*/ 4035329 h 6523037"/>
                <a:gd name="connsiteX1822" fmla="*/ 9751135 w 12192001"/>
                <a:gd name="connsiteY1822" fmla="*/ 4035329 h 6523037"/>
                <a:gd name="connsiteX1823" fmla="*/ 9925121 w 12192001"/>
                <a:gd name="connsiteY1823" fmla="*/ 3860644 h 6523037"/>
                <a:gd name="connsiteX1824" fmla="*/ 9927325 w 12192001"/>
                <a:gd name="connsiteY1824" fmla="*/ 3860644 h 6523037"/>
                <a:gd name="connsiteX1825" fmla="*/ 10022056 w 12192001"/>
                <a:gd name="connsiteY1825" fmla="*/ 3765668 h 6523037"/>
                <a:gd name="connsiteX1826" fmla="*/ 9750946 w 12192001"/>
                <a:gd name="connsiteY1826" fmla="*/ 3495256 h 6523037"/>
                <a:gd name="connsiteX1827" fmla="*/ 9683167 w 12192001"/>
                <a:gd name="connsiteY1827" fmla="*/ 3493858 h 6523037"/>
                <a:gd name="connsiteX1828" fmla="*/ 9214487 w 12192001"/>
                <a:gd name="connsiteY1828" fmla="*/ 3493540 h 6523037"/>
                <a:gd name="connsiteX1829" fmla="*/ 9215884 w 12192001"/>
                <a:gd name="connsiteY1829" fmla="*/ 3494937 h 6523037"/>
                <a:gd name="connsiteX1830" fmla="*/ 9482419 w 12192001"/>
                <a:gd name="connsiteY1830" fmla="*/ 3760776 h 6523037"/>
                <a:gd name="connsiteX1831" fmla="*/ 9743958 w 12192001"/>
                <a:gd name="connsiteY1831" fmla="*/ 3760776 h 6523037"/>
                <a:gd name="connsiteX1832" fmla="*/ 9614691 w 12192001"/>
                <a:gd name="connsiteY1832" fmla="*/ 3632209 h 6523037"/>
                <a:gd name="connsiteX1833" fmla="*/ 9475335 w 12192001"/>
                <a:gd name="connsiteY1833" fmla="*/ 3493540 h 6523037"/>
                <a:gd name="connsiteX1834" fmla="*/ 8381590 w 12192001"/>
                <a:gd name="connsiteY1834" fmla="*/ 3493540 h 6523037"/>
                <a:gd name="connsiteX1835" fmla="*/ 8117466 w 12192001"/>
                <a:gd name="connsiteY1835" fmla="*/ 3494239 h 6523037"/>
                <a:gd name="connsiteX1836" fmla="*/ 8388577 w 12192001"/>
                <a:gd name="connsiteY1836" fmla="*/ 3764651 h 6523037"/>
                <a:gd name="connsiteX1837" fmla="*/ 8118914 w 12192001"/>
                <a:gd name="connsiteY1837" fmla="*/ 4035011 h 6523037"/>
                <a:gd name="connsiteX1838" fmla="*/ 8381780 w 12192001"/>
                <a:gd name="connsiteY1838" fmla="*/ 4035011 h 6523037"/>
                <a:gd name="connsiteX1839" fmla="*/ 8552272 w 12192001"/>
                <a:gd name="connsiteY1839" fmla="*/ 3863121 h 6523037"/>
                <a:gd name="connsiteX1840" fmla="*/ 8554041 w 12192001"/>
                <a:gd name="connsiteY1840" fmla="*/ 3863121 h 6523037"/>
                <a:gd name="connsiteX1841" fmla="*/ 8652701 w 12192001"/>
                <a:gd name="connsiteY1841" fmla="*/ 3763951 h 6523037"/>
                <a:gd name="connsiteX1842" fmla="*/ 11133051 w 12192001"/>
                <a:gd name="connsiteY1842" fmla="*/ 3493160 h 6523037"/>
                <a:gd name="connsiteX1843" fmla="*/ 11134449 w 12192001"/>
                <a:gd name="connsiteY1843" fmla="*/ 3494557 h 6523037"/>
                <a:gd name="connsiteX1844" fmla="*/ 11404162 w 12192001"/>
                <a:gd name="connsiteY1844" fmla="*/ 3763572 h 6523037"/>
                <a:gd name="connsiteX1845" fmla="*/ 11135196 w 12192001"/>
                <a:gd name="connsiteY1845" fmla="*/ 4033233 h 6523037"/>
                <a:gd name="connsiteX1846" fmla="*/ 11396666 w 12192001"/>
                <a:gd name="connsiteY1846" fmla="*/ 4033233 h 6523037"/>
                <a:gd name="connsiteX1847" fmla="*/ 11568556 w 12192001"/>
                <a:gd name="connsiteY1847" fmla="*/ 3860644 h 6523037"/>
                <a:gd name="connsiteX1848" fmla="*/ 11571463 w 12192001"/>
                <a:gd name="connsiteY1848" fmla="*/ 3860644 h 6523037"/>
                <a:gd name="connsiteX1849" fmla="*/ 11668285 w 12192001"/>
                <a:gd name="connsiteY1849" fmla="*/ 3763572 h 6523037"/>
                <a:gd name="connsiteX1850" fmla="*/ 11662696 w 12192001"/>
                <a:gd name="connsiteY1850" fmla="*/ 3758681 h 6523037"/>
                <a:gd name="connsiteX1851" fmla="*/ 11397175 w 12192001"/>
                <a:gd name="connsiteY1851" fmla="*/ 3493160 h 6523037"/>
                <a:gd name="connsiteX1852" fmla="*/ 707821 w 12192001"/>
                <a:gd name="connsiteY1852" fmla="*/ 3228588 h 6523037"/>
                <a:gd name="connsiteX1853" fmla="*/ 437409 w 12192001"/>
                <a:gd name="connsiteY1853" fmla="*/ 3499699 h 6523037"/>
                <a:gd name="connsiteX1854" fmla="*/ 570170 w 12192001"/>
                <a:gd name="connsiteY1854" fmla="*/ 3631761 h 6523037"/>
                <a:gd name="connsiteX1855" fmla="*/ 708520 w 12192001"/>
                <a:gd name="connsiteY1855" fmla="*/ 3769413 h 6523037"/>
                <a:gd name="connsiteX1856" fmla="*/ 972643 w 12192001"/>
                <a:gd name="connsiteY1856" fmla="*/ 3769413 h 6523037"/>
                <a:gd name="connsiteX1857" fmla="*/ 701533 w 12192001"/>
                <a:gd name="connsiteY1857" fmla="*/ 3499001 h 6523037"/>
                <a:gd name="connsiteX1858" fmla="*/ 971945 w 12192001"/>
                <a:gd name="connsiteY1858" fmla="*/ 3228588 h 6523037"/>
                <a:gd name="connsiteX1859" fmla="*/ 1256332 w 12192001"/>
                <a:gd name="connsiteY1859" fmla="*/ 3227890 h 6523037"/>
                <a:gd name="connsiteX1860" fmla="*/ 985920 w 12192001"/>
                <a:gd name="connsiteY1860" fmla="*/ 3499001 h 6523037"/>
                <a:gd name="connsiteX1861" fmla="*/ 1257031 w 12192001"/>
                <a:gd name="connsiteY1861" fmla="*/ 3769413 h 6523037"/>
                <a:gd name="connsiteX1862" fmla="*/ 1521154 w 12192001"/>
                <a:gd name="connsiteY1862" fmla="*/ 3768713 h 6523037"/>
                <a:gd name="connsiteX1863" fmla="*/ 1250043 w 12192001"/>
                <a:gd name="connsiteY1863" fmla="*/ 3498302 h 6523037"/>
                <a:gd name="connsiteX1864" fmla="*/ 1434510 w 12192001"/>
                <a:gd name="connsiteY1864" fmla="*/ 3313835 h 6523037"/>
                <a:gd name="connsiteX1865" fmla="*/ 1520455 w 12192001"/>
                <a:gd name="connsiteY1865" fmla="*/ 3227890 h 6523037"/>
                <a:gd name="connsiteX1866" fmla="*/ 1804143 w 12192001"/>
                <a:gd name="connsiteY1866" fmla="*/ 3227192 h 6523037"/>
                <a:gd name="connsiteX1867" fmla="*/ 1623869 w 12192001"/>
                <a:gd name="connsiteY1867" fmla="*/ 3408165 h 6523037"/>
                <a:gd name="connsiteX1868" fmla="*/ 1534430 w 12192001"/>
                <a:gd name="connsiteY1868" fmla="*/ 3498302 h 6523037"/>
                <a:gd name="connsiteX1869" fmla="*/ 1668588 w 12192001"/>
                <a:gd name="connsiteY1869" fmla="*/ 3631761 h 6523037"/>
                <a:gd name="connsiteX1870" fmla="*/ 1805541 w 12192001"/>
                <a:gd name="connsiteY1870" fmla="*/ 3768713 h 6523037"/>
                <a:gd name="connsiteX1871" fmla="*/ 2069664 w 12192001"/>
                <a:gd name="connsiteY1871" fmla="*/ 3768015 h 6523037"/>
                <a:gd name="connsiteX1872" fmla="*/ 1798553 w 12192001"/>
                <a:gd name="connsiteY1872" fmla="*/ 3497603 h 6523037"/>
                <a:gd name="connsiteX1873" fmla="*/ 1799951 w 12192001"/>
                <a:gd name="connsiteY1873" fmla="*/ 3496206 h 6523037"/>
                <a:gd name="connsiteX1874" fmla="*/ 2068266 w 12192001"/>
                <a:gd name="connsiteY1874" fmla="*/ 3227192 h 6523037"/>
                <a:gd name="connsiteX1875" fmla="*/ 2353352 w 12192001"/>
                <a:gd name="connsiteY1875" fmla="*/ 3226492 h 6523037"/>
                <a:gd name="connsiteX1876" fmla="*/ 2082940 w 12192001"/>
                <a:gd name="connsiteY1876" fmla="*/ 3497603 h 6523037"/>
                <a:gd name="connsiteX1877" fmla="*/ 2354051 w 12192001"/>
                <a:gd name="connsiteY1877" fmla="*/ 3768015 h 6523037"/>
                <a:gd name="connsiteX1878" fmla="*/ 2618174 w 12192001"/>
                <a:gd name="connsiteY1878" fmla="*/ 3768015 h 6523037"/>
                <a:gd name="connsiteX1879" fmla="*/ 2347064 w 12192001"/>
                <a:gd name="connsiteY1879" fmla="*/ 3497603 h 6523037"/>
                <a:gd name="connsiteX1880" fmla="*/ 2617476 w 12192001"/>
                <a:gd name="connsiteY1880" fmla="*/ 3226492 h 6523037"/>
                <a:gd name="connsiteX1881" fmla="*/ 3449674 w 12192001"/>
                <a:gd name="connsiteY1881" fmla="*/ 3225095 h 6523037"/>
                <a:gd name="connsiteX1882" fmla="*/ 3179262 w 12192001"/>
                <a:gd name="connsiteY1882" fmla="*/ 3496206 h 6523037"/>
                <a:gd name="connsiteX1883" fmla="*/ 3450373 w 12192001"/>
                <a:gd name="connsiteY1883" fmla="*/ 3766618 h 6523037"/>
                <a:gd name="connsiteX1884" fmla="*/ 3714496 w 12192001"/>
                <a:gd name="connsiteY1884" fmla="*/ 3766618 h 6523037"/>
                <a:gd name="connsiteX1885" fmla="*/ 3443385 w 12192001"/>
                <a:gd name="connsiteY1885" fmla="*/ 3496206 h 6523037"/>
                <a:gd name="connsiteX1886" fmla="*/ 3713797 w 12192001"/>
                <a:gd name="connsiteY1886" fmla="*/ 3225095 h 6523037"/>
                <a:gd name="connsiteX1887" fmla="*/ 3998184 w 12192001"/>
                <a:gd name="connsiteY1887" fmla="*/ 3224396 h 6523037"/>
                <a:gd name="connsiteX1888" fmla="*/ 3727772 w 12192001"/>
                <a:gd name="connsiteY1888" fmla="*/ 3495507 h 6523037"/>
                <a:gd name="connsiteX1889" fmla="*/ 3998883 w 12192001"/>
                <a:gd name="connsiteY1889" fmla="*/ 3765919 h 6523037"/>
                <a:gd name="connsiteX1890" fmla="*/ 4263007 w 12192001"/>
                <a:gd name="connsiteY1890" fmla="*/ 3765220 h 6523037"/>
                <a:gd name="connsiteX1891" fmla="*/ 3991896 w 12192001"/>
                <a:gd name="connsiteY1891" fmla="*/ 3494808 h 6523037"/>
                <a:gd name="connsiteX1892" fmla="*/ 4176362 w 12192001"/>
                <a:gd name="connsiteY1892" fmla="*/ 3310341 h 6523037"/>
                <a:gd name="connsiteX1893" fmla="*/ 4177062 w 12192001"/>
                <a:gd name="connsiteY1893" fmla="*/ 3310341 h 6523037"/>
                <a:gd name="connsiteX1894" fmla="*/ 4262309 w 12192001"/>
                <a:gd name="connsiteY1894" fmla="*/ 3224396 h 6523037"/>
                <a:gd name="connsiteX1895" fmla="*/ 5367927 w 12192001"/>
                <a:gd name="connsiteY1895" fmla="*/ 3223826 h 6523037"/>
                <a:gd name="connsiteX1896" fmla="*/ 5097515 w 12192001"/>
                <a:gd name="connsiteY1896" fmla="*/ 3494937 h 6523037"/>
                <a:gd name="connsiteX1897" fmla="*/ 5230276 w 12192001"/>
                <a:gd name="connsiteY1897" fmla="*/ 3626999 h 6523037"/>
                <a:gd name="connsiteX1898" fmla="*/ 5368626 w 12192001"/>
                <a:gd name="connsiteY1898" fmla="*/ 3764651 h 6523037"/>
                <a:gd name="connsiteX1899" fmla="*/ 5632749 w 12192001"/>
                <a:gd name="connsiteY1899" fmla="*/ 3764651 h 6523037"/>
                <a:gd name="connsiteX1900" fmla="*/ 5361639 w 12192001"/>
                <a:gd name="connsiteY1900" fmla="*/ 3494239 h 6523037"/>
                <a:gd name="connsiteX1901" fmla="*/ 5632051 w 12192001"/>
                <a:gd name="connsiteY1901" fmla="*/ 3223826 h 6523037"/>
                <a:gd name="connsiteX1902" fmla="*/ 4546696 w 12192001"/>
                <a:gd name="connsiteY1902" fmla="*/ 3223697 h 6523037"/>
                <a:gd name="connsiteX1903" fmla="*/ 4366420 w 12192001"/>
                <a:gd name="connsiteY1903" fmla="*/ 3404671 h 6523037"/>
                <a:gd name="connsiteX1904" fmla="*/ 4365722 w 12192001"/>
                <a:gd name="connsiteY1904" fmla="*/ 3404671 h 6523037"/>
                <a:gd name="connsiteX1905" fmla="*/ 4276283 w 12192001"/>
                <a:gd name="connsiteY1905" fmla="*/ 3494808 h 6523037"/>
                <a:gd name="connsiteX1906" fmla="*/ 4410440 w 12192001"/>
                <a:gd name="connsiteY1906" fmla="*/ 3628267 h 6523037"/>
                <a:gd name="connsiteX1907" fmla="*/ 4547394 w 12192001"/>
                <a:gd name="connsiteY1907" fmla="*/ 3765220 h 6523037"/>
                <a:gd name="connsiteX1908" fmla="*/ 4809493 w 12192001"/>
                <a:gd name="connsiteY1908" fmla="*/ 3765220 h 6523037"/>
                <a:gd name="connsiteX1909" fmla="*/ 4660106 w 12192001"/>
                <a:gd name="connsiteY1909" fmla="*/ 3616519 h 6523037"/>
                <a:gd name="connsiteX1910" fmla="*/ 4660106 w 12192001"/>
                <a:gd name="connsiteY1910" fmla="*/ 3614199 h 6523037"/>
                <a:gd name="connsiteX1911" fmla="*/ 4540406 w 12192001"/>
                <a:gd name="connsiteY1911" fmla="*/ 3494808 h 6523037"/>
                <a:gd name="connsiteX1912" fmla="*/ 4542503 w 12192001"/>
                <a:gd name="connsiteY1912" fmla="*/ 3493410 h 6523037"/>
                <a:gd name="connsiteX1913" fmla="*/ 4660106 w 12192001"/>
                <a:gd name="connsiteY1913" fmla="*/ 3374886 h 6523037"/>
                <a:gd name="connsiteX1914" fmla="*/ 4660106 w 12192001"/>
                <a:gd name="connsiteY1914" fmla="*/ 3371259 h 6523037"/>
                <a:gd name="connsiteX1915" fmla="*/ 4808350 w 12192001"/>
                <a:gd name="connsiteY1915" fmla="*/ 3223697 h 6523037"/>
                <a:gd name="connsiteX1916" fmla="*/ 5916438 w 12192001"/>
                <a:gd name="connsiteY1916" fmla="*/ 3223128 h 6523037"/>
                <a:gd name="connsiteX1917" fmla="*/ 5646026 w 12192001"/>
                <a:gd name="connsiteY1917" fmla="*/ 3494239 h 6523037"/>
                <a:gd name="connsiteX1918" fmla="*/ 5917138 w 12192001"/>
                <a:gd name="connsiteY1918" fmla="*/ 3764651 h 6523037"/>
                <a:gd name="connsiteX1919" fmla="*/ 6181261 w 12192001"/>
                <a:gd name="connsiteY1919" fmla="*/ 3763951 h 6523037"/>
                <a:gd name="connsiteX1920" fmla="*/ 5910149 w 12192001"/>
                <a:gd name="connsiteY1920" fmla="*/ 3493540 h 6523037"/>
                <a:gd name="connsiteX1921" fmla="*/ 6094616 w 12192001"/>
                <a:gd name="connsiteY1921" fmla="*/ 3309073 h 6523037"/>
                <a:gd name="connsiteX1922" fmla="*/ 6180561 w 12192001"/>
                <a:gd name="connsiteY1922" fmla="*/ 3223128 h 6523037"/>
                <a:gd name="connsiteX1923" fmla="*/ 4821874 w 12192001"/>
                <a:gd name="connsiteY1923" fmla="*/ 3223128 h 6523037"/>
                <a:gd name="connsiteX1924" fmla="*/ 4554381 w 12192001"/>
                <a:gd name="connsiteY1924" fmla="*/ 3491315 h 6523037"/>
                <a:gd name="connsiteX1925" fmla="*/ 4815332 w 12192001"/>
                <a:gd name="connsiteY1925" fmla="*/ 3491315 h 6523037"/>
                <a:gd name="connsiteX1926" fmla="*/ 4996199 w 12192001"/>
                <a:gd name="connsiteY1926" fmla="*/ 3309073 h 6523037"/>
                <a:gd name="connsiteX1927" fmla="*/ 5082144 w 12192001"/>
                <a:gd name="connsiteY1927" fmla="*/ 3223128 h 6523037"/>
                <a:gd name="connsiteX1928" fmla="*/ 6464250 w 12192001"/>
                <a:gd name="connsiteY1928" fmla="*/ 3222430 h 6523037"/>
                <a:gd name="connsiteX1929" fmla="*/ 6283976 w 12192001"/>
                <a:gd name="connsiteY1929" fmla="*/ 3403403 h 6523037"/>
                <a:gd name="connsiteX1930" fmla="*/ 6194536 w 12192001"/>
                <a:gd name="connsiteY1930" fmla="*/ 3493540 h 6523037"/>
                <a:gd name="connsiteX1931" fmla="*/ 6328695 w 12192001"/>
                <a:gd name="connsiteY1931" fmla="*/ 3626999 h 6523037"/>
                <a:gd name="connsiteX1932" fmla="*/ 6465647 w 12192001"/>
                <a:gd name="connsiteY1932" fmla="*/ 3763951 h 6523037"/>
                <a:gd name="connsiteX1933" fmla="*/ 6729770 w 12192001"/>
                <a:gd name="connsiteY1933" fmla="*/ 3763253 h 6523037"/>
                <a:gd name="connsiteX1934" fmla="*/ 6458659 w 12192001"/>
                <a:gd name="connsiteY1934" fmla="*/ 3492841 h 6523037"/>
                <a:gd name="connsiteX1935" fmla="*/ 6460057 w 12192001"/>
                <a:gd name="connsiteY1935" fmla="*/ 3491444 h 6523037"/>
                <a:gd name="connsiteX1936" fmla="*/ 6728373 w 12192001"/>
                <a:gd name="connsiteY1936" fmla="*/ 3222430 h 6523037"/>
                <a:gd name="connsiteX1937" fmla="*/ 7013458 w 12192001"/>
                <a:gd name="connsiteY1937" fmla="*/ 3221730 h 6523037"/>
                <a:gd name="connsiteX1938" fmla="*/ 6743046 w 12192001"/>
                <a:gd name="connsiteY1938" fmla="*/ 3492841 h 6523037"/>
                <a:gd name="connsiteX1939" fmla="*/ 7014157 w 12192001"/>
                <a:gd name="connsiteY1939" fmla="*/ 3763253 h 6523037"/>
                <a:gd name="connsiteX1940" fmla="*/ 7278280 w 12192001"/>
                <a:gd name="connsiteY1940" fmla="*/ 3763253 h 6523037"/>
                <a:gd name="connsiteX1941" fmla="*/ 7007170 w 12192001"/>
                <a:gd name="connsiteY1941" fmla="*/ 3492841 h 6523037"/>
                <a:gd name="connsiteX1942" fmla="*/ 7277582 w 12192001"/>
                <a:gd name="connsiteY1942" fmla="*/ 3221730 h 6523037"/>
                <a:gd name="connsiteX1943" fmla="*/ 10028344 w 12192001"/>
                <a:gd name="connsiteY1943" fmla="*/ 3220651 h 6523037"/>
                <a:gd name="connsiteX1944" fmla="*/ 9757932 w 12192001"/>
                <a:gd name="connsiteY1944" fmla="*/ 3491762 h 6523037"/>
                <a:gd name="connsiteX1945" fmla="*/ 9890693 w 12192001"/>
                <a:gd name="connsiteY1945" fmla="*/ 3623824 h 6523037"/>
                <a:gd name="connsiteX1946" fmla="*/ 10029043 w 12192001"/>
                <a:gd name="connsiteY1946" fmla="*/ 3761476 h 6523037"/>
                <a:gd name="connsiteX1947" fmla="*/ 10293166 w 12192001"/>
                <a:gd name="connsiteY1947" fmla="*/ 3761476 h 6523037"/>
                <a:gd name="connsiteX1948" fmla="*/ 10022056 w 12192001"/>
                <a:gd name="connsiteY1948" fmla="*/ 3491064 h 6523037"/>
                <a:gd name="connsiteX1949" fmla="*/ 10292468 w 12192001"/>
                <a:gd name="connsiteY1949" fmla="*/ 3220651 h 6523037"/>
                <a:gd name="connsiteX1950" fmla="*/ 8109780 w 12192001"/>
                <a:gd name="connsiteY1950" fmla="*/ 3220333 h 6523037"/>
                <a:gd name="connsiteX1951" fmla="*/ 7839368 w 12192001"/>
                <a:gd name="connsiteY1951" fmla="*/ 3491444 h 6523037"/>
                <a:gd name="connsiteX1952" fmla="*/ 8110479 w 12192001"/>
                <a:gd name="connsiteY1952" fmla="*/ 3761856 h 6523037"/>
                <a:gd name="connsiteX1953" fmla="*/ 8374602 w 12192001"/>
                <a:gd name="connsiteY1953" fmla="*/ 3761856 h 6523037"/>
                <a:gd name="connsiteX1954" fmla="*/ 8103491 w 12192001"/>
                <a:gd name="connsiteY1954" fmla="*/ 3491444 h 6523037"/>
                <a:gd name="connsiteX1955" fmla="*/ 8373903 w 12192001"/>
                <a:gd name="connsiteY1955" fmla="*/ 3220333 h 6523037"/>
                <a:gd name="connsiteX1956" fmla="*/ 10576855 w 12192001"/>
                <a:gd name="connsiteY1956" fmla="*/ 3219953 h 6523037"/>
                <a:gd name="connsiteX1957" fmla="*/ 10306443 w 12192001"/>
                <a:gd name="connsiteY1957" fmla="*/ 3491064 h 6523037"/>
                <a:gd name="connsiteX1958" fmla="*/ 10577554 w 12192001"/>
                <a:gd name="connsiteY1958" fmla="*/ 3761476 h 6523037"/>
                <a:gd name="connsiteX1959" fmla="*/ 10841677 w 12192001"/>
                <a:gd name="connsiteY1959" fmla="*/ 3760776 h 6523037"/>
                <a:gd name="connsiteX1960" fmla="*/ 10570566 w 12192001"/>
                <a:gd name="connsiteY1960" fmla="*/ 3490365 h 6523037"/>
                <a:gd name="connsiteX1961" fmla="*/ 10755033 w 12192001"/>
                <a:gd name="connsiteY1961" fmla="*/ 3305898 h 6523037"/>
                <a:gd name="connsiteX1962" fmla="*/ 10840978 w 12192001"/>
                <a:gd name="connsiteY1962" fmla="*/ 3219953 h 6523037"/>
                <a:gd name="connsiteX1963" fmla="*/ 9480397 w 12192001"/>
                <a:gd name="connsiteY1963" fmla="*/ 3219953 h 6523037"/>
                <a:gd name="connsiteX1964" fmla="*/ 9214487 w 12192001"/>
                <a:gd name="connsiteY1964" fmla="*/ 3486553 h 6523037"/>
                <a:gd name="connsiteX1965" fmla="*/ 9477324 w 12192001"/>
                <a:gd name="connsiteY1965" fmla="*/ 3486553 h 6523037"/>
                <a:gd name="connsiteX1966" fmla="*/ 9656616 w 12192001"/>
                <a:gd name="connsiteY1966" fmla="*/ 3305898 h 6523037"/>
                <a:gd name="connsiteX1967" fmla="*/ 9742561 w 12192001"/>
                <a:gd name="connsiteY1967" fmla="*/ 3219953 h 6523037"/>
                <a:gd name="connsiteX1968" fmla="*/ 8658290 w 12192001"/>
                <a:gd name="connsiteY1968" fmla="*/ 3219635 h 6523037"/>
                <a:gd name="connsiteX1969" fmla="*/ 8387878 w 12192001"/>
                <a:gd name="connsiteY1969" fmla="*/ 3490745 h 6523037"/>
                <a:gd name="connsiteX1970" fmla="*/ 8658989 w 12192001"/>
                <a:gd name="connsiteY1970" fmla="*/ 3761157 h 6523037"/>
                <a:gd name="connsiteX1971" fmla="*/ 8923113 w 12192001"/>
                <a:gd name="connsiteY1971" fmla="*/ 3760458 h 6523037"/>
                <a:gd name="connsiteX1972" fmla="*/ 8652002 w 12192001"/>
                <a:gd name="connsiteY1972" fmla="*/ 3490046 h 6523037"/>
                <a:gd name="connsiteX1973" fmla="*/ 8836468 w 12192001"/>
                <a:gd name="connsiteY1973" fmla="*/ 3305579 h 6523037"/>
                <a:gd name="connsiteX1974" fmla="*/ 8837168 w 12192001"/>
                <a:gd name="connsiteY1974" fmla="*/ 3305579 h 6523037"/>
                <a:gd name="connsiteX1975" fmla="*/ 8922414 w 12192001"/>
                <a:gd name="connsiteY1975" fmla="*/ 3219635 h 6523037"/>
                <a:gd name="connsiteX1976" fmla="*/ 11124666 w 12192001"/>
                <a:gd name="connsiteY1976" fmla="*/ 3219256 h 6523037"/>
                <a:gd name="connsiteX1977" fmla="*/ 10944392 w 12192001"/>
                <a:gd name="connsiteY1977" fmla="*/ 3400228 h 6523037"/>
                <a:gd name="connsiteX1978" fmla="*/ 10854953 w 12192001"/>
                <a:gd name="connsiteY1978" fmla="*/ 3490365 h 6523037"/>
                <a:gd name="connsiteX1979" fmla="*/ 10989111 w 12192001"/>
                <a:gd name="connsiteY1979" fmla="*/ 3623824 h 6523037"/>
                <a:gd name="connsiteX1980" fmla="*/ 11126064 w 12192001"/>
                <a:gd name="connsiteY1980" fmla="*/ 3760776 h 6523037"/>
                <a:gd name="connsiteX1981" fmla="*/ 11390187 w 12192001"/>
                <a:gd name="connsiteY1981" fmla="*/ 3760078 h 6523037"/>
                <a:gd name="connsiteX1982" fmla="*/ 11119076 w 12192001"/>
                <a:gd name="connsiteY1982" fmla="*/ 3489666 h 6523037"/>
                <a:gd name="connsiteX1983" fmla="*/ 11120474 w 12192001"/>
                <a:gd name="connsiteY1983" fmla="*/ 3488269 h 6523037"/>
                <a:gd name="connsiteX1984" fmla="*/ 11388789 w 12192001"/>
                <a:gd name="connsiteY1984" fmla="*/ 3219256 h 6523037"/>
                <a:gd name="connsiteX1985" fmla="*/ 9206801 w 12192001"/>
                <a:gd name="connsiteY1985" fmla="*/ 3218935 h 6523037"/>
                <a:gd name="connsiteX1986" fmla="*/ 9026526 w 12192001"/>
                <a:gd name="connsiteY1986" fmla="*/ 3399909 h 6523037"/>
                <a:gd name="connsiteX1987" fmla="*/ 9025828 w 12192001"/>
                <a:gd name="connsiteY1987" fmla="*/ 3399909 h 6523037"/>
                <a:gd name="connsiteX1988" fmla="*/ 8936388 w 12192001"/>
                <a:gd name="connsiteY1988" fmla="*/ 3490046 h 6523037"/>
                <a:gd name="connsiteX1989" fmla="*/ 9070546 w 12192001"/>
                <a:gd name="connsiteY1989" fmla="*/ 3623505 h 6523037"/>
                <a:gd name="connsiteX1990" fmla="*/ 9207500 w 12192001"/>
                <a:gd name="connsiteY1990" fmla="*/ 3760458 h 6523037"/>
                <a:gd name="connsiteX1991" fmla="*/ 9468315 w 12192001"/>
                <a:gd name="connsiteY1991" fmla="*/ 3760458 h 6523037"/>
                <a:gd name="connsiteX1992" fmla="*/ 9320523 w 12192001"/>
                <a:gd name="connsiteY1992" fmla="*/ 3613344 h 6523037"/>
                <a:gd name="connsiteX1993" fmla="*/ 9320523 w 12192001"/>
                <a:gd name="connsiteY1993" fmla="*/ 3609748 h 6523037"/>
                <a:gd name="connsiteX1994" fmla="*/ 9200512 w 12192001"/>
                <a:gd name="connsiteY1994" fmla="*/ 3490046 h 6523037"/>
                <a:gd name="connsiteX1995" fmla="*/ 9202609 w 12192001"/>
                <a:gd name="connsiteY1995" fmla="*/ 3488648 h 6523037"/>
                <a:gd name="connsiteX1996" fmla="*/ 9320523 w 12192001"/>
                <a:gd name="connsiteY1996" fmla="*/ 3369810 h 6523037"/>
                <a:gd name="connsiteX1997" fmla="*/ 9320523 w 12192001"/>
                <a:gd name="connsiteY1997" fmla="*/ 3368084 h 6523037"/>
                <a:gd name="connsiteX1998" fmla="*/ 9459449 w 12192001"/>
                <a:gd name="connsiteY1998" fmla="*/ 3229795 h 6523037"/>
                <a:gd name="connsiteX1999" fmla="*/ 9470225 w 12192001"/>
                <a:gd name="connsiteY1999" fmla="*/ 3218935 h 6523037"/>
                <a:gd name="connsiteX2000" fmla="*/ 11673875 w 12192001"/>
                <a:gd name="connsiteY2000" fmla="*/ 3218555 h 6523037"/>
                <a:gd name="connsiteX2001" fmla="*/ 11403463 w 12192001"/>
                <a:gd name="connsiteY2001" fmla="*/ 3489666 h 6523037"/>
                <a:gd name="connsiteX2002" fmla="*/ 11674574 w 12192001"/>
                <a:gd name="connsiteY2002" fmla="*/ 3760078 h 6523037"/>
                <a:gd name="connsiteX2003" fmla="*/ 11938697 w 12192001"/>
                <a:gd name="connsiteY2003" fmla="*/ 3760078 h 6523037"/>
                <a:gd name="connsiteX2004" fmla="*/ 11667587 w 12192001"/>
                <a:gd name="connsiteY2004" fmla="*/ 3489666 h 6523037"/>
                <a:gd name="connsiteX2005" fmla="*/ 11937999 w 12192001"/>
                <a:gd name="connsiteY2005" fmla="*/ 3218555 h 6523037"/>
                <a:gd name="connsiteX2006" fmla="*/ 1263319 w 12192001"/>
                <a:gd name="connsiteY2006" fmla="*/ 2953984 h 6523037"/>
                <a:gd name="connsiteX2007" fmla="*/ 1534430 w 12192001"/>
                <a:gd name="connsiteY2007" fmla="*/ 3223697 h 6523037"/>
                <a:gd name="connsiteX2008" fmla="*/ 1531636 w 12192001"/>
                <a:gd name="connsiteY2008" fmla="*/ 3226492 h 6523037"/>
                <a:gd name="connsiteX2009" fmla="*/ 1441498 w 12192001"/>
                <a:gd name="connsiteY2009" fmla="*/ 3317328 h 6523037"/>
                <a:gd name="connsiteX2010" fmla="*/ 1264018 w 12192001"/>
                <a:gd name="connsiteY2010" fmla="*/ 3494808 h 6523037"/>
                <a:gd name="connsiteX2011" fmla="*/ 1528141 w 12192001"/>
                <a:gd name="connsiteY2011" fmla="*/ 3494808 h 6523037"/>
                <a:gd name="connsiteX2012" fmla="*/ 1617580 w 12192001"/>
                <a:gd name="connsiteY2012" fmla="*/ 3405369 h 6523037"/>
                <a:gd name="connsiteX2013" fmla="*/ 1798553 w 12192001"/>
                <a:gd name="connsiteY2013" fmla="*/ 3224396 h 6523037"/>
                <a:gd name="connsiteX2014" fmla="*/ 1527442 w 12192001"/>
                <a:gd name="connsiteY2014" fmla="*/ 2953984 h 6523037"/>
                <a:gd name="connsiteX2015" fmla="*/ 714809 w 12192001"/>
                <a:gd name="connsiteY2015" fmla="*/ 2953984 h 6523037"/>
                <a:gd name="connsiteX2016" fmla="*/ 843377 w 12192001"/>
                <a:gd name="connsiteY2016" fmla="*/ 3082552 h 6523037"/>
                <a:gd name="connsiteX2017" fmla="*/ 985221 w 12192001"/>
                <a:gd name="connsiteY2017" fmla="*/ 3224396 h 6523037"/>
                <a:gd name="connsiteX2018" fmla="*/ 714809 w 12192001"/>
                <a:gd name="connsiteY2018" fmla="*/ 3495507 h 6523037"/>
                <a:gd name="connsiteX2019" fmla="*/ 978932 w 12192001"/>
                <a:gd name="connsiteY2019" fmla="*/ 3495507 h 6523037"/>
                <a:gd name="connsiteX2020" fmla="*/ 1249344 w 12192001"/>
                <a:gd name="connsiteY2020" fmla="*/ 3224396 h 6523037"/>
                <a:gd name="connsiteX2021" fmla="*/ 1244453 w 12192001"/>
                <a:gd name="connsiteY2021" fmla="*/ 3219505 h 6523037"/>
                <a:gd name="connsiteX2022" fmla="*/ 978932 w 12192001"/>
                <a:gd name="connsiteY2022" fmla="*/ 2953984 h 6523037"/>
                <a:gd name="connsiteX2023" fmla="*/ 164902 w 12192001"/>
                <a:gd name="connsiteY2023" fmla="*/ 2953984 h 6523037"/>
                <a:gd name="connsiteX2024" fmla="*/ 436013 w 12192001"/>
                <a:gd name="connsiteY2024" fmla="*/ 3223697 h 6523037"/>
                <a:gd name="connsiteX2025" fmla="*/ 433217 w 12192001"/>
                <a:gd name="connsiteY2025" fmla="*/ 3226492 h 6523037"/>
                <a:gd name="connsiteX2026" fmla="*/ 343079 w 12192001"/>
                <a:gd name="connsiteY2026" fmla="*/ 3317328 h 6523037"/>
                <a:gd name="connsiteX2027" fmla="*/ 165601 w 12192001"/>
                <a:gd name="connsiteY2027" fmla="*/ 3494808 h 6523037"/>
                <a:gd name="connsiteX2028" fmla="*/ 429724 w 12192001"/>
                <a:gd name="connsiteY2028" fmla="*/ 3494808 h 6523037"/>
                <a:gd name="connsiteX2029" fmla="*/ 519162 w 12192001"/>
                <a:gd name="connsiteY2029" fmla="*/ 3405369 h 6523037"/>
                <a:gd name="connsiteX2030" fmla="*/ 700136 w 12192001"/>
                <a:gd name="connsiteY2030" fmla="*/ 3224396 h 6523037"/>
                <a:gd name="connsiteX2031" fmla="*/ 429025 w 12192001"/>
                <a:gd name="connsiteY2031" fmla="*/ 2953984 h 6523037"/>
                <a:gd name="connsiteX2032" fmla="*/ 2908151 w 12192001"/>
                <a:gd name="connsiteY2032" fmla="*/ 2953285 h 6523037"/>
                <a:gd name="connsiteX2033" fmla="*/ 3179262 w 12192001"/>
                <a:gd name="connsiteY2033" fmla="*/ 3223697 h 6523037"/>
                <a:gd name="connsiteX2034" fmla="*/ 2908850 w 12192001"/>
                <a:gd name="connsiteY2034" fmla="*/ 3494808 h 6523037"/>
                <a:gd name="connsiteX2035" fmla="*/ 3107292 w 12192001"/>
                <a:gd name="connsiteY2035" fmla="*/ 3494808 h 6523037"/>
                <a:gd name="connsiteX2036" fmla="*/ 3103798 w 12192001"/>
                <a:gd name="connsiteY2036" fmla="*/ 3501795 h 6523037"/>
                <a:gd name="connsiteX2037" fmla="*/ 2908850 w 12192001"/>
                <a:gd name="connsiteY2037" fmla="*/ 3501795 h 6523037"/>
                <a:gd name="connsiteX2038" fmla="*/ 3038815 w 12192001"/>
                <a:gd name="connsiteY2038" fmla="*/ 3631761 h 6523037"/>
                <a:gd name="connsiteX2039" fmla="*/ 3035322 w 12192001"/>
                <a:gd name="connsiteY2039" fmla="*/ 3638748 h 6523037"/>
                <a:gd name="connsiteX2040" fmla="*/ 2894875 w 12192001"/>
                <a:gd name="connsiteY2040" fmla="*/ 3498302 h 6523037"/>
                <a:gd name="connsiteX2041" fmla="*/ 3165287 w 12192001"/>
                <a:gd name="connsiteY2041" fmla="*/ 3227192 h 6523037"/>
                <a:gd name="connsiteX2042" fmla="*/ 2901164 w 12192001"/>
                <a:gd name="connsiteY2042" fmla="*/ 3227192 h 6523037"/>
                <a:gd name="connsiteX2043" fmla="*/ 2630752 w 12192001"/>
                <a:gd name="connsiteY2043" fmla="*/ 3498302 h 6523037"/>
                <a:gd name="connsiteX2044" fmla="*/ 2901863 w 12192001"/>
                <a:gd name="connsiteY2044" fmla="*/ 3768713 h 6523037"/>
                <a:gd name="connsiteX2045" fmla="*/ 2970339 w 12192001"/>
                <a:gd name="connsiteY2045" fmla="*/ 3768713 h 6523037"/>
                <a:gd name="connsiteX2046" fmla="*/ 2966846 w 12192001"/>
                <a:gd name="connsiteY2046" fmla="*/ 3775701 h 6523037"/>
                <a:gd name="connsiteX2047" fmla="*/ 2901863 w 12192001"/>
                <a:gd name="connsiteY2047" fmla="*/ 3775701 h 6523037"/>
                <a:gd name="connsiteX2048" fmla="*/ 2721588 w 12192001"/>
                <a:gd name="connsiteY2048" fmla="*/ 3956675 h 6523037"/>
                <a:gd name="connsiteX2049" fmla="*/ 2633317 w 12192001"/>
                <a:gd name="connsiteY2049" fmla="*/ 4045637 h 6523037"/>
                <a:gd name="connsiteX2050" fmla="*/ 2902751 w 12192001"/>
                <a:gd name="connsiteY2050" fmla="*/ 4314377 h 6523037"/>
                <a:gd name="connsiteX2051" fmla="*/ 3165477 w 12192001"/>
                <a:gd name="connsiteY2051" fmla="*/ 4314377 h 6523037"/>
                <a:gd name="connsiteX2052" fmla="*/ 3036210 w 12192001"/>
                <a:gd name="connsiteY2052" fmla="*/ 4185111 h 6523037"/>
                <a:gd name="connsiteX2053" fmla="*/ 3036909 w 12192001"/>
                <a:gd name="connsiteY2053" fmla="*/ 4184412 h 6523037"/>
                <a:gd name="connsiteX2054" fmla="*/ 2942163 w 12192001"/>
                <a:gd name="connsiteY2054" fmla="*/ 4090134 h 6523037"/>
                <a:gd name="connsiteX2055" fmla="*/ 2940992 w 12192001"/>
                <a:gd name="connsiteY2055" fmla="*/ 4090134 h 6523037"/>
                <a:gd name="connsiteX2056" fmla="*/ 2896273 w 12192001"/>
                <a:gd name="connsiteY2056" fmla="*/ 4045415 h 6523037"/>
                <a:gd name="connsiteX2057" fmla="*/ 2896745 w 12192001"/>
                <a:gd name="connsiteY2057" fmla="*/ 4044942 h 6523037"/>
                <a:gd name="connsiteX2058" fmla="*/ 2895764 w 12192001"/>
                <a:gd name="connsiteY2058" fmla="*/ 4043965 h 6523037"/>
                <a:gd name="connsiteX2059" fmla="*/ 3070448 w 12192001"/>
                <a:gd name="connsiteY2059" fmla="*/ 3868581 h 6523037"/>
                <a:gd name="connsiteX2060" fmla="*/ 3072651 w 12192001"/>
                <a:gd name="connsiteY2060" fmla="*/ 3868581 h 6523037"/>
                <a:gd name="connsiteX2061" fmla="*/ 3165986 w 12192001"/>
                <a:gd name="connsiteY2061" fmla="*/ 3775003 h 6523037"/>
                <a:gd name="connsiteX2062" fmla="*/ 2967543 w 12192001"/>
                <a:gd name="connsiteY2062" fmla="*/ 3775003 h 6523037"/>
                <a:gd name="connsiteX2063" fmla="*/ 2971038 w 12192001"/>
                <a:gd name="connsiteY2063" fmla="*/ 3768015 h 6523037"/>
                <a:gd name="connsiteX2064" fmla="*/ 3165986 w 12192001"/>
                <a:gd name="connsiteY2064" fmla="*/ 3768015 h 6523037"/>
                <a:gd name="connsiteX2065" fmla="*/ 3036021 w 12192001"/>
                <a:gd name="connsiteY2065" fmla="*/ 3638050 h 6523037"/>
                <a:gd name="connsiteX2066" fmla="*/ 3039514 w 12192001"/>
                <a:gd name="connsiteY2066" fmla="*/ 3631063 h 6523037"/>
                <a:gd name="connsiteX2067" fmla="*/ 3179961 w 12192001"/>
                <a:gd name="connsiteY2067" fmla="*/ 3771509 h 6523037"/>
                <a:gd name="connsiteX2068" fmla="*/ 2912388 w 12192001"/>
                <a:gd name="connsiteY2068" fmla="*/ 4039773 h 6523037"/>
                <a:gd name="connsiteX2069" fmla="*/ 3173163 w 12192001"/>
                <a:gd name="connsiteY2069" fmla="*/ 4039773 h 6523037"/>
                <a:gd name="connsiteX2070" fmla="*/ 3262601 w 12192001"/>
                <a:gd name="connsiteY2070" fmla="*/ 3950334 h 6523037"/>
                <a:gd name="connsiteX2071" fmla="*/ 3344354 w 12192001"/>
                <a:gd name="connsiteY2071" fmla="*/ 3868581 h 6523037"/>
                <a:gd name="connsiteX2072" fmla="*/ 3347262 w 12192001"/>
                <a:gd name="connsiteY2072" fmla="*/ 3868581 h 6523037"/>
                <a:gd name="connsiteX2073" fmla="*/ 3444084 w 12192001"/>
                <a:gd name="connsiteY2073" fmla="*/ 3771509 h 6523037"/>
                <a:gd name="connsiteX2074" fmla="*/ 3172973 w 12192001"/>
                <a:gd name="connsiteY2074" fmla="*/ 3501795 h 6523037"/>
                <a:gd name="connsiteX2075" fmla="*/ 3104497 w 12192001"/>
                <a:gd name="connsiteY2075" fmla="*/ 3501795 h 6523037"/>
                <a:gd name="connsiteX2076" fmla="*/ 3107990 w 12192001"/>
                <a:gd name="connsiteY2076" fmla="*/ 3494808 h 6523037"/>
                <a:gd name="connsiteX2077" fmla="*/ 3172973 w 12192001"/>
                <a:gd name="connsiteY2077" fmla="*/ 3494808 h 6523037"/>
                <a:gd name="connsiteX2078" fmla="*/ 3443385 w 12192001"/>
                <a:gd name="connsiteY2078" fmla="*/ 3223697 h 6523037"/>
                <a:gd name="connsiteX2079" fmla="*/ 3309227 w 12192001"/>
                <a:gd name="connsiteY2079" fmla="*/ 3090238 h 6523037"/>
                <a:gd name="connsiteX2080" fmla="*/ 3172275 w 12192001"/>
                <a:gd name="connsiteY2080" fmla="*/ 2953285 h 6523037"/>
                <a:gd name="connsiteX2081" fmla="*/ 1811829 w 12192001"/>
                <a:gd name="connsiteY2081" fmla="*/ 2952586 h 6523037"/>
                <a:gd name="connsiteX2082" fmla="*/ 1941795 w 12192001"/>
                <a:gd name="connsiteY2082" fmla="*/ 3082552 h 6523037"/>
                <a:gd name="connsiteX2083" fmla="*/ 2082940 w 12192001"/>
                <a:gd name="connsiteY2083" fmla="*/ 3222998 h 6523037"/>
                <a:gd name="connsiteX2084" fmla="*/ 1812528 w 12192001"/>
                <a:gd name="connsiteY2084" fmla="*/ 3494109 h 6523037"/>
                <a:gd name="connsiteX2085" fmla="*/ 2076652 w 12192001"/>
                <a:gd name="connsiteY2085" fmla="*/ 3494109 h 6523037"/>
                <a:gd name="connsiteX2086" fmla="*/ 2347064 w 12192001"/>
                <a:gd name="connsiteY2086" fmla="*/ 3222998 h 6523037"/>
                <a:gd name="connsiteX2087" fmla="*/ 2075953 w 12192001"/>
                <a:gd name="connsiteY2087" fmla="*/ 2952586 h 6523037"/>
                <a:gd name="connsiteX2088" fmla="*/ 2360340 w 12192001"/>
                <a:gd name="connsiteY2088" fmla="*/ 2951889 h 6523037"/>
                <a:gd name="connsiteX2089" fmla="*/ 2631451 w 12192001"/>
                <a:gd name="connsiteY2089" fmla="*/ 3222301 h 6523037"/>
                <a:gd name="connsiteX2090" fmla="*/ 2361039 w 12192001"/>
                <a:gd name="connsiteY2090" fmla="*/ 3493410 h 6523037"/>
                <a:gd name="connsiteX2091" fmla="*/ 2625162 w 12192001"/>
                <a:gd name="connsiteY2091" fmla="*/ 3493410 h 6523037"/>
                <a:gd name="connsiteX2092" fmla="*/ 2895574 w 12192001"/>
                <a:gd name="connsiteY2092" fmla="*/ 3222301 h 6523037"/>
                <a:gd name="connsiteX2093" fmla="*/ 2624463 w 12192001"/>
                <a:gd name="connsiteY2093" fmla="*/ 2951889 h 6523037"/>
                <a:gd name="connsiteX2094" fmla="*/ 4005871 w 12192001"/>
                <a:gd name="connsiteY2094" fmla="*/ 2951190 h 6523037"/>
                <a:gd name="connsiteX2095" fmla="*/ 4275584 w 12192001"/>
                <a:gd name="connsiteY2095" fmla="*/ 3220204 h 6523037"/>
                <a:gd name="connsiteX2096" fmla="*/ 4272789 w 12192001"/>
                <a:gd name="connsiteY2096" fmla="*/ 3222998 h 6523037"/>
                <a:gd name="connsiteX2097" fmla="*/ 4182652 w 12192001"/>
                <a:gd name="connsiteY2097" fmla="*/ 3313835 h 6523037"/>
                <a:gd name="connsiteX2098" fmla="*/ 4181952 w 12192001"/>
                <a:gd name="connsiteY2098" fmla="*/ 3313835 h 6523037"/>
                <a:gd name="connsiteX2099" fmla="*/ 4005172 w 12192001"/>
                <a:gd name="connsiteY2099" fmla="*/ 3491315 h 6523037"/>
                <a:gd name="connsiteX2100" fmla="*/ 4269296 w 12192001"/>
                <a:gd name="connsiteY2100" fmla="*/ 3491315 h 6523037"/>
                <a:gd name="connsiteX2101" fmla="*/ 4358734 w 12192001"/>
                <a:gd name="connsiteY2101" fmla="*/ 3401876 h 6523037"/>
                <a:gd name="connsiteX2102" fmla="*/ 4359432 w 12192001"/>
                <a:gd name="connsiteY2102" fmla="*/ 3401876 h 6523037"/>
                <a:gd name="connsiteX2103" fmla="*/ 4541105 w 12192001"/>
                <a:gd name="connsiteY2103" fmla="*/ 3221602 h 6523037"/>
                <a:gd name="connsiteX2104" fmla="*/ 4269994 w 12192001"/>
                <a:gd name="connsiteY2104" fmla="*/ 2951190 h 6523037"/>
                <a:gd name="connsiteX2105" fmla="*/ 3457360 w 12192001"/>
                <a:gd name="connsiteY2105" fmla="*/ 2951190 h 6523037"/>
                <a:gd name="connsiteX2106" fmla="*/ 3458059 w 12192001"/>
                <a:gd name="connsiteY2106" fmla="*/ 2951889 h 6523037"/>
                <a:gd name="connsiteX2107" fmla="*/ 3458758 w 12192001"/>
                <a:gd name="connsiteY2107" fmla="*/ 2951889 h 6523037"/>
                <a:gd name="connsiteX2108" fmla="*/ 3727772 w 12192001"/>
                <a:gd name="connsiteY2108" fmla="*/ 3220903 h 6523037"/>
                <a:gd name="connsiteX2109" fmla="*/ 3457360 w 12192001"/>
                <a:gd name="connsiteY2109" fmla="*/ 3492014 h 6523037"/>
                <a:gd name="connsiteX2110" fmla="*/ 3721484 w 12192001"/>
                <a:gd name="connsiteY2110" fmla="*/ 3492014 h 6523037"/>
                <a:gd name="connsiteX2111" fmla="*/ 3991896 w 12192001"/>
                <a:gd name="connsiteY2111" fmla="*/ 3221602 h 6523037"/>
                <a:gd name="connsiteX2112" fmla="*/ 3987005 w 12192001"/>
                <a:gd name="connsiteY2112" fmla="*/ 3216011 h 6523037"/>
                <a:gd name="connsiteX2113" fmla="*/ 3721484 w 12192001"/>
                <a:gd name="connsiteY2113" fmla="*/ 2951190 h 6523037"/>
                <a:gd name="connsiteX2114" fmla="*/ 4554381 w 12192001"/>
                <a:gd name="connsiteY2114" fmla="*/ 2949792 h 6523037"/>
                <a:gd name="connsiteX2115" fmla="*/ 4684346 w 12192001"/>
                <a:gd name="connsiteY2115" fmla="*/ 3079757 h 6523037"/>
                <a:gd name="connsiteX2116" fmla="*/ 4820732 w 12192001"/>
                <a:gd name="connsiteY2116" fmla="*/ 3216141 h 6523037"/>
                <a:gd name="connsiteX2117" fmla="*/ 5082144 w 12192001"/>
                <a:gd name="connsiteY2117" fmla="*/ 3216141 h 6523037"/>
                <a:gd name="connsiteX2118" fmla="*/ 4815107 w 12192001"/>
                <a:gd name="connsiteY2118" fmla="*/ 2949792 h 6523037"/>
                <a:gd name="connsiteX2119" fmla="*/ 5923425 w 12192001"/>
                <a:gd name="connsiteY2119" fmla="*/ 2949222 h 6523037"/>
                <a:gd name="connsiteX2120" fmla="*/ 6194536 w 12192001"/>
                <a:gd name="connsiteY2120" fmla="*/ 3218935 h 6523037"/>
                <a:gd name="connsiteX2121" fmla="*/ 6191742 w 12192001"/>
                <a:gd name="connsiteY2121" fmla="*/ 3221730 h 6523037"/>
                <a:gd name="connsiteX2122" fmla="*/ 6101604 w 12192001"/>
                <a:gd name="connsiteY2122" fmla="*/ 3312566 h 6523037"/>
                <a:gd name="connsiteX2123" fmla="*/ 5924124 w 12192001"/>
                <a:gd name="connsiteY2123" fmla="*/ 3490046 h 6523037"/>
                <a:gd name="connsiteX2124" fmla="*/ 6188247 w 12192001"/>
                <a:gd name="connsiteY2124" fmla="*/ 3490046 h 6523037"/>
                <a:gd name="connsiteX2125" fmla="*/ 6277687 w 12192001"/>
                <a:gd name="connsiteY2125" fmla="*/ 3400607 h 6523037"/>
                <a:gd name="connsiteX2126" fmla="*/ 6458659 w 12192001"/>
                <a:gd name="connsiteY2126" fmla="*/ 3219635 h 6523037"/>
                <a:gd name="connsiteX2127" fmla="*/ 6187548 w 12192001"/>
                <a:gd name="connsiteY2127" fmla="*/ 2949222 h 6523037"/>
                <a:gd name="connsiteX2128" fmla="*/ 5374915 w 12192001"/>
                <a:gd name="connsiteY2128" fmla="*/ 2949222 h 6523037"/>
                <a:gd name="connsiteX2129" fmla="*/ 5503483 w 12192001"/>
                <a:gd name="connsiteY2129" fmla="*/ 3077790 h 6523037"/>
                <a:gd name="connsiteX2130" fmla="*/ 5645327 w 12192001"/>
                <a:gd name="connsiteY2130" fmla="*/ 3219635 h 6523037"/>
                <a:gd name="connsiteX2131" fmla="*/ 5374915 w 12192001"/>
                <a:gd name="connsiteY2131" fmla="*/ 3490745 h 6523037"/>
                <a:gd name="connsiteX2132" fmla="*/ 5639038 w 12192001"/>
                <a:gd name="connsiteY2132" fmla="*/ 3490745 h 6523037"/>
                <a:gd name="connsiteX2133" fmla="*/ 5909450 w 12192001"/>
                <a:gd name="connsiteY2133" fmla="*/ 3219635 h 6523037"/>
                <a:gd name="connsiteX2134" fmla="*/ 5904559 w 12192001"/>
                <a:gd name="connsiteY2134" fmla="*/ 3214743 h 6523037"/>
                <a:gd name="connsiteX2135" fmla="*/ 5639038 w 12192001"/>
                <a:gd name="connsiteY2135" fmla="*/ 2949222 h 6523037"/>
                <a:gd name="connsiteX2136" fmla="*/ 4825009 w 12192001"/>
                <a:gd name="connsiteY2136" fmla="*/ 2949222 h 6523037"/>
                <a:gd name="connsiteX2137" fmla="*/ 5096119 w 12192001"/>
                <a:gd name="connsiteY2137" fmla="*/ 3218935 h 6523037"/>
                <a:gd name="connsiteX2138" fmla="*/ 5093323 w 12192001"/>
                <a:gd name="connsiteY2138" fmla="*/ 3221730 h 6523037"/>
                <a:gd name="connsiteX2139" fmla="*/ 5003186 w 12192001"/>
                <a:gd name="connsiteY2139" fmla="*/ 3312566 h 6523037"/>
                <a:gd name="connsiteX2140" fmla="*/ 4825707 w 12192001"/>
                <a:gd name="connsiteY2140" fmla="*/ 3490046 h 6523037"/>
                <a:gd name="connsiteX2141" fmla="*/ 5089830 w 12192001"/>
                <a:gd name="connsiteY2141" fmla="*/ 3490046 h 6523037"/>
                <a:gd name="connsiteX2142" fmla="*/ 5179268 w 12192001"/>
                <a:gd name="connsiteY2142" fmla="*/ 3400607 h 6523037"/>
                <a:gd name="connsiteX2143" fmla="*/ 5360242 w 12192001"/>
                <a:gd name="connsiteY2143" fmla="*/ 3219635 h 6523037"/>
                <a:gd name="connsiteX2144" fmla="*/ 5089132 w 12192001"/>
                <a:gd name="connsiteY2144" fmla="*/ 2949222 h 6523037"/>
                <a:gd name="connsiteX2145" fmla="*/ 7568257 w 12192001"/>
                <a:gd name="connsiteY2145" fmla="*/ 2948523 h 6523037"/>
                <a:gd name="connsiteX2146" fmla="*/ 7839368 w 12192001"/>
                <a:gd name="connsiteY2146" fmla="*/ 3218935 h 6523037"/>
                <a:gd name="connsiteX2147" fmla="*/ 7568956 w 12192001"/>
                <a:gd name="connsiteY2147" fmla="*/ 3490046 h 6523037"/>
                <a:gd name="connsiteX2148" fmla="*/ 7767398 w 12192001"/>
                <a:gd name="connsiteY2148" fmla="*/ 3490046 h 6523037"/>
                <a:gd name="connsiteX2149" fmla="*/ 7763904 w 12192001"/>
                <a:gd name="connsiteY2149" fmla="*/ 3497033 h 6523037"/>
                <a:gd name="connsiteX2150" fmla="*/ 7568956 w 12192001"/>
                <a:gd name="connsiteY2150" fmla="*/ 3497033 h 6523037"/>
                <a:gd name="connsiteX2151" fmla="*/ 7698921 w 12192001"/>
                <a:gd name="connsiteY2151" fmla="*/ 3626999 h 6523037"/>
                <a:gd name="connsiteX2152" fmla="*/ 7695428 w 12192001"/>
                <a:gd name="connsiteY2152" fmla="*/ 3633986 h 6523037"/>
                <a:gd name="connsiteX2153" fmla="*/ 7554981 w 12192001"/>
                <a:gd name="connsiteY2153" fmla="*/ 3493540 h 6523037"/>
                <a:gd name="connsiteX2154" fmla="*/ 7825393 w 12192001"/>
                <a:gd name="connsiteY2154" fmla="*/ 3222430 h 6523037"/>
                <a:gd name="connsiteX2155" fmla="*/ 7561270 w 12192001"/>
                <a:gd name="connsiteY2155" fmla="*/ 3222430 h 6523037"/>
                <a:gd name="connsiteX2156" fmla="*/ 7290858 w 12192001"/>
                <a:gd name="connsiteY2156" fmla="*/ 3493540 h 6523037"/>
                <a:gd name="connsiteX2157" fmla="*/ 7561969 w 12192001"/>
                <a:gd name="connsiteY2157" fmla="*/ 3763951 h 6523037"/>
                <a:gd name="connsiteX2158" fmla="*/ 7630445 w 12192001"/>
                <a:gd name="connsiteY2158" fmla="*/ 3763951 h 6523037"/>
                <a:gd name="connsiteX2159" fmla="*/ 7626952 w 12192001"/>
                <a:gd name="connsiteY2159" fmla="*/ 3770939 h 6523037"/>
                <a:gd name="connsiteX2160" fmla="*/ 7561969 w 12192001"/>
                <a:gd name="connsiteY2160" fmla="*/ 3770939 h 6523037"/>
                <a:gd name="connsiteX2161" fmla="*/ 7381694 w 12192001"/>
                <a:gd name="connsiteY2161" fmla="*/ 3951913 h 6523037"/>
                <a:gd name="connsiteX2162" fmla="*/ 7293423 w 12192001"/>
                <a:gd name="connsiteY2162" fmla="*/ 4040875 h 6523037"/>
                <a:gd name="connsiteX2163" fmla="*/ 7562857 w 12192001"/>
                <a:gd name="connsiteY2163" fmla="*/ 4309615 h 6523037"/>
                <a:gd name="connsiteX2164" fmla="*/ 7825583 w 12192001"/>
                <a:gd name="connsiteY2164" fmla="*/ 4309615 h 6523037"/>
                <a:gd name="connsiteX2165" fmla="*/ 7696316 w 12192001"/>
                <a:gd name="connsiteY2165" fmla="*/ 4180349 h 6523037"/>
                <a:gd name="connsiteX2166" fmla="*/ 7697015 w 12192001"/>
                <a:gd name="connsiteY2166" fmla="*/ 4179650 h 6523037"/>
                <a:gd name="connsiteX2167" fmla="*/ 7602269 w 12192001"/>
                <a:gd name="connsiteY2167" fmla="*/ 4085372 h 6523037"/>
                <a:gd name="connsiteX2168" fmla="*/ 7601098 w 12192001"/>
                <a:gd name="connsiteY2168" fmla="*/ 4085372 h 6523037"/>
                <a:gd name="connsiteX2169" fmla="*/ 7556379 w 12192001"/>
                <a:gd name="connsiteY2169" fmla="*/ 4040653 h 6523037"/>
                <a:gd name="connsiteX2170" fmla="*/ 7556851 w 12192001"/>
                <a:gd name="connsiteY2170" fmla="*/ 4040180 h 6523037"/>
                <a:gd name="connsiteX2171" fmla="*/ 7555870 w 12192001"/>
                <a:gd name="connsiteY2171" fmla="*/ 4039203 h 6523037"/>
                <a:gd name="connsiteX2172" fmla="*/ 7730554 w 12192001"/>
                <a:gd name="connsiteY2172" fmla="*/ 3863819 h 6523037"/>
                <a:gd name="connsiteX2173" fmla="*/ 7732757 w 12192001"/>
                <a:gd name="connsiteY2173" fmla="*/ 3863819 h 6523037"/>
                <a:gd name="connsiteX2174" fmla="*/ 7826092 w 12192001"/>
                <a:gd name="connsiteY2174" fmla="*/ 3770241 h 6523037"/>
                <a:gd name="connsiteX2175" fmla="*/ 7627649 w 12192001"/>
                <a:gd name="connsiteY2175" fmla="*/ 3770241 h 6523037"/>
                <a:gd name="connsiteX2176" fmla="*/ 7631144 w 12192001"/>
                <a:gd name="connsiteY2176" fmla="*/ 3763253 h 6523037"/>
                <a:gd name="connsiteX2177" fmla="*/ 7826092 w 12192001"/>
                <a:gd name="connsiteY2177" fmla="*/ 3763253 h 6523037"/>
                <a:gd name="connsiteX2178" fmla="*/ 7696127 w 12192001"/>
                <a:gd name="connsiteY2178" fmla="*/ 3633288 h 6523037"/>
                <a:gd name="connsiteX2179" fmla="*/ 7699620 w 12192001"/>
                <a:gd name="connsiteY2179" fmla="*/ 3626301 h 6523037"/>
                <a:gd name="connsiteX2180" fmla="*/ 7840067 w 12192001"/>
                <a:gd name="connsiteY2180" fmla="*/ 3766747 h 6523037"/>
                <a:gd name="connsiteX2181" fmla="*/ 7572494 w 12192001"/>
                <a:gd name="connsiteY2181" fmla="*/ 4035011 h 6523037"/>
                <a:gd name="connsiteX2182" fmla="*/ 7833269 w 12192001"/>
                <a:gd name="connsiteY2182" fmla="*/ 4035011 h 6523037"/>
                <a:gd name="connsiteX2183" fmla="*/ 7922707 w 12192001"/>
                <a:gd name="connsiteY2183" fmla="*/ 3945572 h 6523037"/>
                <a:gd name="connsiteX2184" fmla="*/ 8004460 w 12192001"/>
                <a:gd name="connsiteY2184" fmla="*/ 3863819 h 6523037"/>
                <a:gd name="connsiteX2185" fmla="*/ 8007368 w 12192001"/>
                <a:gd name="connsiteY2185" fmla="*/ 3863819 h 6523037"/>
                <a:gd name="connsiteX2186" fmla="*/ 8104190 w 12192001"/>
                <a:gd name="connsiteY2186" fmla="*/ 3766747 h 6523037"/>
                <a:gd name="connsiteX2187" fmla="*/ 7833079 w 12192001"/>
                <a:gd name="connsiteY2187" fmla="*/ 3497033 h 6523037"/>
                <a:gd name="connsiteX2188" fmla="*/ 7764603 w 12192001"/>
                <a:gd name="connsiteY2188" fmla="*/ 3497033 h 6523037"/>
                <a:gd name="connsiteX2189" fmla="*/ 7768096 w 12192001"/>
                <a:gd name="connsiteY2189" fmla="*/ 3490046 h 6523037"/>
                <a:gd name="connsiteX2190" fmla="*/ 7833079 w 12192001"/>
                <a:gd name="connsiteY2190" fmla="*/ 3490046 h 6523037"/>
                <a:gd name="connsiteX2191" fmla="*/ 8103491 w 12192001"/>
                <a:gd name="connsiteY2191" fmla="*/ 3218935 h 6523037"/>
                <a:gd name="connsiteX2192" fmla="*/ 7969333 w 12192001"/>
                <a:gd name="connsiteY2192" fmla="*/ 3085476 h 6523037"/>
                <a:gd name="connsiteX2193" fmla="*/ 7832381 w 12192001"/>
                <a:gd name="connsiteY2193" fmla="*/ 2948523 h 6523037"/>
                <a:gd name="connsiteX2194" fmla="*/ 6471935 w 12192001"/>
                <a:gd name="connsiteY2194" fmla="*/ 2947824 h 6523037"/>
                <a:gd name="connsiteX2195" fmla="*/ 6601902 w 12192001"/>
                <a:gd name="connsiteY2195" fmla="*/ 3077790 h 6523037"/>
                <a:gd name="connsiteX2196" fmla="*/ 6743046 w 12192001"/>
                <a:gd name="connsiteY2196" fmla="*/ 3218236 h 6523037"/>
                <a:gd name="connsiteX2197" fmla="*/ 6472634 w 12192001"/>
                <a:gd name="connsiteY2197" fmla="*/ 3489347 h 6523037"/>
                <a:gd name="connsiteX2198" fmla="*/ 6736759 w 12192001"/>
                <a:gd name="connsiteY2198" fmla="*/ 3489347 h 6523037"/>
                <a:gd name="connsiteX2199" fmla="*/ 7007170 w 12192001"/>
                <a:gd name="connsiteY2199" fmla="*/ 3218236 h 6523037"/>
                <a:gd name="connsiteX2200" fmla="*/ 6736059 w 12192001"/>
                <a:gd name="connsiteY2200" fmla="*/ 2947824 h 6523037"/>
                <a:gd name="connsiteX2201" fmla="*/ 7020446 w 12192001"/>
                <a:gd name="connsiteY2201" fmla="*/ 2947127 h 6523037"/>
                <a:gd name="connsiteX2202" fmla="*/ 7291557 w 12192001"/>
                <a:gd name="connsiteY2202" fmla="*/ 3217539 h 6523037"/>
                <a:gd name="connsiteX2203" fmla="*/ 7021145 w 12192001"/>
                <a:gd name="connsiteY2203" fmla="*/ 3488648 h 6523037"/>
                <a:gd name="connsiteX2204" fmla="*/ 7285268 w 12192001"/>
                <a:gd name="connsiteY2204" fmla="*/ 3488648 h 6523037"/>
                <a:gd name="connsiteX2205" fmla="*/ 7555680 w 12192001"/>
                <a:gd name="connsiteY2205" fmla="*/ 3217539 h 6523037"/>
                <a:gd name="connsiteX2206" fmla="*/ 7284569 w 12192001"/>
                <a:gd name="connsiteY2206" fmla="*/ 2947127 h 6523037"/>
                <a:gd name="connsiteX2207" fmla="*/ 8665977 w 12192001"/>
                <a:gd name="connsiteY2207" fmla="*/ 2946428 h 6523037"/>
                <a:gd name="connsiteX2208" fmla="*/ 8935690 w 12192001"/>
                <a:gd name="connsiteY2208" fmla="*/ 3215442 h 6523037"/>
                <a:gd name="connsiteX2209" fmla="*/ 8932895 w 12192001"/>
                <a:gd name="connsiteY2209" fmla="*/ 3218236 h 6523037"/>
                <a:gd name="connsiteX2210" fmla="*/ 8842758 w 12192001"/>
                <a:gd name="connsiteY2210" fmla="*/ 3309073 h 6523037"/>
                <a:gd name="connsiteX2211" fmla="*/ 8842058 w 12192001"/>
                <a:gd name="connsiteY2211" fmla="*/ 3309073 h 6523037"/>
                <a:gd name="connsiteX2212" fmla="*/ 8665278 w 12192001"/>
                <a:gd name="connsiteY2212" fmla="*/ 3486553 h 6523037"/>
                <a:gd name="connsiteX2213" fmla="*/ 8929401 w 12192001"/>
                <a:gd name="connsiteY2213" fmla="*/ 3486553 h 6523037"/>
                <a:gd name="connsiteX2214" fmla="*/ 9018840 w 12192001"/>
                <a:gd name="connsiteY2214" fmla="*/ 3397114 h 6523037"/>
                <a:gd name="connsiteX2215" fmla="*/ 9019538 w 12192001"/>
                <a:gd name="connsiteY2215" fmla="*/ 3397114 h 6523037"/>
                <a:gd name="connsiteX2216" fmla="*/ 9201211 w 12192001"/>
                <a:gd name="connsiteY2216" fmla="*/ 3216840 h 6523037"/>
                <a:gd name="connsiteX2217" fmla="*/ 8930100 w 12192001"/>
                <a:gd name="connsiteY2217" fmla="*/ 2946428 h 6523037"/>
                <a:gd name="connsiteX2218" fmla="*/ 8117466 w 12192001"/>
                <a:gd name="connsiteY2218" fmla="*/ 2946428 h 6523037"/>
                <a:gd name="connsiteX2219" fmla="*/ 8118165 w 12192001"/>
                <a:gd name="connsiteY2219" fmla="*/ 2947127 h 6523037"/>
                <a:gd name="connsiteX2220" fmla="*/ 8118864 w 12192001"/>
                <a:gd name="connsiteY2220" fmla="*/ 2947127 h 6523037"/>
                <a:gd name="connsiteX2221" fmla="*/ 8387878 w 12192001"/>
                <a:gd name="connsiteY2221" fmla="*/ 3216141 h 6523037"/>
                <a:gd name="connsiteX2222" fmla="*/ 8117466 w 12192001"/>
                <a:gd name="connsiteY2222" fmla="*/ 3487252 h 6523037"/>
                <a:gd name="connsiteX2223" fmla="*/ 8381590 w 12192001"/>
                <a:gd name="connsiteY2223" fmla="*/ 3487252 h 6523037"/>
                <a:gd name="connsiteX2224" fmla="*/ 8652002 w 12192001"/>
                <a:gd name="connsiteY2224" fmla="*/ 3216840 h 6523037"/>
                <a:gd name="connsiteX2225" fmla="*/ 8647111 w 12192001"/>
                <a:gd name="connsiteY2225" fmla="*/ 3211249 h 6523037"/>
                <a:gd name="connsiteX2226" fmla="*/ 8381590 w 12192001"/>
                <a:gd name="connsiteY2226" fmla="*/ 2946428 h 6523037"/>
                <a:gd name="connsiteX2227" fmla="*/ 10583842 w 12192001"/>
                <a:gd name="connsiteY2227" fmla="*/ 2946047 h 6523037"/>
                <a:gd name="connsiteX2228" fmla="*/ 10854953 w 12192001"/>
                <a:gd name="connsiteY2228" fmla="*/ 3215760 h 6523037"/>
                <a:gd name="connsiteX2229" fmla="*/ 10852159 w 12192001"/>
                <a:gd name="connsiteY2229" fmla="*/ 3218555 h 6523037"/>
                <a:gd name="connsiteX2230" fmla="*/ 10762021 w 12192001"/>
                <a:gd name="connsiteY2230" fmla="*/ 3309391 h 6523037"/>
                <a:gd name="connsiteX2231" fmla="*/ 10584541 w 12192001"/>
                <a:gd name="connsiteY2231" fmla="*/ 3486871 h 6523037"/>
                <a:gd name="connsiteX2232" fmla="*/ 10848664 w 12192001"/>
                <a:gd name="connsiteY2232" fmla="*/ 3486871 h 6523037"/>
                <a:gd name="connsiteX2233" fmla="*/ 10938103 w 12192001"/>
                <a:gd name="connsiteY2233" fmla="*/ 3397432 h 6523037"/>
                <a:gd name="connsiteX2234" fmla="*/ 11119076 w 12192001"/>
                <a:gd name="connsiteY2234" fmla="*/ 3216459 h 6523037"/>
                <a:gd name="connsiteX2235" fmla="*/ 10847965 w 12192001"/>
                <a:gd name="connsiteY2235" fmla="*/ 2946047 h 6523037"/>
                <a:gd name="connsiteX2236" fmla="*/ 10035332 w 12192001"/>
                <a:gd name="connsiteY2236" fmla="*/ 2946047 h 6523037"/>
                <a:gd name="connsiteX2237" fmla="*/ 10163900 w 12192001"/>
                <a:gd name="connsiteY2237" fmla="*/ 3074615 h 6523037"/>
                <a:gd name="connsiteX2238" fmla="*/ 10305744 w 12192001"/>
                <a:gd name="connsiteY2238" fmla="*/ 3216459 h 6523037"/>
                <a:gd name="connsiteX2239" fmla="*/ 10035332 w 12192001"/>
                <a:gd name="connsiteY2239" fmla="*/ 3487570 h 6523037"/>
                <a:gd name="connsiteX2240" fmla="*/ 10299455 w 12192001"/>
                <a:gd name="connsiteY2240" fmla="*/ 3487570 h 6523037"/>
                <a:gd name="connsiteX2241" fmla="*/ 10569867 w 12192001"/>
                <a:gd name="connsiteY2241" fmla="*/ 3216459 h 6523037"/>
                <a:gd name="connsiteX2242" fmla="*/ 10564976 w 12192001"/>
                <a:gd name="connsiteY2242" fmla="*/ 3211568 h 6523037"/>
                <a:gd name="connsiteX2243" fmla="*/ 10299455 w 12192001"/>
                <a:gd name="connsiteY2243" fmla="*/ 2946047 h 6523037"/>
                <a:gd name="connsiteX2244" fmla="*/ 9485425 w 12192001"/>
                <a:gd name="connsiteY2244" fmla="*/ 2946047 h 6523037"/>
                <a:gd name="connsiteX2245" fmla="*/ 9756536 w 12192001"/>
                <a:gd name="connsiteY2245" fmla="*/ 3215760 h 6523037"/>
                <a:gd name="connsiteX2246" fmla="*/ 9753740 w 12192001"/>
                <a:gd name="connsiteY2246" fmla="*/ 3218555 h 6523037"/>
                <a:gd name="connsiteX2247" fmla="*/ 9663602 w 12192001"/>
                <a:gd name="connsiteY2247" fmla="*/ 3309391 h 6523037"/>
                <a:gd name="connsiteX2248" fmla="*/ 9486124 w 12192001"/>
                <a:gd name="connsiteY2248" fmla="*/ 3486871 h 6523037"/>
                <a:gd name="connsiteX2249" fmla="*/ 9750247 w 12192001"/>
                <a:gd name="connsiteY2249" fmla="*/ 3486871 h 6523037"/>
                <a:gd name="connsiteX2250" fmla="*/ 9839685 w 12192001"/>
                <a:gd name="connsiteY2250" fmla="*/ 3397432 h 6523037"/>
                <a:gd name="connsiteX2251" fmla="*/ 10020659 w 12192001"/>
                <a:gd name="connsiteY2251" fmla="*/ 3216459 h 6523037"/>
                <a:gd name="connsiteX2252" fmla="*/ 9749548 w 12192001"/>
                <a:gd name="connsiteY2252" fmla="*/ 2946047 h 6523037"/>
                <a:gd name="connsiteX2253" fmla="*/ 9214487 w 12192001"/>
                <a:gd name="connsiteY2253" fmla="*/ 2945031 h 6523037"/>
                <a:gd name="connsiteX2254" fmla="*/ 9344452 w 12192001"/>
                <a:gd name="connsiteY2254" fmla="*/ 3074995 h 6523037"/>
                <a:gd name="connsiteX2255" fmla="*/ 9482424 w 12192001"/>
                <a:gd name="connsiteY2255" fmla="*/ 3212966 h 6523037"/>
                <a:gd name="connsiteX2256" fmla="*/ 9742561 w 12192001"/>
                <a:gd name="connsiteY2256" fmla="*/ 3212966 h 6523037"/>
                <a:gd name="connsiteX2257" fmla="*/ 9473932 w 12192001"/>
                <a:gd name="connsiteY2257" fmla="*/ 2945031 h 6523037"/>
                <a:gd name="connsiteX2258" fmla="*/ 11132352 w 12192001"/>
                <a:gd name="connsiteY2258" fmla="*/ 2944649 h 6523037"/>
                <a:gd name="connsiteX2259" fmla="*/ 11262318 w 12192001"/>
                <a:gd name="connsiteY2259" fmla="*/ 3074615 h 6523037"/>
                <a:gd name="connsiteX2260" fmla="*/ 11403463 w 12192001"/>
                <a:gd name="connsiteY2260" fmla="*/ 3215061 h 6523037"/>
                <a:gd name="connsiteX2261" fmla="*/ 11133051 w 12192001"/>
                <a:gd name="connsiteY2261" fmla="*/ 3486172 h 6523037"/>
                <a:gd name="connsiteX2262" fmla="*/ 11397175 w 12192001"/>
                <a:gd name="connsiteY2262" fmla="*/ 3486172 h 6523037"/>
                <a:gd name="connsiteX2263" fmla="*/ 11667587 w 12192001"/>
                <a:gd name="connsiteY2263" fmla="*/ 3215061 h 6523037"/>
                <a:gd name="connsiteX2264" fmla="*/ 11396476 w 12192001"/>
                <a:gd name="connsiteY2264" fmla="*/ 2944649 h 6523037"/>
                <a:gd name="connsiteX2265" fmla="*/ 1255633 w 12192001"/>
                <a:gd name="connsiteY2265" fmla="*/ 2679380 h 6523037"/>
                <a:gd name="connsiteX2266" fmla="*/ 985221 w 12192001"/>
                <a:gd name="connsiteY2266" fmla="*/ 2950491 h 6523037"/>
                <a:gd name="connsiteX2267" fmla="*/ 1256332 w 12192001"/>
                <a:gd name="connsiteY2267" fmla="*/ 3220903 h 6523037"/>
                <a:gd name="connsiteX2268" fmla="*/ 1520455 w 12192001"/>
                <a:gd name="connsiteY2268" fmla="*/ 3220903 h 6523037"/>
                <a:gd name="connsiteX2269" fmla="*/ 1249344 w 12192001"/>
                <a:gd name="connsiteY2269" fmla="*/ 2950491 h 6523037"/>
                <a:gd name="connsiteX2270" fmla="*/ 1519757 w 12192001"/>
                <a:gd name="connsiteY2270" fmla="*/ 2679380 h 6523037"/>
                <a:gd name="connsiteX2271" fmla="*/ 1804143 w 12192001"/>
                <a:gd name="connsiteY2271" fmla="*/ 2678681 h 6523037"/>
                <a:gd name="connsiteX2272" fmla="*/ 1533731 w 12192001"/>
                <a:gd name="connsiteY2272" fmla="*/ 2949792 h 6523037"/>
                <a:gd name="connsiteX2273" fmla="*/ 1805541 w 12192001"/>
                <a:gd name="connsiteY2273" fmla="*/ 3220204 h 6523037"/>
                <a:gd name="connsiteX2274" fmla="*/ 2068965 w 12192001"/>
                <a:gd name="connsiteY2274" fmla="*/ 3220204 h 6523037"/>
                <a:gd name="connsiteX2275" fmla="*/ 1938301 w 12192001"/>
                <a:gd name="connsiteY2275" fmla="*/ 3090238 h 6523037"/>
                <a:gd name="connsiteX2276" fmla="*/ 1797854 w 12192001"/>
                <a:gd name="connsiteY2276" fmla="*/ 2949792 h 6523037"/>
                <a:gd name="connsiteX2277" fmla="*/ 2068266 w 12192001"/>
                <a:gd name="connsiteY2277" fmla="*/ 2678681 h 6523037"/>
                <a:gd name="connsiteX2278" fmla="*/ 705027 w 12192001"/>
                <a:gd name="connsiteY2278" fmla="*/ 2678681 h 6523037"/>
                <a:gd name="connsiteX2279" fmla="*/ 434615 w 12192001"/>
                <a:gd name="connsiteY2279" fmla="*/ 2949792 h 6523037"/>
                <a:gd name="connsiteX2280" fmla="*/ 705726 w 12192001"/>
                <a:gd name="connsiteY2280" fmla="*/ 3220204 h 6523037"/>
                <a:gd name="connsiteX2281" fmla="*/ 774202 w 12192001"/>
                <a:gd name="connsiteY2281" fmla="*/ 3220204 h 6523037"/>
                <a:gd name="connsiteX2282" fmla="*/ 773503 w 12192001"/>
                <a:gd name="connsiteY2282" fmla="*/ 3221602 h 6523037"/>
                <a:gd name="connsiteX2283" fmla="*/ 971247 w 12192001"/>
                <a:gd name="connsiteY2283" fmla="*/ 3221602 h 6523037"/>
                <a:gd name="connsiteX2284" fmla="*/ 839884 w 12192001"/>
                <a:gd name="connsiteY2284" fmla="*/ 3090238 h 6523037"/>
                <a:gd name="connsiteX2285" fmla="*/ 699437 w 12192001"/>
                <a:gd name="connsiteY2285" fmla="*/ 2949792 h 6523037"/>
                <a:gd name="connsiteX2286" fmla="*/ 968451 w 12192001"/>
                <a:gd name="connsiteY2286" fmla="*/ 2680079 h 6523037"/>
                <a:gd name="connsiteX2287" fmla="*/ 772105 w 12192001"/>
                <a:gd name="connsiteY2287" fmla="*/ 2680079 h 6523037"/>
                <a:gd name="connsiteX2288" fmla="*/ 772804 w 12192001"/>
                <a:gd name="connsiteY2288" fmla="*/ 2678681 h 6523037"/>
                <a:gd name="connsiteX2289" fmla="*/ 2352653 w 12192001"/>
                <a:gd name="connsiteY2289" fmla="*/ 2677982 h 6523037"/>
                <a:gd name="connsiteX2290" fmla="*/ 2082241 w 12192001"/>
                <a:gd name="connsiteY2290" fmla="*/ 2949093 h 6523037"/>
                <a:gd name="connsiteX2291" fmla="*/ 2353352 w 12192001"/>
                <a:gd name="connsiteY2291" fmla="*/ 3219505 h 6523037"/>
                <a:gd name="connsiteX2292" fmla="*/ 2617476 w 12192001"/>
                <a:gd name="connsiteY2292" fmla="*/ 3219505 h 6523037"/>
                <a:gd name="connsiteX2293" fmla="*/ 2346365 w 12192001"/>
                <a:gd name="connsiteY2293" fmla="*/ 2949093 h 6523037"/>
                <a:gd name="connsiteX2294" fmla="*/ 2616777 w 12192001"/>
                <a:gd name="connsiteY2294" fmla="*/ 2677982 h 6523037"/>
                <a:gd name="connsiteX2295" fmla="*/ 3998184 w 12192001"/>
                <a:gd name="connsiteY2295" fmla="*/ 2675886 h 6523037"/>
                <a:gd name="connsiteX2296" fmla="*/ 3727772 w 12192001"/>
                <a:gd name="connsiteY2296" fmla="*/ 2946997 h 6523037"/>
                <a:gd name="connsiteX2297" fmla="*/ 3998883 w 12192001"/>
                <a:gd name="connsiteY2297" fmla="*/ 3217408 h 6523037"/>
                <a:gd name="connsiteX2298" fmla="*/ 4263007 w 12192001"/>
                <a:gd name="connsiteY2298" fmla="*/ 3217408 h 6523037"/>
                <a:gd name="connsiteX2299" fmla="*/ 3991896 w 12192001"/>
                <a:gd name="connsiteY2299" fmla="*/ 2946997 h 6523037"/>
                <a:gd name="connsiteX2300" fmla="*/ 4262309 w 12192001"/>
                <a:gd name="connsiteY2300" fmla="*/ 2675886 h 6523037"/>
                <a:gd name="connsiteX2301" fmla="*/ 4546696 w 12192001"/>
                <a:gd name="connsiteY2301" fmla="*/ 2675187 h 6523037"/>
                <a:gd name="connsiteX2302" fmla="*/ 4276283 w 12192001"/>
                <a:gd name="connsiteY2302" fmla="*/ 2946297 h 6523037"/>
                <a:gd name="connsiteX2303" fmla="*/ 4547394 w 12192001"/>
                <a:gd name="connsiteY2303" fmla="*/ 3216709 h 6523037"/>
                <a:gd name="connsiteX2304" fmla="*/ 4809087 w 12192001"/>
                <a:gd name="connsiteY2304" fmla="*/ 3216709 h 6523037"/>
                <a:gd name="connsiteX2305" fmla="*/ 4806841 w 12192001"/>
                <a:gd name="connsiteY2305" fmla="*/ 3214743 h 6523037"/>
                <a:gd name="connsiteX2306" fmla="*/ 4660106 w 12192001"/>
                <a:gd name="connsiteY2306" fmla="*/ 3068707 h 6523037"/>
                <a:gd name="connsiteX2307" fmla="*/ 4660106 w 12192001"/>
                <a:gd name="connsiteY2307" fmla="*/ 3065999 h 6523037"/>
                <a:gd name="connsiteX2308" fmla="*/ 4540406 w 12192001"/>
                <a:gd name="connsiteY2308" fmla="*/ 2946297 h 6523037"/>
                <a:gd name="connsiteX2309" fmla="*/ 4660106 w 12192001"/>
                <a:gd name="connsiteY2309" fmla="*/ 2826288 h 6523037"/>
                <a:gd name="connsiteX2310" fmla="*/ 4660106 w 12192001"/>
                <a:gd name="connsiteY2310" fmla="*/ 2822050 h 6523037"/>
                <a:gd name="connsiteX2311" fmla="*/ 4806970 w 12192001"/>
                <a:gd name="connsiteY2311" fmla="*/ 2675187 h 6523037"/>
                <a:gd name="connsiteX2312" fmla="*/ 5915740 w 12192001"/>
                <a:gd name="connsiteY2312" fmla="*/ 2674618 h 6523037"/>
                <a:gd name="connsiteX2313" fmla="*/ 5645327 w 12192001"/>
                <a:gd name="connsiteY2313" fmla="*/ 2945729 h 6523037"/>
                <a:gd name="connsiteX2314" fmla="*/ 5916438 w 12192001"/>
                <a:gd name="connsiteY2314" fmla="*/ 3216141 h 6523037"/>
                <a:gd name="connsiteX2315" fmla="*/ 6180561 w 12192001"/>
                <a:gd name="connsiteY2315" fmla="*/ 3216141 h 6523037"/>
                <a:gd name="connsiteX2316" fmla="*/ 5909450 w 12192001"/>
                <a:gd name="connsiteY2316" fmla="*/ 2945729 h 6523037"/>
                <a:gd name="connsiteX2317" fmla="*/ 6179863 w 12192001"/>
                <a:gd name="connsiteY2317" fmla="*/ 2674618 h 6523037"/>
                <a:gd name="connsiteX2318" fmla="*/ 4821179 w 12192001"/>
                <a:gd name="connsiteY2318" fmla="*/ 2674618 h 6523037"/>
                <a:gd name="connsiteX2319" fmla="*/ 4554381 w 12192001"/>
                <a:gd name="connsiteY2319" fmla="*/ 2942106 h 6523037"/>
                <a:gd name="connsiteX2320" fmla="*/ 4814648 w 12192001"/>
                <a:gd name="connsiteY2320" fmla="*/ 2942106 h 6523037"/>
                <a:gd name="connsiteX2321" fmla="*/ 5081446 w 12192001"/>
                <a:gd name="connsiteY2321" fmla="*/ 2674618 h 6523037"/>
                <a:gd name="connsiteX2322" fmla="*/ 6464250 w 12192001"/>
                <a:gd name="connsiteY2322" fmla="*/ 2673919 h 6523037"/>
                <a:gd name="connsiteX2323" fmla="*/ 6193838 w 12192001"/>
                <a:gd name="connsiteY2323" fmla="*/ 2945031 h 6523037"/>
                <a:gd name="connsiteX2324" fmla="*/ 6465647 w 12192001"/>
                <a:gd name="connsiteY2324" fmla="*/ 3215442 h 6523037"/>
                <a:gd name="connsiteX2325" fmla="*/ 6729071 w 12192001"/>
                <a:gd name="connsiteY2325" fmla="*/ 3215442 h 6523037"/>
                <a:gd name="connsiteX2326" fmla="*/ 6598407 w 12192001"/>
                <a:gd name="connsiteY2326" fmla="*/ 3085476 h 6523037"/>
                <a:gd name="connsiteX2327" fmla="*/ 6457961 w 12192001"/>
                <a:gd name="connsiteY2327" fmla="*/ 2945031 h 6523037"/>
                <a:gd name="connsiteX2328" fmla="*/ 6728373 w 12192001"/>
                <a:gd name="connsiteY2328" fmla="*/ 2673919 h 6523037"/>
                <a:gd name="connsiteX2329" fmla="*/ 5365133 w 12192001"/>
                <a:gd name="connsiteY2329" fmla="*/ 2673919 h 6523037"/>
                <a:gd name="connsiteX2330" fmla="*/ 5094721 w 12192001"/>
                <a:gd name="connsiteY2330" fmla="*/ 2945031 h 6523037"/>
                <a:gd name="connsiteX2331" fmla="*/ 5365832 w 12192001"/>
                <a:gd name="connsiteY2331" fmla="*/ 3215442 h 6523037"/>
                <a:gd name="connsiteX2332" fmla="*/ 5434309 w 12192001"/>
                <a:gd name="connsiteY2332" fmla="*/ 3215442 h 6523037"/>
                <a:gd name="connsiteX2333" fmla="*/ 5433609 w 12192001"/>
                <a:gd name="connsiteY2333" fmla="*/ 3216840 h 6523037"/>
                <a:gd name="connsiteX2334" fmla="*/ 5631353 w 12192001"/>
                <a:gd name="connsiteY2334" fmla="*/ 3216840 h 6523037"/>
                <a:gd name="connsiteX2335" fmla="*/ 5499990 w 12192001"/>
                <a:gd name="connsiteY2335" fmla="*/ 3085476 h 6523037"/>
                <a:gd name="connsiteX2336" fmla="*/ 5359544 w 12192001"/>
                <a:gd name="connsiteY2336" fmla="*/ 2945031 h 6523037"/>
                <a:gd name="connsiteX2337" fmla="*/ 5628558 w 12192001"/>
                <a:gd name="connsiteY2337" fmla="*/ 2675317 h 6523037"/>
                <a:gd name="connsiteX2338" fmla="*/ 5432211 w 12192001"/>
                <a:gd name="connsiteY2338" fmla="*/ 2675317 h 6523037"/>
                <a:gd name="connsiteX2339" fmla="*/ 5432910 w 12192001"/>
                <a:gd name="connsiteY2339" fmla="*/ 2673919 h 6523037"/>
                <a:gd name="connsiteX2340" fmla="*/ 7012759 w 12192001"/>
                <a:gd name="connsiteY2340" fmla="*/ 2673220 h 6523037"/>
                <a:gd name="connsiteX2341" fmla="*/ 6742348 w 12192001"/>
                <a:gd name="connsiteY2341" fmla="*/ 2944331 h 6523037"/>
                <a:gd name="connsiteX2342" fmla="*/ 7013458 w 12192001"/>
                <a:gd name="connsiteY2342" fmla="*/ 3214743 h 6523037"/>
                <a:gd name="connsiteX2343" fmla="*/ 7277582 w 12192001"/>
                <a:gd name="connsiteY2343" fmla="*/ 3214743 h 6523037"/>
                <a:gd name="connsiteX2344" fmla="*/ 7006471 w 12192001"/>
                <a:gd name="connsiteY2344" fmla="*/ 2944331 h 6523037"/>
                <a:gd name="connsiteX2345" fmla="*/ 7276883 w 12192001"/>
                <a:gd name="connsiteY2345" fmla="*/ 2673220 h 6523037"/>
                <a:gd name="connsiteX2346" fmla="*/ 10576156 w 12192001"/>
                <a:gd name="connsiteY2346" fmla="*/ 2671443 h 6523037"/>
                <a:gd name="connsiteX2347" fmla="*/ 10305744 w 12192001"/>
                <a:gd name="connsiteY2347" fmla="*/ 2942554 h 6523037"/>
                <a:gd name="connsiteX2348" fmla="*/ 10576855 w 12192001"/>
                <a:gd name="connsiteY2348" fmla="*/ 3212966 h 6523037"/>
                <a:gd name="connsiteX2349" fmla="*/ 10840978 w 12192001"/>
                <a:gd name="connsiteY2349" fmla="*/ 3212966 h 6523037"/>
                <a:gd name="connsiteX2350" fmla="*/ 10569867 w 12192001"/>
                <a:gd name="connsiteY2350" fmla="*/ 2942554 h 6523037"/>
                <a:gd name="connsiteX2351" fmla="*/ 10840280 w 12192001"/>
                <a:gd name="connsiteY2351" fmla="*/ 2671443 h 6523037"/>
                <a:gd name="connsiteX2352" fmla="*/ 9479701 w 12192001"/>
                <a:gd name="connsiteY2352" fmla="*/ 2671443 h 6523037"/>
                <a:gd name="connsiteX2353" fmla="*/ 9214487 w 12192001"/>
                <a:gd name="connsiteY2353" fmla="*/ 2937344 h 6523037"/>
                <a:gd name="connsiteX2354" fmla="*/ 9476647 w 12192001"/>
                <a:gd name="connsiteY2354" fmla="*/ 2937344 h 6523037"/>
                <a:gd name="connsiteX2355" fmla="*/ 9741862 w 12192001"/>
                <a:gd name="connsiteY2355" fmla="*/ 2671443 h 6523037"/>
                <a:gd name="connsiteX2356" fmla="*/ 8658290 w 12192001"/>
                <a:gd name="connsiteY2356" fmla="*/ 2671124 h 6523037"/>
                <a:gd name="connsiteX2357" fmla="*/ 8387878 w 12192001"/>
                <a:gd name="connsiteY2357" fmla="*/ 2942235 h 6523037"/>
                <a:gd name="connsiteX2358" fmla="*/ 8658989 w 12192001"/>
                <a:gd name="connsiteY2358" fmla="*/ 3212646 h 6523037"/>
                <a:gd name="connsiteX2359" fmla="*/ 8923113 w 12192001"/>
                <a:gd name="connsiteY2359" fmla="*/ 3212646 h 6523037"/>
                <a:gd name="connsiteX2360" fmla="*/ 8652002 w 12192001"/>
                <a:gd name="connsiteY2360" fmla="*/ 2942235 h 6523037"/>
                <a:gd name="connsiteX2361" fmla="*/ 8922414 w 12192001"/>
                <a:gd name="connsiteY2361" fmla="*/ 2671124 h 6523037"/>
                <a:gd name="connsiteX2362" fmla="*/ 11124666 w 12192001"/>
                <a:gd name="connsiteY2362" fmla="*/ 2670744 h 6523037"/>
                <a:gd name="connsiteX2363" fmla="*/ 10854254 w 12192001"/>
                <a:gd name="connsiteY2363" fmla="*/ 2941855 h 6523037"/>
                <a:gd name="connsiteX2364" fmla="*/ 11126064 w 12192001"/>
                <a:gd name="connsiteY2364" fmla="*/ 3212267 h 6523037"/>
                <a:gd name="connsiteX2365" fmla="*/ 11389488 w 12192001"/>
                <a:gd name="connsiteY2365" fmla="*/ 3212267 h 6523037"/>
                <a:gd name="connsiteX2366" fmla="*/ 11258824 w 12192001"/>
                <a:gd name="connsiteY2366" fmla="*/ 3082301 h 6523037"/>
                <a:gd name="connsiteX2367" fmla="*/ 11118377 w 12192001"/>
                <a:gd name="connsiteY2367" fmla="*/ 2941855 h 6523037"/>
                <a:gd name="connsiteX2368" fmla="*/ 11388789 w 12192001"/>
                <a:gd name="connsiteY2368" fmla="*/ 2670744 h 6523037"/>
                <a:gd name="connsiteX2369" fmla="*/ 10025550 w 12192001"/>
                <a:gd name="connsiteY2369" fmla="*/ 2670744 h 6523037"/>
                <a:gd name="connsiteX2370" fmla="*/ 9755138 w 12192001"/>
                <a:gd name="connsiteY2370" fmla="*/ 2941855 h 6523037"/>
                <a:gd name="connsiteX2371" fmla="*/ 10026249 w 12192001"/>
                <a:gd name="connsiteY2371" fmla="*/ 3212267 h 6523037"/>
                <a:gd name="connsiteX2372" fmla="*/ 10094725 w 12192001"/>
                <a:gd name="connsiteY2372" fmla="*/ 3212267 h 6523037"/>
                <a:gd name="connsiteX2373" fmla="*/ 10094026 w 12192001"/>
                <a:gd name="connsiteY2373" fmla="*/ 3213665 h 6523037"/>
                <a:gd name="connsiteX2374" fmla="*/ 10291770 w 12192001"/>
                <a:gd name="connsiteY2374" fmla="*/ 3213665 h 6523037"/>
                <a:gd name="connsiteX2375" fmla="*/ 10160407 w 12192001"/>
                <a:gd name="connsiteY2375" fmla="*/ 3082301 h 6523037"/>
                <a:gd name="connsiteX2376" fmla="*/ 10019960 w 12192001"/>
                <a:gd name="connsiteY2376" fmla="*/ 2941855 h 6523037"/>
                <a:gd name="connsiteX2377" fmla="*/ 10288974 w 12192001"/>
                <a:gd name="connsiteY2377" fmla="*/ 2672142 h 6523037"/>
                <a:gd name="connsiteX2378" fmla="*/ 10092628 w 12192001"/>
                <a:gd name="connsiteY2378" fmla="*/ 2672142 h 6523037"/>
                <a:gd name="connsiteX2379" fmla="*/ 10093327 w 12192001"/>
                <a:gd name="connsiteY2379" fmla="*/ 2670744 h 6523037"/>
                <a:gd name="connsiteX2380" fmla="*/ 3517239 w 12192001"/>
                <a:gd name="connsiteY2380" fmla="*/ 2670723 h 6523037"/>
                <a:gd name="connsiteX2381" fmla="*/ 3513958 w 12192001"/>
                <a:gd name="connsiteY2381" fmla="*/ 2677283 h 6523037"/>
                <a:gd name="connsiteX2382" fmla="*/ 3448975 w 12192001"/>
                <a:gd name="connsiteY2382" fmla="*/ 2677283 h 6523037"/>
                <a:gd name="connsiteX2383" fmla="*/ 3268701 w 12192001"/>
                <a:gd name="connsiteY2383" fmla="*/ 2858257 h 6523037"/>
                <a:gd name="connsiteX2384" fmla="*/ 3179262 w 12192001"/>
                <a:gd name="connsiteY2384" fmla="*/ 2947695 h 6523037"/>
                <a:gd name="connsiteX2385" fmla="*/ 3312721 w 12192001"/>
                <a:gd name="connsiteY2385" fmla="*/ 3081853 h 6523037"/>
                <a:gd name="connsiteX2386" fmla="*/ 3451072 w 12192001"/>
                <a:gd name="connsiteY2386" fmla="*/ 3215313 h 6523037"/>
                <a:gd name="connsiteX2387" fmla="*/ 3715195 w 12192001"/>
                <a:gd name="connsiteY2387" fmla="*/ 3215313 h 6523037"/>
                <a:gd name="connsiteX2388" fmla="*/ 3444084 w 12192001"/>
                <a:gd name="connsiteY2388" fmla="*/ 2944901 h 6523037"/>
                <a:gd name="connsiteX2389" fmla="*/ 3445482 w 12192001"/>
                <a:gd name="connsiteY2389" fmla="*/ 2943503 h 6523037"/>
                <a:gd name="connsiteX2390" fmla="*/ 3713797 w 12192001"/>
                <a:gd name="connsiteY2390" fmla="*/ 2674489 h 6523037"/>
                <a:gd name="connsiteX2391" fmla="*/ 3515356 w 12192001"/>
                <a:gd name="connsiteY2391" fmla="*/ 2674489 h 6523037"/>
                <a:gd name="connsiteX2392" fmla="*/ 9206801 w 12192001"/>
                <a:gd name="connsiteY2392" fmla="*/ 2670425 h 6523037"/>
                <a:gd name="connsiteX2393" fmla="*/ 8936388 w 12192001"/>
                <a:gd name="connsiteY2393" fmla="*/ 2941535 h 6523037"/>
                <a:gd name="connsiteX2394" fmla="*/ 9207500 w 12192001"/>
                <a:gd name="connsiteY2394" fmla="*/ 3211947 h 6523037"/>
                <a:gd name="connsiteX2395" fmla="*/ 9467691 w 12192001"/>
                <a:gd name="connsiteY2395" fmla="*/ 3211947 h 6523037"/>
                <a:gd name="connsiteX2396" fmla="*/ 9467258 w 12192001"/>
                <a:gd name="connsiteY2396" fmla="*/ 3211568 h 6523037"/>
                <a:gd name="connsiteX2397" fmla="*/ 9320523 w 12192001"/>
                <a:gd name="connsiteY2397" fmla="*/ 3065532 h 6523037"/>
                <a:gd name="connsiteX2398" fmla="*/ 9320523 w 12192001"/>
                <a:gd name="connsiteY2398" fmla="*/ 3061548 h 6523037"/>
                <a:gd name="connsiteX2399" fmla="*/ 9200512 w 12192001"/>
                <a:gd name="connsiteY2399" fmla="*/ 2941535 h 6523037"/>
                <a:gd name="connsiteX2400" fmla="*/ 9320523 w 12192001"/>
                <a:gd name="connsiteY2400" fmla="*/ 2821214 h 6523037"/>
                <a:gd name="connsiteX2401" fmla="*/ 9320523 w 12192001"/>
                <a:gd name="connsiteY2401" fmla="*/ 2818876 h 6523037"/>
                <a:gd name="connsiteX2402" fmla="*/ 9468974 w 12192001"/>
                <a:gd name="connsiteY2402" fmla="*/ 2670425 h 6523037"/>
                <a:gd name="connsiteX2403" fmla="*/ 11673176 w 12192001"/>
                <a:gd name="connsiteY2403" fmla="*/ 2670045 h 6523037"/>
                <a:gd name="connsiteX2404" fmla="*/ 11402764 w 12192001"/>
                <a:gd name="connsiteY2404" fmla="*/ 2941156 h 6523037"/>
                <a:gd name="connsiteX2405" fmla="*/ 11673875 w 12192001"/>
                <a:gd name="connsiteY2405" fmla="*/ 3211568 h 6523037"/>
                <a:gd name="connsiteX2406" fmla="*/ 11937999 w 12192001"/>
                <a:gd name="connsiteY2406" fmla="*/ 3211568 h 6523037"/>
                <a:gd name="connsiteX2407" fmla="*/ 11666888 w 12192001"/>
                <a:gd name="connsiteY2407" fmla="*/ 2941156 h 6523037"/>
                <a:gd name="connsiteX2408" fmla="*/ 11937300 w 12192001"/>
                <a:gd name="connsiteY2408" fmla="*/ 2670045 h 6523037"/>
                <a:gd name="connsiteX2409" fmla="*/ 8177520 w 12192001"/>
                <a:gd name="connsiteY2409" fmla="*/ 2665610 h 6523037"/>
                <a:gd name="connsiteX2410" fmla="*/ 8174064 w 12192001"/>
                <a:gd name="connsiteY2410" fmla="*/ 2672521 h 6523037"/>
                <a:gd name="connsiteX2411" fmla="*/ 8109081 w 12192001"/>
                <a:gd name="connsiteY2411" fmla="*/ 2672521 h 6523037"/>
                <a:gd name="connsiteX2412" fmla="*/ 7928807 w 12192001"/>
                <a:gd name="connsiteY2412" fmla="*/ 2853496 h 6523037"/>
                <a:gd name="connsiteX2413" fmla="*/ 7839368 w 12192001"/>
                <a:gd name="connsiteY2413" fmla="*/ 2942933 h 6523037"/>
                <a:gd name="connsiteX2414" fmla="*/ 7972827 w 12192001"/>
                <a:gd name="connsiteY2414" fmla="*/ 3077091 h 6523037"/>
                <a:gd name="connsiteX2415" fmla="*/ 8111178 w 12192001"/>
                <a:gd name="connsiteY2415" fmla="*/ 3210551 h 6523037"/>
                <a:gd name="connsiteX2416" fmla="*/ 8375301 w 12192001"/>
                <a:gd name="connsiteY2416" fmla="*/ 3210551 h 6523037"/>
                <a:gd name="connsiteX2417" fmla="*/ 8104190 w 12192001"/>
                <a:gd name="connsiteY2417" fmla="*/ 2940139 h 6523037"/>
                <a:gd name="connsiteX2418" fmla="*/ 8105588 w 12192001"/>
                <a:gd name="connsiteY2418" fmla="*/ 2938741 h 6523037"/>
                <a:gd name="connsiteX2419" fmla="*/ 8373903 w 12192001"/>
                <a:gd name="connsiteY2419" fmla="*/ 2669727 h 6523037"/>
                <a:gd name="connsiteX2420" fmla="*/ 8175462 w 12192001"/>
                <a:gd name="connsiteY2420" fmla="*/ 2669727 h 6523037"/>
                <a:gd name="connsiteX2421" fmla="*/ 164203 w 12192001"/>
                <a:gd name="connsiteY2421" fmla="*/ 2405474 h 6523037"/>
                <a:gd name="connsiteX2422" fmla="*/ 435314 w 12192001"/>
                <a:gd name="connsiteY2422" fmla="*/ 2675886 h 6523037"/>
                <a:gd name="connsiteX2423" fmla="*/ 164902 w 12192001"/>
                <a:gd name="connsiteY2423" fmla="*/ 2946997 h 6523037"/>
                <a:gd name="connsiteX2424" fmla="*/ 429025 w 12192001"/>
                <a:gd name="connsiteY2424" fmla="*/ 2946997 h 6523037"/>
                <a:gd name="connsiteX2425" fmla="*/ 699437 w 12192001"/>
                <a:gd name="connsiteY2425" fmla="*/ 2675886 h 6523037"/>
                <a:gd name="connsiteX2426" fmla="*/ 428326 w 12192001"/>
                <a:gd name="connsiteY2426" fmla="*/ 2405474 h 6523037"/>
                <a:gd name="connsiteX2427" fmla="*/ 1811131 w 12192001"/>
                <a:gd name="connsiteY2427" fmla="*/ 2404775 h 6523037"/>
                <a:gd name="connsiteX2428" fmla="*/ 2082940 w 12192001"/>
                <a:gd name="connsiteY2428" fmla="*/ 2675187 h 6523037"/>
                <a:gd name="connsiteX2429" fmla="*/ 1812528 w 12192001"/>
                <a:gd name="connsiteY2429" fmla="*/ 2946297 h 6523037"/>
                <a:gd name="connsiteX2430" fmla="*/ 2075953 w 12192001"/>
                <a:gd name="connsiteY2430" fmla="*/ 2946297 h 6523037"/>
                <a:gd name="connsiteX2431" fmla="*/ 2346365 w 12192001"/>
                <a:gd name="connsiteY2431" fmla="*/ 2675187 h 6523037"/>
                <a:gd name="connsiteX2432" fmla="*/ 2212208 w 12192001"/>
                <a:gd name="connsiteY2432" fmla="*/ 2541728 h 6523037"/>
                <a:gd name="connsiteX2433" fmla="*/ 2075254 w 12192001"/>
                <a:gd name="connsiteY2433" fmla="*/ 2404775 h 6523037"/>
                <a:gd name="connsiteX2434" fmla="*/ 1262620 w 12192001"/>
                <a:gd name="connsiteY2434" fmla="*/ 2404775 h 6523037"/>
                <a:gd name="connsiteX2435" fmla="*/ 1533731 w 12192001"/>
                <a:gd name="connsiteY2435" fmla="*/ 2675187 h 6523037"/>
                <a:gd name="connsiteX2436" fmla="*/ 1263319 w 12192001"/>
                <a:gd name="connsiteY2436" fmla="*/ 2946297 h 6523037"/>
                <a:gd name="connsiteX2437" fmla="*/ 1527442 w 12192001"/>
                <a:gd name="connsiteY2437" fmla="*/ 2946297 h 6523037"/>
                <a:gd name="connsiteX2438" fmla="*/ 1797854 w 12192001"/>
                <a:gd name="connsiteY2438" fmla="*/ 2675187 h 6523037"/>
                <a:gd name="connsiteX2439" fmla="*/ 1526744 w 12192001"/>
                <a:gd name="connsiteY2439" fmla="*/ 2404775 h 6523037"/>
                <a:gd name="connsiteX2440" fmla="*/ 2359641 w 12192001"/>
                <a:gd name="connsiteY2440" fmla="*/ 2404076 h 6523037"/>
                <a:gd name="connsiteX2441" fmla="*/ 2361039 w 12192001"/>
                <a:gd name="connsiteY2441" fmla="*/ 2405474 h 6523037"/>
                <a:gd name="connsiteX2442" fmla="*/ 2629354 w 12192001"/>
                <a:gd name="connsiteY2442" fmla="*/ 2673790 h 6523037"/>
                <a:gd name="connsiteX2443" fmla="*/ 2358942 w 12192001"/>
                <a:gd name="connsiteY2443" fmla="*/ 2944901 h 6523037"/>
                <a:gd name="connsiteX2444" fmla="*/ 2623065 w 12192001"/>
                <a:gd name="connsiteY2444" fmla="*/ 2944901 h 6523037"/>
                <a:gd name="connsiteX2445" fmla="*/ 2893477 w 12192001"/>
                <a:gd name="connsiteY2445" fmla="*/ 2673790 h 6523037"/>
                <a:gd name="connsiteX2446" fmla="*/ 2888586 w 12192001"/>
                <a:gd name="connsiteY2446" fmla="*/ 2668899 h 6523037"/>
                <a:gd name="connsiteX2447" fmla="*/ 2906055 w 12192001"/>
                <a:gd name="connsiteY2447" fmla="*/ 2677283 h 6523037"/>
                <a:gd name="connsiteX2448" fmla="*/ 2900465 w 12192001"/>
                <a:gd name="connsiteY2448" fmla="*/ 2677283 h 6523037"/>
                <a:gd name="connsiteX2449" fmla="*/ 2630053 w 12192001"/>
                <a:gd name="connsiteY2449" fmla="*/ 2948394 h 6523037"/>
                <a:gd name="connsiteX2450" fmla="*/ 2901164 w 12192001"/>
                <a:gd name="connsiteY2450" fmla="*/ 3218806 h 6523037"/>
                <a:gd name="connsiteX2451" fmla="*/ 3165287 w 12192001"/>
                <a:gd name="connsiteY2451" fmla="*/ 3218806 h 6523037"/>
                <a:gd name="connsiteX2452" fmla="*/ 2894875 w 12192001"/>
                <a:gd name="connsiteY2452" fmla="*/ 2947695 h 6523037"/>
                <a:gd name="connsiteX2453" fmla="*/ 3079343 w 12192001"/>
                <a:gd name="connsiteY2453" fmla="*/ 2763229 h 6523037"/>
                <a:gd name="connsiteX2454" fmla="*/ 3165287 w 12192001"/>
                <a:gd name="connsiteY2454" fmla="*/ 2677283 h 6523037"/>
                <a:gd name="connsiteX2455" fmla="*/ 2906754 w 12192001"/>
                <a:gd name="connsiteY2455" fmla="*/ 2677283 h 6523037"/>
                <a:gd name="connsiteX2456" fmla="*/ 2889285 w 12192001"/>
                <a:gd name="connsiteY2456" fmla="*/ 2668899 h 6523037"/>
                <a:gd name="connsiteX2457" fmla="*/ 2623764 w 12192001"/>
                <a:gd name="connsiteY2457" fmla="*/ 2404076 h 6523037"/>
                <a:gd name="connsiteX2458" fmla="*/ 713412 w 12192001"/>
                <a:gd name="connsiteY2458" fmla="*/ 2404076 h 6523037"/>
                <a:gd name="connsiteX2459" fmla="*/ 844775 w 12192001"/>
                <a:gd name="connsiteY2459" fmla="*/ 2535440 h 6523037"/>
                <a:gd name="connsiteX2460" fmla="*/ 985221 w 12192001"/>
                <a:gd name="connsiteY2460" fmla="*/ 2675886 h 6523037"/>
                <a:gd name="connsiteX2461" fmla="*/ 716206 w 12192001"/>
                <a:gd name="connsiteY2461" fmla="*/ 2945599 h 6523037"/>
                <a:gd name="connsiteX2462" fmla="*/ 912552 w 12192001"/>
                <a:gd name="connsiteY2462" fmla="*/ 2945599 h 6523037"/>
                <a:gd name="connsiteX2463" fmla="*/ 911853 w 12192001"/>
                <a:gd name="connsiteY2463" fmla="*/ 2946997 h 6523037"/>
                <a:gd name="connsiteX2464" fmla="*/ 978932 w 12192001"/>
                <a:gd name="connsiteY2464" fmla="*/ 2946997 h 6523037"/>
                <a:gd name="connsiteX2465" fmla="*/ 1248646 w 12192001"/>
                <a:gd name="connsiteY2465" fmla="*/ 2675886 h 6523037"/>
                <a:gd name="connsiteX2466" fmla="*/ 1113090 w 12192001"/>
                <a:gd name="connsiteY2466" fmla="*/ 2541029 h 6523037"/>
                <a:gd name="connsiteX2467" fmla="*/ 1094923 w 12192001"/>
                <a:gd name="connsiteY2467" fmla="*/ 2522863 h 6523037"/>
                <a:gd name="connsiteX2468" fmla="*/ 977535 w 12192001"/>
                <a:gd name="connsiteY2468" fmla="*/ 2406173 h 6523037"/>
                <a:gd name="connsiteX2469" fmla="*/ 909058 w 12192001"/>
                <a:gd name="connsiteY2469" fmla="*/ 2406173 h 6523037"/>
                <a:gd name="connsiteX2470" fmla="*/ 909757 w 12192001"/>
                <a:gd name="connsiteY2470" fmla="*/ 2404775 h 6523037"/>
                <a:gd name="connsiteX2471" fmla="*/ 2907452 w 12192001"/>
                <a:gd name="connsiteY2471" fmla="*/ 2402679 h 6523037"/>
                <a:gd name="connsiteX2472" fmla="*/ 3178563 w 12192001"/>
                <a:gd name="connsiteY2472" fmla="*/ 2673091 h 6523037"/>
                <a:gd name="connsiteX2473" fmla="*/ 3175769 w 12192001"/>
                <a:gd name="connsiteY2473" fmla="*/ 2675886 h 6523037"/>
                <a:gd name="connsiteX2474" fmla="*/ 3085631 w 12192001"/>
                <a:gd name="connsiteY2474" fmla="*/ 2766722 h 6523037"/>
                <a:gd name="connsiteX2475" fmla="*/ 2908151 w 12192001"/>
                <a:gd name="connsiteY2475" fmla="*/ 2944202 h 6523037"/>
                <a:gd name="connsiteX2476" fmla="*/ 3172275 w 12192001"/>
                <a:gd name="connsiteY2476" fmla="*/ 2944202 h 6523037"/>
                <a:gd name="connsiteX2477" fmla="*/ 3262412 w 12192001"/>
                <a:gd name="connsiteY2477" fmla="*/ 2854763 h 6523037"/>
                <a:gd name="connsiteX2478" fmla="*/ 3442687 w 12192001"/>
                <a:gd name="connsiteY2478" fmla="*/ 2673091 h 6523037"/>
                <a:gd name="connsiteX2479" fmla="*/ 3171576 w 12192001"/>
                <a:gd name="connsiteY2479" fmla="*/ 2402679 h 6523037"/>
                <a:gd name="connsiteX2480" fmla="*/ 4004473 w 12192001"/>
                <a:gd name="connsiteY2480" fmla="*/ 2401981 h 6523037"/>
                <a:gd name="connsiteX2481" fmla="*/ 4275584 w 12192001"/>
                <a:gd name="connsiteY2481" fmla="*/ 2671694 h 6523037"/>
                <a:gd name="connsiteX2482" fmla="*/ 4005172 w 12192001"/>
                <a:gd name="connsiteY2482" fmla="*/ 2942805 h 6523037"/>
                <a:gd name="connsiteX2483" fmla="*/ 4269296 w 12192001"/>
                <a:gd name="connsiteY2483" fmla="*/ 2942805 h 6523037"/>
                <a:gd name="connsiteX2484" fmla="*/ 4539707 w 12192001"/>
                <a:gd name="connsiteY2484" fmla="*/ 2672393 h 6523037"/>
                <a:gd name="connsiteX2485" fmla="*/ 4268598 w 12192001"/>
                <a:gd name="connsiteY2485" fmla="*/ 2401981 h 6523037"/>
                <a:gd name="connsiteX2486" fmla="*/ 4824309 w 12192001"/>
                <a:gd name="connsiteY2486" fmla="*/ 2400713 h 6523037"/>
                <a:gd name="connsiteX2487" fmla="*/ 5095421 w 12192001"/>
                <a:gd name="connsiteY2487" fmla="*/ 2671124 h 6523037"/>
                <a:gd name="connsiteX2488" fmla="*/ 4825009 w 12192001"/>
                <a:gd name="connsiteY2488" fmla="*/ 2942235 h 6523037"/>
                <a:gd name="connsiteX2489" fmla="*/ 5089132 w 12192001"/>
                <a:gd name="connsiteY2489" fmla="*/ 2942235 h 6523037"/>
                <a:gd name="connsiteX2490" fmla="*/ 5359544 w 12192001"/>
                <a:gd name="connsiteY2490" fmla="*/ 2671124 h 6523037"/>
                <a:gd name="connsiteX2491" fmla="*/ 5088432 w 12192001"/>
                <a:gd name="connsiteY2491" fmla="*/ 2400713 h 6523037"/>
                <a:gd name="connsiteX2492" fmla="*/ 4553683 w 12192001"/>
                <a:gd name="connsiteY2492" fmla="*/ 2400583 h 6523037"/>
                <a:gd name="connsiteX2493" fmla="*/ 4821422 w 12192001"/>
                <a:gd name="connsiteY2493" fmla="*/ 2667631 h 6523037"/>
                <a:gd name="connsiteX2494" fmla="*/ 5082144 w 12192001"/>
                <a:gd name="connsiteY2494" fmla="*/ 2667631 h 6523037"/>
                <a:gd name="connsiteX2495" fmla="*/ 4814405 w 12192001"/>
                <a:gd name="connsiteY2495" fmla="*/ 2400583 h 6523037"/>
                <a:gd name="connsiteX2496" fmla="*/ 6471238 w 12192001"/>
                <a:gd name="connsiteY2496" fmla="*/ 2400013 h 6523037"/>
                <a:gd name="connsiteX2497" fmla="*/ 6743046 w 12192001"/>
                <a:gd name="connsiteY2497" fmla="*/ 2670425 h 6523037"/>
                <a:gd name="connsiteX2498" fmla="*/ 6472634 w 12192001"/>
                <a:gd name="connsiteY2498" fmla="*/ 2941535 h 6523037"/>
                <a:gd name="connsiteX2499" fmla="*/ 6736059 w 12192001"/>
                <a:gd name="connsiteY2499" fmla="*/ 2941535 h 6523037"/>
                <a:gd name="connsiteX2500" fmla="*/ 7006471 w 12192001"/>
                <a:gd name="connsiteY2500" fmla="*/ 2670425 h 6523037"/>
                <a:gd name="connsiteX2501" fmla="*/ 6872314 w 12192001"/>
                <a:gd name="connsiteY2501" fmla="*/ 2536966 h 6523037"/>
                <a:gd name="connsiteX2502" fmla="*/ 6735361 w 12192001"/>
                <a:gd name="connsiteY2502" fmla="*/ 2400013 h 6523037"/>
                <a:gd name="connsiteX2503" fmla="*/ 5922727 w 12192001"/>
                <a:gd name="connsiteY2503" fmla="*/ 2400013 h 6523037"/>
                <a:gd name="connsiteX2504" fmla="*/ 6193838 w 12192001"/>
                <a:gd name="connsiteY2504" fmla="*/ 2670425 h 6523037"/>
                <a:gd name="connsiteX2505" fmla="*/ 5923425 w 12192001"/>
                <a:gd name="connsiteY2505" fmla="*/ 2941535 h 6523037"/>
                <a:gd name="connsiteX2506" fmla="*/ 6187548 w 12192001"/>
                <a:gd name="connsiteY2506" fmla="*/ 2941535 h 6523037"/>
                <a:gd name="connsiteX2507" fmla="*/ 6457961 w 12192001"/>
                <a:gd name="connsiteY2507" fmla="*/ 2670425 h 6523037"/>
                <a:gd name="connsiteX2508" fmla="*/ 6186850 w 12192001"/>
                <a:gd name="connsiteY2508" fmla="*/ 2400013 h 6523037"/>
                <a:gd name="connsiteX2509" fmla="*/ 7019748 w 12192001"/>
                <a:gd name="connsiteY2509" fmla="*/ 2399314 h 6523037"/>
                <a:gd name="connsiteX2510" fmla="*/ 7021145 w 12192001"/>
                <a:gd name="connsiteY2510" fmla="*/ 2400713 h 6523037"/>
                <a:gd name="connsiteX2511" fmla="*/ 7289460 w 12192001"/>
                <a:gd name="connsiteY2511" fmla="*/ 2669028 h 6523037"/>
                <a:gd name="connsiteX2512" fmla="*/ 7019048 w 12192001"/>
                <a:gd name="connsiteY2512" fmla="*/ 2940139 h 6523037"/>
                <a:gd name="connsiteX2513" fmla="*/ 7283171 w 12192001"/>
                <a:gd name="connsiteY2513" fmla="*/ 2940139 h 6523037"/>
                <a:gd name="connsiteX2514" fmla="*/ 7553583 w 12192001"/>
                <a:gd name="connsiteY2514" fmla="*/ 2669028 h 6523037"/>
                <a:gd name="connsiteX2515" fmla="*/ 7548692 w 12192001"/>
                <a:gd name="connsiteY2515" fmla="*/ 2664137 h 6523037"/>
                <a:gd name="connsiteX2516" fmla="*/ 7566161 w 12192001"/>
                <a:gd name="connsiteY2516" fmla="*/ 2672521 h 6523037"/>
                <a:gd name="connsiteX2517" fmla="*/ 7560571 w 12192001"/>
                <a:gd name="connsiteY2517" fmla="*/ 2672521 h 6523037"/>
                <a:gd name="connsiteX2518" fmla="*/ 7290159 w 12192001"/>
                <a:gd name="connsiteY2518" fmla="*/ 2943632 h 6523037"/>
                <a:gd name="connsiteX2519" fmla="*/ 7561270 w 12192001"/>
                <a:gd name="connsiteY2519" fmla="*/ 3214044 h 6523037"/>
                <a:gd name="connsiteX2520" fmla="*/ 7825393 w 12192001"/>
                <a:gd name="connsiteY2520" fmla="*/ 3214044 h 6523037"/>
                <a:gd name="connsiteX2521" fmla="*/ 7554981 w 12192001"/>
                <a:gd name="connsiteY2521" fmla="*/ 2942933 h 6523037"/>
                <a:gd name="connsiteX2522" fmla="*/ 7739449 w 12192001"/>
                <a:gd name="connsiteY2522" fmla="*/ 2758467 h 6523037"/>
                <a:gd name="connsiteX2523" fmla="*/ 7825393 w 12192001"/>
                <a:gd name="connsiteY2523" fmla="*/ 2672521 h 6523037"/>
                <a:gd name="connsiteX2524" fmla="*/ 7566860 w 12192001"/>
                <a:gd name="connsiteY2524" fmla="*/ 2672521 h 6523037"/>
                <a:gd name="connsiteX2525" fmla="*/ 7549391 w 12192001"/>
                <a:gd name="connsiteY2525" fmla="*/ 2664137 h 6523037"/>
                <a:gd name="connsiteX2526" fmla="*/ 7283870 w 12192001"/>
                <a:gd name="connsiteY2526" fmla="*/ 2399314 h 6523037"/>
                <a:gd name="connsiteX2527" fmla="*/ 5373519 w 12192001"/>
                <a:gd name="connsiteY2527" fmla="*/ 2399314 h 6523037"/>
                <a:gd name="connsiteX2528" fmla="*/ 5504881 w 12192001"/>
                <a:gd name="connsiteY2528" fmla="*/ 2530678 h 6523037"/>
                <a:gd name="connsiteX2529" fmla="*/ 5645327 w 12192001"/>
                <a:gd name="connsiteY2529" fmla="*/ 2671124 h 6523037"/>
                <a:gd name="connsiteX2530" fmla="*/ 5376313 w 12192001"/>
                <a:gd name="connsiteY2530" fmla="*/ 2940837 h 6523037"/>
                <a:gd name="connsiteX2531" fmla="*/ 5572659 w 12192001"/>
                <a:gd name="connsiteY2531" fmla="*/ 2940837 h 6523037"/>
                <a:gd name="connsiteX2532" fmla="*/ 5571959 w 12192001"/>
                <a:gd name="connsiteY2532" fmla="*/ 2942235 h 6523037"/>
                <a:gd name="connsiteX2533" fmla="*/ 5639038 w 12192001"/>
                <a:gd name="connsiteY2533" fmla="*/ 2942235 h 6523037"/>
                <a:gd name="connsiteX2534" fmla="*/ 5908752 w 12192001"/>
                <a:gd name="connsiteY2534" fmla="*/ 2671124 h 6523037"/>
                <a:gd name="connsiteX2535" fmla="*/ 5773197 w 12192001"/>
                <a:gd name="connsiteY2535" fmla="*/ 2536267 h 6523037"/>
                <a:gd name="connsiteX2536" fmla="*/ 5755029 w 12192001"/>
                <a:gd name="connsiteY2536" fmla="*/ 2518101 h 6523037"/>
                <a:gd name="connsiteX2537" fmla="*/ 5637642 w 12192001"/>
                <a:gd name="connsiteY2537" fmla="*/ 2401411 h 6523037"/>
                <a:gd name="connsiteX2538" fmla="*/ 5569164 w 12192001"/>
                <a:gd name="connsiteY2538" fmla="*/ 2401411 h 6523037"/>
                <a:gd name="connsiteX2539" fmla="*/ 5569864 w 12192001"/>
                <a:gd name="connsiteY2539" fmla="*/ 2400013 h 6523037"/>
                <a:gd name="connsiteX2540" fmla="*/ 7567558 w 12192001"/>
                <a:gd name="connsiteY2540" fmla="*/ 2397917 h 6523037"/>
                <a:gd name="connsiteX2541" fmla="*/ 7838669 w 12192001"/>
                <a:gd name="connsiteY2541" fmla="*/ 2668329 h 6523037"/>
                <a:gd name="connsiteX2542" fmla="*/ 7835875 w 12192001"/>
                <a:gd name="connsiteY2542" fmla="*/ 2671124 h 6523037"/>
                <a:gd name="connsiteX2543" fmla="*/ 7745737 w 12192001"/>
                <a:gd name="connsiteY2543" fmla="*/ 2761960 h 6523037"/>
                <a:gd name="connsiteX2544" fmla="*/ 7568257 w 12192001"/>
                <a:gd name="connsiteY2544" fmla="*/ 2939440 h 6523037"/>
                <a:gd name="connsiteX2545" fmla="*/ 7832381 w 12192001"/>
                <a:gd name="connsiteY2545" fmla="*/ 2939440 h 6523037"/>
                <a:gd name="connsiteX2546" fmla="*/ 7922518 w 12192001"/>
                <a:gd name="connsiteY2546" fmla="*/ 2850001 h 6523037"/>
                <a:gd name="connsiteX2547" fmla="*/ 8102793 w 12192001"/>
                <a:gd name="connsiteY2547" fmla="*/ 2668329 h 6523037"/>
                <a:gd name="connsiteX2548" fmla="*/ 7831682 w 12192001"/>
                <a:gd name="connsiteY2548" fmla="*/ 2397917 h 6523037"/>
                <a:gd name="connsiteX2549" fmla="*/ 9484726 w 12192001"/>
                <a:gd name="connsiteY2549" fmla="*/ 2397537 h 6523037"/>
                <a:gd name="connsiteX2550" fmla="*/ 9755837 w 12192001"/>
                <a:gd name="connsiteY2550" fmla="*/ 2667949 h 6523037"/>
                <a:gd name="connsiteX2551" fmla="*/ 9485425 w 12192001"/>
                <a:gd name="connsiteY2551" fmla="*/ 2939060 h 6523037"/>
                <a:gd name="connsiteX2552" fmla="*/ 9749548 w 12192001"/>
                <a:gd name="connsiteY2552" fmla="*/ 2939060 h 6523037"/>
                <a:gd name="connsiteX2553" fmla="*/ 10019960 w 12192001"/>
                <a:gd name="connsiteY2553" fmla="*/ 2667949 h 6523037"/>
                <a:gd name="connsiteX2554" fmla="*/ 9748849 w 12192001"/>
                <a:gd name="connsiteY2554" fmla="*/ 2397537 h 6523037"/>
                <a:gd name="connsiteX2555" fmla="*/ 8664579 w 12192001"/>
                <a:gd name="connsiteY2555" fmla="*/ 2397219 h 6523037"/>
                <a:gd name="connsiteX2556" fmla="*/ 8935690 w 12192001"/>
                <a:gd name="connsiteY2556" fmla="*/ 2666932 h 6523037"/>
                <a:gd name="connsiteX2557" fmla="*/ 8665278 w 12192001"/>
                <a:gd name="connsiteY2557" fmla="*/ 2938043 h 6523037"/>
                <a:gd name="connsiteX2558" fmla="*/ 8929401 w 12192001"/>
                <a:gd name="connsiteY2558" fmla="*/ 2938043 h 6523037"/>
                <a:gd name="connsiteX2559" fmla="*/ 9199813 w 12192001"/>
                <a:gd name="connsiteY2559" fmla="*/ 2667631 h 6523037"/>
                <a:gd name="connsiteX2560" fmla="*/ 8928703 w 12192001"/>
                <a:gd name="connsiteY2560" fmla="*/ 2397219 h 6523037"/>
                <a:gd name="connsiteX2561" fmla="*/ 11131654 w 12192001"/>
                <a:gd name="connsiteY2561" fmla="*/ 2396838 h 6523037"/>
                <a:gd name="connsiteX2562" fmla="*/ 11403463 w 12192001"/>
                <a:gd name="connsiteY2562" fmla="*/ 2667250 h 6523037"/>
                <a:gd name="connsiteX2563" fmla="*/ 11133051 w 12192001"/>
                <a:gd name="connsiteY2563" fmla="*/ 2938360 h 6523037"/>
                <a:gd name="connsiteX2564" fmla="*/ 11396476 w 12192001"/>
                <a:gd name="connsiteY2564" fmla="*/ 2938360 h 6523037"/>
                <a:gd name="connsiteX2565" fmla="*/ 11666888 w 12192001"/>
                <a:gd name="connsiteY2565" fmla="*/ 2667250 h 6523037"/>
                <a:gd name="connsiteX2566" fmla="*/ 11532731 w 12192001"/>
                <a:gd name="connsiteY2566" fmla="*/ 2533791 h 6523037"/>
                <a:gd name="connsiteX2567" fmla="*/ 11395777 w 12192001"/>
                <a:gd name="connsiteY2567" fmla="*/ 2396838 h 6523037"/>
                <a:gd name="connsiteX2568" fmla="*/ 10583143 w 12192001"/>
                <a:gd name="connsiteY2568" fmla="*/ 2396838 h 6523037"/>
                <a:gd name="connsiteX2569" fmla="*/ 10854254 w 12192001"/>
                <a:gd name="connsiteY2569" fmla="*/ 2667250 h 6523037"/>
                <a:gd name="connsiteX2570" fmla="*/ 10583842 w 12192001"/>
                <a:gd name="connsiteY2570" fmla="*/ 2938360 h 6523037"/>
                <a:gd name="connsiteX2571" fmla="*/ 10847965 w 12192001"/>
                <a:gd name="connsiteY2571" fmla="*/ 2938360 h 6523037"/>
                <a:gd name="connsiteX2572" fmla="*/ 11118377 w 12192001"/>
                <a:gd name="connsiteY2572" fmla="*/ 2667250 h 6523037"/>
                <a:gd name="connsiteX2573" fmla="*/ 10847267 w 12192001"/>
                <a:gd name="connsiteY2573" fmla="*/ 2396838 h 6523037"/>
                <a:gd name="connsiteX2574" fmla="*/ 10033935 w 12192001"/>
                <a:gd name="connsiteY2574" fmla="*/ 2396139 h 6523037"/>
                <a:gd name="connsiteX2575" fmla="*/ 10165298 w 12192001"/>
                <a:gd name="connsiteY2575" fmla="*/ 2527503 h 6523037"/>
                <a:gd name="connsiteX2576" fmla="*/ 10305744 w 12192001"/>
                <a:gd name="connsiteY2576" fmla="*/ 2667949 h 6523037"/>
                <a:gd name="connsiteX2577" fmla="*/ 10036729 w 12192001"/>
                <a:gd name="connsiteY2577" fmla="*/ 2937662 h 6523037"/>
                <a:gd name="connsiteX2578" fmla="*/ 10233075 w 12192001"/>
                <a:gd name="connsiteY2578" fmla="*/ 2937662 h 6523037"/>
                <a:gd name="connsiteX2579" fmla="*/ 10232376 w 12192001"/>
                <a:gd name="connsiteY2579" fmla="*/ 2939060 h 6523037"/>
                <a:gd name="connsiteX2580" fmla="*/ 10299455 w 12192001"/>
                <a:gd name="connsiteY2580" fmla="*/ 2939060 h 6523037"/>
                <a:gd name="connsiteX2581" fmla="*/ 10569169 w 12192001"/>
                <a:gd name="connsiteY2581" fmla="*/ 2667949 h 6523037"/>
                <a:gd name="connsiteX2582" fmla="*/ 10433613 w 12192001"/>
                <a:gd name="connsiteY2582" fmla="*/ 2533092 h 6523037"/>
                <a:gd name="connsiteX2583" fmla="*/ 10415446 w 12192001"/>
                <a:gd name="connsiteY2583" fmla="*/ 2514926 h 6523037"/>
                <a:gd name="connsiteX2584" fmla="*/ 10298058 w 12192001"/>
                <a:gd name="connsiteY2584" fmla="*/ 2398236 h 6523037"/>
                <a:gd name="connsiteX2585" fmla="*/ 10229581 w 12192001"/>
                <a:gd name="connsiteY2585" fmla="*/ 2398236 h 6523037"/>
                <a:gd name="connsiteX2586" fmla="*/ 10230280 w 12192001"/>
                <a:gd name="connsiteY2586" fmla="*/ 2396838 h 6523037"/>
                <a:gd name="connsiteX2587" fmla="*/ 9213788 w 12192001"/>
                <a:gd name="connsiteY2587" fmla="*/ 2395821 h 6523037"/>
                <a:gd name="connsiteX2588" fmla="*/ 9483119 w 12192001"/>
                <a:gd name="connsiteY2588" fmla="*/ 2664456 h 6523037"/>
                <a:gd name="connsiteX2589" fmla="*/ 9742561 w 12192001"/>
                <a:gd name="connsiteY2589" fmla="*/ 2664456 h 6523037"/>
                <a:gd name="connsiteX2590" fmla="*/ 9473232 w 12192001"/>
                <a:gd name="connsiteY2590" fmla="*/ 2395821 h 6523037"/>
                <a:gd name="connsiteX2591" fmla="*/ 1255633 w 12192001"/>
                <a:gd name="connsiteY2591" fmla="*/ 2130870 h 6523037"/>
                <a:gd name="connsiteX2592" fmla="*/ 985221 w 12192001"/>
                <a:gd name="connsiteY2592" fmla="*/ 2401981 h 6523037"/>
                <a:gd name="connsiteX2593" fmla="*/ 1117282 w 12192001"/>
                <a:gd name="connsiteY2593" fmla="*/ 2534042 h 6523037"/>
                <a:gd name="connsiteX2594" fmla="*/ 1255633 w 12192001"/>
                <a:gd name="connsiteY2594" fmla="*/ 2672393 h 6523037"/>
                <a:gd name="connsiteX2595" fmla="*/ 1519757 w 12192001"/>
                <a:gd name="connsiteY2595" fmla="*/ 2672393 h 6523037"/>
                <a:gd name="connsiteX2596" fmla="*/ 1248646 w 12192001"/>
                <a:gd name="connsiteY2596" fmla="*/ 2401981 h 6523037"/>
                <a:gd name="connsiteX2597" fmla="*/ 1519757 w 12192001"/>
                <a:gd name="connsiteY2597" fmla="*/ 2130870 h 6523037"/>
                <a:gd name="connsiteX2598" fmla="*/ 2351955 w 12192001"/>
                <a:gd name="connsiteY2598" fmla="*/ 2130171 h 6523037"/>
                <a:gd name="connsiteX2599" fmla="*/ 2171680 w 12192001"/>
                <a:gd name="connsiteY2599" fmla="*/ 2311144 h 6523037"/>
                <a:gd name="connsiteX2600" fmla="*/ 2170981 w 12192001"/>
                <a:gd name="connsiteY2600" fmla="*/ 2311144 h 6523037"/>
                <a:gd name="connsiteX2601" fmla="*/ 2081543 w 12192001"/>
                <a:gd name="connsiteY2601" fmla="*/ 2400583 h 6523037"/>
                <a:gd name="connsiteX2602" fmla="*/ 2215701 w 12192001"/>
                <a:gd name="connsiteY2602" fmla="*/ 2534741 h 6523037"/>
                <a:gd name="connsiteX2603" fmla="*/ 2352653 w 12192001"/>
                <a:gd name="connsiteY2603" fmla="*/ 2670995 h 6523037"/>
                <a:gd name="connsiteX2604" fmla="*/ 2616078 w 12192001"/>
                <a:gd name="connsiteY2604" fmla="*/ 2670995 h 6523037"/>
                <a:gd name="connsiteX2605" fmla="*/ 2344968 w 12192001"/>
                <a:gd name="connsiteY2605" fmla="*/ 2400583 h 6523037"/>
                <a:gd name="connsiteX2606" fmla="*/ 2346365 w 12192001"/>
                <a:gd name="connsiteY2606" fmla="*/ 2399185 h 6523037"/>
                <a:gd name="connsiteX2607" fmla="*/ 2347064 w 12192001"/>
                <a:gd name="connsiteY2607" fmla="*/ 2399185 h 6523037"/>
                <a:gd name="connsiteX2608" fmla="*/ 2615379 w 12192001"/>
                <a:gd name="connsiteY2608" fmla="*/ 2130171 h 6523037"/>
                <a:gd name="connsiteX2609" fmla="*/ 1803445 w 12192001"/>
                <a:gd name="connsiteY2609" fmla="*/ 2130171 h 6523037"/>
                <a:gd name="connsiteX2610" fmla="*/ 1533032 w 12192001"/>
                <a:gd name="connsiteY2610" fmla="*/ 2401282 h 6523037"/>
                <a:gd name="connsiteX2611" fmla="*/ 1803445 w 12192001"/>
                <a:gd name="connsiteY2611" fmla="*/ 2670995 h 6523037"/>
                <a:gd name="connsiteX2612" fmla="*/ 2067568 w 12192001"/>
                <a:gd name="connsiteY2612" fmla="*/ 2670995 h 6523037"/>
                <a:gd name="connsiteX2613" fmla="*/ 1796458 w 12192001"/>
                <a:gd name="connsiteY2613" fmla="*/ 2400583 h 6523037"/>
                <a:gd name="connsiteX2614" fmla="*/ 1980924 w 12192001"/>
                <a:gd name="connsiteY2614" fmla="*/ 2216115 h 6523037"/>
                <a:gd name="connsiteX2615" fmla="*/ 1981623 w 12192001"/>
                <a:gd name="connsiteY2615" fmla="*/ 2216115 h 6523037"/>
                <a:gd name="connsiteX2616" fmla="*/ 2067568 w 12192001"/>
                <a:gd name="connsiteY2616" fmla="*/ 2130171 h 6523037"/>
                <a:gd name="connsiteX2617" fmla="*/ 2900465 w 12192001"/>
                <a:gd name="connsiteY2617" fmla="*/ 2129472 h 6523037"/>
                <a:gd name="connsiteX2618" fmla="*/ 2630053 w 12192001"/>
                <a:gd name="connsiteY2618" fmla="*/ 2400583 h 6523037"/>
                <a:gd name="connsiteX2619" fmla="*/ 2901164 w 12192001"/>
                <a:gd name="connsiteY2619" fmla="*/ 2670995 h 6523037"/>
                <a:gd name="connsiteX2620" fmla="*/ 3165287 w 12192001"/>
                <a:gd name="connsiteY2620" fmla="*/ 2670995 h 6523037"/>
                <a:gd name="connsiteX2621" fmla="*/ 2894176 w 12192001"/>
                <a:gd name="connsiteY2621" fmla="*/ 2400583 h 6523037"/>
                <a:gd name="connsiteX2622" fmla="*/ 3164588 w 12192001"/>
                <a:gd name="connsiteY2622" fmla="*/ 2129472 h 6523037"/>
                <a:gd name="connsiteX2623" fmla="*/ 3997486 w 12192001"/>
                <a:gd name="connsiteY2623" fmla="*/ 2128074 h 6523037"/>
                <a:gd name="connsiteX2624" fmla="*/ 3727074 w 12192001"/>
                <a:gd name="connsiteY2624" fmla="*/ 2399185 h 6523037"/>
                <a:gd name="connsiteX2625" fmla="*/ 3998184 w 12192001"/>
                <a:gd name="connsiteY2625" fmla="*/ 2669597 h 6523037"/>
                <a:gd name="connsiteX2626" fmla="*/ 4262309 w 12192001"/>
                <a:gd name="connsiteY2626" fmla="*/ 2669597 h 6523037"/>
                <a:gd name="connsiteX2627" fmla="*/ 3991197 w 12192001"/>
                <a:gd name="connsiteY2627" fmla="*/ 2399185 h 6523037"/>
                <a:gd name="connsiteX2628" fmla="*/ 4261609 w 12192001"/>
                <a:gd name="connsiteY2628" fmla="*/ 2128074 h 6523037"/>
                <a:gd name="connsiteX2629" fmla="*/ 4545996 w 12192001"/>
                <a:gd name="connsiteY2629" fmla="*/ 2127376 h 6523037"/>
                <a:gd name="connsiteX2630" fmla="*/ 4275584 w 12192001"/>
                <a:gd name="connsiteY2630" fmla="*/ 2398486 h 6523037"/>
                <a:gd name="connsiteX2631" fmla="*/ 4545996 w 12192001"/>
                <a:gd name="connsiteY2631" fmla="*/ 2668200 h 6523037"/>
                <a:gd name="connsiteX2632" fmla="*/ 4808096 w 12192001"/>
                <a:gd name="connsiteY2632" fmla="*/ 2668200 h 6523037"/>
                <a:gd name="connsiteX2633" fmla="*/ 4660106 w 12192001"/>
                <a:gd name="connsiteY2633" fmla="*/ 2520896 h 6523037"/>
                <a:gd name="connsiteX2634" fmla="*/ 4660106 w 12192001"/>
                <a:gd name="connsiteY2634" fmla="*/ 2518573 h 6523037"/>
                <a:gd name="connsiteX2635" fmla="*/ 4539009 w 12192001"/>
                <a:gd name="connsiteY2635" fmla="*/ 2397788 h 6523037"/>
                <a:gd name="connsiteX2636" fmla="*/ 4660106 w 12192001"/>
                <a:gd name="connsiteY2636" fmla="*/ 2276691 h 6523037"/>
                <a:gd name="connsiteX2637" fmla="*/ 4660106 w 12192001"/>
                <a:gd name="connsiteY2637" fmla="*/ 2272842 h 6523037"/>
                <a:gd name="connsiteX2638" fmla="*/ 4805573 w 12192001"/>
                <a:gd name="connsiteY2638" fmla="*/ 2127376 h 6523037"/>
                <a:gd name="connsiteX2639" fmla="*/ 5915740 w 12192001"/>
                <a:gd name="connsiteY2639" fmla="*/ 2126108 h 6523037"/>
                <a:gd name="connsiteX2640" fmla="*/ 5645327 w 12192001"/>
                <a:gd name="connsiteY2640" fmla="*/ 2397219 h 6523037"/>
                <a:gd name="connsiteX2641" fmla="*/ 5777388 w 12192001"/>
                <a:gd name="connsiteY2641" fmla="*/ 2529280 h 6523037"/>
                <a:gd name="connsiteX2642" fmla="*/ 5915740 w 12192001"/>
                <a:gd name="connsiteY2642" fmla="*/ 2667631 h 6523037"/>
                <a:gd name="connsiteX2643" fmla="*/ 6179863 w 12192001"/>
                <a:gd name="connsiteY2643" fmla="*/ 2667631 h 6523037"/>
                <a:gd name="connsiteX2644" fmla="*/ 5908752 w 12192001"/>
                <a:gd name="connsiteY2644" fmla="*/ 2397219 h 6523037"/>
                <a:gd name="connsiteX2645" fmla="*/ 6179863 w 12192001"/>
                <a:gd name="connsiteY2645" fmla="*/ 2126108 h 6523037"/>
                <a:gd name="connsiteX2646" fmla="*/ 4821171 w 12192001"/>
                <a:gd name="connsiteY2646" fmla="*/ 2126108 h 6523037"/>
                <a:gd name="connsiteX2647" fmla="*/ 4731163 w 12192001"/>
                <a:gd name="connsiteY2647" fmla="*/ 2216814 h 6523037"/>
                <a:gd name="connsiteX2648" fmla="*/ 4553683 w 12192001"/>
                <a:gd name="connsiteY2648" fmla="*/ 2394294 h 6523037"/>
                <a:gd name="connsiteX2649" fmla="*/ 4813944 w 12192001"/>
                <a:gd name="connsiteY2649" fmla="*/ 2394294 h 6523037"/>
                <a:gd name="connsiteX2650" fmla="*/ 5080746 w 12192001"/>
                <a:gd name="connsiteY2650" fmla="*/ 2126108 h 6523037"/>
                <a:gd name="connsiteX2651" fmla="*/ 7012061 w 12192001"/>
                <a:gd name="connsiteY2651" fmla="*/ 2125409 h 6523037"/>
                <a:gd name="connsiteX2652" fmla="*/ 6831786 w 12192001"/>
                <a:gd name="connsiteY2652" fmla="*/ 2306383 h 6523037"/>
                <a:gd name="connsiteX2653" fmla="*/ 6831088 w 12192001"/>
                <a:gd name="connsiteY2653" fmla="*/ 2306383 h 6523037"/>
                <a:gd name="connsiteX2654" fmla="*/ 6741650 w 12192001"/>
                <a:gd name="connsiteY2654" fmla="*/ 2395821 h 6523037"/>
                <a:gd name="connsiteX2655" fmla="*/ 6875807 w 12192001"/>
                <a:gd name="connsiteY2655" fmla="*/ 2529979 h 6523037"/>
                <a:gd name="connsiteX2656" fmla="*/ 7012759 w 12192001"/>
                <a:gd name="connsiteY2656" fmla="*/ 2666233 h 6523037"/>
                <a:gd name="connsiteX2657" fmla="*/ 7276184 w 12192001"/>
                <a:gd name="connsiteY2657" fmla="*/ 2666233 h 6523037"/>
                <a:gd name="connsiteX2658" fmla="*/ 7005075 w 12192001"/>
                <a:gd name="connsiteY2658" fmla="*/ 2395821 h 6523037"/>
                <a:gd name="connsiteX2659" fmla="*/ 7006471 w 12192001"/>
                <a:gd name="connsiteY2659" fmla="*/ 2394423 h 6523037"/>
                <a:gd name="connsiteX2660" fmla="*/ 7007170 w 12192001"/>
                <a:gd name="connsiteY2660" fmla="*/ 2394423 h 6523037"/>
                <a:gd name="connsiteX2661" fmla="*/ 7275485 w 12192001"/>
                <a:gd name="connsiteY2661" fmla="*/ 2125409 h 6523037"/>
                <a:gd name="connsiteX2662" fmla="*/ 6463552 w 12192001"/>
                <a:gd name="connsiteY2662" fmla="*/ 2125409 h 6523037"/>
                <a:gd name="connsiteX2663" fmla="*/ 6193138 w 12192001"/>
                <a:gd name="connsiteY2663" fmla="*/ 2396520 h 6523037"/>
                <a:gd name="connsiteX2664" fmla="*/ 6463552 w 12192001"/>
                <a:gd name="connsiteY2664" fmla="*/ 2666233 h 6523037"/>
                <a:gd name="connsiteX2665" fmla="*/ 6727675 w 12192001"/>
                <a:gd name="connsiteY2665" fmla="*/ 2666233 h 6523037"/>
                <a:gd name="connsiteX2666" fmla="*/ 6456565 w 12192001"/>
                <a:gd name="connsiteY2666" fmla="*/ 2395821 h 6523037"/>
                <a:gd name="connsiteX2667" fmla="*/ 6641030 w 12192001"/>
                <a:gd name="connsiteY2667" fmla="*/ 2211353 h 6523037"/>
                <a:gd name="connsiteX2668" fmla="*/ 6641730 w 12192001"/>
                <a:gd name="connsiteY2668" fmla="*/ 2211353 h 6523037"/>
                <a:gd name="connsiteX2669" fmla="*/ 6727675 w 12192001"/>
                <a:gd name="connsiteY2669" fmla="*/ 2125409 h 6523037"/>
                <a:gd name="connsiteX2670" fmla="*/ 7560571 w 12192001"/>
                <a:gd name="connsiteY2670" fmla="*/ 2124710 h 6523037"/>
                <a:gd name="connsiteX2671" fmla="*/ 7290159 w 12192001"/>
                <a:gd name="connsiteY2671" fmla="*/ 2395821 h 6523037"/>
                <a:gd name="connsiteX2672" fmla="*/ 7561270 w 12192001"/>
                <a:gd name="connsiteY2672" fmla="*/ 2666233 h 6523037"/>
                <a:gd name="connsiteX2673" fmla="*/ 7825393 w 12192001"/>
                <a:gd name="connsiteY2673" fmla="*/ 2666233 h 6523037"/>
                <a:gd name="connsiteX2674" fmla="*/ 7554282 w 12192001"/>
                <a:gd name="connsiteY2674" fmla="*/ 2395821 h 6523037"/>
                <a:gd name="connsiteX2675" fmla="*/ 7824694 w 12192001"/>
                <a:gd name="connsiteY2675" fmla="*/ 2124710 h 6523037"/>
                <a:gd name="connsiteX2676" fmla="*/ 8657592 w 12192001"/>
                <a:gd name="connsiteY2676" fmla="*/ 2123312 h 6523037"/>
                <a:gd name="connsiteX2677" fmla="*/ 8387180 w 12192001"/>
                <a:gd name="connsiteY2677" fmla="*/ 2394423 h 6523037"/>
                <a:gd name="connsiteX2678" fmla="*/ 8658290 w 12192001"/>
                <a:gd name="connsiteY2678" fmla="*/ 2664835 h 6523037"/>
                <a:gd name="connsiteX2679" fmla="*/ 8922414 w 12192001"/>
                <a:gd name="connsiteY2679" fmla="*/ 2664835 h 6523037"/>
                <a:gd name="connsiteX2680" fmla="*/ 8651303 w 12192001"/>
                <a:gd name="connsiteY2680" fmla="*/ 2394423 h 6523037"/>
                <a:gd name="connsiteX2681" fmla="*/ 8921715 w 12192001"/>
                <a:gd name="connsiteY2681" fmla="*/ 2123312 h 6523037"/>
                <a:gd name="connsiteX2682" fmla="*/ 10576156 w 12192001"/>
                <a:gd name="connsiteY2682" fmla="*/ 2122933 h 6523037"/>
                <a:gd name="connsiteX2683" fmla="*/ 10305744 w 12192001"/>
                <a:gd name="connsiteY2683" fmla="*/ 2394044 h 6523037"/>
                <a:gd name="connsiteX2684" fmla="*/ 10437805 w 12192001"/>
                <a:gd name="connsiteY2684" fmla="*/ 2526105 h 6523037"/>
                <a:gd name="connsiteX2685" fmla="*/ 10576156 w 12192001"/>
                <a:gd name="connsiteY2685" fmla="*/ 2664456 h 6523037"/>
                <a:gd name="connsiteX2686" fmla="*/ 10840280 w 12192001"/>
                <a:gd name="connsiteY2686" fmla="*/ 2664456 h 6523037"/>
                <a:gd name="connsiteX2687" fmla="*/ 10569169 w 12192001"/>
                <a:gd name="connsiteY2687" fmla="*/ 2394044 h 6523037"/>
                <a:gd name="connsiteX2688" fmla="*/ 10840280 w 12192001"/>
                <a:gd name="connsiteY2688" fmla="*/ 2122933 h 6523037"/>
                <a:gd name="connsiteX2689" fmla="*/ 9479702 w 12192001"/>
                <a:gd name="connsiteY2689" fmla="*/ 2122933 h 6523037"/>
                <a:gd name="connsiteX2690" fmla="*/ 9391268 w 12192001"/>
                <a:gd name="connsiteY2690" fmla="*/ 2212052 h 6523037"/>
                <a:gd name="connsiteX2691" fmla="*/ 9213788 w 12192001"/>
                <a:gd name="connsiteY2691" fmla="*/ 2389532 h 6523037"/>
                <a:gd name="connsiteX2692" fmla="*/ 9475939 w 12192001"/>
                <a:gd name="connsiteY2692" fmla="*/ 2389532 h 6523037"/>
                <a:gd name="connsiteX2693" fmla="*/ 9741163 w 12192001"/>
                <a:gd name="connsiteY2693" fmla="*/ 2122933 h 6523037"/>
                <a:gd name="connsiteX2694" fmla="*/ 9206102 w 12192001"/>
                <a:gd name="connsiteY2694" fmla="*/ 2122614 h 6523037"/>
                <a:gd name="connsiteX2695" fmla="*/ 8935690 w 12192001"/>
                <a:gd name="connsiteY2695" fmla="*/ 2393724 h 6523037"/>
                <a:gd name="connsiteX2696" fmla="*/ 9206102 w 12192001"/>
                <a:gd name="connsiteY2696" fmla="*/ 2663438 h 6523037"/>
                <a:gd name="connsiteX2697" fmla="*/ 9466918 w 12192001"/>
                <a:gd name="connsiteY2697" fmla="*/ 2663438 h 6523037"/>
                <a:gd name="connsiteX2698" fmla="*/ 9320523 w 12192001"/>
                <a:gd name="connsiteY2698" fmla="*/ 2517721 h 6523037"/>
                <a:gd name="connsiteX2699" fmla="*/ 9320523 w 12192001"/>
                <a:gd name="connsiteY2699" fmla="*/ 2514122 h 6523037"/>
                <a:gd name="connsiteX2700" fmla="*/ 9199115 w 12192001"/>
                <a:gd name="connsiteY2700" fmla="*/ 2393026 h 6523037"/>
                <a:gd name="connsiteX2701" fmla="*/ 9320523 w 12192001"/>
                <a:gd name="connsiteY2701" fmla="*/ 2271618 h 6523037"/>
                <a:gd name="connsiteX2702" fmla="*/ 9320523 w 12192001"/>
                <a:gd name="connsiteY2702" fmla="*/ 2269668 h 6523037"/>
                <a:gd name="connsiteX2703" fmla="*/ 9467576 w 12192001"/>
                <a:gd name="connsiteY2703" fmla="*/ 2122614 h 6523037"/>
                <a:gd name="connsiteX2704" fmla="*/ 11672478 w 12192001"/>
                <a:gd name="connsiteY2704" fmla="*/ 2122234 h 6523037"/>
                <a:gd name="connsiteX2705" fmla="*/ 11492203 w 12192001"/>
                <a:gd name="connsiteY2705" fmla="*/ 2303207 h 6523037"/>
                <a:gd name="connsiteX2706" fmla="*/ 11491504 w 12192001"/>
                <a:gd name="connsiteY2706" fmla="*/ 2303207 h 6523037"/>
                <a:gd name="connsiteX2707" fmla="*/ 11402066 w 12192001"/>
                <a:gd name="connsiteY2707" fmla="*/ 2392646 h 6523037"/>
                <a:gd name="connsiteX2708" fmla="*/ 11536224 w 12192001"/>
                <a:gd name="connsiteY2708" fmla="*/ 2526804 h 6523037"/>
                <a:gd name="connsiteX2709" fmla="*/ 11673176 w 12192001"/>
                <a:gd name="connsiteY2709" fmla="*/ 2663058 h 6523037"/>
                <a:gd name="connsiteX2710" fmla="*/ 11936601 w 12192001"/>
                <a:gd name="connsiteY2710" fmla="*/ 2663058 h 6523037"/>
                <a:gd name="connsiteX2711" fmla="*/ 11665491 w 12192001"/>
                <a:gd name="connsiteY2711" fmla="*/ 2392646 h 6523037"/>
                <a:gd name="connsiteX2712" fmla="*/ 11666888 w 12192001"/>
                <a:gd name="connsiteY2712" fmla="*/ 2391248 h 6523037"/>
                <a:gd name="connsiteX2713" fmla="*/ 11667587 w 12192001"/>
                <a:gd name="connsiteY2713" fmla="*/ 2391248 h 6523037"/>
                <a:gd name="connsiteX2714" fmla="*/ 11935902 w 12192001"/>
                <a:gd name="connsiteY2714" fmla="*/ 2122234 h 6523037"/>
                <a:gd name="connsiteX2715" fmla="*/ 11123968 w 12192001"/>
                <a:gd name="connsiteY2715" fmla="*/ 2122234 h 6523037"/>
                <a:gd name="connsiteX2716" fmla="*/ 10853555 w 12192001"/>
                <a:gd name="connsiteY2716" fmla="*/ 2393345 h 6523037"/>
                <a:gd name="connsiteX2717" fmla="*/ 11123968 w 12192001"/>
                <a:gd name="connsiteY2717" fmla="*/ 2663058 h 6523037"/>
                <a:gd name="connsiteX2718" fmla="*/ 11388091 w 12192001"/>
                <a:gd name="connsiteY2718" fmla="*/ 2663058 h 6523037"/>
                <a:gd name="connsiteX2719" fmla="*/ 11116981 w 12192001"/>
                <a:gd name="connsiteY2719" fmla="*/ 2392646 h 6523037"/>
                <a:gd name="connsiteX2720" fmla="*/ 11301447 w 12192001"/>
                <a:gd name="connsiteY2720" fmla="*/ 2208178 h 6523037"/>
                <a:gd name="connsiteX2721" fmla="*/ 11302146 w 12192001"/>
                <a:gd name="connsiteY2721" fmla="*/ 2208178 h 6523037"/>
                <a:gd name="connsiteX2722" fmla="*/ 11388091 w 12192001"/>
                <a:gd name="connsiteY2722" fmla="*/ 2122234 h 6523037"/>
                <a:gd name="connsiteX2723" fmla="*/ 1261921 w 12192001"/>
                <a:gd name="connsiteY2723" fmla="*/ 1856964 h 6523037"/>
                <a:gd name="connsiteX2724" fmla="*/ 1262620 w 12192001"/>
                <a:gd name="connsiteY2724" fmla="*/ 1857662 h 6523037"/>
                <a:gd name="connsiteX2725" fmla="*/ 1263319 w 12192001"/>
                <a:gd name="connsiteY2725" fmla="*/ 1857662 h 6523037"/>
                <a:gd name="connsiteX2726" fmla="*/ 1532333 w 12192001"/>
                <a:gd name="connsiteY2726" fmla="*/ 2126677 h 6523037"/>
                <a:gd name="connsiteX2727" fmla="*/ 1261921 w 12192001"/>
                <a:gd name="connsiteY2727" fmla="*/ 2397788 h 6523037"/>
                <a:gd name="connsiteX2728" fmla="*/ 1526046 w 12192001"/>
                <a:gd name="connsiteY2728" fmla="*/ 2397788 h 6523037"/>
                <a:gd name="connsiteX2729" fmla="*/ 1796458 w 12192001"/>
                <a:gd name="connsiteY2729" fmla="*/ 2126677 h 6523037"/>
                <a:gd name="connsiteX2730" fmla="*/ 1791566 w 12192001"/>
                <a:gd name="connsiteY2730" fmla="*/ 2121786 h 6523037"/>
                <a:gd name="connsiteX2731" fmla="*/ 1526046 w 12192001"/>
                <a:gd name="connsiteY2731" fmla="*/ 1856964 h 6523037"/>
                <a:gd name="connsiteX2732" fmla="*/ 164203 w 12192001"/>
                <a:gd name="connsiteY2732" fmla="*/ 1856964 h 6523037"/>
                <a:gd name="connsiteX2733" fmla="*/ 165601 w 12192001"/>
                <a:gd name="connsiteY2733" fmla="*/ 1858361 h 6523037"/>
                <a:gd name="connsiteX2734" fmla="*/ 434615 w 12192001"/>
                <a:gd name="connsiteY2734" fmla="*/ 2127376 h 6523037"/>
                <a:gd name="connsiteX2735" fmla="*/ 164203 w 12192001"/>
                <a:gd name="connsiteY2735" fmla="*/ 2397089 h 6523037"/>
                <a:gd name="connsiteX2736" fmla="*/ 428326 w 12192001"/>
                <a:gd name="connsiteY2736" fmla="*/ 2397089 h 6523037"/>
                <a:gd name="connsiteX2737" fmla="*/ 698738 w 12192001"/>
                <a:gd name="connsiteY2737" fmla="*/ 2125979 h 6523037"/>
                <a:gd name="connsiteX2738" fmla="*/ 695191 w 12192001"/>
                <a:gd name="connsiteY2738" fmla="*/ 2122430 h 6523037"/>
                <a:gd name="connsiteX2739" fmla="*/ 709860 w 12192001"/>
                <a:gd name="connsiteY2739" fmla="*/ 2129472 h 6523037"/>
                <a:gd name="connsiteX2740" fmla="*/ 705726 w 12192001"/>
                <a:gd name="connsiteY2740" fmla="*/ 2129472 h 6523037"/>
                <a:gd name="connsiteX2741" fmla="*/ 435314 w 12192001"/>
                <a:gd name="connsiteY2741" fmla="*/ 2400583 h 6523037"/>
                <a:gd name="connsiteX2742" fmla="*/ 706425 w 12192001"/>
                <a:gd name="connsiteY2742" fmla="*/ 2670995 h 6523037"/>
                <a:gd name="connsiteX2743" fmla="*/ 970548 w 12192001"/>
                <a:gd name="connsiteY2743" fmla="*/ 2670995 h 6523037"/>
                <a:gd name="connsiteX2744" fmla="*/ 699437 w 12192001"/>
                <a:gd name="connsiteY2744" fmla="*/ 2400583 h 6523037"/>
                <a:gd name="connsiteX2745" fmla="*/ 883903 w 12192001"/>
                <a:gd name="connsiteY2745" fmla="*/ 2216115 h 6523037"/>
                <a:gd name="connsiteX2746" fmla="*/ 969849 w 12192001"/>
                <a:gd name="connsiteY2746" fmla="*/ 2130171 h 6523037"/>
                <a:gd name="connsiteX2747" fmla="*/ 711316 w 12192001"/>
                <a:gd name="connsiteY2747" fmla="*/ 2130171 h 6523037"/>
                <a:gd name="connsiteX2748" fmla="*/ 709860 w 12192001"/>
                <a:gd name="connsiteY2748" fmla="*/ 2129472 h 6523037"/>
                <a:gd name="connsiteX2749" fmla="*/ 711316 w 12192001"/>
                <a:gd name="connsiteY2749" fmla="*/ 2129472 h 6523037"/>
                <a:gd name="connsiteX2750" fmla="*/ 693847 w 12192001"/>
                <a:gd name="connsiteY2750" fmla="*/ 2121087 h 6523037"/>
                <a:gd name="connsiteX2751" fmla="*/ 695191 w 12192001"/>
                <a:gd name="connsiteY2751" fmla="*/ 2122430 h 6523037"/>
                <a:gd name="connsiteX2752" fmla="*/ 693847 w 12192001"/>
                <a:gd name="connsiteY2752" fmla="*/ 2121786 h 6523037"/>
                <a:gd name="connsiteX2753" fmla="*/ 428326 w 12192001"/>
                <a:gd name="connsiteY2753" fmla="*/ 1856964 h 6523037"/>
                <a:gd name="connsiteX2754" fmla="*/ 712014 w 12192001"/>
                <a:gd name="connsiteY2754" fmla="*/ 1856265 h 6523037"/>
                <a:gd name="connsiteX2755" fmla="*/ 983125 w 12192001"/>
                <a:gd name="connsiteY2755" fmla="*/ 2125979 h 6523037"/>
                <a:gd name="connsiteX2756" fmla="*/ 980330 w 12192001"/>
                <a:gd name="connsiteY2756" fmla="*/ 2128773 h 6523037"/>
                <a:gd name="connsiteX2757" fmla="*/ 890192 w 12192001"/>
                <a:gd name="connsiteY2757" fmla="*/ 2219610 h 6523037"/>
                <a:gd name="connsiteX2758" fmla="*/ 712713 w 12192001"/>
                <a:gd name="connsiteY2758" fmla="*/ 2397089 h 6523037"/>
                <a:gd name="connsiteX2759" fmla="*/ 976837 w 12192001"/>
                <a:gd name="connsiteY2759" fmla="*/ 2397089 h 6523037"/>
                <a:gd name="connsiteX2760" fmla="*/ 1066275 w 12192001"/>
                <a:gd name="connsiteY2760" fmla="*/ 2307651 h 6523037"/>
                <a:gd name="connsiteX2761" fmla="*/ 1247249 w 12192001"/>
                <a:gd name="connsiteY2761" fmla="*/ 2126677 h 6523037"/>
                <a:gd name="connsiteX2762" fmla="*/ 1114488 w 12192001"/>
                <a:gd name="connsiteY2762" fmla="*/ 1994616 h 6523037"/>
                <a:gd name="connsiteX2763" fmla="*/ 976138 w 12192001"/>
                <a:gd name="connsiteY2763" fmla="*/ 1856265 h 6523037"/>
                <a:gd name="connsiteX2764" fmla="*/ 2359641 w 12192001"/>
                <a:gd name="connsiteY2764" fmla="*/ 1855567 h 6523037"/>
                <a:gd name="connsiteX2765" fmla="*/ 2489606 w 12192001"/>
                <a:gd name="connsiteY2765" fmla="*/ 1985532 h 6523037"/>
                <a:gd name="connsiteX2766" fmla="*/ 2630053 w 12192001"/>
                <a:gd name="connsiteY2766" fmla="*/ 2125979 h 6523037"/>
                <a:gd name="connsiteX2767" fmla="*/ 2359641 w 12192001"/>
                <a:gd name="connsiteY2767" fmla="*/ 2397089 h 6523037"/>
                <a:gd name="connsiteX2768" fmla="*/ 2623764 w 12192001"/>
                <a:gd name="connsiteY2768" fmla="*/ 2397089 h 6523037"/>
                <a:gd name="connsiteX2769" fmla="*/ 2894176 w 12192001"/>
                <a:gd name="connsiteY2769" fmla="*/ 2125979 h 6523037"/>
                <a:gd name="connsiteX2770" fmla="*/ 2623065 w 12192001"/>
                <a:gd name="connsiteY2770" fmla="*/ 1855567 h 6523037"/>
                <a:gd name="connsiteX2771" fmla="*/ 1810432 w 12192001"/>
                <a:gd name="connsiteY2771" fmla="*/ 1855567 h 6523037"/>
                <a:gd name="connsiteX2772" fmla="*/ 2081543 w 12192001"/>
                <a:gd name="connsiteY2772" fmla="*/ 2125979 h 6523037"/>
                <a:gd name="connsiteX2773" fmla="*/ 2078748 w 12192001"/>
                <a:gd name="connsiteY2773" fmla="*/ 2128773 h 6523037"/>
                <a:gd name="connsiteX2774" fmla="*/ 1988611 w 12192001"/>
                <a:gd name="connsiteY2774" fmla="*/ 2219610 h 6523037"/>
                <a:gd name="connsiteX2775" fmla="*/ 1987912 w 12192001"/>
                <a:gd name="connsiteY2775" fmla="*/ 2219610 h 6523037"/>
                <a:gd name="connsiteX2776" fmla="*/ 1811131 w 12192001"/>
                <a:gd name="connsiteY2776" fmla="*/ 2397089 h 6523037"/>
                <a:gd name="connsiteX2777" fmla="*/ 2074555 w 12192001"/>
                <a:gd name="connsiteY2777" fmla="*/ 2396391 h 6523037"/>
                <a:gd name="connsiteX2778" fmla="*/ 2163994 w 12192001"/>
                <a:gd name="connsiteY2778" fmla="*/ 2306952 h 6523037"/>
                <a:gd name="connsiteX2779" fmla="*/ 2164693 w 12192001"/>
                <a:gd name="connsiteY2779" fmla="*/ 2306952 h 6523037"/>
                <a:gd name="connsiteX2780" fmla="*/ 2345666 w 12192001"/>
                <a:gd name="connsiteY2780" fmla="*/ 2125979 h 6523037"/>
                <a:gd name="connsiteX2781" fmla="*/ 2074555 w 12192001"/>
                <a:gd name="connsiteY2781" fmla="*/ 1855567 h 6523037"/>
                <a:gd name="connsiteX2782" fmla="*/ 2907452 w 12192001"/>
                <a:gd name="connsiteY2782" fmla="*/ 1854868 h 6523037"/>
                <a:gd name="connsiteX2783" fmla="*/ 3178563 w 12192001"/>
                <a:gd name="connsiteY2783" fmla="*/ 2125280 h 6523037"/>
                <a:gd name="connsiteX2784" fmla="*/ 2908151 w 12192001"/>
                <a:gd name="connsiteY2784" fmla="*/ 2396391 h 6523037"/>
                <a:gd name="connsiteX2785" fmla="*/ 3172275 w 12192001"/>
                <a:gd name="connsiteY2785" fmla="*/ 2396391 h 6523037"/>
                <a:gd name="connsiteX2786" fmla="*/ 3442687 w 12192001"/>
                <a:gd name="connsiteY2786" fmla="*/ 2125280 h 6523037"/>
                <a:gd name="connsiteX2787" fmla="*/ 3171576 w 12192001"/>
                <a:gd name="connsiteY2787" fmla="*/ 1854868 h 6523037"/>
                <a:gd name="connsiteX2788" fmla="*/ 4552984 w 12192001"/>
                <a:gd name="connsiteY2788" fmla="*/ 1852771 h 6523037"/>
                <a:gd name="connsiteX2789" fmla="*/ 4820022 w 12192001"/>
                <a:gd name="connsiteY2789" fmla="*/ 2119120 h 6523037"/>
                <a:gd name="connsiteX2790" fmla="*/ 5080746 w 12192001"/>
                <a:gd name="connsiteY2790" fmla="*/ 2119120 h 6523037"/>
                <a:gd name="connsiteX2791" fmla="*/ 4813709 w 12192001"/>
                <a:gd name="connsiteY2791" fmla="*/ 1852771 h 6523037"/>
                <a:gd name="connsiteX2792" fmla="*/ 4004473 w 12192001"/>
                <a:gd name="connsiteY2792" fmla="*/ 1852771 h 6523037"/>
                <a:gd name="connsiteX2793" fmla="*/ 4005871 w 12192001"/>
                <a:gd name="connsiteY2793" fmla="*/ 1854169 h 6523037"/>
                <a:gd name="connsiteX2794" fmla="*/ 4274885 w 12192001"/>
                <a:gd name="connsiteY2794" fmla="*/ 2123183 h 6523037"/>
                <a:gd name="connsiteX2795" fmla="*/ 4004473 w 12192001"/>
                <a:gd name="connsiteY2795" fmla="*/ 2394294 h 6523037"/>
                <a:gd name="connsiteX2796" fmla="*/ 4268598 w 12192001"/>
                <a:gd name="connsiteY2796" fmla="*/ 2394294 h 6523037"/>
                <a:gd name="connsiteX2797" fmla="*/ 4539009 w 12192001"/>
                <a:gd name="connsiteY2797" fmla="*/ 2123183 h 6523037"/>
                <a:gd name="connsiteX2798" fmla="*/ 4534118 w 12192001"/>
                <a:gd name="connsiteY2798" fmla="*/ 2118292 h 6523037"/>
                <a:gd name="connsiteX2799" fmla="*/ 4268598 w 12192001"/>
                <a:gd name="connsiteY2799" fmla="*/ 1852771 h 6523037"/>
                <a:gd name="connsiteX2800" fmla="*/ 5922027 w 12192001"/>
                <a:gd name="connsiteY2800" fmla="*/ 1852202 h 6523037"/>
                <a:gd name="connsiteX2801" fmla="*/ 5922727 w 12192001"/>
                <a:gd name="connsiteY2801" fmla="*/ 1852900 h 6523037"/>
                <a:gd name="connsiteX2802" fmla="*/ 5923425 w 12192001"/>
                <a:gd name="connsiteY2802" fmla="*/ 1852900 h 6523037"/>
                <a:gd name="connsiteX2803" fmla="*/ 6192439 w 12192001"/>
                <a:gd name="connsiteY2803" fmla="*/ 2121915 h 6523037"/>
                <a:gd name="connsiteX2804" fmla="*/ 5922027 w 12192001"/>
                <a:gd name="connsiteY2804" fmla="*/ 2393026 h 6523037"/>
                <a:gd name="connsiteX2805" fmla="*/ 6186152 w 12192001"/>
                <a:gd name="connsiteY2805" fmla="*/ 2393026 h 6523037"/>
                <a:gd name="connsiteX2806" fmla="*/ 6456565 w 12192001"/>
                <a:gd name="connsiteY2806" fmla="*/ 2121915 h 6523037"/>
                <a:gd name="connsiteX2807" fmla="*/ 6451672 w 12192001"/>
                <a:gd name="connsiteY2807" fmla="*/ 2117024 h 6523037"/>
                <a:gd name="connsiteX2808" fmla="*/ 6186152 w 12192001"/>
                <a:gd name="connsiteY2808" fmla="*/ 1852202 h 6523037"/>
                <a:gd name="connsiteX2809" fmla="*/ 4824309 w 12192001"/>
                <a:gd name="connsiteY2809" fmla="*/ 1852202 h 6523037"/>
                <a:gd name="connsiteX2810" fmla="*/ 4825707 w 12192001"/>
                <a:gd name="connsiteY2810" fmla="*/ 1853599 h 6523037"/>
                <a:gd name="connsiteX2811" fmla="*/ 5094721 w 12192001"/>
                <a:gd name="connsiteY2811" fmla="*/ 2122614 h 6523037"/>
                <a:gd name="connsiteX2812" fmla="*/ 4824309 w 12192001"/>
                <a:gd name="connsiteY2812" fmla="*/ 2392327 h 6523037"/>
                <a:gd name="connsiteX2813" fmla="*/ 5088432 w 12192001"/>
                <a:gd name="connsiteY2813" fmla="*/ 2392327 h 6523037"/>
                <a:gd name="connsiteX2814" fmla="*/ 5358844 w 12192001"/>
                <a:gd name="connsiteY2814" fmla="*/ 2121217 h 6523037"/>
                <a:gd name="connsiteX2815" fmla="*/ 5355297 w 12192001"/>
                <a:gd name="connsiteY2815" fmla="*/ 2117668 h 6523037"/>
                <a:gd name="connsiteX2816" fmla="*/ 5369967 w 12192001"/>
                <a:gd name="connsiteY2816" fmla="*/ 2124710 h 6523037"/>
                <a:gd name="connsiteX2817" fmla="*/ 5365832 w 12192001"/>
                <a:gd name="connsiteY2817" fmla="*/ 2124710 h 6523037"/>
                <a:gd name="connsiteX2818" fmla="*/ 5095421 w 12192001"/>
                <a:gd name="connsiteY2818" fmla="*/ 2395821 h 6523037"/>
                <a:gd name="connsiteX2819" fmla="*/ 5366532 w 12192001"/>
                <a:gd name="connsiteY2819" fmla="*/ 2666233 h 6523037"/>
                <a:gd name="connsiteX2820" fmla="*/ 5630655 w 12192001"/>
                <a:gd name="connsiteY2820" fmla="*/ 2666233 h 6523037"/>
                <a:gd name="connsiteX2821" fmla="*/ 5359544 w 12192001"/>
                <a:gd name="connsiteY2821" fmla="*/ 2395821 h 6523037"/>
                <a:gd name="connsiteX2822" fmla="*/ 5544009 w 12192001"/>
                <a:gd name="connsiteY2822" fmla="*/ 2211353 h 6523037"/>
                <a:gd name="connsiteX2823" fmla="*/ 5629955 w 12192001"/>
                <a:gd name="connsiteY2823" fmla="*/ 2125409 h 6523037"/>
                <a:gd name="connsiteX2824" fmla="*/ 5371422 w 12192001"/>
                <a:gd name="connsiteY2824" fmla="*/ 2125409 h 6523037"/>
                <a:gd name="connsiteX2825" fmla="*/ 5369967 w 12192001"/>
                <a:gd name="connsiteY2825" fmla="*/ 2124710 h 6523037"/>
                <a:gd name="connsiteX2826" fmla="*/ 5371422 w 12192001"/>
                <a:gd name="connsiteY2826" fmla="*/ 2124710 h 6523037"/>
                <a:gd name="connsiteX2827" fmla="*/ 5353953 w 12192001"/>
                <a:gd name="connsiteY2827" fmla="*/ 2116325 h 6523037"/>
                <a:gd name="connsiteX2828" fmla="*/ 5355297 w 12192001"/>
                <a:gd name="connsiteY2828" fmla="*/ 2117668 h 6523037"/>
                <a:gd name="connsiteX2829" fmla="*/ 5353953 w 12192001"/>
                <a:gd name="connsiteY2829" fmla="*/ 2117024 h 6523037"/>
                <a:gd name="connsiteX2830" fmla="*/ 5088432 w 12192001"/>
                <a:gd name="connsiteY2830" fmla="*/ 1852202 h 6523037"/>
                <a:gd name="connsiteX2831" fmla="*/ 5372120 w 12192001"/>
                <a:gd name="connsiteY2831" fmla="*/ 1851503 h 6523037"/>
                <a:gd name="connsiteX2832" fmla="*/ 5643231 w 12192001"/>
                <a:gd name="connsiteY2832" fmla="*/ 2121217 h 6523037"/>
                <a:gd name="connsiteX2833" fmla="*/ 5640436 w 12192001"/>
                <a:gd name="connsiteY2833" fmla="*/ 2124011 h 6523037"/>
                <a:gd name="connsiteX2834" fmla="*/ 5550298 w 12192001"/>
                <a:gd name="connsiteY2834" fmla="*/ 2214848 h 6523037"/>
                <a:gd name="connsiteX2835" fmla="*/ 5372819 w 12192001"/>
                <a:gd name="connsiteY2835" fmla="*/ 2392327 h 6523037"/>
                <a:gd name="connsiteX2836" fmla="*/ 5636944 w 12192001"/>
                <a:gd name="connsiteY2836" fmla="*/ 2392327 h 6523037"/>
                <a:gd name="connsiteX2837" fmla="*/ 5726382 w 12192001"/>
                <a:gd name="connsiteY2837" fmla="*/ 2302889 h 6523037"/>
                <a:gd name="connsiteX2838" fmla="*/ 5907355 w 12192001"/>
                <a:gd name="connsiteY2838" fmla="*/ 2121915 h 6523037"/>
                <a:gd name="connsiteX2839" fmla="*/ 5774594 w 12192001"/>
                <a:gd name="connsiteY2839" fmla="*/ 1989854 h 6523037"/>
                <a:gd name="connsiteX2840" fmla="*/ 5636244 w 12192001"/>
                <a:gd name="connsiteY2840" fmla="*/ 1851503 h 6523037"/>
                <a:gd name="connsiteX2841" fmla="*/ 7019748 w 12192001"/>
                <a:gd name="connsiteY2841" fmla="*/ 1850805 h 6523037"/>
                <a:gd name="connsiteX2842" fmla="*/ 7149712 w 12192001"/>
                <a:gd name="connsiteY2842" fmla="*/ 1980770 h 6523037"/>
                <a:gd name="connsiteX2843" fmla="*/ 7290159 w 12192001"/>
                <a:gd name="connsiteY2843" fmla="*/ 2121217 h 6523037"/>
                <a:gd name="connsiteX2844" fmla="*/ 7019748 w 12192001"/>
                <a:gd name="connsiteY2844" fmla="*/ 2392327 h 6523037"/>
                <a:gd name="connsiteX2845" fmla="*/ 7283870 w 12192001"/>
                <a:gd name="connsiteY2845" fmla="*/ 2392327 h 6523037"/>
                <a:gd name="connsiteX2846" fmla="*/ 7554282 w 12192001"/>
                <a:gd name="connsiteY2846" fmla="*/ 2121217 h 6523037"/>
                <a:gd name="connsiteX2847" fmla="*/ 7283171 w 12192001"/>
                <a:gd name="connsiteY2847" fmla="*/ 1850805 h 6523037"/>
                <a:gd name="connsiteX2848" fmla="*/ 6470538 w 12192001"/>
                <a:gd name="connsiteY2848" fmla="*/ 1850805 h 6523037"/>
                <a:gd name="connsiteX2849" fmla="*/ 6741650 w 12192001"/>
                <a:gd name="connsiteY2849" fmla="*/ 2121217 h 6523037"/>
                <a:gd name="connsiteX2850" fmla="*/ 6738854 w 12192001"/>
                <a:gd name="connsiteY2850" fmla="*/ 2124011 h 6523037"/>
                <a:gd name="connsiteX2851" fmla="*/ 6648717 w 12192001"/>
                <a:gd name="connsiteY2851" fmla="*/ 2214848 h 6523037"/>
                <a:gd name="connsiteX2852" fmla="*/ 6648019 w 12192001"/>
                <a:gd name="connsiteY2852" fmla="*/ 2214848 h 6523037"/>
                <a:gd name="connsiteX2853" fmla="*/ 6471238 w 12192001"/>
                <a:gd name="connsiteY2853" fmla="*/ 2392327 h 6523037"/>
                <a:gd name="connsiteX2854" fmla="*/ 6734661 w 12192001"/>
                <a:gd name="connsiteY2854" fmla="*/ 2391629 h 6523037"/>
                <a:gd name="connsiteX2855" fmla="*/ 6824100 w 12192001"/>
                <a:gd name="connsiteY2855" fmla="*/ 2302190 h 6523037"/>
                <a:gd name="connsiteX2856" fmla="*/ 6824799 w 12192001"/>
                <a:gd name="connsiteY2856" fmla="*/ 2302190 h 6523037"/>
                <a:gd name="connsiteX2857" fmla="*/ 7005773 w 12192001"/>
                <a:gd name="connsiteY2857" fmla="*/ 2121217 h 6523037"/>
                <a:gd name="connsiteX2858" fmla="*/ 6734661 w 12192001"/>
                <a:gd name="connsiteY2858" fmla="*/ 1850805 h 6523037"/>
                <a:gd name="connsiteX2859" fmla="*/ 7567558 w 12192001"/>
                <a:gd name="connsiteY2859" fmla="*/ 1850106 h 6523037"/>
                <a:gd name="connsiteX2860" fmla="*/ 7838669 w 12192001"/>
                <a:gd name="connsiteY2860" fmla="*/ 2120518 h 6523037"/>
                <a:gd name="connsiteX2861" fmla="*/ 7568257 w 12192001"/>
                <a:gd name="connsiteY2861" fmla="*/ 2391629 h 6523037"/>
                <a:gd name="connsiteX2862" fmla="*/ 7832381 w 12192001"/>
                <a:gd name="connsiteY2862" fmla="*/ 2391629 h 6523037"/>
                <a:gd name="connsiteX2863" fmla="*/ 8102793 w 12192001"/>
                <a:gd name="connsiteY2863" fmla="*/ 2120518 h 6523037"/>
                <a:gd name="connsiteX2864" fmla="*/ 7831682 w 12192001"/>
                <a:gd name="connsiteY2864" fmla="*/ 1850106 h 6523037"/>
                <a:gd name="connsiteX2865" fmla="*/ 10582444 w 12192001"/>
                <a:gd name="connsiteY2865" fmla="*/ 1849027 h 6523037"/>
                <a:gd name="connsiteX2866" fmla="*/ 10583143 w 12192001"/>
                <a:gd name="connsiteY2866" fmla="*/ 1849725 h 6523037"/>
                <a:gd name="connsiteX2867" fmla="*/ 10583842 w 12192001"/>
                <a:gd name="connsiteY2867" fmla="*/ 1849725 h 6523037"/>
                <a:gd name="connsiteX2868" fmla="*/ 10852856 w 12192001"/>
                <a:gd name="connsiteY2868" fmla="*/ 2118740 h 6523037"/>
                <a:gd name="connsiteX2869" fmla="*/ 10582444 w 12192001"/>
                <a:gd name="connsiteY2869" fmla="*/ 2389851 h 6523037"/>
                <a:gd name="connsiteX2870" fmla="*/ 10846569 w 12192001"/>
                <a:gd name="connsiteY2870" fmla="*/ 2389851 h 6523037"/>
                <a:gd name="connsiteX2871" fmla="*/ 11116981 w 12192001"/>
                <a:gd name="connsiteY2871" fmla="*/ 2118740 h 6523037"/>
                <a:gd name="connsiteX2872" fmla="*/ 11112089 w 12192001"/>
                <a:gd name="connsiteY2872" fmla="*/ 2113849 h 6523037"/>
                <a:gd name="connsiteX2873" fmla="*/ 10846569 w 12192001"/>
                <a:gd name="connsiteY2873" fmla="*/ 1849027 h 6523037"/>
                <a:gd name="connsiteX2874" fmla="*/ 9484726 w 12192001"/>
                <a:gd name="connsiteY2874" fmla="*/ 1849027 h 6523037"/>
                <a:gd name="connsiteX2875" fmla="*/ 9486124 w 12192001"/>
                <a:gd name="connsiteY2875" fmla="*/ 1850424 h 6523037"/>
                <a:gd name="connsiteX2876" fmla="*/ 9755138 w 12192001"/>
                <a:gd name="connsiteY2876" fmla="*/ 2119439 h 6523037"/>
                <a:gd name="connsiteX2877" fmla="*/ 9484726 w 12192001"/>
                <a:gd name="connsiteY2877" fmla="*/ 2389152 h 6523037"/>
                <a:gd name="connsiteX2878" fmla="*/ 9748849 w 12192001"/>
                <a:gd name="connsiteY2878" fmla="*/ 2389152 h 6523037"/>
                <a:gd name="connsiteX2879" fmla="*/ 10019261 w 12192001"/>
                <a:gd name="connsiteY2879" fmla="*/ 2118042 h 6523037"/>
                <a:gd name="connsiteX2880" fmla="*/ 10015714 w 12192001"/>
                <a:gd name="connsiteY2880" fmla="*/ 2114494 h 6523037"/>
                <a:gd name="connsiteX2881" fmla="*/ 10030383 w 12192001"/>
                <a:gd name="connsiteY2881" fmla="*/ 2121535 h 6523037"/>
                <a:gd name="connsiteX2882" fmla="*/ 10026249 w 12192001"/>
                <a:gd name="connsiteY2882" fmla="*/ 2121535 h 6523037"/>
                <a:gd name="connsiteX2883" fmla="*/ 9755837 w 12192001"/>
                <a:gd name="connsiteY2883" fmla="*/ 2392646 h 6523037"/>
                <a:gd name="connsiteX2884" fmla="*/ 10026948 w 12192001"/>
                <a:gd name="connsiteY2884" fmla="*/ 2663058 h 6523037"/>
                <a:gd name="connsiteX2885" fmla="*/ 10291071 w 12192001"/>
                <a:gd name="connsiteY2885" fmla="*/ 2663058 h 6523037"/>
                <a:gd name="connsiteX2886" fmla="*/ 10019960 w 12192001"/>
                <a:gd name="connsiteY2886" fmla="*/ 2392646 h 6523037"/>
                <a:gd name="connsiteX2887" fmla="*/ 10204426 w 12192001"/>
                <a:gd name="connsiteY2887" fmla="*/ 2208178 h 6523037"/>
                <a:gd name="connsiteX2888" fmla="*/ 10290372 w 12192001"/>
                <a:gd name="connsiteY2888" fmla="*/ 2122234 h 6523037"/>
                <a:gd name="connsiteX2889" fmla="*/ 10031839 w 12192001"/>
                <a:gd name="connsiteY2889" fmla="*/ 2122234 h 6523037"/>
                <a:gd name="connsiteX2890" fmla="*/ 10030383 w 12192001"/>
                <a:gd name="connsiteY2890" fmla="*/ 2121535 h 6523037"/>
                <a:gd name="connsiteX2891" fmla="*/ 10031839 w 12192001"/>
                <a:gd name="connsiteY2891" fmla="*/ 2121535 h 6523037"/>
                <a:gd name="connsiteX2892" fmla="*/ 10014370 w 12192001"/>
                <a:gd name="connsiteY2892" fmla="*/ 2113150 h 6523037"/>
                <a:gd name="connsiteX2893" fmla="*/ 10015714 w 12192001"/>
                <a:gd name="connsiteY2893" fmla="*/ 2114494 h 6523037"/>
                <a:gd name="connsiteX2894" fmla="*/ 10014370 w 12192001"/>
                <a:gd name="connsiteY2894" fmla="*/ 2113849 h 6523037"/>
                <a:gd name="connsiteX2895" fmla="*/ 9748849 w 12192001"/>
                <a:gd name="connsiteY2895" fmla="*/ 1849027 h 6523037"/>
                <a:gd name="connsiteX2896" fmla="*/ 10032537 w 12192001"/>
                <a:gd name="connsiteY2896" fmla="*/ 1848328 h 6523037"/>
                <a:gd name="connsiteX2897" fmla="*/ 10303648 w 12192001"/>
                <a:gd name="connsiteY2897" fmla="*/ 2118042 h 6523037"/>
                <a:gd name="connsiteX2898" fmla="*/ 10300853 w 12192001"/>
                <a:gd name="connsiteY2898" fmla="*/ 2120836 h 6523037"/>
                <a:gd name="connsiteX2899" fmla="*/ 10210715 w 12192001"/>
                <a:gd name="connsiteY2899" fmla="*/ 2211673 h 6523037"/>
                <a:gd name="connsiteX2900" fmla="*/ 10033236 w 12192001"/>
                <a:gd name="connsiteY2900" fmla="*/ 2389152 h 6523037"/>
                <a:gd name="connsiteX2901" fmla="*/ 10297360 w 12192001"/>
                <a:gd name="connsiteY2901" fmla="*/ 2389152 h 6523037"/>
                <a:gd name="connsiteX2902" fmla="*/ 10386798 w 12192001"/>
                <a:gd name="connsiteY2902" fmla="*/ 2299714 h 6523037"/>
                <a:gd name="connsiteX2903" fmla="*/ 10567772 w 12192001"/>
                <a:gd name="connsiteY2903" fmla="*/ 2118740 h 6523037"/>
                <a:gd name="connsiteX2904" fmla="*/ 10435011 w 12192001"/>
                <a:gd name="connsiteY2904" fmla="*/ 1986679 h 6523037"/>
                <a:gd name="connsiteX2905" fmla="*/ 10296661 w 12192001"/>
                <a:gd name="connsiteY2905" fmla="*/ 1848328 h 6523037"/>
                <a:gd name="connsiteX2906" fmla="*/ 9213090 w 12192001"/>
                <a:gd name="connsiteY2906" fmla="*/ 1848009 h 6523037"/>
                <a:gd name="connsiteX2907" fmla="*/ 9481718 w 12192001"/>
                <a:gd name="connsiteY2907" fmla="*/ 2115945 h 6523037"/>
                <a:gd name="connsiteX2908" fmla="*/ 9741163 w 12192001"/>
                <a:gd name="connsiteY2908" fmla="*/ 2115945 h 6523037"/>
                <a:gd name="connsiteX2909" fmla="*/ 9472534 w 12192001"/>
                <a:gd name="connsiteY2909" fmla="*/ 1848009 h 6523037"/>
                <a:gd name="connsiteX2910" fmla="*/ 8664579 w 12192001"/>
                <a:gd name="connsiteY2910" fmla="*/ 1848009 h 6523037"/>
                <a:gd name="connsiteX2911" fmla="*/ 8665977 w 12192001"/>
                <a:gd name="connsiteY2911" fmla="*/ 1849407 h 6523037"/>
                <a:gd name="connsiteX2912" fmla="*/ 8934991 w 12192001"/>
                <a:gd name="connsiteY2912" fmla="*/ 2118421 h 6523037"/>
                <a:gd name="connsiteX2913" fmla="*/ 8664579 w 12192001"/>
                <a:gd name="connsiteY2913" fmla="*/ 2389532 h 6523037"/>
                <a:gd name="connsiteX2914" fmla="*/ 8928703 w 12192001"/>
                <a:gd name="connsiteY2914" fmla="*/ 2389532 h 6523037"/>
                <a:gd name="connsiteX2915" fmla="*/ 9199115 w 12192001"/>
                <a:gd name="connsiteY2915" fmla="*/ 2118421 h 6523037"/>
                <a:gd name="connsiteX2916" fmla="*/ 9194224 w 12192001"/>
                <a:gd name="connsiteY2916" fmla="*/ 2113530 h 6523037"/>
                <a:gd name="connsiteX2917" fmla="*/ 8928703 w 12192001"/>
                <a:gd name="connsiteY2917" fmla="*/ 1848009 h 6523037"/>
                <a:gd name="connsiteX2918" fmla="*/ 11130955 w 12192001"/>
                <a:gd name="connsiteY2918" fmla="*/ 1847630 h 6523037"/>
                <a:gd name="connsiteX2919" fmla="*/ 11402066 w 12192001"/>
                <a:gd name="connsiteY2919" fmla="*/ 2118042 h 6523037"/>
                <a:gd name="connsiteX2920" fmla="*/ 11399271 w 12192001"/>
                <a:gd name="connsiteY2920" fmla="*/ 2120836 h 6523037"/>
                <a:gd name="connsiteX2921" fmla="*/ 11309134 w 12192001"/>
                <a:gd name="connsiteY2921" fmla="*/ 2211673 h 6523037"/>
                <a:gd name="connsiteX2922" fmla="*/ 11308435 w 12192001"/>
                <a:gd name="connsiteY2922" fmla="*/ 2211673 h 6523037"/>
                <a:gd name="connsiteX2923" fmla="*/ 11131654 w 12192001"/>
                <a:gd name="connsiteY2923" fmla="*/ 2389152 h 6523037"/>
                <a:gd name="connsiteX2924" fmla="*/ 11395078 w 12192001"/>
                <a:gd name="connsiteY2924" fmla="*/ 2388455 h 6523037"/>
                <a:gd name="connsiteX2925" fmla="*/ 11484517 w 12192001"/>
                <a:gd name="connsiteY2925" fmla="*/ 2299015 h 6523037"/>
                <a:gd name="connsiteX2926" fmla="*/ 11485216 w 12192001"/>
                <a:gd name="connsiteY2926" fmla="*/ 2299015 h 6523037"/>
                <a:gd name="connsiteX2927" fmla="*/ 11666189 w 12192001"/>
                <a:gd name="connsiteY2927" fmla="*/ 2118042 h 6523037"/>
                <a:gd name="connsiteX2928" fmla="*/ 11395078 w 12192001"/>
                <a:gd name="connsiteY2928" fmla="*/ 1847630 h 6523037"/>
                <a:gd name="connsiteX2929" fmla="*/ 705027 w 12192001"/>
                <a:gd name="connsiteY2929" fmla="*/ 1582359 h 6523037"/>
                <a:gd name="connsiteX2930" fmla="*/ 434615 w 12192001"/>
                <a:gd name="connsiteY2930" fmla="*/ 1853470 h 6523037"/>
                <a:gd name="connsiteX2931" fmla="*/ 705726 w 12192001"/>
                <a:gd name="connsiteY2931" fmla="*/ 2123882 h 6523037"/>
                <a:gd name="connsiteX2932" fmla="*/ 969849 w 12192001"/>
                <a:gd name="connsiteY2932" fmla="*/ 2123882 h 6523037"/>
                <a:gd name="connsiteX2933" fmla="*/ 698738 w 12192001"/>
                <a:gd name="connsiteY2933" fmla="*/ 1853470 h 6523037"/>
                <a:gd name="connsiteX2934" fmla="*/ 969150 w 12192001"/>
                <a:gd name="connsiteY2934" fmla="*/ 1582359 h 6523037"/>
                <a:gd name="connsiteX2935" fmla="*/ 1802746 w 12192001"/>
                <a:gd name="connsiteY2935" fmla="*/ 1581660 h 6523037"/>
                <a:gd name="connsiteX2936" fmla="*/ 1532333 w 12192001"/>
                <a:gd name="connsiteY2936" fmla="*/ 1852771 h 6523037"/>
                <a:gd name="connsiteX2937" fmla="*/ 1803445 w 12192001"/>
                <a:gd name="connsiteY2937" fmla="*/ 2123183 h 6523037"/>
                <a:gd name="connsiteX2938" fmla="*/ 2067568 w 12192001"/>
                <a:gd name="connsiteY2938" fmla="*/ 2123183 h 6523037"/>
                <a:gd name="connsiteX2939" fmla="*/ 1796458 w 12192001"/>
                <a:gd name="connsiteY2939" fmla="*/ 1852771 h 6523037"/>
                <a:gd name="connsiteX2940" fmla="*/ 2066870 w 12192001"/>
                <a:gd name="connsiteY2940" fmla="*/ 1581660 h 6523037"/>
                <a:gd name="connsiteX2941" fmla="*/ 1252838 w 12192001"/>
                <a:gd name="connsiteY2941" fmla="*/ 1581660 h 6523037"/>
                <a:gd name="connsiteX2942" fmla="*/ 983125 w 12192001"/>
                <a:gd name="connsiteY2942" fmla="*/ 1852771 h 6523037"/>
                <a:gd name="connsiteX2943" fmla="*/ 1183663 w 12192001"/>
                <a:gd name="connsiteY2943" fmla="*/ 2053309 h 6523037"/>
                <a:gd name="connsiteX2944" fmla="*/ 1254236 w 12192001"/>
                <a:gd name="connsiteY2944" fmla="*/ 2123183 h 6523037"/>
                <a:gd name="connsiteX2945" fmla="*/ 1322712 w 12192001"/>
                <a:gd name="connsiteY2945" fmla="*/ 2123183 h 6523037"/>
                <a:gd name="connsiteX2946" fmla="*/ 1322014 w 12192001"/>
                <a:gd name="connsiteY2946" fmla="*/ 2124581 h 6523037"/>
                <a:gd name="connsiteX2947" fmla="*/ 1519058 w 12192001"/>
                <a:gd name="connsiteY2947" fmla="*/ 2124581 h 6523037"/>
                <a:gd name="connsiteX2948" fmla="*/ 1247947 w 12192001"/>
                <a:gd name="connsiteY2948" fmla="*/ 1854169 h 6523037"/>
                <a:gd name="connsiteX2949" fmla="*/ 1248646 w 12192001"/>
                <a:gd name="connsiteY2949" fmla="*/ 1853470 h 6523037"/>
                <a:gd name="connsiteX2950" fmla="*/ 1246550 w 12192001"/>
                <a:gd name="connsiteY2950" fmla="*/ 1852771 h 6523037"/>
                <a:gd name="connsiteX2951" fmla="*/ 1516962 w 12192001"/>
                <a:gd name="connsiteY2951" fmla="*/ 1581660 h 6523037"/>
                <a:gd name="connsiteX2952" fmla="*/ 2899766 w 12192001"/>
                <a:gd name="connsiteY2952" fmla="*/ 1580961 h 6523037"/>
                <a:gd name="connsiteX2953" fmla="*/ 2629354 w 12192001"/>
                <a:gd name="connsiteY2953" fmla="*/ 1852072 h 6523037"/>
                <a:gd name="connsiteX2954" fmla="*/ 2900465 w 12192001"/>
                <a:gd name="connsiteY2954" fmla="*/ 2122484 h 6523037"/>
                <a:gd name="connsiteX2955" fmla="*/ 3164588 w 12192001"/>
                <a:gd name="connsiteY2955" fmla="*/ 2122484 h 6523037"/>
                <a:gd name="connsiteX2956" fmla="*/ 2893477 w 12192001"/>
                <a:gd name="connsiteY2956" fmla="*/ 1852072 h 6523037"/>
                <a:gd name="connsiteX2957" fmla="*/ 3163889 w 12192001"/>
                <a:gd name="connsiteY2957" fmla="*/ 1580961 h 6523037"/>
                <a:gd name="connsiteX2958" fmla="*/ 2351257 w 12192001"/>
                <a:gd name="connsiteY2958" fmla="*/ 1580961 h 6523037"/>
                <a:gd name="connsiteX2959" fmla="*/ 2080844 w 12192001"/>
                <a:gd name="connsiteY2959" fmla="*/ 1852072 h 6523037"/>
                <a:gd name="connsiteX2960" fmla="*/ 2351955 w 12192001"/>
                <a:gd name="connsiteY2960" fmla="*/ 2122484 h 6523037"/>
                <a:gd name="connsiteX2961" fmla="*/ 2615379 w 12192001"/>
                <a:gd name="connsiteY2961" fmla="*/ 2122484 h 6523037"/>
                <a:gd name="connsiteX2962" fmla="*/ 2485414 w 12192001"/>
                <a:gd name="connsiteY2962" fmla="*/ 1992519 h 6523037"/>
                <a:gd name="connsiteX2963" fmla="*/ 2344968 w 12192001"/>
                <a:gd name="connsiteY2963" fmla="*/ 1852072 h 6523037"/>
                <a:gd name="connsiteX2964" fmla="*/ 2615379 w 12192001"/>
                <a:gd name="connsiteY2964" fmla="*/ 1580961 h 6523037"/>
                <a:gd name="connsiteX2965" fmla="*/ 3448276 w 12192001"/>
                <a:gd name="connsiteY2965" fmla="*/ 1580263 h 6523037"/>
                <a:gd name="connsiteX2966" fmla="*/ 3177864 w 12192001"/>
                <a:gd name="connsiteY2966" fmla="*/ 1851373 h 6523037"/>
                <a:gd name="connsiteX2967" fmla="*/ 3448975 w 12192001"/>
                <a:gd name="connsiteY2967" fmla="*/ 2121087 h 6523037"/>
                <a:gd name="connsiteX2968" fmla="*/ 3713099 w 12192001"/>
                <a:gd name="connsiteY2968" fmla="*/ 2121087 h 6523037"/>
                <a:gd name="connsiteX2969" fmla="*/ 3441988 w 12192001"/>
                <a:gd name="connsiteY2969" fmla="*/ 1850676 h 6523037"/>
                <a:gd name="connsiteX2970" fmla="*/ 3626455 w 12192001"/>
                <a:gd name="connsiteY2970" fmla="*/ 1666208 h 6523037"/>
                <a:gd name="connsiteX2971" fmla="*/ 3712400 w 12192001"/>
                <a:gd name="connsiteY2971" fmla="*/ 1580263 h 6523037"/>
                <a:gd name="connsiteX2972" fmla="*/ 4545297 w 12192001"/>
                <a:gd name="connsiteY2972" fmla="*/ 1578866 h 6523037"/>
                <a:gd name="connsiteX2973" fmla="*/ 4274885 w 12192001"/>
                <a:gd name="connsiteY2973" fmla="*/ 1849977 h 6523037"/>
                <a:gd name="connsiteX2974" fmla="*/ 4545996 w 12192001"/>
                <a:gd name="connsiteY2974" fmla="*/ 2119690 h 6523037"/>
                <a:gd name="connsiteX2975" fmla="*/ 4807395 w 12192001"/>
                <a:gd name="connsiteY2975" fmla="*/ 2119690 h 6523037"/>
                <a:gd name="connsiteX2976" fmla="*/ 4676176 w 12192001"/>
                <a:gd name="connsiteY2976" fmla="*/ 1989155 h 6523037"/>
                <a:gd name="connsiteX2977" fmla="*/ 4660106 w 12192001"/>
                <a:gd name="connsiteY2977" fmla="*/ 1973084 h 6523037"/>
                <a:gd name="connsiteX2978" fmla="*/ 4660106 w 12192001"/>
                <a:gd name="connsiteY2978" fmla="*/ 1970063 h 6523037"/>
                <a:gd name="connsiteX2979" fmla="*/ 4539009 w 12192001"/>
                <a:gd name="connsiteY2979" fmla="*/ 1849278 h 6523037"/>
                <a:gd name="connsiteX2980" fmla="*/ 4660106 w 12192001"/>
                <a:gd name="connsiteY2980" fmla="*/ 1728181 h 6523037"/>
                <a:gd name="connsiteX2981" fmla="*/ 4660106 w 12192001"/>
                <a:gd name="connsiteY2981" fmla="*/ 1724332 h 6523037"/>
                <a:gd name="connsiteX2982" fmla="*/ 4805571 w 12192001"/>
                <a:gd name="connsiteY2982" fmla="*/ 1578866 h 6523037"/>
                <a:gd name="connsiteX2983" fmla="*/ 4819782 w 12192001"/>
                <a:gd name="connsiteY2983" fmla="*/ 1578296 h 6523037"/>
                <a:gd name="connsiteX2984" fmla="*/ 4552984 w 12192001"/>
                <a:gd name="connsiteY2984" fmla="*/ 1845784 h 6523037"/>
                <a:gd name="connsiteX2985" fmla="*/ 4813254 w 12192001"/>
                <a:gd name="connsiteY2985" fmla="*/ 1845784 h 6523037"/>
                <a:gd name="connsiteX2986" fmla="*/ 5080048 w 12192001"/>
                <a:gd name="connsiteY2986" fmla="*/ 1578296 h 6523037"/>
                <a:gd name="connsiteX2987" fmla="*/ 5365133 w 12192001"/>
                <a:gd name="connsiteY2987" fmla="*/ 1577597 h 6523037"/>
                <a:gd name="connsiteX2988" fmla="*/ 5094721 w 12192001"/>
                <a:gd name="connsiteY2988" fmla="*/ 1848708 h 6523037"/>
                <a:gd name="connsiteX2989" fmla="*/ 5365832 w 12192001"/>
                <a:gd name="connsiteY2989" fmla="*/ 2119120 h 6523037"/>
                <a:gd name="connsiteX2990" fmla="*/ 5629955 w 12192001"/>
                <a:gd name="connsiteY2990" fmla="*/ 2119120 h 6523037"/>
                <a:gd name="connsiteX2991" fmla="*/ 5358844 w 12192001"/>
                <a:gd name="connsiteY2991" fmla="*/ 1848708 h 6523037"/>
                <a:gd name="connsiteX2992" fmla="*/ 5629256 w 12192001"/>
                <a:gd name="connsiteY2992" fmla="*/ 1577597 h 6523037"/>
                <a:gd name="connsiteX2993" fmla="*/ 6462852 w 12192001"/>
                <a:gd name="connsiteY2993" fmla="*/ 1576898 h 6523037"/>
                <a:gd name="connsiteX2994" fmla="*/ 6192439 w 12192001"/>
                <a:gd name="connsiteY2994" fmla="*/ 1848009 h 6523037"/>
                <a:gd name="connsiteX2995" fmla="*/ 6463552 w 12192001"/>
                <a:gd name="connsiteY2995" fmla="*/ 2118421 h 6523037"/>
                <a:gd name="connsiteX2996" fmla="*/ 6727675 w 12192001"/>
                <a:gd name="connsiteY2996" fmla="*/ 2118421 h 6523037"/>
                <a:gd name="connsiteX2997" fmla="*/ 6456565 w 12192001"/>
                <a:gd name="connsiteY2997" fmla="*/ 1848009 h 6523037"/>
                <a:gd name="connsiteX2998" fmla="*/ 6726977 w 12192001"/>
                <a:gd name="connsiteY2998" fmla="*/ 1576898 h 6523037"/>
                <a:gd name="connsiteX2999" fmla="*/ 5912945 w 12192001"/>
                <a:gd name="connsiteY2999" fmla="*/ 1576898 h 6523037"/>
                <a:gd name="connsiteX3000" fmla="*/ 5643231 w 12192001"/>
                <a:gd name="connsiteY3000" fmla="*/ 1848009 h 6523037"/>
                <a:gd name="connsiteX3001" fmla="*/ 5843769 w 12192001"/>
                <a:gd name="connsiteY3001" fmla="*/ 2048547 h 6523037"/>
                <a:gd name="connsiteX3002" fmla="*/ 5914342 w 12192001"/>
                <a:gd name="connsiteY3002" fmla="*/ 2118421 h 6523037"/>
                <a:gd name="connsiteX3003" fmla="*/ 5982819 w 12192001"/>
                <a:gd name="connsiteY3003" fmla="*/ 2118421 h 6523037"/>
                <a:gd name="connsiteX3004" fmla="*/ 5982120 w 12192001"/>
                <a:gd name="connsiteY3004" fmla="*/ 2119819 h 6523037"/>
                <a:gd name="connsiteX3005" fmla="*/ 6179165 w 12192001"/>
                <a:gd name="connsiteY3005" fmla="*/ 2119819 h 6523037"/>
                <a:gd name="connsiteX3006" fmla="*/ 5908054 w 12192001"/>
                <a:gd name="connsiteY3006" fmla="*/ 1849407 h 6523037"/>
                <a:gd name="connsiteX3007" fmla="*/ 5908752 w 12192001"/>
                <a:gd name="connsiteY3007" fmla="*/ 1848708 h 6523037"/>
                <a:gd name="connsiteX3008" fmla="*/ 5906656 w 12192001"/>
                <a:gd name="connsiteY3008" fmla="*/ 1848009 h 6523037"/>
                <a:gd name="connsiteX3009" fmla="*/ 6177068 w 12192001"/>
                <a:gd name="connsiteY3009" fmla="*/ 1576898 h 6523037"/>
                <a:gd name="connsiteX3010" fmla="*/ 7559872 w 12192001"/>
                <a:gd name="connsiteY3010" fmla="*/ 1576199 h 6523037"/>
                <a:gd name="connsiteX3011" fmla="*/ 7289460 w 12192001"/>
                <a:gd name="connsiteY3011" fmla="*/ 1847310 h 6523037"/>
                <a:gd name="connsiteX3012" fmla="*/ 7560571 w 12192001"/>
                <a:gd name="connsiteY3012" fmla="*/ 2117722 h 6523037"/>
                <a:gd name="connsiteX3013" fmla="*/ 7824694 w 12192001"/>
                <a:gd name="connsiteY3013" fmla="*/ 2117722 h 6523037"/>
                <a:gd name="connsiteX3014" fmla="*/ 7553583 w 12192001"/>
                <a:gd name="connsiteY3014" fmla="*/ 1847310 h 6523037"/>
                <a:gd name="connsiteX3015" fmla="*/ 7823995 w 12192001"/>
                <a:gd name="connsiteY3015" fmla="*/ 1576199 h 6523037"/>
                <a:gd name="connsiteX3016" fmla="*/ 7011363 w 12192001"/>
                <a:gd name="connsiteY3016" fmla="*/ 1576199 h 6523037"/>
                <a:gd name="connsiteX3017" fmla="*/ 6740950 w 12192001"/>
                <a:gd name="connsiteY3017" fmla="*/ 1847310 h 6523037"/>
                <a:gd name="connsiteX3018" fmla="*/ 7012061 w 12192001"/>
                <a:gd name="connsiteY3018" fmla="*/ 2117722 h 6523037"/>
                <a:gd name="connsiteX3019" fmla="*/ 7275485 w 12192001"/>
                <a:gd name="connsiteY3019" fmla="*/ 2117722 h 6523037"/>
                <a:gd name="connsiteX3020" fmla="*/ 7145521 w 12192001"/>
                <a:gd name="connsiteY3020" fmla="*/ 1987757 h 6523037"/>
                <a:gd name="connsiteX3021" fmla="*/ 7005075 w 12192001"/>
                <a:gd name="connsiteY3021" fmla="*/ 1847310 h 6523037"/>
                <a:gd name="connsiteX3022" fmla="*/ 7275485 w 12192001"/>
                <a:gd name="connsiteY3022" fmla="*/ 1576199 h 6523037"/>
                <a:gd name="connsiteX3023" fmla="*/ 8108382 w 12192001"/>
                <a:gd name="connsiteY3023" fmla="*/ 1575501 h 6523037"/>
                <a:gd name="connsiteX3024" fmla="*/ 7837970 w 12192001"/>
                <a:gd name="connsiteY3024" fmla="*/ 1846611 h 6523037"/>
                <a:gd name="connsiteX3025" fmla="*/ 8109081 w 12192001"/>
                <a:gd name="connsiteY3025" fmla="*/ 2116325 h 6523037"/>
                <a:gd name="connsiteX3026" fmla="*/ 8373205 w 12192001"/>
                <a:gd name="connsiteY3026" fmla="*/ 2116325 h 6523037"/>
                <a:gd name="connsiteX3027" fmla="*/ 8102094 w 12192001"/>
                <a:gd name="connsiteY3027" fmla="*/ 1845914 h 6523037"/>
                <a:gd name="connsiteX3028" fmla="*/ 8286561 w 12192001"/>
                <a:gd name="connsiteY3028" fmla="*/ 1661446 h 6523037"/>
                <a:gd name="connsiteX3029" fmla="*/ 8372506 w 12192001"/>
                <a:gd name="connsiteY3029" fmla="*/ 1575501 h 6523037"/>
                <a:gd name="connsiteX3030" fmla="*/ 9478306 w 12192001"/>
                <a:gd name="connsiteY3030" fmla="*/ 1575121 h 6523037"/>
                <a:gd name="connsiteX3031" fmla="*/ 9213090 w 12192001"/>
                <a:gd name="connsiteY3031" fmla="*/ 1841022 h 6523037"/>
                <a:gd name="connsiteX3032" fmla="*/ 9475254 w 12192001"/>
                <a:gd name="connsiteY3032" fmla="*/ 1841022 h 6523037"/>
                <a:gd name="connsiteX3033" fmla="*/ 9740464 w 12192001"/>
                <a:gd name="connsiteY3033" fmla="*/ 1575121 h 6523037"/>
                <a:gd name="connsiteX3034" fmla="*/ 10025550 w 12192001"/>
                <a:gd name="connsiteY3034" fmla="*/ 1574422 h 6523037"/>
                <a:gd name="connsiteX3035" fmla="*/ 9755138 w 12192001"/>
                <a:gd name="connsiteY3035" fmla="*/ 1845533 h 6523037"/>
                <a:gd name="connsiteX3036" fmla="*/ 10026249 w 12192001"/>
                <a:gd name="connsiteY3036" fmla="*/ 2115945 h 6523037"/>
                <a:gd name="connsiteX3037" fmla="*/ 10290372 w 12192001"/>
                <a:gd name="connsiteY3037" fmla="*/ 2115945 h 6523037"/>
                <a:gd name="connsiteX3038" fmla="*/ 10019261 w 12192001"/>
                <a:gd name="connsiteY3038" fmla="*/ 1845533 h 6523037"/>
                <a:gd name="connsiteX3039" fmla="*/ 10289673 w 12192001"/>
                <a:gd name="connsiteY3039" fmla="*/ 1574422 h 6523037"/>
                <a:gd name="connsiteX3040" fmla="*/ 9205403 w 12192001"/>
                <a:gd name="connsiteY3040" fmla="*/ 1574104 h 6523037"/>
                <a:gd name="connsiteX3041" fmla="*/ 8934991 w 12192001"/>
                <a:gd name="connsiteY3041" fmla="*/ 1845215 h 6523037"/>
                <a:gd name="connsiteX3042" fmla="*/ 9206102 w 12192001"/>
                <a:gd name="connsiteY3042" fmla="*/ 2114928 h 6523037"/>
                <a:gd name="connsiteX3043" fmla="*/ 9466216 w 12192001"/>
                <a:gd name="connsiteY3043" fmla="*/ 2114928 h 6523037"/>
                <a:gd name="connsiteX3044" fmla="*/ 9336593 w 12192001"/>
                <a:gd name="connsiteY3044" fmla="*/ 1985980 h 6523037"/>
                <a:gd name="connsiteX3045" fmla="*/ 9320523 w 12192001"/>
                <a:gd name="connsiteY3045" fmla="*/ 1969909 h 6523037"/>
                <a:gd name="connsiteX3046" fmla="*/ 9320523 w 12192001"/>
                <a:gd name="connsiteY3046" fmla="*/ 1965612 h 6523037"/>
                <a:gd name="connsiteX3047" fmla="*/ 9199115 w 12192001"/>
                <a:gd name="connsiteY3047" fmla="*/ 1844516 h 6523037"/>
                <a:gd name="connsiteX3048" fmla="*/ 9320523 w 12192001"/>
                <a:gd name="connsiteY3048" fmla="*/ 1723108 h 6523037"/>
                <a:gd name="connsiteX3049" fmla="*/ 9320523 w 12192001"/>
                <a:gd name="connsiteY3049" fmla="*/ 1721157 h 6523037"/>
                <a:gd name="connsiteX3050" fmla="*/ 9467575 w 12192001"/>
                <a:gd name="connsiteY3050" fmla="*/ 1574104 h 6523037"/>
                <a:gd name="connsiteX3051" fmla="*/ 11123269 w 12192001"/>
                <a:gd name="connsiteY3051" fmla="*/ 1573723 h 6523037"/>
                <a:gd name="connsiteX3052" fmla="*/ 10852856 w 12192001"/>
                <a:gd name="connsiteY3052" fmla="*/ 1844834 h 6523037"/>
                <a:gd name="connsiteX3053" fmla="*/ 11123968 w 12192001"/>
                <a:gd name="connsiteY3053" fmla="*/ 2115246 h 6523037"/>
                <a:gd name="connsiteX3054" fmla="*/ 11388091 w 12192001"/>
                <a:gd name="connsiteY3054" fmla="*/ 2115246 h 6523037"/>
                <a:gd name="connsiteX3055" fmla="*/ 11116981 w 12192001"/>
                <a:gd name="connsiteY3055" fmla="*/ 1844834 h 6523037"/>
                <a:gd name="connsiteX3056" fmla="*/ 11387393 w 12192001"/>
                <a:gd name="connsiteY3056" fmla="*/ 1573723 h 6523037"/>
                <a:gd name="connsiteX3057" fmla="*/ 10573361 w 12192001"/>
                <a:gd name="connsiteY3057" fmla="*/ 1573723 h 6523037"/>
                <a:gd name="connsiteX3058" fmla="*/ 10303648 w 12192001"/>
                <a:gd name="connsiteY3058" fmla="*/ 1844834 h 6523037"/>
                <a:gd name="connsiteX3059" fmla="*/ 10504186 w 12192001"/>
                <a:gd name="connsiteY3059" fmla="*/ 2045372 h 6523037"/>
                <a:gd name="connsiteX3060" fmla="*/ 10574759 w 12192001"/>
                <a:gd name="connsiteY3060" fmla="*/ 2115246 h 6523037"/>
                <a:gd name="connsiteX3061" fmla="*/ 10643235 w 12192001"/>
                <a:gd name="connsiteY3061" fmla="*/ 2115246 h 6523037"/>
                <a:gd name="connsiteX3062" fmla="*/ 10642537 w 12192001"/>
                <a:gd name="connsiteY3062" fmla="*/ 2116644 h 6523037"/>
                <a:gd name="connsiteX3063" fmla="*/ 10839581 w 12192001"/>
                <a:gd name="connsiteY3063" fmla="*/ 2116644 h 6523037"/>
                <a:gd name="connsiteX3064" fmla="*/ 10568470 w 12192001"/>
                <a:gd name="connsiteY3064" fmla="*/ 1846232 h 6523037"/>
                <a:gd name="connsiteX3065" fmla="*/ 10569169 w 12192001"/>
                <a:gd name="connsiteY3065" fmla="*/ 1845533 h 6523037"/>
                <a:gd name="connsiteX3066" fmla="*/ 10567073 w 12192001"/>
                <a:gd name="connsiteY3066" fmla="*/ 1844834 h 6523037"/>
                <a:gd name="connsiteX3067" fmla="*/ 10837485 w 12192001"/>
                <a:gd name="connsiteY3067" fmla="*/ 1573723 h 6523037"/>
                <a:gd name="connsiteX3068" fmla="*/ 11671780 w 12192001"/>
                <a:gd name="connsiteY3068" fmla="*/ 1573024 h 6523037"/>
                <a:gd name="connsiteX3069" fmla="*/ 11401367 w 12192001"/>
                <a:gd name="connsiteY3069" fmla="*/ 1844135 h 6523037"/>
                <a:gd name="connsiteX3070" fmla="*/ 11672478 w 12192001"/>
                <a:gd name="connsiteY3070" fmla="*/ 2114547 h 6523037"/>
                <a:gd name="connsiteX3071" fmla="*/ 11935902 w 12192001"/>
                <a:gd name="connsiteY3071" fmla="*/ 2114547 h 6523037"/>
                <a:gd name="connsiteX3072" fmla="*/ 11805937 w 12192001"/>
                <a:gd name="connsiteY3072" fmla="*/ 1984582 h 6523037"/>
                <a:gd name="connsiteX3073" fmla="*/ 11665491 w 12192001"/>
                <a:gd name="connsiteY3073" fmla="*/ 1844135 h 6523037"/>
                <a:gd name="connsiteX3074" fmla="*/ 11935902 w 12192001"/>
                <a:gd name="connsiteY3074" fmla="*/ 1573024 h 6523037"/>
                <a:gd name="connsiteX3075" fmla="*/ 164203 w 12192001"/>
                <a:gd name="connsiteY3075" fmla="*/ 1308454 h 6523037"/>
                <a:gd name="connsiteX3076" fmla="*/ 294168 w 12192001"/>
                <a:gd name="connsiteY3076" fmla="*/ 1438419 h 6523037"/>
                <a:gd name="connsiteX3077" fmla="*/ 434615 w 12192001"/>
                <a:gd name="connsiteY3077" fmla="*/ 1578866 h 6523037"/>
                <a:gd name="connsiteX3078" fmla="*/ 164203 w 12192001"/>
                <a:gd name="connsiteY3078" fmla="*/ 1849977 h 6523037"/>
                <a:gd name="connsiteX3079" fmla="*/ 428326 w 12192001"/>
                <a:gd name="connsiteY3079" fmla="*/ 1849977 h 6523037"/>
                <a:gd name="connsiteX3080" fmla="*/ 698738 w 12192001"/>
                <a:gd name="connsiteY3080" fmla="*/ 1578866 h 6523037"/>
                <a:gd name="connsiteX3081" fmla="*/ 427627 w 12192001"/>
                <a:gd name="connsiteY3081" fmla="*/ 1308454 h 6523037"/>
                <a:gd name="connsiteX3082" fmla="*/ 1809733 w 12192001"/>
                <a:gd name="connsiteY3082" fmla="*/ 1307755 h 6523037"/>
                <a:gd name="connsiteX3083" fmla="*/ 2080844 w 12192001"/>
                <a:gd name="connsiteY3083" fmla="*/ 1578167 h 6523037"/>
                <a:gd name="connsiteX3084" fmla="*/ 1810432 w 12192001"/>
                <a:gd name="connsiteY3084" fmla="*/ 1848579 h 6523037"/>
                <a:gd name="connsiteX3085" fmla="*/ 2074555 w 12192001"/>
                <a:gd name="connsiteY3085" fmla="*/ 1848579 h 6523037"/>
                <a:gd name="connsiteX3086" fmla="*/ 2344968 w 12192001"/>
                <a:gd name="connsiteY3086" fmla="*/ 1578167 h 6523037"/>
                <a:gd name="connsiteX3087" fmla="*/ 2073856 w 12192001"/>
                <a:gd name="connsiteY3087" fmla="*/ 1307755 h 6523037"/>
                <a:gd name="connsiteX3088" fmla="*/ 712014 w 12192001"/>
                <a:gd name="connsiteY3088" fmla="*/ 1307755 h 6523037"/>
                <a:gd name="connsiteX3089" fmla="*/ 983125 w 12192001"/>
                <a:gd name="connsiteY3089" fmla="*/ 1578167 h 6523037"/>
                <a:gd name="connsiteX3090" fmla="*/ 712713 w 12192001"/>
                <a:gd name="connsiteY3090" fmla="*/ 1849278 h 6523037"/>
                <a:gd name="connsiteX3091" fmla="*/ 976837 w 12192001"/>
                <a:gd name="connsiteY3091" fmla="*/ 1849278 h 6523037"/>
                <a:gd name="connsiteX3092" fmla="*/ 1247249 w 12192001"/>
                <a:gd name="connsiteY3092" fmla="*/ 1578167 h 6523037"/>
                <a:gd name="connsiteX3093" fmla="*/ 976138 w 12192001"/>
                <a:gd name="connsiteY3093" fmla="*/ 1307755 h 6523037"/>
                <a:gd name="connsiteX3094" fmla="*/ 2358243 w 12192001"/>
                <a:gd name="connsiteY3094" fmla="*/ 1307056 h 6523037"/>
                <a:gd name="connsiteX3095" fmla="*/ 2629354 w 12192001"/>
                <a:gd name="connsiteY3095" fmla="*/ 1577468 h 6523037"/>
                <a:gd name="connsiteX3096" fmla="*/ 2359641 w 12192001"/>
                <a:gd name="connsiteY3096" fmla="*/ 1848579 h 6523037"/>
                <a:gd name="connsiteX3097" fmla="*/ 2623065 w 12192001"/>
                <a:gd name="connsiteY3097" fmla="*/ 1848579 h 6523037"/>
                <a:gd name="connsiteX3098" fmla="*/ 2893477 w 12192001"/>
                <a:gd name="connsiteY3098" fmla="*/ 1577468 h 6523037"/>
                <a:gd name="connsiteX3099" fmla="*/ 2759320 w 12192001"/>
                <a:gd name="connsiteY3099" fmla="*/ 1444009 h 6523037"/>
                <a:gd name="connsiteX3100" fmla="*/ 2622367 w 12192001"/>
                <a:gd name="connsiteY3100" fmla="*/ 1307056 h 6523037"/>
                <a:gd name="connsiteX3101" fmla="*/ 2906754 w 12192001"/>
                <a:gd name="connsiteY3101" fmla="*/ 1306358 h 6523037"/>
                <a:gd name="connsiteX3102" fmla="*/ 2908151 w 12192001"/>
                <a:gd name="connsiteY3102" fmla="*/ 1307755 h 6523037"/>
                <a:gd name="connsiteX3103" fmla="*/ 3177864 w 12192001"/>
                <a:gd name="connsiteY3103" fmla="*/ 1576769 h 6523037"/>
                <a:gd name="connsiteX3104" fmla="*/ 2907452 w 12192001"/>
                <a:gd name="connsiteY3104" fmla="*/ 1847181 h 6523037"/>
                <a:gd name="connsiteX3105" fmla="*/ 3171576 w 12192001"/>
                <a:gd name="connsiteY3105" fmla="*/ 1847181 h 6523037"/>
                <a:gd name="connsiteX3106" fmla="*/ 3441988 w 12192001"/>
                <a:gd name="connsiteY3106" fmla="*/ 1576769 h 6523037"/>
                <a:gd name="connsiteX3107" fmla="*/ 3436398 w 12192001"/>
                <a:gd name="connsiteY3107" fmla="*/ 1571878 h 6523037"/>
                <a:gd name="connsiteX3108" fmla="*/ 3170877 w 12192001"/>
                <a:gd name="connsiteY3108" fmla="*/ 1306358 h 6523037"/>
                <a:gd name="connsiteX3109" fmla="*/ 1525347 w 12192001"/>
                <a:gd name="connsiteY3109" fmla="*/ 1306358 h 6523037"/>
                <a:gd name="connsiteX3110" fmla="*/ 1523949 w 12192001"/>
                <a:gd name="connsiteY3110" fmla="*/ 1307056 h 6523037"/>
                <a:gd name="connsiteX3111" fmla="*/ 1259826 w 12192001"/>
                <a:gd name="connsiteY3111" fmla="*/ 1307056 h 6523037"/>
                <a:gd name="connsiteX3112" fmla="*/ 1530937 w 12192001"/>
                <a:gd name="connsiteY3112" fmla="*/ 1577468 h 6523037"/>
                <a:gd name="connsiteX3113" fmla="*/ 1526744 w 12192001"/>
                <a:gd name="connsiteY3113" fmla="*/ 1581660 h 6523037"/>
                <a:gd name="connsiteX3114" fmla="*/ 1532333 w 12192001"/>
                <a:gd name="connsiteY3114" fmla="*/ 1578866 h 6523037"/>
                <a:gd name="connsiteX3115" fmla="*/ 1261921 w 12192001"/>
                <a:gd name="connsiteY3115" fmla="*/ 1849977 h 6523037"/>
                <a:gd name="connsiteX3116" fmla="*/ 1526046 w 12192001"/>
                <a:gd name="connsiteY3116" fmla="*/ 1849977 h 6523037"/>
                <a:gd name="connsiteX3117" fmla="*/ 1796458 w 12192001"/>
                <a:gd name="connsiteY3117" fmla="*/ 1578866 h 6523037"/>
                <a:gd name="connsiteX3118" fmla="*/ 1525347 w 12192001"/>
                <a:gd name="connsiteY3118" fmla="*/ 1308454 h 6523037"/>
                <a:gd name="connsiteX3119" fmla="*/ 3454565 w 12192001"/>
                <a:gd name="connsiteY3119" fmla="*/ 1305659 h 6523037"/>
                <a:gd name="connsiteX3120" fmla="*/ 3725676 w 12192001"/>
                <a:gd name="connsiteY3120" fmla="*/ 1576071 h 6523037"/>
                <a:gd name="connsiteX3121" fmla="*/ 3722882 w 12192001"/>
                <a:gd name="connsiteY3121" fmla="*/ 1578866 h 6523037"/>
                <a:gd name="connsiteX3122" fmla="*/ 3632744 w 12192001"/>
                <a:gd name="connsiteY3122" fmla="*/ 1669701 h 6523037"/>
                <a:gd name="connsiteX3123" fmla="*/ 3455264 w 12192001"/>
                <a:gd name="connsiteY3123" fmla="*/ 1846482 h 6523037"/>
                <a:gd name="connsiteX3124" fmla="*/ 3719387 w 12192001"/>
                <a:gd name="connsiteY3124" fmla="*/ 1846482 h 6523037"/>
                <a:gd name="connsiteX3125" fmla="*/ 3808826 w 12192001"/>
                <a:gd name="connsiteY3125" fmla="*/ 1757044 h 6523037"/>
                <a:gd name="connsiteX3126" fmla="*/ 3989799 w 12192001"/>
                <a:gd name="connsiteY3126" fmla="*/ 1576071 h 6523037"/>
                <a:gd name="connsiteX3127" fmla="*/ 3718688 w 12192001"/>
                <a:gd name="connsiteY3127" fmla="*/ 1305659 h 6523037"/>
                <a:gd name="connsiteX3128" fmla="*/ 4813703 w 12192001"/>
                <a:gd name="connsiteY3128" fmla="*/ 1304267 h 6523037"/>
                <a:gd name="connsiteX3129" fmla="*/ 4551587 w 12192001"/>
                <a:gd name="connsiteY3129" fmla="*/ 1304960 h 6523037"/>
                <a:gd name="connsiteX3130" fmla="*/ 4819301 w 12192001"/>
                <a:gd name="connsiteY3130" fmla="*/ 1570610 h 6523037"/>
                <a:gd name="connsiteX3131" fmla="*/ 5080048 w 12192001"/>
                <a:gd name="connsiteY3131" fmla="*/ 1570610 h 6523037"/>
                <a:gd name="connsiteX3132" fmla="*/ 4950082 w 12192001"/>
                <a:gd name="connsiteY3132" fmla="*/ 1440645 h 6523037"/>
                <a:gd name="connsiteX3133" fmla="*/ 4824309 w 12192001"/>
                <a:gd name="connsiteY3133" fmla="*/ 1303692 h 6523037"/>
                <a:gd name="connsiteX3134" fmla="*/ 4954274 w 12192001"/>
                <a:gd name="connsiteY3134" fmla="*/ 1433657 h 6523037"/>
                <a:gd name="connsiteX3135" fmla="*/ 5094721 w 12192001"/>
                <a:gd name="connsiteY3135" fmla="*/ 1574104 h 6523037"/>
                <a:gd name="connsiteX3136" fmla="*/ 4824309 w 12192001"/>
                <a:gd name="connsiteY3136" fmla="*/ 1845215 h 6523037"/>
                <a:gd name="connsiteX3137" fmla="*/ 5088432 w 12192001"/>
                <a:gd name="connsiteY3137" fmla="*/ 1845215 h 6523037"/>
                <a:gd name="connsiteX3138" fmla="*/ 5358844 w 12192001"/>
                <a:gd name="connsiteY3138" fmla="*/ 1574104 h 6523037"/>
                <a:gd name="connsiteX3139" fmla="*/ 5087733 w 12192001"/>
                <a:gd name="connsiteY3139" fmla="*/ 1303692 h 6523037"/>
                <a:gd name="connsiteX3140" fmla="*/ 6469839 w 12192001"/>
                <a:gd name="connsiteY3140" fmla="*/ 1302993 h 6523037"/>
                <a:gd name="connsiteX3141" fmla="*/ 6740950 w 12192001"/>
                <a:gd name="connsiteY3141" fmla="*/ 1573405 h 6523037"/>
                <a:gd name="connsiteX3142" fmla="*/ 6470538 w 12192001"/>
                <a:gd name="connsiteY3142" fmla="*/ 1843817 h 6523037"/>
                <a:gd name="connsiteX3143" fmla="*/ 6734661 w 12192001"/>
                <a:gd name="connsiteY3143" fmla="*/ 1843817 h 6523037"/>
                <a:gd name="connsiteX3144" fmla="*/ 7005075 w 12192001"/>
                <a:gd name="connsiteY3144" fmla="*/ 1573405 h 6523037"/>
                <a:gd name="connsiteX3145" fmla="*/ 6733962 w 12192001"/>
                <a:gd name="connsiteY3145" fmla="*/ 1302993 h 6523037"/>
                <a:gd name="connsiteX3146" fmla="*/ 5372120 w 12192001"/>
                <a:gd name="connsiteY3146" fmla="*/ 1302993 h 6523037"/>
                <a:gd name="connsiteX3147" fmla="*/ 5643231 w 12192001"/>
                <a:gd name="connsiteY3147" fmla="*/ 1573405 h 6523037"/>
                <a:gd name="connsiteX3148" fmla="*/ 5372819 w 12192001"/>
                <a:gd name="connsiteY3148" fmla="*/ 1844516 h 6523037"/>
                <a:gd name="connsiteX3149" fmla="*/ 5636944 w 12192001"/>
                <a:gd name="connsiteY3149" fmla="*/ 1844516 h 6523037"/>
                <a:gd name="connsiteX3150" fmla="*/ 5907355 w 12192001"/>
                <a:gd name="connsiteY3150" fmla="*/ 1573405 h 6523037"/>
                <a:gd name="connsiteX3151" fmla="*/ 5636244 w 12192001"/>
                <a:gd name="connsiteY3151" fmla="*/ 1302993 h 6523037"/>
                <a:gd name="connsiteX3152" fmla="*/ 7018349 w 12192001"/>
                <a:gd name="connsiteY3152" fmla="*/ 1302294 h 6523037"/>
                <a:gd name="connsiteX3153" fmla="*/ 7289460 w 12192001"/>
                <a:gd name="connsiteY3153" fmla="*/ 1572706 h 6523037"/>
                <a:gd name="connsiteX3154" fmla="*/ 7019748 w 12192001"/>
                <a:gd name="connsiteY3154" fmla="*/ 1843817 h 6523037"/>
                <a:gd name="connsiteX3155" fmla="*/ 7283171 w 12192001"/>
                <a:gd name="connsiteY3155" fmla="*/ 1843817 h 6523037"/>
                <a:gd name="connsiteX3156" fmla="*/ 7553583 w 12192001"/>
                <a:gd name="connsiteY3156" fmla="*/ 1572706 h 6523037"/>
                <a:gd name="connsiteX3157" fmla="*/ 7419426 w 12192001"/>
                <a:gd name="connsiteY3157" fmla="*/ 1439247 h 6523037"/>
                <a:gd name="connsiteX3158" fmla="*/ 7282473 w 12192001"/>
                <a:gd name="connsiteY3158" fmla="*/ 1302294 h 6523037"/>
                <a:gd name="connsiteX3159" fmla="*/ 7566860 w 12192001"/>
                <a:gd name="connsiteY3159" fmla="*/ 1301596 h 6523037"/>
                <a:gd name="connsiteX3160" fmla="*/ 7568257 w 12192001"/>
                <a:gd name="connsiteY3160" fmla="*/ 1302993 h 6523037"/>
                <a:gd name="connsiteX3161" fmla="*/ 7837970 w 12192001"/>
                <a:gd name="connsiteY3161" fmla="*/ 1572007 h 6523037"/>
                <a:gd name="connsiteX3162" fmla="*/ 7567558 w 12192001"/>
                <a:gd name="connsiteY3162" fmla="*/ 1842419 h 6523037"/>
                <a:gd name="connsiteX3163" fmla="*/ 7831682 w 12192001"/>
                <a:gd name="connsiteY3163" fmla="*/ 1842419 h 6523037"/>
                <a:gd name="connsiteX3164" fmla="*/ 8102094 w 12192001"/>
                <a:gd name="connsiteY3164" fmla="*/ 1572007 h 6523037"/>
                <a:gd name="connsiteX3165" fmla="*/ 8096504 w 12192001"/>
                <a:gd name="connsiteY3165" fmla="*/ 1567116 h 6523037"/>
                <a:gd name="connsiteX3166" fmla="*/ 7830983 w 12192001"/>
                <a:gd name="connsiteY3166" fmla="*/ 1301596 h 6523037"/>
                <a:gd name="connsiteX3167" fmla="*/ 6185454 w 12192001"/>
                <a:gd name="connsiteY3167" fmla="*/ 1301596 h 6523037"/>
                <a:gd name="connsiteX3168" fmla="*/ 6184056 w 12192001"/>
                <a:gd name="connsiteY3168" fmla="*/ 1302294 h 6523037"/>
                <a:gd name="connsiteX3169" fmla="*/ 5919933 w 12192001"/>
                <a:gd name="connsiteY3169" fmla="*/ 1302294 h 6523037"/>
                <a:gd name="connsiteX3170" fmla="*/ 6191043 w 12192001"/>
                <a:gd name="connsiteY3170" fmla="*/ 1572706 h 6523037"/>
                <a:gd name="connsiteX3171" fmla="*/ 6186850 w 12192001"/>
                <a:gd name="connsiteY3171" fmla="*/ 1576898 h 6523037"/>
                <a:gd name="connsiteX3172" fmla="*/ 6192439 w 12192001"/>
                <a:gd name="connsiteY3172" fmla="*/ 1574104 h 6523037"/>
                <a:gd name="connsiteX3173" fmla="*/ 5922027 w 12192001"/>
                <a:gd name="connsiteY3173" fmla="*/ 1845215 h 6523037"/>
                <a:gd name="connsiteX3174" fmla="*/ 6186152 w 12192001"/>
                <a:gd name="connsiteY3174" fmla="*/ 1845215 h 6523037"/>
                <a:gd name="connsiteX3175" fmla="*/ 6456565 w 12192001"/>
                <a:gd name="connsiteY3175" fmla="*/ 1574104 h 6523037"/>
                <a:gd name="connsiteX3176" fmla="*/ 6185454 w 12192001"/>
                <a:gd name="connsiteY3176" fmla="*/ 1303692 h 6523037"/>
                <a:gd name="connsiteX3177" fmla="*/ 8114671 w 12192001"/>
                <a:gd name="connsiteY3177" fmla="*/ 1300897 h 6523037"/>
                <a:gd name="connsiteX3178" fmla="*/ 8385782 w 12192001"/>
                <a:gd name="connsiteY3178" fmla="*/ 1571309 h 6523037"/>
                <a:gd name="connsiteX3179" fmla="*/ 8382988 w 12192001"/>
                <a:gd name="connsiteY3179" fmla="*/ 1574104 h 6523037"/>
                <a:gd name="connsiteX3180" fmla="*/ 8292850 w 12192001"/>
                <a:gd name="connsiteY3180" fmla="*/ 1664939 h 6523037"/>
                <a:gd name="connsiteX3181" fmla="*/ 8115370 w 12192001"/>
                <a:gd name="connsiteY3181" fmla="*/ 1841720 h 6523037"/>
                <a:gd name="connsiteX3182" fmla="*/ 8379493 w 12192001"/>
                <a:gd name="connsiteY3182" fmla="*/ 1841720 h 6523037"/>
                <a:gd name="connsiteX3183" fmla="*/ 8468932 w 12192001"/>
                <a:gd name="connsiteY3183" fmla="*/ 1752282 h 6523037"/>
                <a:gd name="connsiteX3184" fmla="*/ 8649905 w 12192001"/>
                <a:gd name="connsiteY3184" fmla="*/ 1571309 h 6523037"/>
                <a:gd name="connsiteX3185" fmla="*/ 8378794 w 12192001"/>
                <a:gd name="connsiteY3185" fmla="*/ 1300897 h 6523037"/>
                <a:gd name="connsiteX3186" fmla="*/ 9484726 w 12192001"/>
                <a:gd name="connsiteY3186" fmla="*/ 1300517 h 6523037"/>
                <a:gd name="connsiteX3187" fmla="*/ 9614691 w 12192001"/>
                <a:gd name="connsiteY3187" fmla="*/ 1430482 h 6523037"/>
                <a:gd name="connsiteX3188" fmla="*/ 9755138 w 12192001"/>
                <a:gd name="connsiteY3188" fmla="*/ 1570929 h 6523037"/>
                <a:gd name="connsiteX3189" fmla="*/ 9484726 w 12192001"/>
                <a:gd name="connsiteY3189" fmla="*/ 1842040 h 6523037"/>
                <a:gd name="connsiteX3190" fmla="*/ 9748849 w 12192001"/>
                <a:gd name="connsiteY3190" fmla="*/ 1842040 h 6523037"/>
                <a:gd name="connsiteX3191" fmla="*/ 10019261 w 12192001"/>
                <a:gd name="connsiteY3191" fmla="*/ 1570929 h 6523037"/>
                <a:gd name="connsiteX3192" fmla="*/ 9748150 w 12192001"/>
                <a:gd name="connsiteY3192" fmla="*/ 1300517 h 6523037"/>
                <a:gd name="connsiteX3193" fmla="*/ 11130256 w 12192001"/>
                <a:gd name="connsiteY3193" fmla="*/ 1299818 h 6523037"/>
                <a:gd name="connsiteX3194" fmla="*/ 11401367 w 12192001"/>
                <a:gd name="connsiteY3194" fmla="*/ 1570230 h 6523037"/>
                <a:gd name="connsiteX3195" fmla="*/ 11130955 w 12192001"/>
                <a:gd name="connsiteY3195" fmla="*/ 1840642 h 6523037"/>
                <a:gd name="connsiteX3196" fmla="*/ 11395078 w 12192001"/>
                <a:gd name="connsiteY3196" fmla="*/ 1840642 h 6523037"/>
                <a:gd name="connsiteX3197" fmla="*/ 11665491 w 12192001"/>
                <a:gd name="connsiteY3197" fmla="*/ 1570230 h 6523037"/>
                <a:gd name="connsiteX3198" fmla="*/ 11394379 w 12192001"/>
                <a:gd name="connsiteY3198" fmla="*/ 1299818 h 6523037"/>
                <a:gd name="connsiteX3199" fmla="*/ 10032537 w 12192001"/>
                <a:gd name="connsiteY3199" fmla="*/ 1299818 h 6523037"/>
                <a:gd name="connsiteX3200" fmla="*/ 10303648 w 12192001"/>
                <a:gd name="connsiteY3200" fmla="*/ 1570230 h 6523037"/>
                <a:gd name="connsiteX3201" fmla="*/ 10033236 w 12192001"/>
                <a:gd name="connsiteY3201" fmla="*/ 1841341 h 6523037"/>
                <a:gd name="connsiteX3202" fmla="*/ 10297360 w 12192001"/>
                <a:gd name="connsiteY3202" fmla="*/ 1841341 h 6523037"/>
                <a:gd name="connsiteX3203" fmla="*/ 10567772 w 12192001"/>
                <a:gd name="connsiteY3203" fmla="*/ 1570230 h 6523037"/>
                <a:gd name="connsiteX3204" fmla="*/ 10296661 w 12192001"/>
                <a:gd name="connsiteY3204" fmla="*/ 1299818 h 6523037"/>
                <a:gd name="connsiteX3205" fmla="*/ 9472537 w 12192001"/>
                <a:gd name="connsiteY3205" fmla="*/ 1299508 h 6523037"/>
                <a:gd name="connsiteX3206" fmla="*/ 9211692 w 12192001"/>
                <a:gd name="connsiteY3206" fmla="*/ 1300198 h 6523037"/>
                <a:gd name="connsiteX3207" fmla="*/ 9481007 w 12192001"/>
                <a:gd name="connsiteY3207" fmla="*/ 1567435 h 6523037"/>
                <a:gd name="connsiteX3208" fmla="*/ 9740464 w 12192001"/>
                <a:gd name="connsiteY3208" fmla="*/ 1567435 h 6523037"/>
                <a:gd name="connsiteX3209" fmla="*/ 9610499 w 12192001"/>
                <a:gd name="connsiteY3209" fmla="*/ 1437470 h 6523037"/>
                <a:gd name="connsiteX3210" fmla="*/ 10845870 w 12192001"/>
                <a:gd name="connsiteY3210" fmla="*/ 1298421 h 6523037"/>
                <a:gd name="connsiteX3211" fmla="*/ 10844472 w 12192001"/>
                <a:gd name="connsiteY3211" fmla="*/ 1299119 h 6523037"/>
                <a:gd name="connsiteX3212" fmla="*/ 10580349 w 12192001"/>
                <a:gd name="connsiteY3212" fmla="*/ 1299119 h 6523037"/>
                <a:gd name="connsiteX3213" fmla="*/ 10851460 w 12192001"/>
                <a:gd name="connsiteY3213" fmla="*/ 1569531 h 6523037"/>
                <a:gd name="connsiteX3214" fmla="*/ 10847267 w 12192001"/>
                <a:gd name="connsiteY3214" fmla="*/ 1573723 h 6523037"/>
                <a:gd name="connsiteX3215" fmla="*/ 10852856 w 12192001"/>
                <a:gd name="connsiteY3215" fmla="*/ 1570929 h 6523037"/>
                <a:gd name="connsiteX3216" fmla="*/ 10582444 w 12192001"/>
                <a:gd name="connsiteY3216" fmla="*/ 1842040 h 6523037"/>
                <a:gd name="connsiteX3217" fmla="*/ 10846569 w 12192001"/>
                <a:gd name="connsiteY3217" fmla="*/ 1842040 h 6523037"/>
                <a:gd name="connsiteX3218" fmla="*/ 11116981 w 12192001"/>
                <a:gd name="connsiteY3218" fmla="*/ 1570929 h 6523037"/>
                <a:gd name="connsiteX3219" fmla="*/ 10845870 w 12192001"/>
                <a:gd name="connsiteY3219" fmla="*/ 1300517 h 6523037"/>
                <a:gd name="connsiteX3220" fmla="*/ 1802048 w 12192001"/>
                <a:gd name="connsiteY3220" fmla="*/ 1033150 h 6523037"/>
                <a:gd name="connsiteX3221" fmla="*/ 1531636 w 12192001"/>
                <a:gd name="connsiteY3221" fmla="*/ 1304261 h 6523037"/>
                <a:gd name="connsiteX3222" fmla="*/ 1802746 w 12192001"/>
                <a:gd name="connsiteY3222" fmla="*/ 1574673 h 6523037"/>
                <a:gd name="connsiteX3223" fmla="*/ 2066870 w 12192001"/>
                <a:gd name="connsiteY3223" fmla="*/ 1574673 h 6523037"/>
                <a:gd name="connsiteX3224" fmla="*/ 1795759 w 12192001"/>
                <a:gd name="connsiteY3224" fmla="*/ 1304261 h 6523037"/>
                <a:gd name="connsiteX3225" fmla="*/ 2066171 w 12192001"/>
                <a:gd name="connsiteY3225" fmla="*/ 1033150 h 6523037"/>
                <a:gd name="connsiteX3226" fmla="*/ 704328 w 12192001"/>
                <a:gd name="connsiteY3226" fmla="*/ 1033150 h 6523037"/>
                <a:gd name="connsiteX3227" fmla="*/ 433916 w 12192001"/>
                <a:gd name="connsiteY3227" fmla="*/ 1304261 h 6523037"/>
                <a:gd name="connsiteX3228" fmla="*/ 705027 w 12192001"/>
                <a:gd name="connsiteY3228" fmla="*/ 1574673 h 6523037"/>
                <a:gd name="connsiteX3229" fmla="*/ 969150 w 12192001"/>
                <a:gd name="connsiteY3229" fmla="*/ 1574673 h 6523037"/>
                <a:gd name="connsiteX3230" fmla="*/ 698039 w 12192001"/>
                <a:gd name="connsiteY3230" fmla="*/ 1304261 h 6523037"/>
                <a:gd name="connsiteX3231" fmla="*/ 967752 w 12192001"/>
                <a:gd name="connsiteY3231" fmla="*/ 1033150 h 6523037"/>
                <a:gd name="connsiteX3232" fmla="*/ 2899067 w 12192001"/>
                <a:gd name="connsiteY3232" fmla="*/ 1032451 h 6523037"/>
                <a:gd name="connsiteX3233" fmla="*/ 2718793 w 12192001"/>
                <a:gd name="connsiteY3233" fmla="*/ 1212727 h 6523037"/>
                <a:gd name="connsiteX3234" fmla="*/ 2629354 w 12192001"/>
                <a:gd name="connsiteY3234" fmla="*/ 1302864 h 6523037"/>
                <a:gd name="connsiteX3235" fmla="*/ 2763512 w 12192001"/>
                <a:gd name="connsiteY3235" fmla="*/ 1436323 h 6523037"/>
                <a:gd name="connsiteX3236" fmla="*/ 2900465 w 12192001"/>
                <a:gd name="connsiteY3236" fmla="*/ 1573275 h 6523037"/>
                <a:gd name="connsiteX3237" fmla="*/ 3164588 w 12192001"/>
                <a:gd name="connsiteY3237" fmla="*/ 1573275 h 6523037"/>
                <a:gd name="connsiteX3238" fmla="*/ 2893477 w 12192001"/>
                <a:gd name="connsiteY3238" fmla="*/ 1302864 h 6523037"/>
                <a:gd name="connsiteX3239" fmla="*/ 2894875 w 12192001"/>
                <a:gd name="connsiteY3239" fmla="*/ 1301467 h 6523037"/>
                <a:gd name="connsiteX3240" fmla="*/ 3163191 w 12192001"/>
                <a:gd name="connsiteY3240" fmla="*/ 1032451 h 6523037"/>
                <a:gd name="connsiteX3241" fmla="*/ 2350558 w 12192001"/>
                <a:gd name="connsiteY3241" fmla="*/ 1032451 h 6523037"/>
                <a:gd name="connsiteX3242" fmla="*/ 2080145 w 12192001"/>
                <a:gd name="connsiteY3242" fmla="*/ 1303562 h 6523037"/>
                <a:gd name="connsiteX3243" fmla="*/ 2351257 w 12192001"/>
                <a:gd name="connsiteY3243" fmla="*/ 1573974 h 6523037"/>
                <a:gd name="connsiteX3244" fmla="*/ 2615379 w 12192001"/>
                <a:gd name="connsiteY3244" fmla="*/ 1573974 h 6523037"/>
                <a:gd name="connsiteX3245" fmla="*/ 2344269 w 12192001"/>
                <a:gd name="connsiteY3245" fmla="*/ 1303562 h 6523037"/>
                <a:gd name="connsiteX3246" fmla="*/ 2528736 w 12192001"/>
                <a:gd name="connsiteY3246" fmla="*/ 1119096 h 6523037"/>
                <a:gd name="connsiteX3247" fmla="*/ 2614681 w 12192001"/>
                <a:gd name="connsiteY3247" fmla="*/ 1033150 h 6523037"/>
                <a:gd name="connsiteX3248" fmla="*/ 2356148 w 12192001"/>
                <a:gd name="connsiteY3248" fmla="*/ 1033150 h 6523037"/>
                <a:gd name="connsiteX3249" fmla="*/ 1252838 w 12192001"/>
                <a:gd name="connsiteY3249" fmla="*/ 1032451 h 6523037"/>
                <a:gd name="connsiteX3250" fmla="*/ 982426 w 12192001"/>
                <a:gd name="connsiteY3250" fmla="*/ 1303562 h 6523037"/>
                <a:gd name="connsiteX3251" fmla="*/ 1253537 w 12192001"/>
                <a:gd name="connsiteY3251" fmla="*/ 1573974 h 6523037"/>
                <a:gd name="connsiteX3252" fmla="*/ 1517660 w 12192001"/>
                <a:gd name="connsiteY3252" fmla="*/ 1573974 h 6523037"/>
                <a:gd name="connsiteX3253" fmla="*/ 1246550 w 12192001"/>
                <a:gd name="connsiteY3253" fmla="*/ 1303562 h 6523037"/>
                <a:gd name="connsiteX3254" fmla="*/ 1431017 w 12192001"/>
                <a:gd name="connsiteY3254" fmla="*/ 1119096 h 6523037"/>
                <a:gd name="connsiteX3255" fmla="*/ 1516962 w 12192001"/>
                <a:gd name="connsiteY3255" fmla="*/ 1032451 h 6523037"/>
                <a:gd name="connsiteX3256" fmla="*/ 3447578 w 12192001"/>
                <a:gd name="connsiteY3256" fmla="*/ 1031753 h 6523037"/>
                <a:gd name="connsiteX3257" fmla="*/ 3177166 w 12192001"/>
                <a:gd name="connsiteY3257" fmla="*/ 1302864 h 6523037"/>
                <a:gd name="connsiteX3258" fmla="*/ 3448276 w 12192001"/>
                <a:gd name="connsiteY3258" fmla="*/ 1573275 h 6523037"/>
                <a:gd name="connsiteX3259" fmla="*/ 3712400 w 12192001"/>
                <a:gd name="connsiteY3259" fmla="*/ 1573275 h 6523037"/>
                <a:gd name="connsiteX3260" fmla="*/ 3441289 w 12192001"/>
                <a:gd name="connsiteY3260" fmla="*/ 1302864 h 6523037"/>
                <a:gd name="connsiteX3261" fmla="*/ 3711701 w 12192001"/>
                <a:gd name="connsiteY3261" fmla="*/ 1031753 h 6523037"/>
                <a:gd name="connsiteX3262" fmla="*/ 4544599 w 12192001"/>
                <a:gd name="connsiteY3262" fmla="*/ 1030356 h 6523037"/>
                <a:gd name="connsiteX3263" fmla="*/ 4274187 w 12192001"/>
                <a:gd name="connsiteY3263" fmla="*/ 1301467 h 6523037"/>
                <a:gd name="connsiteX3264" fmla="*/ 4545297 w 12192001"/>
                <a:gd name="connsiteY3264" fmla="*/ 1571878 h 6523037"/>
                <a:gd name="connsiteX3265" fmla="*/ 4806712 w 12192001"/>
                <a:gd name="connsiteY3265" fmla="*/ 1571878 h 6523037"/>
                <a:gd name="connsiteX3266" fmla="*/ 4660106 w 12192001"/>
                <a:gd name="connsiteY3266" fmla="*/ 1425273 h 6523037"/>
                <a:gd name="connsiteX3267" fmla="*/ 4660106 w 12192001"/>
                <a:gd name="connsiteY3267" fmla="*/ 1422949 h 6523037"/>
                <a:gd name="connsiteX3268" fmla="*/ 4538310 w 12192001"/>
                <a:gd name="connsiteY3268" fmla="*/ 1301467 h 6523037"/>
                <a:gd name="connsiteX3269" fmla="*/ 4660106 w 12192001"/>
                <a:gd name="connsiteY3269" fmla="*/ 1179209 h 6523037"/>
                <a:gd name="connsiteX3270" fmla="*/ 4660106 w 12192001"/>
                <a:gd name="connsiteY3270" fmla="*/ 1175123 h 6523037"/>
                <a:gd name="connsiteX3271" fmla="*/ 4804873 w 12192001"/>
                <a:gd name="connsiteY3271" fmla="*/ 1030356 h 6523037"/>
                <a:gd name="connsiteX3272" fmla="*/ 3995389 w 12192001"/>
                <a:gd name="connsiteY3272" fmla="*/ 1030356 h 6523037"/>
                <a:gd name="connsiteX3273" fmla="*/ 3724977 w 12192001"/>
                <a:gd name="connsiteY3273" fmla="*/ 1301467 h 6523037"/>
                <a:gd name="connsiteX3274" fmla="*/ 3996088 w 12192001"/>
                <a:gd name="connsiteY3274" fmla="*/ 1571878 h 6523037"/>
                <a:gd name="connsiteX3275" fmla="*/ 4064564 w 12192001"/>
                <a:gd name="connsiteY3275" fmla="*/ 1571878 h 6523037"/>
                <a:gd name="connsiteX3276" fmla="*/ 4061071 w 12192001"/>
                <a:gd name="connsiteY3276" fmla="*/ 1578866 h 6523037"/>
                <a:gd name="connsiteX3277" fmla="*/ 3996088 w 12192001"/>
                <a:gd name="connsiteY3277" fmla="*/ 1578866 h 6523037"/>
                <a:gd name="connsiteX3278" fmla="*/ 3815814 w 12192001"/>
                <a:gd name="connsiteY3278" fmla="*/ 1759839 h 6523037"/>
                <a:gd name="connsiteX3279" fmla="*/ 3726375 w 12192001"/>
                <a:gd name="connsiteY3279" fmla="*/ 1849977 h 6523037"/>
                <a:gd name="connsiteX3280" fmla="*/ 3859834 w 12192001"/>
                <a:gd name="connsiteY3280" fmla="*/ 1983435 h 6523037"/>
                <a:gd name="connsiteX3281" fmla="*/ 3857039 w 12192001"/>
                <a:gd name="connsiteY3281" fmla="*/ 1989025 h 6523037"/>
                <a:gd name="connsiteX3282" fmla="*/ 3857739 w 12192001"/>
                <a:gd name="connsiteY3282" fmla="*/ 1989722 h 6523037"/>
                <a:gd name="connsiteX3283" fmla="*/ 3857039 w 12192001"/>
                <a:gd name="connsiteY3283" fmla="*/ 1991122 h 6523037"/>
                <a:gd name="connsiteX3284" fmla="*/ 3720086 w 12192001"/>
                <a:gd name="connsiteY3284" fmla="*/ 1854169 h 6523037"/>
                <a:gd name="connsiteX3285" fmla="*/ 3455963 w 12192001"/>
                <a:gd name="connsiteY3285" fmla="*/ 1854169 h 6523037"/>
                <a:gd name="connsiteX3286" fmla="*/ 3727074 w 12192001"/>
                <a:gd name="connsiteY3286" fmla="*/ 2124581 h 6523037"/>
                <a:gd name="connsiteX3287" fmla="*/ 3456662 w 12192001"/>
                <a:gd name="connsiteY3287" fmla="*/ 2395692 h 6523037"/>
                <a:gd name="connsiteX3288" fmla="*/ 3654754 w 12192001"/>
                <a:gd name="connsiteY3288" fmla="*/ 2395692 h 6523037"/>
                <a:gd name="connsiteX3289" fmla="*/ 3652309 w 12192001"/>
                <a:gd name="connsiteY3289" fmla="*/ 2400583 h 6523037"/>
                <a:gd name="connsiteX3290" fmla="*/ 3652658 w 12192001"/>
                <a:gd name="connsiteY3290" fmla="*/ 2400583 h 6523037"/>
                <a:gd name="connsiteX3291" fmla="*/ 3651610 w 12192001"/>
                <a:gd name="connsiteY3291" fmla="*/ 2402679 h 6523037"/>
                <a:gd name="connsiteX3292" fmla="*/ 3456662 w 12192001"/>
                <a:gd name="connsiteY3292" fmla="*/ 2402679 h 6523037"/>
                <a:gd name="connsiteX3293" fmla="*/ 3586394 w 12192001"/>
                <a:gd name="connsiteY3293" fmla="*/ 2532412 h 6523037"/>
                <a:gd name="connsiteX3294" fmla="*/ 3583832 w 12192001"/>
                <a:gd name="connsiteY3294" fmla="*/ 2537535 h 6523037"/>
                <a:gd name="connsiteX3295" fmla="*/ 3584065 w 12192001"/>
                <a:gd name="connsiteY3295" fmla="*/ 2537768 h 6523037"/>
                <a:gd name="connsiteX3296" fmla="*/ 3583133 w 12192001"/>
                <a:gd name="connsiteY3296" fmla="*/ 2539632 h 6523037"/>
                <a:gd name="connsiteX3297" fmla="*/ 3442687 w 12192001"/>
                <a:gd name="connsiteY3297" fmla="*/ 2399185 h 6523037"/>
                <a:gd name="connsiteX3298" fmla="*/ 3713099 w 12192001"/>
                <a:gd name="connsiteY3298" fmla="*/ 2128074 h 6523037"/>
                <a:gd name="connsiteX3299" fmla="*/ 3448975 w 12192001"/>
                <a:gd name="connsiteY3299" fmla="*/ 2128074 h 6523037"/>
                <a:gd name="connsiteX3300" fmla="*/ 3178563 w 12192001"/>
                <a:gd name="connsiteY3300" fmla="*/ 2399185 h 6523037"/>
                <a:gd name="connsiteX3301" fmla="*/ 3448975 w 12192001"/>
                <a:gd name="connsiteY3301" fmla="*/ 2670296 h 6523037"/>
                <a:gd name="connsiteX3302" fmla="*/ 3517452 w 12192001"/>
                <a:gd name="connsiteY3302" fmla="*/ 2670296 h 6523037"/>
                <a:gd name="connsiteX3303" fmla="*/ 3518849 w 12192001"/>
                <a:gd name="connsiteY3303" fmla="*/ 2667501 h 6523037"/>
                <a:gd name="connsiteX3304" fmla="*/ 3713797 w 12192001"/>
                <a:gd name="connsiteY3304" fmla="*/ 2667501 h 6523037"/>
                <a:gd name="connsiteX3305" fmla="*/ 3584065 w 12192001"/>
                <a:gd name="connsiteY3305" fmla="*/ 2537768 h 6523037"/>
                <a:gd name="connsiteX3306" fmla="*/ 3586627 w 12192001"/>
                <a:gd name="connsiteY3306" fmla="*/ 2532645 h 6523037"/>
                <a:gd name="connsiteX3307" fmla="*/ 3586394 w 12192001"/>
                <a:gd name="connsiteY3307" fmla="*/ 2532412 h 6523037"/>
                <a:gd name="connsiteX3308" fmla="*/ 3587326 w 12192001"/>
                <a:gd name="connsiteY3308" fmla="*/ 2530548 h 6523037"/>
                <a:gd name="connsiteX3309" fmla="*/ 3727772 w 12192001"/>
                <a:gd name="connsiteY3309" fmla="*/ 2670995 h 6523037"/>
                <a:gd name="connsiteX3310" fmla="*/ 3457360 w 12192001"/>
                <a:gd name="connsiteY3310" fmla="*/ 2942106 h 6523037"/>
                <a:gd name="connsiteX3311" fmla="*/ 3721484 w 12192001"/>
                <a:gd name="connsiteY3311" fmla="*/ 2942106 h 6523037"/>
                <a:gd name="connsiteX3312" fmla="*/ 3991896 w 12192001"/>
                <a:gd name="connsiteY3312" fmla="*/ 2670995 h 6523037"/>
                <a:gd name="connsiteX3313" fmla="*/ 3720785 w 12192001"/>
                <a:gd name="connsiteY3313" fmla="*/ 2400583 h 6523037"/>
                <a:gd name="connsiteX3314" fmla="*/ 3652658 w 12192001"/>
                <a:gd name="connsiteY3314" fmla="*/ 2400583 h 6523037"/>
                <a:gd name="connsiteX3315" fmla="*/ 3655103 w 12192001"/>
                <a:gd name="connsiteY3315" fmla="*/ 2395692 h 6523037"/>
                <a:gd name="connsiteX3316" fmla="*/ 3654754 w 12192001"/>
                <a:gd name="connsiteY3316" fmla="*/ 2395692 h 6523037"/>
                <a:gd name="connsiteX3317" fmla="*/ 3655802 w 12192001"/>
                <a:gd name="connsiteY3317" fmla="*/ 2393595 h 6523037"/>
                <a:gd name="connsiteX3318" fmla="*/ 3720785 w 12192001"/>
                <a:gd name="connsiteY3318" fmla="*/ 2393595 h 6523037"/>
                <a:gd name="connsiteX3319" fmla="*/ 3991197 w 12192001"/>
                <a:gd name="connsiteY3319" fmla="*/ 2122484 h 6523037"/>
                <a:gd name="connsiteX3320" fmla="*/ 3857739 w 12192001"/>
                <a:gd name="connsiteY3320" fmla="*/ 1989722 h 6523037"/>
                <a:gd name="connsiteX3321" fmla="*/ 3860533 w 12192001"/>
                <a:gd name="connsiteY3321" fmla="*/ 1984134 h 6523037"/>
                <a:gd name="connsiteX3322" fmla="*/ 3859834 w 12192001"/>
                <a:gd name="connsiteY3322" fmla="*/ 1983435 h 6523037"/>
                <a:gd name="connsiteX3323" fmla="*/ 3860533 w 12192001"/>
                <a:gd name="connsiteY3323" fmla="*/ 1982038 h 6523037"/>
                <a:gd name="connsiteX3324" fmla="*/ 3997486 w 12192001"/>
                <a:gd name="connsiteY3324" fmla="*/ 2118991 h 6523037"/>
                <a:gd name="connsiteX3325" fmla="*/ 4261609 w 12192001"/>
                <a:gd name="connsiteY3325" fmla="*/ 2118991 h 6523037"/>
                <a:gd name="connsiteX3326" fmla="*/ 3990498 w 12192001"/>
                <a:gd name="connsiteY3326" fmla="*/ 1848579 h 6523037"/>
                <a:gd name="connsiteX3327" fmla="*/ 3991896 w 12192001"/>
                <a:gd name="connsiteY3327" fmla="*/ 1847181 h 6523037"/>
                <a:gd name="connsiteX3328" fmla="*/ 4260212 w 12192001"/>
                <a:gd name="connsiteY3328" fmla="*/ 1578167 h 6523037"/>
                <a:gd name="connsiteX3329" fmla="*/ 4061770 w 12192001"/>
                <a:gd name="connsiteY3329" fmla="*/ 1578167 h 6523037"/>
                <a:gd name="connsiteX3330" fmla="*/ 4065263 w 12192001"/>
                <a:gd name="connsiteY3330" fmla="*/ 1571180 h 6523037"/>
                <a:gd name="connsiteX3331" fmla="*/ 4260212 w 12192001"/>
                <a:gd name="connsiteY3331" fmla="*/ 1571180 h 6523037"/>
                <a:gd name="connsiteX3332" fmla="*/ 4130246 w 12192001"/>
                <a:gd name="connsiteY3332" fmla="*/ 1441215 h 6523037"/>
                <a:gd name="connsiteX3333" fmla="*/ 4133739 w 12192001"/>
                <a:gd name="connsiteY3333" fmla="*/ 1434227 h 6523037"/>
                <a:gd name="connsiteX3334" fmla="*/ 4274187 w 12192001"/>
                <a:gd name="connsiteY3334" fmla="*/ 1574673 h 6523037"/>
                <a:gd name="connsiteX3335" fmla="*/ 4003774 w 12192001"/>
                <a:gd name="connsiteY3335" fmla="*/ 1845784 h 6523037"/>
                <a:gd name="connsiteX3336" fmla="*/ 4267898 w 12192001"/>
                <a:gd name="connsiteY3336" fmla="*/ 1845784 h 6523037"/>
                <a:gd name="connsiteX3337" fmla="*/ 4538310 w 12192001"/>
                <a:gd name="connsiteY3337" fmla="*/ 1574673 h 6523037"/>
                <a:gd name="connsiteX3338" fmla="*/ 4267200 w 12192001"/>
                <a:gd name="connsiteY3338" fmla="*/ 1304960 h 6523037"/>
                <a:gd name="connsiteX3339" fmla="*/ 4198724 w 12192001"/>
                <a:gd name="connsiteY3339" fmla="*/ 1304960 h 6523037"/>
                <a:gd name="connsiteX3340" fmla="*/ 4003774 w 12192001"/>
                <a:gd name="connsiteY3340" fmla="*/ 1304960 h 6523037"/>
                <a:gd name="connsiteX3341" fmla="*/ 4133040 w 12192001"/>
                <a:gd name="connsiteY3341" fmla="*/ 1434926 h 6523037"/>
                <a:gd name="connsiteX3342" fmla="*/ 4129547 w 12192001"/>
                <a:gd name="connsiteY3342" fmla="*/ 1441912 h 6523037"/>
                <a:gd name="connsiteX3343" fmla="*/ 3989100 w 12192001"/>
                <a:gd name="connsiteY3343" fmla="*/ 1301467 h 6523037"/>
                <a:gd name="connsiteX3344" fmla="*/ 4259512 w 12192001"/>
                <a:gd name="connsiteY3344" fmla="*/ 1030356 h 6523037"/>
                <a:gd name="connsiteX3345" fmla="*/ 4819080 w 12192001"/>
                <a:gd name="connsiteY3345" fmla="*/ 1029786 h 6523037"/>
                <a:gd name="connsiteX3346" fmla="*/ 4551587 w 12192001"/>
                <a:gd name="connsiteY3346" fmla="*/ 1297972 h 6523037"/>
                <a:gd name="connsiteX3347" fmla="*/ 4811861 w 12192001"/>
                <a:gd name="connsiteY3347" fmla="*/ 1297972 h 6523037"/>
                <a:gd name="connsiteX3348" fmla="*/ 5080048 w 12192001"/>
                <a:gd name="connsiteY3348" fmla="*/ 1029786 h 6523037"/>
                <a:gd name="connsiteX3349" fmla="*/ 6462154 w 12192001"/>
                <a:gd name="connsiteY3349" fmla="*/ 1028388 h 6523037"/>
                <a:gd name="connsiteX3350" fmla="*/ 6191742 w 12192001"/>
                <a:gd name="connsiteY3350" fmla="*/ 1299499 h 6523037"/>
                <a:gd name="connsiteX3351" fmla="*/ 6462852 w 12192001"/>
                <a:gd name="connsiteY3351" fmla="*/ 1569911 h 6523037"/>
                <a:gd name="connsiteX3352" fmla="*/ 6726977 w 12192001"/>
                <a:gd name="connsiteY3352" fmla="*/ 1569911 h 6523037"/>
                <a:gd name="connsiteX3353" fmla="*/ 6455865 w 12192001"/>
                <a:gd name="connsiteY3353" fmla="*/ 1299499 h 6523037"/>
                <a:gd name="connsiteX3354" fmla="*/ 6726277 w 12192001"/>
                <a:gd name="connsiteY3354" fmla="*/ 1028388 h 6523037"/>
                <a:gd name="connsiteX3355" fmla="*/ 5364435 w 12192001"/>
                <a:gd name="connsiteY3355" fmla="*/ 1028388 h 6523037"/>
                <a:gd name="connsiteX3356" fmla="*/ 5094022 w 12192001"/>
                <a:gd name="connsiteY3356" fmla="*/ 1299499 h 6523037"/>
                <a:gd name="connsiteX3357" fmla="*/ 5365133 w 12192001"/>
                <a:gd name="connsiteY3357" fmla="*/ 1569911 h 6523037"/>
                <a:gd name="connsiteX3358" fmla="*/ 5629256 w 12192001"/>
                <a:gd name="connsiteY3358" fmla="*/ 1569911 h 6523037"/>
                <a:gd name="connsiteX3359" fmla="*/ 5358145 w 12192001"/>
                <a:gd name="connsiteY3359" fmla="*/ 1299499 h 6523037"/>
                <a:gd name="connsiteX3360" fmla="*/ 5627858 w 12192001"/>
                <a:gd name="connsiteY3360" fmla="*/ 1028388 h 6523037"/>
                <a:gd name="connsiteX3361" fmla="*/ 7559173 w 12192001"/>
                <a:gd name="connsiteY3361" fmla="*/ 1027689 h 6523037"/>
                <a:gd name="connsiteX3362" fmla="*/ 7378899 w 12192001"/>
                <a:gd name="connsiteY3362" fmla="*/ 1207965 h 6523037"/>
                <a:gd name="connsiteX3363" fmla="*/ 7289460 w 12192001"/>
                <a:gd name="connsiteY3363" fmla="*/ 1298102 h 6523037"/>
                <a:gd name="connsiteX3364" fmla="*/ 7423618 w 12192001"/>
                <a:gd name="connsiteY3364" fmla="*/ 1431561 h 6523037"/>
                <a:gd name="connsiteX3365" fmla="*/ 7560571 w 12192001"/>
                <a:gd name="connsiteY3365" fmla="*/ 1568513 h 6523037"/>
                <a:gd name="connsiteX3366" fmla="*/ 7824694 w 12192001"/>
                <a:gd name="connsiteY3366" fmla="*/ 1568513 h 6523037"/>
                <a:gd name="connsiteX3367" fmla="*/ 7553583 w 12192001"/>
                <a:gd name="connsiteY3367" fmla="*/ 1298102 h 6523037"/>
                <a:gd name="connsiteX3368" fmla="*/ 7554981 w 12192001"/>
                <a:gd name="connsiteY3368" fmla="*/ 1296705 h 6523037"/>
                <a:gd name="connsiteX3369" fmla="*/ 7823297 w 12192001"/>
                <a:gd name="connsiteY3369" fmla="*/ 1027689 h 6523037"/>
                <a:gd name="connsiteX3370" fmla="*/ 7010664 w 12192001"/>
                <a:gd name="connsiteY3370" fmla="*/ 1027689 h 6523037"/>
                <a:gd name="connsiteX3371" fmla="*/ 6740251 w 12192001"/>
                <a:gd name="connsiteY3371" fmla="*/ 1298800 h 6523037"/>
                <a:gd name="connsiteX3372" fmla="*/ 7011363 w 12192001"/>
                <a:gd name="connsiteY3372" fmla="*/ 1569212 h 6523037"/>
                <a:gd name="connsiteX3373" fmla="*/ 7275485 w 12192001"/>
                <a:gd name="connsiteY3373" fmla="*/ 1569212 h 6523037"/>
                <a:gd name="connsiteX3374" fmla="*/ 7004375 w 12192001"/>
                <a:gd name="connsiteY3374" fmla="*/ 1298800 h 6523037"/>
                <a:gd name="connsiteX3375" fmla="*/ 7188842 w 12192001"/>
                <a:gd name="connsiteY3375" fmla="*/ 1114334 h 6523037"/>
                <a:gd name="connsiteX3376" fmla="*/ 7274787 w 12192001"/>
                <a:gd name="connsiteY3376" fmla="*/ 1028388 h 6523037"/>
                <a:gd name="connsiteX3377" fmla="*/ 7016254 w 12192001"/>
                <a:gd name="connsiteY3377" fmla="*/ 1028388 h 6523037"/>
                <a:gd name="connsiteX3378" fmla="*/ 5912945 w 12192001"/>
                <a:gd name="connsiteY3378" fmla="*/ 1027689 h 6523037"/>
                <a:gd name="connsiteX3379" fmla="*/ 5642533 w 12192001"/>
                <a:gd name="connsiteY3379" fmla="*/ 1298800 h 6523037"/>
                <a:gd name="connsiteX3380" fmla="*/ 5913643 w 12192001"/>
                <a:gd name="connsiteY3380" fmla="*/ 1569212 h 6523037"/>
                <a:gd name="connsiteX3381" fmla="*/ 6177766 w 12192001"/>
                <a:gd name="connsiteY3381" fmla="*/ 1569212 h 6523037"/>
                <a:gd name="connsiteX3382" fmla="*/ 5906656 w 12192001"/>
                <a:gd name="connsiteY3382" fmla="*/ 1298800 h 6523037"/>
                <a:gd name="connsiteX3383" fmla="*/ 6091123 w 12192001"/>
                <a:gd name="connsiteY3383" fmla="*/ 1114334 h 6523037"/>
                <a:gd name="connsiteX3384" fmla="*/ 6177068 w 12192001"/>
                <a:gd name="connsiteY3384" fmla="*/ 1027689 h 6523037"/>
                <a:gd name="connsiteX3385" fmla="*/ 8107684 w 12192001"/>
                <a:gd name="connsiteY3385" fmla="*/ 1026991 h 6523037"/>
                <a:gd name="connsiteX3386" fmla="*/ 7837272 w 12192001"/>
                <a:gd name="connsiteY3386" fmla="*/ 1298102 h 6523037"/>
                <a:gd name="connsiteX3387" fmla="*/ 8108382 w 12192001"/>
                <a:gd name="connsiteY3387" fmla="*/ 1568513 h 6523037"/>
                <a:gd name="connsiteX3388" fmla="*/ 8372506 w 12192001"/>
                <a:gd name="connsiteY3388" fmla="*/ 1568513 h 6523037"/>
                <a:gd name="connsiteX3389" fmla="*/ 8101395 w 12192001"/>
                <a:gd name="connsiteY3389" fmla="*/ 1298102 h 6523037"/>
                <a:gd name="connsiteX3390" fmla="*/ 8371807 w 12192001"/>
                <a:gd name="connsiteY3390" fmla="*/ 1026991 h 6523037"/>
                <a:gd name="connsiteX3391" fmla="*/ 9477604 w 12192001"/>
                <a:gd name="connsiteY3391" fmla="*/ 1026611 h 6523037"/>
                <a:gd name="connsiteX3392" fmla="*/ 9211692 w 12192001"/>
                <a:gd name="connsiteY3392" fmla="*/ 1293210 h 6523037"/>
                <a:gd name="connsiteX3393" fmla="*/ 9473865 w 12192001"/>
                <a:gd name="connsiteY3393" fmla="*/ 1293210 h 6523037"/>
                <a:gd name="connsiteX3394" fmla="*/ 9740464 w 12192001"/>
                <a:gd name="connsiteY3394" fmla="*/ 1026611 h 6523037"/>
                <a:gd name="connsiteX3395" fmla="*/ 9204704 w 12192001"/>
                <a:gd name="connsiteY3395" fmla="*/ 1025594 h 6523037"/>
                <a:gd name="connsiteX3396" fmla="*/ 8934292 w 12192001"/>
                <a:gd name="connsiteY3396" fmla="*/ 1296705 h 6523037"/>
                <a:gd name="connsiteX3397" fmla="*/ 9205403 w 12192001"/>
                <a:gd name="connsiteY3397" fmla="*/ 1567116 h 6523037"/>
                <a:gd name="connsiteX3398" fmla="*/ 9465541 w 12192001"/>
                <a:gd name="connsiteY3398" fmla="*/ 1567116 h 6523037"/>
                <a:gd name="connsiteX3399" fmla="*/ 9320523 w 12192001"/>
                <a:gd name="connsiteY3399" fmla="*/ 1422098 h 6523037"/>
                <a:gd name="connsiteX3400" fmla="*/ 9320523 w 12192001"/>
                <a:gd name="connsiteY3400" fmla="*/ 1418497 h 6523037"/>
                <a:gd name="connsiteX3401" fmla="*/ 9198416 w 12192001"/>
                <a:gd name="connsiteY3401" fmla="*/ 1296705 h 6523037"/>
                <a:gd name="connsiteX3402" fmla="*/ 9320523 w 12192001"/>
                <a:gd name="connsiteY3402" fmla="*/ 1174135 h 6523037"/>
                <a:gd name="connsiteX3403" fmla="*/ 9320523 w 12192001"/>
                <a:gd name="connsiteY3403" fmla="*/ 1171948 h 6523037"/>
                <a:gd name="connsiteX3404" fmla="*/ 9466877 w 12192001"/>
                <a:gd name="connsiteY3404" fmla="*/ 1025594 h 6523037"/>
                <a:gd name="connsiteX3405" fmla="*/ 8655495 w 12192001"/>
                <a:gd name="connsiteY3405" fmla="*/ 1025594 h 6523037"/>
                <a:gd name="connsiteX3406" fmla="*/ 8385083 w 12192001"/>
                <a:gd name="connsiteY3406" fmla="*/ 1296705 h 6523037"/>
                <a:gd name="connsiteX3407" fmla="*/ 8656194 w 12192001"/>
                <a:gd name="connsiteY3407" fmla="*/ 1567116 h 6523037"/>
                <a:gd name="connsiteX3408" fmla="*/ 8724670 w 12192001"/>
                <a:gd name="connsiteY3408" fmla="*/ 1567116 h 6523037"/>
                <a:gd name="connsiteX3409" fmla="*/ 8721177 w 12192001"/>
                <a:gd name="connsiteY3409" fmla="*/ 1574104 h 6523037"/>
                <a:gd name="connsiteX3410" fmla="*/ 8656194 w 12192001"/>
                <a:gd name="connsiteY3410" fmla="*/ 1574104 h 6523037"/>
                <a:gd name="connsiteX3411" fmla="*/ 8475920 w 12192001"/>
                <a:gd name="connsiteY3411" fmla="*/ 1755077 h 6523037"/>
                <a:gd name="connsiteX3412" fmla="*/ 8386481 w 12192001"/>
                <a:gd name="connsiteY3412" fmla="*/ 1845215 h 6523037"/>
                <a:gd name="connsiteX3413" fmla="*/ 8519940 w 12192001"/>
                <a:gd name="connsiteY3413" fmla="*/ 1978673 h 6523037"/>
                <a:gd name="connsiteX3414" fmla="*/ 8517145 w 12192001"/>
                <a:gd name="connsiteY3414" fmla="*/ 1984263 h 6523037"/>
                <a:gd name="connsiteX3415" fmla="*/ 8517845 w 12192001"/>
                <a:gd name="connsiteY3415" fmla="*/ 1984960 h 6523037"/>
                <a:gd name="connsiteX3416" fmla="*/ 8517145 w 12192001"/>
                <a:gd name="connsiteY3416" fmla="*/ 1986360 h 6523037"/>
                <a:gd name="connsiteX3417" fmla="*/ 8380192 w 12192001"/>
                <a:gd name="connsiteY3417" fmla="*/ 1849407 h 6523037"/>
                <a:gd name="connsiteX3418" fmla="*/ 8116069 w 12192001"/>
                <a:gd name="connsiteY3418" fmla="*/ 1849407 h 6523037"/>
                <a:gd name="connsiteX3419" fmla="*/ 8387180 w 12192001"/>
                <a:gd name="connsiteY3419" fmla="*/ 2119819 h 6523037"/>
                <a:gd name="connsiteX3420" fmla="*/ 8116768 w 12192001"/>
                <a:gd name="connsiteY3420" fmla="*/ 2390930 h 6523037"/>
                <a:gd name="connsiteX3421" fmla="*/ 8314860 w 12192001"/>
                <a:gd name="connsiteY3421" fmla="*/ 2390930 h 6523037"/>
                <a:gd name="connsiteX3422" fmla="*/ 8312415 w 12192001"/>
                <a:gd name="connsiteY3422" fmla="*/ 2395821 h 6523037"/>
                <a:gd name="connsiteX3423" fmla="*/ 8312764 w 12192001"/>
                <a:gd name="connsiteY3423" fmla="*/ 2395821 h 6523037"/>
                <a:gd name="connsiteX3424" fmla="*/ 8311716 w 12192001"/>
                <a:gd name="connsiteY3424" fmla="*/ 2397917 h 6523037"/>
                <a:gd name="connsiteX3425" fmla="*/ 8116768 w 12192001"/>
                <a:gd name="connsiteY3425" fmla="*/ 2397917 h 6523037"/>
                <a:gd name="connsiteX3426" fmla="*/ 8246500 w 12192001"/>
                <a:gd name="connsiteY3426" fmla="*/ 2527650 h 6523037"/>
                <a:gd name="connsiteX3427" fmla="*/ 8243938 w 12192001"/>
                <a:gd name="connsiteY3427" fmla="*/ 2532773 h 6523037"/>
                <a:gd name="connsiteX3428" fmla="*/ 8244171 w 12192001"/>
                <a:gd name="connsiteY3428" fmla="*/ 2533006 h 6523037"/>
                <a:gd name="connsiteX3429" fmla="*/ 8243239 w 12192001"/>
                <a:gd name="connsiteY3429" fmla="*/ 2534870 h 6523037"/>
                <a:gd name="connsiteX3430" fmla="*/ 8102793 w 12192001"/>
                <a:gd name="connsiteY3430" fmla="*/ 2394423 h 6523037"/>
                <a:gd name="connsiteX3431" fmla="*/ 8373205 w 12192001"/>
                <a:gd name="connsiteY3431" fmla="*/ 2123312 h 6523037"/>
                <a:gd name="connsiteX3432" fmla="*/ 8109081 w 12192001"/>
                <a:gd name="connsiteY3432" fmla="*/ 2123312 h 6523037"/>
                <a:gd name="connsiteX3433" fmla="*/ 7838669 w 12192001"/>
                <a:gd name="connsiteY3433" fmla="*/ 2394423 h 6523037"/>
                <a:gd name="connsiteX3434" fmla="*/ 8109081 w 12192001"/>
                <a:gd name="connsiteY3434" fmla="*/ 2665534 h 6523037"/>
                <a:gd name="connsiteX3435" fmla="*/ 8177558 w 12192001"/>
                <a:gd name="connsiteY3435" fmla="*/ 2665534 h 6523037"/>
                <a:gd name="connsiteX3436" fmla="*/ 8178955 w 12192001"/>
                <a:gd name="connsiteY3436" fmla="*/ 2662739 h 6523037"/>
                <a:gd name="connsiteX3437" fmla="*/ 8373903 w 12192001"/>
                <a:gd name="connsiteY3437" fmla="*/ 2662739 h 6523037"/>
                <a:gd name="connsiteX3438" fmla="*/ 8244171 w 12192001"/>
                <a:gd name="connsiteY3438" fmla="*/ 2533006 h 6523037"/>
                <a:gd name="connsiteX3439" fmla="*/ 8246733 w 12192001"/>
                <a:gd name="connsiteY3439" fmla="*/ 2527883 h 6523037"/>
                <a:gd name="connsiteX3440" fmla="*/ 8246500 w 12192001"/>
                <a:gd name="connsiteY3440" fmla="*/ 2527650 h 6523037"/>
                <a:gd name="connsiteX3441" fmla="*/ 8247432 w 12192001"/>
                <a:gd name="connsiteY3441" fmla="*/ 2525786 h 6523037"/>
                <a:gd name="connsiteX3442" fmla="*/ 8387878 w 12192001"/>
                <a:gd name="connsiteY3442" fmla="*/ 2666233 h 6523037"/>
                <a:gd name="connsiteX3443" fmla="*/ 8117466 w 12192001"/>
                <a:gd name="connsiteY3443" fmla="*/ 2937344 h 6523037"/>
                <a:gd name="connsiteX3444" fmla="*/ 8381590 w 12192001"/>
                <a:gd name="connsiteY3444" fmla="*/ 2937344 h 6523037"/>
                <a:gd name="connsiteX3445" fmla="*/ 8652002 w 12192001"/>
                <a:gd name="connsiteY3445" fmla="*/ 2666233 h 6523037"/>
                <a:gd name="connsiteX3446" fmla="*/ 8380891 w 12192001"/>
                <a:gd name="connsiteY3446" fmla="*/ 2395821 h 6523037"/>
                <a:gd name="connsiteX3447" fmla="*/ 8312764 w 12192001"/>
                <a:gd name="connsiteY3447" fmla="*/ 2395821 h 6523037"/>
                <a:gd name="connsiteX3448" fmla="*/ 8315209 w 12192001"/>
                <a:gd name="connsiteY3448" fmla="*/ 2390930 h 6523037"/>
                <a:gd name="connsiteX3449" fmla="*/ 8314860 w 12192001"/>
                <a:gd name="connsiteY3449" fmla="*/ 2390930 h 6523037"/>
                <a:gd name="connsiteX3450" fmla="*/ 8315908 w 12192001"/>
                <a:gd name="connsiteY3450" fmla="*/ 2388833 h 6523037"/>
                <a:gd name="connsiteX3451" fmla="*/ 8380891 w 12192001"/>
                <a:gd name="connsiteY3451" fmla="*/ 2388833 h 6523037"/>
                <a:gd name="connsiteX3452" fmla="*/ 8651303 w 12192001"/>
                <a:gd name="connsiteY3452" fmla="*/ 2117722 h 6523037"/>
                <a:gd name="connsiteX3453" fmla="*/ 8517845 w 12192001"/>
                <a:gd name="connsiteY3453" fmla="*/ 1984960 h 6523037"/>
                <a:gd name="connsiteX3454" fmla="*/ 8520639 w 12192001"/>
                <a:gd name="connsiteY3454" fmla="*/ 1979372 h 6523037"/>
                <a:gd name="connsiteX3455" fmla="*/ 8519940 w 12192001"/>
                <a:gd name="connsiteY3455" fmla="*/ 1978673 h 6523037"/>
                <a:gd name="connsiteX3456" fmla="*/ 8520639 w 12192001"/>
                <a:gd name="connsiteY3456" fmla="*/ 1977276 h 6523037"/>
                <a:gd name="connsiteX3457" fmla="*/ 8657592 w 12192001"/>
                <a:gd name="connsiteY3457" fmla="*/ 2114230 h 6523037"/>
                <a:gd name="connsiteX3458" fmla="*/ 8921715 w 12192001"/>
                <a:gd name="connsiteY3458" fmla="*/ 2114230 h 6523037"/>
                <a:gd name="connsiteX3459" fmla="*/ 8650604 w 12192001"/>
                <a:gd name="connsiteY3459" fmla="*/ 1843817 h 6523037"/>
                <a:gd name="connsiteX3460" fmla="*/ 8652002 w 12192001"/>
                <a:gd name="connsiteY3460" fmla="*/ 1842419 h 6523037"/>
                <a:gd name="connsiteX3461" fmla="*/ 8920317 w 12192001"/>
                <a:gd name="connsiteY3461" fmla="*/ 1573405 h 6523037"/>
                <a:gd name="connsiteX3462" fmla="*/ 8721876 w 12192001"/>
                <a:gd name="connsiteY3462" fmla="*/ 1573405 h 6523037"/>
                <a:gd name="connsiteX3463" fmla="*/ 8725369 w 12192001"/>
                <a:gd name="connsiteY3463" fmla="*/ 1566418 h 6523037"/>
                <a:gd name="connsiteX3464" fmla="*/ 8920317 w 12192001"/>
                <a:gd name="connsiteY3464" fmla="*/ 1566418 h 6523037"/>
                <a:gd name="connsiteX3465" fmla="*/ 8790352 w 12192001"/>
                <a:gd name="connsiteY3465" fmla="*/ 1436453 h 6523037"/>
                <a:gd name="connsiteX3466" fmla="*/ 8793845 w 12192001"/>
                <a:gd name="connsiteY3466" fmla="*/ 1429465 h 6523037"/>
                <a:gd name="connsiteX3467" fmla="*/ 8934292 w 12192001"/>
                <a:gd name="connsiteY3467" fmla="*/ 1569911 h 6523037"/>
                <a:gd name="connsiteX3468" fmla="*/ 8663880 w 12192001"/>
                <a:gd name="connsiteY3468" fmla="*/ 1841022 h 6523037"/>
                <a:gd name="connsiteX3469" fmla="*/ 8928004 w 12192001"/>
                <a:gd name="connsiteY3469" fmla="*/ 1841022 h 6523037"/>
                <a:gd name="connsiteX3470" fmla="*/ 9198416 w 12192001"/>
                <a:gd name="connsiteY3470" fmla="*/ 1569911 h 6523037"/>
                <a:gd name="connsiteX3471" fmla="*/ 8927305 w 12192001"/>
                <a:gd name="connsiteY3471" fmla="*/ 1300198 h 6523037"/>
                <a:gd name="connsiteX3472" fmla="*/ 8858829 w 12192001"/>
                <a:gd name="connsiteY3472" fmla="*/ 1300198 h 6523037"/>
                <a:gd name="connsiteX3473" fmla="*/ 8663880 w 12192001"/>
                <a:gd name="connsiteY3473" fmla="*/ 1300198 h 6523037"/>
                <a:gd name="connsiteX3474" fmla="*/ 8793146 w 12192001"/>
                <a:gd name="connsiteY3474" fmla="*/ 1430164 h 6523037"/>
                <a:gd name="connsiteX3475" fmla="*/ 8789653 w 12192001"/>
                <a:gd name="connsiteY3475" fmla="*/ 1437150 h 6523037"/>
                <a:gd name="connsiteX3476" fmla="*/ 8649206 w 12192001"/>
                <a:gd name="connsiteY3476" fmla="*/ 1296705 h 6523037"/>
                <a:gd name="connsiteX3477" fmla="*/ 8919618 w 12192001"/>
                <a:gd name="connsiteY3477" fmla="*/ 1025594 h 6523037"/>
                <a:gd name="connsiteX3478" fmla="*/ 11122571 w 12192001"/>
                <a:gd name="connsiteY3478" fmla="*/ 1025213 h 6523037"/>
                <a:gd name="connsiteX3479" fmla="*/ 10852159 w 12192001"/>
                <a:gd name="connsiteY3479" fmla="*/ 1296324 h 6523037"/>
                <a:gd name="connsiteX3480" fmla="*/ 11123269 w 12192001"/>
                <a:gd name="connsiteY3480" fmla="*/ 1566736 h 6523037"/>
                <a:gd name="connsiteX3481" fmla="*/ 11387393 w 12192001"/>
                <a:gd name="connsiteY3481" fmla="*/ 1566736 h 6523037"/>
                <a:gd name="connsiteX3482" fmla="*/ 11116282 w 12192001"/>
                <a:gd name="connsiteY3482" fmla="*/ 1296324 h 6523037"/>
                <a:gd name="connsiteX3483" fmla="*/ 11386694 w 12192001"/>
                <a:gd name="connsiteY3483" fmla="*/ 1025213 h 6523037"/>
                <a:gd name="connsiteX3484" fmla="*/ 10024851 w 12192001"/>
                <a:gd name="connsiteY3484" fmla="*/ 1025213 h 6523037"/>
                <a:gd name="connsiteX3485" fmla="*/ 9754439 w 12192001"/>
                <a:gd name="connsiteY3485" fmla="*/ 1296324 h 6523037"/>
                <a:gd name="connsiteX3486" fmla="*/ 10025550 w 12192001"/>
                <a:gd name="connsiteY3486" fmla="*/ 1566736 h 6523037"/>
                <a:gd name="connsiteX3487" fmla="*/ 10289673 w 12192001"/>
                <a:gd name="connsiteY3487" fmla="*/ 1566736 h 6523037"/>
                <a:gd name="connsiteX3488" fmla="*/ 10018562 w 12192001"/>
                <a:gd name="connsiteY3488" fmla="*/ 1296324 h 6523037"/>
                <a:gd name="connsiteX3489" fmla="*/ 10288275 w 12192001"/>
                <a:gd name="connsiteY3489" fmla="*/ 1025213 h 6523037"/>
                <a:gd name="connsiteX3490" fmla="*/ 11671081 w 12192001"/>
                <a:gd name="connsiteY3490" fmla="*/ 1024514 h 6523037"/>
                <a:gd name="connsiteX3491" fmla="*/ 11400668 w 12192001"/>
                <a:gd name="connsiteY3491" fmla="*/ 1295625 h 6523037"/>
                <a:gd name="connsiteX3492" fmla="*/ 11671780 w 12192001"/>
                <a:gd name="connsiteY3492" fmla="*/ 1566037 h 6523037"/>
                <a:gd name="connsiteX3493" fmla="*/ 11935902 w 12192001"/>
                <a:gd name="connsiteY3493" fmla="*/ 1566037 h 6523037"/>
                <a:gd name="connsiteX3494" fmla="*/ 11664792 w 12192001"/>
                <a:gd name="connsiteY3494" fmla="*/ 1295625 h 6523037"/>
                <a:gd name="connsiteX3495" fmla="*/ 11849259 w 12192001"/>
                <a:gd name="connsiteY3495" fmla="*/ 1111159 h 6523037"/>
                <a:gd name="connsiteX3496" fmla="*/ 11935204 w 12192001"/>
                <a:gd name="connsiteY3496" fmla="*/ 1025213 h 6523037"/>
                <a:gd name="connsiteX3497" fmla="*/ 11676671 w 12192001"/>
                <a:gd name="connsiteY3497" fmla="*/ 1025213 h 6523037"/>
                <a:gd name="connsiteX3498" fmla="*/ 10573361 w 12192001"/>
                <a:gd name="connsiteY3498" fmla="*/ 1024514 h 6523037"/>
                <a:gd name="connsiteX3499" fmla="*/ 10302949 w 12192001"/>
                <a:gd name="connsiteY3499" fmla="*/ 1295625 h 6523037"/>
                <a:gd name="connsiteX3500" fmla="*/ 10574060 w 12192001"/>
                <a:gd name="connsiteY3500" fmla="*/ 1566037 h 6523037"/>
                <a:gd name="connsiteX3501" fmla="*/ 10838183 w 12192001"/>
                <a:gd name="connsiteY3501" fmla="*/ 1566037 h 6523037"/>
                <a:gd name="connsiteX3502" fmla="*/ 10567073 w 12192001"/>
                <a:gd name="connsiteY3502" fmla="*/ 1295625 h 6523037"/>
                <a:gd name="connsiteX3503" fmla="*/ 10751540 w 12192001"/>
                <a:gd name="connsiteY3503" fmla="*/ 1111159 h 6523037"/>
                <a:gd name="connsiteX3504" fmla="*/ 10837485 w 12192001"/>
                <a:gd name="connsiteY3504" fmla="*/ 1024514 h 6523037"/>
                <a:gd name="connsiteX3505" fmla="*/ 162805 w 12192001"/>
                <a:gd name="connsiteY3505" fmla="*/ 759944 h 6523037"/>
                <a:gd name="connsiteX3506" fmla="*/ 433916 w 12192001"/>
                <a:gd name="connsiteY3506" fmla="*/ 1030356 h 6523037"/>
                <a:gd name="connsiteX3507" fmla="*/ 164203 w 12192001"/>
                <a:gd name="connsiteY3507" fmla="*/ 1301467 h 6523037"/>
                <a:gd name="connsiteX3508" fmla="*/ 427627 w 12192001"/>
                <a:gd name="connsiteY3508" fmla="*/ 1301467 h 6523037"/>
                <a:gd name="connsiteX3509" fmla="*/ 698039 w 12192001"/>
                <a:gd name="connsiteY3509" fmla="*/ 1030356 h 6523037"/>
                <a:gd name="connsiteX3510" fmla="*/ 563881 w 12192001"/>
                <a:gd name="connsiteY3510" fmla="*/ 896896 h 6523037"/>
                <a:gd name="connsiteX3511" fmla="*/ 426928 w 12192001"/>
                <a:gd name="connsiteY3511" fmla="*/ 759944 h 6523037"/>
                <a:gd name="connsiteX3512" fmla="*/ 1809035 w 12192001"/>
                <a:gd name="connsiteY3512" fmla="*/ 759245 h 6523037"/>
                <a:gd name="connsiteX3513" fmla="*/ 1937603 w 12192001"/>
                <a:gd name="connsiteY3513" fmla="*/ 887813 h 6523037"/>
                <a:gd name="connsiteX3514" fmla="*/ 2079447 w 12192001"/>
                <a:gd name="connsiteY3514" fmla="*/ 1029657 h 6523037"/>
                <a:gd name="connsiteX3515" fmla="*/ 1809035 w 12192001"/>
                <a:gd name="connsiteY3515" fmla="*/ 1300768 h 6523037"/>
                <a:gd name="connsiteX3516" fmla="*/ 2073158 w 12192001"/>
                <a:gd name="connsiteY3516" fmla="*/ 1300768 h 6523037"/>
                <a:gd name="connsiteX3517" fmla="*/ 2343570 w 12192001"/>
                <a:gd name="connsiteY3517" fmla="*/ 1029657 h 6523037"/>
                <a:gd name="connsiteX3518" fmla="*/ 2338678 w 12192001"/>
                <a:gd name="connsiteY3518" fmla="*/ 1024766 h 6523037"/>
                <a:gd name="connsiteX3519" fmla="*/ 2073158 w 12192001"/>
                <a:gd name="connsiteY3519" fmla="*/ 759245 h 6523037"/>
                <a:gd name="connsiteX3520" fmla="*/ 2357544 w 12192001"/>
                <a:gd name="connsiteY3520" fmla="*/ 758546 h 6523037"/>
                <a:gd name="connsiteX3521" fmla="*/ 2628655 w 12192001"/>
                <a:gd name="connsiteY3521" fmla="*/ 1028259 h 6523037"/>
                <a:gd name="connsiteX3522" fmla="*/ 2625861 w 12192001"/>
                <a:gd name="connsiteY3522" fmla="*/ 1031055 h 6523037"/>
                <a:gd name="connsiteX3523" fmla="*/ 2535723 w 12192001"/>
                <a:gd name="connsiteY3523" fmla="*/ 1121890 h 6523037"/>
                <a:gd name="connsiteX3524" fmla="*/ 2358243 w 12192001"/>
                <a:gd name="connsiteY3524" fmla="*/ 1299370 h 6523037"/>
                <a:gd name="connsiteX3525" fmla="*/ 2622367 w 12192001"/>
                <a:gd name="connsiteY3525" fmla="*/ 1299370 h 6523037"/>
                <a:gd name="connsiteX3526" fmla="*/ 2711805 w 12192001"/>
                <a:gd name="connsiteY3526" fmla="*/ 1209931 h 6523037"/>
                <a:gd name="connsiteX3527" fmla="*/ 2892779 w 12192001"/>
                <a:gd name="connsiteY3527" fmla="*/ 1028958 h 6523037"/>
                <a:gd name="connsiteX3528" fmla="*/ 2621668 w 12192001"/>
                <a:gd name="connsiteY3528" fmla="*/ 758546 h 6523037"/>
                <a:gd name="connsiteX3529" fmla="*/ 1259127 w 12192001"/>
                <a:gd name="connsiteY3529" fmla="*/ 758546 h 6523037"/>
                <a:gd name="connsiteX3530" fmla="*/ 1530238 w 12192001"/>
                <a:gd name="connsiteY3530" fmla="*/ 1028259 h 6523037"/>
                <a:gd name="connsiteX3531" fmla="*/ 1527442 w 12192001"/>
                <a:gd name="connsiteY3531" fmla="*/ 1031055 h 6523037"/>
                <a:gd name="connsiteX3532" fmla="*/ 1437306 w 12192001"/>
                <a:gd name="connsiteY3532" fmla="*/ 1121890 h 6523037"/>
                <a:gd name="connsiteX3533" fmla="*/ 1259826 w 12192001"/>
                <a:gd name="connsiteY3533" fmla="*/ 1299370 h 6523037"/>
                <a:gd name="connsiteX3534" fmla="*/ 1523949 w 12192001"/>
                <a:gd name="connsiteY3534" fmla="*/ 1299370 h 6523037"/>
                <a:gd name="connsiteX3535" fmla="*/ 1613388 w 12192001"/>
                <a:gd name="connsiteY3535" fmla="*/ 1209931 h 6523037"/>
                <a:gd name="connsiteX3536" fmla="*/ 1794361 w 12192001"/>
                <a:gd name="connsiteY3536" fmla="*/ 1028958 h 6523037"/>
                <a:gd name="connsiteX3537" fmla="*/ 1523250 w 12192001"/>
                <a:gd name="connsiteY3537" fmla="*/ 758546 h 6523037"/>
                <a:gd name="connsiteX3538" fmla="*/ 710617 w 12192001"/>
                <a:gd name="connsiteY3538" fmla="*/ 758546 h 6523037"/>
                <a:gd name="connsiteX3539" fmla="*/ 712014 w 12192001"/>
                <a:gd name="connsiteY3539" fmla="*/ 759944 h 6523037"/>
                <a:gd name="connsiteX3540" fmla="*/ 981727 w 12192001"/>
                <a:gd name="connsiteY3540" fmla="*/ 1028958 h 6523037"/>
                <a:gd name="connsiteX3541" fmla="*/ 711316 w 12192001"/>
                <a:gd name="connsiteY3541" fmla="*/ 1300069 h 6523037"/>
                <a:gd name="connsiteX3542" fmla="*/ 975439 w 12192001"/>
                <a:gd name="connsiteY3542" fmla="*/ 1300069 h 6523037"/>
                <a:gd name="connsiteX3543" fmla="*/ 1245851 w 12192001"/>
                <a:gd name="connsiteY3543" fmla="*/ 1028958 h 6523037"/>
                <a:gd name="connsiteX3544" fmla="*/ 1240261 w 12192001"/>
                <a:gd name="connsiteY3544" fmla="*/ 1024067 h 6523037"/>
                <a:gd name="connsiteX3545" fmla="*/ 974740 w 12192001"/>
                <a:gd name="connsiteY3545" fmla="*/ 758546 h 6523037"/>
                <a:gd name="connsiteX3546" fmla="*/ 2906055 w 12192001"/>
                <a:gd name="connsiteY3546" fmla="*/ 757847 h 6523037"/>
                <a:gd name="connsiteX3547" fmla="*/ 3036720 w 12192001"/>
                <a:gd name="connsiteY3547" fmla="*/ 887114 h 6523037"/>
                <a:gd name="connsiteX3548" fmla="*/ 3177166 w 12192001"/>
                <a:gd name="connsiteY3548" fmla="*/ 1027560 h 6523037"/>
                <a:gd name="connsiteX3549" fmla="*/ 2906754 w 12192001"/>
                <a:gd name="connsiteY3549" fmla="*/ 1298671 h 6523037"/>
                <a:gd name="connsiteX3550" fmla="*/ 3170877 w 12192001"/>
                <a:gd name="connsiteY3550" fmla="*/ 1298671 h 6523037"/>
                <a:gd name="connsiteX3551" fmla="*/ 3441289 w 12192001"/>
                <a:gd name="connsiteY3551" fmla="*/ 1028259 h 6523037"/>
                <a:gd name="connsiteX3552" fmla="*/ 3170178 w 12192001"/>
                <a:gd name="connsiteY3552" fmla="*/ 757847 h 6523037"/>
                <a:gd name="connsiteX3553" fmla="*/ 3454565 w 12192001"/>
                <a:gd name="connsiteY3553" fmla="*/ 757148 h 6523037"/>
                <a:gd name="connsiteX3554" fmla="*/ 3725676 w 12192001"/>
                <a:gd name="connsiteY3554" fmla="*/ 1027560 h 6523037"/>
                <a:gd name="connsiteX3555" fmla="*/ 3455264 w 12192001"/>
                <a:gd name="connsiteY3555" fmla="*/ 1298671 h 6523037"/>
                <a:gd name="connsiteX3556" fmla="*/ 3719387 w 12192001"/>
                <a:gd name="connsiteY3556" fmla="*/ 1298671 h 6523037"/>
                <a:gd name="connsiteX3557" fmla="*/ 3989799 w 12192001"/>
                <a:gd name="connsiteY3557" fmla="*/ 1027560 h 6523037"/>
                <a:gd name="connsiteX3558" fmla="*/ 3718688 w 12192001"/>
                <a:gd name="connsiteY3558" fmla="*/ 757148 h 6523037"/>
                <a:gd name="connsiteX3559" fmla="*/ 4003075 w 12192001"/>
                <a:gd name="connsiteY3559" fmla="*/ 756449 h 6523037"/>
                <a:gd name="connsiteX3560" fmla="*/ 4274187 w 12192001"/>
                <a:gd name="connsiteY3560" fmla="*/ 1026861 h 6523037"/>
                <a:gd name="connsiteX3561" fmla="*/ 4003774 w 12192001"/>
                <a:gd name="connsiteY3561" fmla="*/ 1297972 h 6523037"/>
                <a:gd name="connsiteX3562" fmla="*/ 4202216 w 12192001"/>
                <a:gd name="connsiteY3562" fmla="*/ 1297972 h 6523037"/>
                <a:gd name="connsiteX3563" fmla="*/ 4267200 w 12192001"/>
                <a:gd name="connsiteY3563" fmla="*/ 1297972 h 6523037"/>
                <a:gd name="connsiteX3564" fmla="*/ 4538310 w 12192001"/>
                <a:gd name="connsiteY3564" fmla="*/ 1026861 h 6523037"/>
                <a:gd name="connsiteX3565" fmla="*/ 4404151 w 12192001"/>
                <a:gd name="connsiteY3565" fmla="*/ 893403 h 6523037"/>
                <a:gd name="connsiteX3566" fmla="*/ 4267200 w 12192001"/>
                <a:gd name="connsiteY3566" fmla="*/ 756449 h 6523037"/>
                <a:gd name="connsiteX3567" fmla="*/ 4550188 w 12192001"/>
                <a:gd name="connsiteY3567" fmla="*/ 755751 h 6523037"/>
                <a:gd name="connsiteX3568" fmla="*/ 4817225 w 12192001"/>
                <a:gd name="connsiteY3568" fmla="*/ 1022099 h 6523037"/>
                <a:gd name="connsiteX3569" fmla="*/ 5080048 w 12192001"/>
                <a:gd name="connsiteY3569" fmla="*/ 1022099 h 6523037"/>
                <a:gd name="connsiteX3570" fmla="*/ 4813011 w 12192001"/>
                <a:gd name="connsiteY3570" fmla="*/ 755751 h 6523037"/>
                <a:gd name="connsiteX3571" fmla="*/ 4823396 w 12192001"/>
                <a:gd name="connsiteY3571" fmla="*/ 755182 h 6523037"/>
                <a:gd name="connsiteX3572" fmla="*/ 4823396 w 12192001"/>
                <a:gd name="connsiteY3572" fmla="*/ 755666 h 6523037"/>
                <a:gd name="connsiteX3573" fmla="*/ 5094022 w 12192001"/>
                <a:gd name="connsiteY3573" fmla="*/ 1025594 h 6523037"/>
                <a:gd name="connsiteX3574" fmla="*/ 4824309 w 12192001"/>
                <a:gd name="connsiteY3574" fmla="*/ 1296705 h 6523037"/>
                <a:gd name="connsiteX3575" fmla="*/ 5087733 w 12192001"/>
                <a:gd name="connsiteY3575" fmla="*/ 1296705 h 6523037"/>
                <a:gd name="connsiteX3576" fmla="*/ 5358145 w 12192001"/>
                <a:gd name="connsiteY3576" fmla="*/ 1025594 h 6523037"/>
                <a:gd name="connsiteX3577" fmla="*/ 5223987 w 12192001"/>
                <a:gd name="connsiteY3577" fmla="*/ 892134 h 6523037"/>
                <a:gd name="connsiteX3578" fmla="*/ 5087035 w 12192001"/>
                <a:gd name="connsiteY3578" fmla="*/ 755182 h 6523037"/>
                <a:gd name="connsiteX3579" fmla="*/ 6469141 w 12192001"/>
                <a:gd name="connsiteY3579" fmla="*/ 754483 h 6523037"/>
                <a:gd name="connsiteX3580" fmla="*/ 6597709 w 12192001"/>
                <a:gd name="connsiteY3580" fmla="*/ 883051 h 6523037"/>
                <a:gd name="connsiteX3581" fmla="*/ 6739554 w 12192001"/>
                <a:gd name="connsiteY3581" fmla="*/ 1024895 h 6523037"/>
                <a:gd name="connsiteX3582" fmla="*/ 6469141 w 12192001"/>
                <a:gd name="connsiteY3582" fmla="*/ 1296006 h 6523037"/>
                <a:gd name="connsiteX3583" fmla="*/ 6733264 w 12192001"/>
                <a:gd name="connsiteY3583" fmla="*/ 1296006 h 6523037"/>
                <a:gd name="connsiteX3584" fmla="*/ 7003677 w 12192001"/>
                <a:gd name="connsiteY3584" fmla="*/ 1024895 h 6523037"/>
                <a:gd name="connsiteX3585" fmla="*/ 6998784 w 12192001"/>
                <a:gd name="connsiteY3585" fmla="*/ 1020004 h 6523037"/>
                <a:gd name="connsiteX3586" fmla="*/ 6733264 w 12192001"/>
                <a:gd name="connsiteY3586" fmla="*/ 754483 h 6523037"/>
                <a:gd name="connsiteX3587" fmla="*/ 7017651 w 12192001"/>
                <a:gd name="connsiteY3587" fmla="*/ 753784 h 6523037"/>
                <a:gd name="connsiteX3588" fmla="*/ 7288761 w 12192001"/>
                <a:gd name="connsiteY3588" fmla="*/ 1023497 h 6523037"/>
                <a:gd name="connsiteX3589" fmla="*/ 7285967 w 12192001"/>
                <a:gd name="connsiteY3589" fmla="*/ 1026293 h 6523037"/>
                <a:gd name="connsiteX3590" fmla="*/ 7195829 w 12192001"/>
                <a:gd name="connsiteY3590" fmla="*/ 1117128 h 6523037"/>
                <a:gd name="connsiteX3591" fmla="*/ 7018349 w 12192001"/>
                <a:gd name="connsiteY3591" fmla="*/ 1294608 h 6523037"/>
                <a:gd name="connsiteX3592" fmla="*/ 7282473 w 12192001"/>
                <a:gd name="connsiteY3592" fmla="*/ 1294608 h 6523037"/>
                <a:gd name="connsiteX3593" fmla="*/ 7371911 w 12192001"/>
                <a:gd name="connsiteY3593" fmla="*/ 1205169 h 6523037"/>
                <a:gd name="connsiteX3594" fmla="*/ 7552885 w 12192001"/>
                <a:gd name="connsiteY3594" fmla="*/ 1024196 h 6523037"/>
                <a:gd name="connsiteX3595" fmla="*/ 7281774 w 12192001"/>
                <a:gd name="connsiteY3595" fmla="*/ 753784 h 6523037"/>
                <a:gd name="connsiteX3596" fmla="*/ 5919233 w 12192001"/>
                <a:gd name="connsiteY3596" fmla="*/ 753784 h 6523037"/>
                <a:gd name="connsiteX3597" fmla="*/ 6190345 w 12192001"/>
                <a:gd name="connsiteY3597" fmla="*/ 1023497 h 6523037"/>
                <a:gd name="connsiteX3598" fmla="*/ 6187548 w 12192001"/>
                <a:gd name="connsiteY3598" fmla="*/ 1026293 h 6523037"/>
                <a:gd name="connsiteX3599" fmla="*/ 6097412 w 12192001"/>
                <a:gd name="connsiteY3599" fmla="*/ 1117128 h 6523037"/>
                <a:gd name="connsiteX3600" fmla="*/ 5919933 w 12192001"/>
                <a:gd name="connsiteY3600" fmla="*/ 1294608 h 6523037"/>
                <a:gd name="connsiteX3601" fmla="*/ 6184056 w 12192001"/>
                <a:gd name="connsiteY3601" fmla="*/ 1294608 h 6523037"/>
                <a:gd name="connsiteX3602" fmla="*/ 6273494 w 12192001"/>
                <a:gd name="connsiteY3602" fmla="*/ 1205169 h 6523037"/>
                <a:gd name="connsiteX3603" fmla="*/ 6454468 w 12192001"/>
                <a:gd name="connsiteY3603" fmla="*/ 1024196 h 6523037"/>
                <a:gd name="connsiteX3604" fmla="*/ 6183356 w 12192001"/>
                <a:gd name="connsiteY3604" fmla="*/ 753784 h 6523037"/>
                <a:gd name="connsiteX3605" fmla="*/ 5370723 w 12192001"/>
                <a:gd name="connsiteY3605" fmla="*/ 753784 h 6523037"/>
                <a:gd name="connsiteX3606" fmla="*/ 5372120 w 12192001"/>
                <a:gd name="connsiteY3606" fmla="*/ 755182 h 6523037"/>
                <a:gd name="connsiteX3607" fmla="*/ 5641833 w 12192001"/>
                <a:gd name="connsiteY3607" fmla="*/ 1024196 h 6523037"/>
                <a:gd name="connsiteX3608" fmla="*/ 5371422 w 12192001"/>
                <a:gd name="connsiteY3608" fmla="*/ 1295307 h 6523037"/>
                <a:gd name="connsiteX3609" fmla="*/ 5635545 w 12192001"/>
                <a:gd name="connsiteY3609" fmla="*/ 1295307 h 6523037"/>
                <a:gd name="connsiteX3610" fmla="*/ 5905958 w 12192001"/>
                <a:gd name="connsiteY3610" fmla="*/ 1024196 h 6523037"/>
                <a:gd name="connsiteX3611" fmla="*/ 5900367 w 12192001"/>
                <a:gd name="connsiteY3611" fmla="*/ 1019305 h 6523037"/>
                <a:gd name="connsiteX3612" fmla="*/ 5634846 w 12192001"/>
                <a:gd name="connsiteY3612" fmla="*/ 753784 h 6523037"/>
                <a:gd name="connsiteX3613" fmla="*/ 7566161 w 12192001"/>
                <a:gd name="connsiteY3613" fmla="*/ 753085 h 6523037"/>
                <a:gd name="connsiteX3614" fmla="*/ 7696826 w 12192001"/>
                <a:gd name="connsiteY3614" fmla="*/ 882352 h 6523037"/>
                <a:gd name="connsiteX3615" fmla="*/ 7837272 w 12192001"/>
                <a:gd name="connsiteY3615" fmla="*/ 1022798 h 6523037"/>
                <a:gd name="connsiteX3616" fmla="*/ 7566860 w 12192001"/>
                <a:gd name="connsiteY3616" fmla="*/ 1293909 h 6523037"/>
                <a:gd name="connsiteX3617" fmla="*/ 7830983 w 12192001"/>
                <a:gd name="connsiteY3617" fmla="*/ 1293909 h 6523037"/>
                <a:gd name="connsiteX3618" fmla="*/ 8101395 w 12192001"/>
                <a:gd name="connsiteY3618" fmla="*/ 1023497 h 6523037"/>
                <a:gd name="connsiteX3619" fmla="*/ 7830284 w 12192001"/>
                <a:gd name="connsiteY3619" fmla="*/ 753085 h 6523037"/>
                <a:gd name="connsiteX3620" fmla="*/ 8114671 w 12192001"/>
                <a:gd name="connsiteY3620" fmla="*/ 752386 h 6523037"/>
                <a:gd name="connsiteX3621" fmla="*/ 8385782 w 12192001"/>
                <a:gd name="connsiteY3621" fmla="*/ 1022798 h 6523037"/>
                <a:gd name="connsiteX3622" fmla="*/ 8115370 w 12192001"/>
                <a:gd name="connsiteY3622" fmla="*/ 1293909 h 6523037"/>
                <a:gd name="connsiteX3623" fmla="*/ 8379493 w 12192001"/>
                <a:gd name="connsiteY3623" fmla="*/ 1293909 h 6523037"/>
                <a:gd name="connsiteX3624" fmla="*/ 8649905 w 12192001"/>
                <a:gd name="connsiteY3624" fmla="*/ 1022798 h 6523037"/>
                <a:gd name="connsiteX3625" fmla="*/ 8378794 w 12192001"/>
                <a:gd name="connsiteY3625" fmla="*/ 752386 h 6523037"/>
                <a:gd name="connsiteX3626" fmla="*/ 9483502 w 12192001"/>
                <a:gd name="connsiteY3626" fmla="*/ 752007 h 6523037"/>
                <a:gd name="connsiteX3627" fmla="*/ 9483502 w 12192001"/>
                <a:gd name="connsiteY3627" fmla="*/ 752181 h 6523037"/>
                <a:gd name="connsiteX3628" fmla="*/ 9754439 w 12192001"/>
                <a:gd name="connsiteY3628" fmla="*/ 1022419 h 6523037"/>
                <a:gd name="connsiteX3629" fmla="*/ 9484726 w 12192001"/>
                <a:gd name="connsiteY3629" fmla="*/ 1293530 h 6523037"/>
                <a:gd name="connsiteX3630" fmla="*/ 9748150 w 12192001"/>
                <a:gd name="connsiteY3630" fmla="*/ 1293530 h 6523037"/>
                <a:gd name="connsiteX3631" fmla="*/ 10018562 w 12192001"/>
                <a:gd name="connsiteY3631" fmla="*/ 1022419 h 6523037"/>
                <a:gd name="connsiteX3632" fmla="*/ 9884404 w 12192001"/>
                <a:gd name="connsiteY3632" fmla="*/ 888959 h 6523037"/>
                <a:gd name="connsiteX3633" fmla="*/ 9747451 w 12192001"/>
                <a:gd name="connsiteY3633" fmla="*/ 752007 h 6523037"/>
                <a:gd name="connsiteX3634" fmla="*/ 8663181 w 12192001"/>
                <a:gd name="connsiteY3634" fmla="*/ 751687 h 6523037"/>
                <a:gd name="connsiteX3635" fmla="*/ 8934292 w 12192001"/>
                <a:gd name="connsiteY3635" fmla="*/ 1022099 h 6523037"/>
                <a:gd name="connsiteX3636" fmla="*/ 8663880 w 12192001"/>
                <a:gd name="connsiteY3636" fmla="*/ 1293210 h 6523037"/>
                <a:gd name="connsiteX3637" fmla="*/ 8862322 w 12192001"/>
                <a:gd name="connsiteY3637" fmla="*/ 1293210 h 6523037"/>
                <a:gd name="connsiteX3638" fmla="*/ 8927305 w 12192001"/>
                <a:gd name="connsiteY3638" fmla="*/ 1293210 h 6523037"/>
                <a:gd name="connsiteX3639" fmla="*/ 9198416 w 12192001"/>
                <a:gd name="connsiteY3639" fmla="*/ 1022099 h 6523037"/>
                <a:gd name="connsiteX3640" fmla="*/ 9064257 w 12192001"/>
                <a:gd name="connsiteY3640" fmla="*/ 888641 h 6523037"/>
                <a:gd name="connsiteX3641" fmla="*/ 8927305 w 12192001"/>
                <a:gd name="connsiteY3641" fmla="*/ 751687 h 6523037"/>
                <a:gd name="connsiteX3642" fmla="*/ 11129558 w 12192001"/>
                <a:gd name="connsiteY3642" fmla="*/ 751308 h 6523037"/>
                <a:gd name="connsiteX3643" fmla="*/ 11258126 w 12192001"/>
                <a:gd name="connsiteY3643" fmla="*/ 879876 h 6523037"/>
                <a:gd name="connsiteX3644" fmla="*/ 11399970 w 12192001"/>
                <a:gd name="connsiteY3644" fmla="*/ 1021720 h 6523037"/>
                <a:gd name="connsiteX3645" fmla="*/ 11129558 w 12192001"/>
                <a:gd name="connsiteY3645" fmla="*/ 1292831 h 6523037"/>
                <a:gd name="connsiteX3646" fmla="*/ 11393681 w 12192001"/>
                <a:gd name="connsiteY3646" fmla="*/ 1292831 h 6523037"/>
                <a:gd name="connsiteX3647" fmla="*/ 11664093 w 12192001"/>
                <a:gd name="connsiteY3647" fmla="*/ 1021720 h 6523037"/>
                <a:gd name="connsiteX3648" fmla="*/ 11659201 w 12192001"/>
                <a:gd name="connsiteY3648" fmla="*/ 1016829 h 6523037"/>
                <a:gd name="connsiteX3649" fmla="*/ 11393681 w 12192001"/>
                <a:gd name="connsiteY3649" fmla="*/ 751308 h 6523037"/>
                <a:gd name="connsiteX3650" fmla="*/ 9210294 w 12192001"/>
                <a:gd name="connsiteY3650" fmla="*/ 750989 h 6523037"/>
                <a:gd name="connsiteX3651" fmla="*/ 9478921 w 12192001"/>
                <a:gd name="connsiteY3651" fmla="*/ 1018924 h 6523037"/>
                <a:gd name="connsiteX3652" fmla="*/ 9740464 w 12192001"/>
                <a:gd name="connsiteY3652" fmla="*/ 1018924 h 6523037"/>
                <a:gd name="connsiteX3653" fmla="*/ 9471836 w 12192001"/>
                <a:gd name="connsiteY3653" fmla="*/ 750989 h 6523037"/>
                <a:gd name="connsiteX3654" fmla="*/ 10579650 w 12192001"/>
                <a:gd name="connsiteY3654" fmla="*/ 750609 h 6523037"/>
                <a:gd name="connsiteX3655" fmla="*/ 10850761 w 12192001"/>
                <a:gd name="connsiteY3655" fmla="*/ 1020322 h 6523037"/>
                <a:gd name="connsiteX3656" fmla="*/ 10847965 w 12192001"/>
                <a:gd name="connsiteY3656" fmla="*/ 1023118 h 6523037"/>
                <a:gd name="connsiteX3657" fmla="*/ 10757829 w 12192001"/>
                <a:gd name="connsiteY3657" fmla="*/ 1113953 h 6523037"/>
                <a:gd name="connsiteX3658" fmla="*/ 10580349 w 12192001"/>
                <a:gd name="connsiteY3658" fmla="*/ 1291433 h 6523037"/>
                <a:gd name="connsiteX3659" fmla="*/ 10844472 w 12192001"/>
                <a:gd name="connsiteY3659" fmla="*/ 1291433 h 6523037"/>
                <a:gd name="connsiteX3660" fmla="*/ 10933911 w 12192001"/>
                <a:gd name="connsiteY3660" fmla="*/ 1201994 h 6523037"/>
                <a:gd name="connsiteX3661" fmla="*/ 11114884 w 12192001"/>
                <a:gd name="connsiteY3661" fmla="*/ 1021021 h 6523037"/>
                <a:gd name="connsiteX3662" fmla="*/ 10843773 w 12192001"/>
                <a:gd name="connsiteY3662" fmla="*/ 750609 h 6523037"/>
                <a:gd name="connsiteX3663" fmla="*/ 10031140 w 12192001"/>
                <a:gd name="connsiteY3663" fmla="*/ 750609 h 6523037"/>
                <a:gd name="connsiteX3664" fmla="*/ 10032537 w 12192001"/>
                <a:gd name="connsiteY3664" fmla="*/ 752007 h 6523037"/>
                <a:gd name="connsiteX3665" fmla="*/ 10302250 w 12192001"/>
                <a:gd name="connsiteY3665" fmla="*/ 1021021 h 6523037"/>
                <a:gd name="connsiteX3666" fmla="*/ 10031839 w 12192001"/>
                <a:gd name="connsiteY3666" fmla="*/ 1292132 h 6523037"/>
                <a:gd name="connsiteX3667" fmla="*/ 10295962 w 12192001"/>
                <a:gd name="connsiteY3667" fmla="*/ 1292132 h 6523037"/>
                <a:gd name="connsiteX3668" fmla="*/ 10566374 w 12192001"/>
                <a:gd name="connsiteY3668" fmla="*/ 1021021 h 6523037"/>
                <a:gd name="connsiteX3669" fmla="*/ 10560784 w 12192001"/>
                <a:gd name="connsiteY3669" fmla="*/ 1016130 h 6523037"/>
                <a:gd name="connsiteX3670" fmla="*/ 10295263 w 12192001"/>
                <a:gd name="connsiteY3670" fmla="*/ 750609 h 6523037"/>
                <a:gd name="connsiteX3671" fmla="*/ 702930 w 12192001"/>
                <a:gd name="connsiteY3671" fmla="*/ 484641 h 6523037"/>
                <a:gd name="connsiteX3672" fmla="*/ 522656 w 12192001"/>
                <a:gd name="connsiteY3672" fmla="*/ 665614 h 6523037"/>
                <a:gd name="connsiteX3673" fmla="*/ 433217 w 12192001"/>
                <a:gd name="connsiteY3673" fmla="*/ 755751 h 6523037"/>
                <a:gd name="connsiteX3674" fmla="*/ 567375 w 12192001"/>
                <a:gd name="connsiteY3674" fmla="*/ 889210 h 6523037"/>
                <a:gd name="connsiteX3675" fmla="*/ 704328 w 12192001"/>
                <a:gd name="connsiteY3675" fmla="*/ 1026164 h 6523037"/>
                <a:gd name="connsiteX3676" fmla="*/ 968451 w 12192001"/>
                <a:gd name="connsiteY3676" fmla="*/ 1026164 h 6523037"/>
                <a:gd name="connsiteX3677" fmla="*/ 697340 w 12192001"/>
                <a:gd name="connsiteY3677" fmla="*/ 755751 h 6523037"/>
                <a:gd name="connsiteX3678" fmla="*/ 698738 w 12192001"/>
                <a:gd name="connsiteY3678" fmla="*/ 754354 h 6523037"/>
                <a:gd name="connsiteX3679" fmla="*/ 967054 w 12192001"/>
                <a:gd name="connsiteY3679" fmla="*/ 484641 h 6523037"/>
                <a:gd name="connsiteX3680" fmla="*/ 1252140 w 12192001"/>
                <a:gd name="connsiteY3680" fmla="*/ 483942 h 6523037"/>
                <a:gd name="connsiteX3681" fmla="*/ 981727 w 12192001"/>
                <a:gd name="connsiteY3681" fmla="*/ 755053 h 6523037"/>
                <a:gd name="connsiteX3682" fmla="*/ 1252838 w 12192001"/>
                <a:gd name="connsiteY3682" fmla="*/ 1025465 h 6523037"/>
                <a:gd name="connsiteX3683" fmla="*/ 1516962 w 12192001"/>
                <a:gd name="connsiteY3683" fmla="*/ 1025465 h 6523037"/>
                <a:gd name="connsiteX3684" fmla="*/ 1245851 w 12192001"/>
                <a:gd name="connsiteY3684" fmla="*/ 755053 h 6523037"/>
                <a:gd name="connsiteX3685" fmla="*/ 1516263 w 12192001"/>
                <a:gd name="connsiteY3685" fmla="*/ 483942 h 6523037"/>
                <a:gd name="connsiteX3686" fmla="*/ 2899067 w 12192001"/>
                <a:gd name="connsiteY3686" fmla="*/ 483243 h 6523037"/>
                <a:gd name="connsiteX3687" fmla="*/ 2628655 w 12192001"/>
                <a:gd name="connsiteY3687" fmla="*/ 754354 h 6523037"/>
                <a:gd name="connsiteX3688" fmla="*/ 2899766 w 12192001"/>
                <a:gd name="connsiteY3688" fmla="*/ 1024766 h 6523037"/>
                <a:gd name="connsiteX3689" fmla="*/ 3163191 w 12192001"/>
                <a:gd name="connsiteY3689" fmla="*/ 1024766 h 6523037"/>
                <a:gd name="connsiteX3690" fmla="*/ 3032527 w 12192001"/>
                <a:gd name="connsiteY3690" fmla="*/ 894800 h 6523037"/>
                <a:gd name="connsiteX3691" fmla="*/ 2892081 w 12192001"/>
                <a:gd name="connsiteY3691" fmla="*/ 754354 h 6523037"/>
                <a:gd name="connsiteX3692" fmla="*/ 3163191 w 12192001"/>
                <a:gd name="connsiteY3692" fmla="*/ 483243 h 6523037"/>
                <a:gd name="connsiteX3693" fmla="*/ 1799951 w 12192001"/>
                <a:gd name="connsiteY3693" fmla="*/ 483243 h 6523037"/>
                <a:gd name="connsiteX3694" fmla="*/ 1529539 w 12192001"/>
                <a:gd name="connsiteY3694" fmla="*/ 754354 h 6523037"/>
                <a:gd name="connsiteX3695" fmla="*/ 1800650 w 12192001"/>
                <a:gd name="connsiteY3695" fmla="*/ 1024766 h 6523037"/>
                <a:gd name="connsiteX3696" fmla="*/ 1802048 w 12192001"/>
                <a:gd name="connsiteY3696" fmla="*/ 1026164 h 6523037"/>
                <a:gd name="connsiteX3697" fmla="*/ 2066171 w 12192001"/>
                <a:gd name="connsiteY3697" fmla="*/ 1026164 h 6523037"/>
                <a:gd name="connsiteX3698" fmla="*/ 1934808 w 12192001"/>
                <a:gd name="connsiteY3698" fmla="*/ 894800 h 6523037"/>
                <a:gd name="connsiteX3699" fmla="*/ 1797155 w 12192001"/>
                <a:gd name="connsiteY3699" fmla="*/ 757148 h 6523037"/>
                <a:gd name="connsiteX3700" fmla="*/ 2066171 w 12192001"/>
                <a:gd name="connsiteY3700" fmla="*/ 483243 h 6523037"/>
                <a:gd name="connsiteX3701" fmla="*/ 3446879 w 12192001"/>
                <a:gd name="connsiteY3701" fmla="*/ 482544 h 6523037"/>
                <a:gd name="connsiteX3702" fmla="*/ 3176467 w 12192001"/>
                <a:gd name="connsiteY3702" fmla="*/ 753655 h 6523037"/>
                <a:gd name="connsiteX3703" fmla="*/ 3447578 w 12192001"/>
                <a:gd name="connsiteY3703" fmla="*/ 1024067 h 6523037"/>
                <a:gd name="connsiteX3704" fmla="*/ 3711701 w 12192001"/>
                <a:gd name="connsiteY3704" fmla="*/ 1024067 h 6523037"/>
                <a:gd name="connsiteX3705" fmla="*/ 3440590 w 12192001"/>
                <a:gd name="connsiteY3705" fmla="*/ 753655 h 6523037"/>
                <a:gd name="connsiteX3706" fmla="*/ 3625057 w 12192001"/>
                <a:gd name="connsiteY3706" fmla="*/ 569188 h 6523037"/>
                <a:gd name="connsiteX3707" fmla="*/ 3709605 w 12192001"/>
                <a:gd name="connsiteY3707" fmla="*/ 482544 h 6523037"/>
                <a:gd name="connsiteX3708" fmla="*/ 3995389 w 12192001"/>
                <a:gd name="connsiteY3708" fmla="*/ 481845 h 6523037"/>
                <a:gd name="connsiteX3709" fmla="*/ 3724977 w 12192001"/>
                <a:gd name="connsiteY3709" fmla="*/ 752956 h 6523037"/>
                <a:gd name="connsiteX3710" fmla="*/ 3996088 w 12192001"/>
                <a:gd name="connsiteY3710" fmla="*/ 1023368 h 6523037"/>
                <a:gd name="connsiteX3711" fmla="*/ 4260212 w 12192001"/>
                <a:gd name="connsiteY3711" fmla="*/ 1023368 h 6523037"/>
                <a:gd name="connsiteX3712" fmla="*/ 3989100 w 12192001"/>
                <a:gd name="connsiteY3712" fmla="*/ 752956 h 6523037"/>
                <a:gd name="connsiteX3713" fmla="*/ 3990498 w 12192001"/>
                <a:gd name="connsiteY3713" fmla="*/ 751558 h 6523037"/>
                <a:gd name="connsiteX3714" fmla="*/ 3989799 w 12192001"/>
                <a:gd name="connsiteY3714" fmla="*/ 751558 h 6523037"/>
                <a:gd name="connsiteX3715" fmla="*/ 4258116 w 12192001"/>
                <a:gd name="connsiteY3715" fmla="*/ 482544 h 6523037"/>
                <a:gd name="connsiteX3716" fmla="*/ 3999582 w 12192001"/>
                <a:gd name="connsiteY3716" fmla="*/ 482544 h 6523037"/>
                <a:gd name="connsiteX3717" fmla="*/ 4000979 w 12192001"/>
                <a:gd name="connsiteY3717" fmla="*/ 481845 h 6523037"/>
                <a:gd name="connsiteX3718" fmla="*/ 4818383 w 12192001"/>
                <a:gd name="connsiteY3718" fmla="*/ 481275 h 6523037"/>
                <a:gd name="connsiteX3719" fmla="*/ 4550887 w 12192001"/>
                <a:gd name="connsiteY3719" fmla="*/ 749462 h 6523037"/>
                <a:gd name="connsiteX3720" fmla="*/ 4811162 w 12192001"/>
                <a:gd name="connsiteY3720" fmla="*/ 749462 h 6523037"/>
                <a:gd name="connsiteX3721" fmla="*/ 4993404 w 12192001"/>
                <a:gd name="connsiteY3721" fmla="*/ 567221 h 6523037"/>
                <a:gd name="connsiteX3722" fmla="*/ 5079348 w 12192001"/>
                <a:gd name="connsiteY3722" fmla="*/ 481275 h 6523037"/>
                <a:gd name="connsiteX3723" fmla="*/ 4543201 w 12192001"/>
                <a:gd name="connsiteY3723" fmla="*/ 481146 h 6523037"/>
                <a:gd name="connsiteX3724" fmla="*/ 4362227 w 12192001"/>
                <a:gd name="connsiteY3724" fmla="*/ 662120 h 6523037"/>
                <a:gd name="connsiteX3725" fmla="*/ 4362927 w 12192001"/>
                <a:gd name="connsiteY3725" fmla="*/ 662819 h 6523037"/>
                <a:gd name="connsiteX3726" fmla="*/ 4273487 w 12192001"/>
                <a:gd name="connsiteY3726" fmla="*/ 752956 h 6523037"/>
                <a:gd name="connsiteX3727" fmla="*/ 4407646 w 12192001"/>
                <a:gd name="connsiteY3727" fmla="*/ 886416 h 6523037"/>
                <a:gd name="connsiteX3728" fmla="*/ 4543899 w 12192001"/>
                <a:gd name="connsiteY3728" fmla="*/ 1022669 h 6523037"/>
                <a:gd name="connsiteX3729" fmla="*/ 4805312 w 12192001"/>
                <a:gd name="connsiteY3729" fmla="*/ 1022669 h 6523037"/>
                <a:gd name="connsiteX3730" fmla="*/ 4660106 w 12192001"/>
                <a:gd name="connsiteY3730" fmla="*/ 877461 h 6523037"/>
                <a:gd name="connsiteX3731" fmla="*/ 4660106 w 12192001"/>
                <a:gd name="connsiteY3731" fmla="*/ 875133 h 6523037"/>
                <a:gd name="connsiteX3732" fmla="*/ 4536912 w 12192001"/>
                <a:gd name="connsiteY3732" fmla="*/ 752257 h 6523037"/>
                <a:gd name="connsiteX3733" fmla="*/ 4660106 w 12192001"/>
                <a:gd name="connsiteY3733" fmla="*/ 628745 h 6523037"/>
                <a:gd name="connsiteX3734" fmla="*/ 4660106 w 12192001"/>
                <a:gd name="connsiteY3734" fmla="*/ 625913 h 6523037"/>
                <a:gd name="connsiteX3735" fmla="*/ 4804193 w 12192001"/>
                <a:gd name="connsiteY3735" fmla="*/ 481146 h 6523037"/>
                <a:gd name="connsiteX3736" fmla="*/ 2616078 w 12192001"/>
                <a:gd name="connsiteY3736" fmla="*/ 481146 h 6523037"/>
                <a:gd name="connsiteX3737" fmla="*/ 2349859 w 12192001"/>
                <a:gd name="connsiteY3737" fmla="*/ 483942 h 6523037"/>
                <a:gd name="connsiteX3738" fmla="*/ 2079447 w 12192001"/>
                <a:gd name="connsiteY3738" fmla="*/ 755053 h 6523037"/>
                <a:gd name="connsiteX3739" fmla="*/ 2350558 w 12192001"/>
                <a:gd name="connsiteY3739" fmla="*/ 1025465 h 6523037"/>
                <a:gd name="connsiteX3740" fmla="*/ 2614681 w 12192001"/>
                <a:gd name="connsiteY3740" fmla="*/ 1025465 h 6523037"/>
                <a:gd name="connsiteX3741" fmla="*/ 2343570 w 12192001"/>
                <a:gd name="connsiteY3741" fmla="*/ 755053 h 6523037"/>
                <a:gd name="connsiteX3742" fmla="*/ 5363036 w 12192001"/>
                <a:gd name="connsiteY3742" fmla="*/ 479879 h 6523037"/>
                <a:gd name="connsiteX3743" fmla="*/ 5182762 w 12192001"/>
                <a:gd name="connsiteY3743" fmla="*/ 660852 h 6523037"/>
                <a:gd name="connsiteX3744" fmla="*/ 5093323 w 12192001"/>
                <a:gd name="connsiteY3744" fmla="*/ 750989 h 6523037"/>
                <a:gd name="connsiteX3745" fmla="*/ 5227481 w 12192001"/>
                <a:gd name="connsiteY3745" fmla="*/ 884448 h 6523037"/>
                <a:gd name="connsiteX3746" fmla="*/ 5364435 w 12192001"/>
                <a:gd name="connsiteY3746" fmla="*/ 1021402 h 6523037"/>
                <a:gd name="connsiteX3747" fmla="*/ 5628558 w 12192001"/>
                <a:gd name="connsiteY3747" fmla="*/ 1021402 h 6523037"/>
                <a:gd name="connsiteX3748" fmla="*/ 5357446 w 12192001"/>
                <a:gd name="connsiteY3748" fmla="*/ 750989 h 6523037"/>
                <a:gd name="connsiteX3749" fmla="*/ 5358844 w 12192001"/>
                <a:gd name="connsiteY3749" fmla="*/ 749592 h 6523037"/>
                <a:gd name="connsiteX3750" fmla="*/ 5627160 w 12192001"/>
                <a:gd name="connsiteY3750" fmla="*/ 479879 h 6523037"/>
                <a:gd name="connsiteX3751" fmla="*/ 5912246 w 12192001"/>
                <a:gd name="connsiteY3751" fmla="*/ 479180 h 6523037"/>
                <a:gd name="connsiteX3752" fmla="*/ 5641833 w 12192001"/>
                <a:gd name="connsiteY3752" fmla="*/ 750291 h 6523037"/>
                <a:gd name="connsiteX3753" fmla="*/ 5912945 w 12192001"/>
                <a:gd name="connsiteY3753" fmla="*/ 1020703 h 6523037"/>
                <a:gd name="connsiteX3754" fmla="*/ 6177068 w 12192001"/>
                <a:gd name="connsiteY3754" fmla="*/ 1020703 h 6523037"/>
                <a:gd name="connsiteX3755" fmla="*/ 5905958 w 12192001"/>
                <a:gd name="connsiteY3755" fmla="*/ 750291 h 6523037"/>
                <a:gd name="connsiteX3756" fmla="*/ 6176369 w 12192001"/>
                <a:gd name="connsiteY3756" fmla="*/ 479180 h 6523037"/>
                <a:gd name="connsiteX3757" fmla="*/ 7559173 w 12192001"/>
                <a:gd name="connsiteY3757" fmla="*/ 478481 h 6523037"/>
                <a:gd name="connsiteX3758" fmla="*/ 7288761 w 12192001"/>
                <a:gd name="connsiteY3758" fmla="*/ 749592 h 6523037"/>
                <a:gd name="connsiteX3759" fmla="*/ 7559872 w 12192001"/>
                <a:gd name="connsiteY3759" fmla="*/ 1020004 h 6523037"/>
                <a:gd name="connsiteX3760" fmla="*/ 7823297 w 12192001"/>
                <a:gd name="connsiteY3760" fmla="*/ 1020004 h 6523037"/>
                <a:gd name="connsiteX3761" fmla="*/ 7692633 w 12192001"/>
                <a:gd name="connsiteY3761" fmla="*/ 890038 h 6523037"/>
                <a:gd name="connsiteX3762" fmla="*/ 7552187 w 12192001"/>
                <a:gd name="connsiteY3762" fmla="*/ 749592 h 6523037"/>
                <a:gd name="connsiteX3763" fmla="*/ 7823297 w 12192001"/>
                <a:gd name="connsiteY3763" fmla="*/ 478481 h 6523037"/>
                <a:gd name="connsiteX3764" fmla="*/ 6460057 w 12192001"/>
                <a:gd name="connsiteY3764" fmla="*/ 478481 h 6523037"/>
                <a:gd name="connsiteX3765" fmla="*/ 6189645 w 12192001"/>
                <a:gd name="connsiteY3765" fmla="*/ 749592 h 6523037"/>
                <a:gd name="connsiteX3766" fmla="*/ 6460756 w 12192001"/>
                <a:gd name="connsiteY3766" fmla="*/ 1020004 h 6523037"/>
                <a:gd name="connsiteX3767" fmla="*/ 6462154 w 12192001"/>
                <a:gd name="connsiteY3767" fmla="*/ 1021402 h 6523037"/>
                <a:gd name="connsiteX3768" fmla="*/ 6726277 w 12192001"/>
                <a:gd name="connsiteY3768" fmla="*/ 1021402 h 6523037"/>
                <a:gd name="connsiteX3769" fmla="*/ 6594914 w 12192001"/>
                <a:gd name="connsiteY3769" fmla="*/ 890038 h 6523037"/>
                <a:gd name="connsiteX3770" fmla="*/ 6457261 w 12192001"/>
                <a:gd name="connsiteY3770" fmla="*/ 752386 h 6523037"/>
                <a:gd name="connsiteX3771" fmla="*/ 6726277 w 12192001"/>
                <a:gd name="connsiteY3771" fmla="*/ 478481 h 6523037"/>
                <a:gd name="connsiteX3772" fmla="*/ 9476907 w 12192001"/>
                <a:gd name="connsiteY3772" fmla="*/ 478100 h 6523037"/>
                <a:gd name="connsiteX3773" fmla="*/ 9210993 w 12192001"/>
                <a:gd name="connsiteY3773" fmla="*/ 744700 h 6523037"/>
                <a:gd name="connsiteX3774" fmla="*/ 9473165 w 12192001"/>
                <a:gd name="connsiteY3774" fmla="*/ 744700 h 6523037"/>
                <a:gd name="connsiteX3775" fmla="*/ 9653821 w 12192001"/>
                <a:gd name="connsiteY3775" fmla="*/ 564046 h 6523037"/>
                <a:gd name="connsiteX3776" fmla="*/ 9739765 w 12192001"/>
                <a:gd name="connsiteY3776" fmla="*/ 478100 h 6523037"/>
                <a:gd name="connsiteX3777" fmla="*/ 8106985 w 12192001"/>
                <a:gd name="connsiteY3777" fmla="*/ 477782 h 6523037"/>
                <a:gd name="connsiteX3778" fmla="*/ 7836573 w 12192001"/>
                <a:gd name="connsiteY3778" fmla="*/ 748893 h 6523037"/>
                <a:gd name="connsiteX3779" fmla="*/ 8107684 w 12192001"/>
                <a:gd name="connsiteY3779" fmla="*/ 1019305 h 6523037"/>
                <a:gd name="connsiteX3780" fmla="*/ 8371807 w 12192001"/>
                <a:gd name="connsiteY3780" fmla="*/ 1019305 h 6523037"/>
                <a:gd name="connsiteX3781" fmla="*/ 8100696 w 12192001"/>
                <a:gd name="connsiteY3781" fmla="*/ 748893 h 6523037"/>
                <a:gd name="connsiteX3782" fmla="*/ 8285163 w 12192001"/>
                <a:gd name="connsiteY3782" fmla="*/ 564426 h 6523037"/>
                <a:gd name="connsiteX3783" fmla="*/ 8369711 w 12192001"/>
                <a:gd name="connsiteY3783" fmla="*/ 477782 h 6523037"/>
                <a:gd name="connsiteX3784" fmla="*/ 8655495 w 12192001"/>
                <a:gd name="connsiteY3784" fmla="*/ 477083 h 6523037"/>
                <a:gd name="connsiteX3785" fmla="*/ 8385083 w 12192001"/>
                <a:gd name="connsiteY3785" fmla="*/ 748194 h 6523037"/>
                <a:gd name="connsiteX3786" fmla="*/ 8656194 w 12192001"/>
                <a:gd name="connsiteY3786" fmla="*/ 1018606 h 6523037"/>
                <a:gd name="connsiteX3787" fmla="*/ 8920317 w 12192001"/>
                <a:gd name="connsiteY3787" fmla="*/ 1018606 h 6523037"/>
                <a:gd name="connsiteX3788" fmla="*/ 8649206 w 12192001"/>
                <a:gd name="connsiteY3788" fmla="*/ 748194 h 6523037"/>
                <a:gd name="connsiteX3789" fmla="*/ 8650604 w 12192001"/>
                <a:gd name="connsiteY3789" fmla="*/ 746796 h 6523037"/>
                <a:gd name="connsiteX3790" fmla="*/ 8649905 w 12192001"/>
                <a:gd name="connsiteY3790" fmla="*/ 746796 h 6523037"/>
                <a:gd name="connsiteX3791" fmla="*/ 8918222 w 12192001"/>
                <a:gd name="connsiteY3791" fmla="*/ 477782 h 6523037"/>
                <a:gd name="connsiteX3792" fmla="*/ 8659688 w 12192001"/>
                <a:gd name="connsiteY3792" fmla="*/ 477782 h 6523037"/>
                <a:gd name="connsiteX3793" fmla="*/ 8661085 w 12192001"/>
                <a:gd name="connsiteY3793" fmla="*/ 477083 h 6523037"/>
                <a:gd name="connsiteX3794" fmla="*/ 10023453 w 12192001"/>
                <a:gd name="connsiteY3794" fmla="*/ 476704 h 6523037"/>
                <a:gd name="connsiteX3795" fmla="*/ 9843179 w 12192001"/>
                <a:gd name="connsiteY3795" fmla="*/ 657677 h 6523037"/>
                <a:gd name="connsiteX3796" fmla="*/ 9753740 w 12192001"/>
                <a:gd name="connsiteY3796" fmla="*/ 747814 h 6523037"/>
                <a:gd name="connsiteX3797" fmla="*/ 9887898 w 12192001"/>
                <a:gd name="connsiteY3797" fmla="*/ 881273 h 6523037"/>
                <a:gd name="connsiteX3798" fmla="*/ 10024851 w 12192001"/>
                <a:gd name="connsiteY3798" fmla="*/ 1018227 h 6523037"/>
                <a:gd name="connsiteX3799" fmla="*/ 10288974 w 12192001"/>
                <a:gd name="connsiteY3799" fmla="*/ 1018227 h 6523037"/>
                <a:gd name="connsiteX3800" fmla="*/ 10017863 w 12192001"/>
                <a:gd name="connsiteY3800" fmla="*/ 747814 h 6523037"/>
                <a:gd name="connsiteX3801" fmla="*/ 10019261 w 12192001"/>
                <a:gd name="connsiteY3801" fmla="*/ 746417 h 6523037"/>
                <a:gd name="connsiteX3802" fmla="*/ 10287577 w 12192001"/>
                <a:gd name="connsiteY3802" fmla="*/ 476704 h 6523037"/>
                <a:gd name="connsiteX3803" fmla="*/ 9203307 w 12192001"/>
                <a:gd name="connsiteY3803" fmla="*/ 476384 h 6523037"/>
                <a:gd name="connsiteX3804" fmla="*/ 9022333 w 12192001"/>
                <a:gd name="connsiteY3804" fmla="*/ 657358 h 6523037"/>
                <a:gd name="connsiteX3805" fmla="*/ 9023032 w 12192001"/>
                <a:gd name="connsiteY3805" fmla="*/ 658057 h 6523037"/>
                <a:gd name="connsiteX3806" fmla="*/ 8933593 w 12192001"/>
                <a:gd name="connsiteY3806" fmla="*/ 748194 h 6523037"/>
                <a:gd name="connsiteX3807" fmla="*/ 9067752 w 12192001"/>
                <a:gd name="connsiteY3807" fmla="*/ 881654 h 6523037"/>
                <a:gd name="connsiteX3808" fmla="*/ 9204005 w 12192001"/>
                <a:gd name="connsiteY3808" fmla="*/ 1017907 h 6523037"/>
                <a:gd name="connsiteX3809" fmla="*/ 9464142 w 12192001"/>
                <a:gd name="connsiteY3809" fmla="*/ 1017907 h 6523037"/>
                <a:gd name="connsiteX3810" fmla="*/ 9320523 w 12192001"/>
                <a:gd name="connsiteY3810" fmla="*/ 874286 h 6523037"/>
                <a:gd name="connsiteX3811" fmla="*/ 9320523 w 12192001"/>
                <a:gd name="connsiteY3811" fmla="*/ 870682 h 6523037"/>
                <a:gd name="connsiteX3812" fmla="*/ 9197018 w 12192001"/>
                <a:gd name="connsiteY3812" fmla="*/ 747495 h 6523037"/>
                <a:gd name="connsiteX3813" fmla="*/ 9320523 w 12192001"/>
                <a:gd name="connsiteY3813" fmla="*/ 623671 h 6523037"/>
                <a:gd name="connsiteX3814" fmla="*/ 9320523 w 12192001"/>
                <a:gd name="connsiteY3814" fmla="*/ 622738 h 6523037"/>
                <a:gd name="connsiteX3815" fmla="*/ 9466190 w 12192001"/>
                <a:gd name="connsiteY3815" fmla="*/ 476384 h 6523037"/>
                <a:gd name="connsiteX3816" fmla="*/ 7276184 w 12192001"/>
                <a:gd name="connsiteY3816" fmla="*/ 476384 h 6523037"/>
                <a:gd name="connsiteX3817" fmla="*/ 7009966 w 12192001"/>
                <a:gd name="connsiteY3817" fmla="*/ 479180 h 6523037"/>
                <a:gd name="connsiteX3818" fmla="*/ 6739554 w 12192001"/>
                <a:gd name="connsiteY3818" fmla="*/ 750291 h 6523037"/>
                <a:gd name="connsiteX3819" fmla="*/ 7010664 w 12192001"/>
                <a:gd name="connsiteY3819" fmla="*/ 1020703 h 6523037"/>
                <a:gd name="connsiteX3820" fmla="*/ 7274787 w 12192001"/>
                <a:gd name="connsiteY3820" fmla="*/ 1020703 h 6523037"/>
                <a:gd name="connsiteX3821" fmla="*/ 7003677 w 12192001"/>
                <a:gd name="connsiteY3821" fmla="*/ 750291 h 6523037"/>
                <a:gd name="connsiteX3822" fmla="*/ 10572663 w 12192001"/>
                <a:gd name="connsiteY3822" fmla="*/ 476005 h 6523037"/>
                <a:gd name="connsiteX3823" fmla="*/ 10302250 w 12192001"/>
                <a:gd name="connsiteY3823" fmla="*/ 747116 h 6523037"/>
                <a:gd name="connsiteX3824" fmla="*/ 10573361 w 12192001"/>
                <a:gd name="connsiteY3824" fmla="*/ 1017528 h 6523037"/>
                <a:gd name="connsiteX3825" fmla="*/ 10837485 w 12192001"/>
                <a:gd name="connsiteY3825" fmla="*/ 1017528 h 6523037"/>
                <a:gd name="connsiteX3826" fmla="*/ 10566374 w 12192001"/>
                <a:gd name="connsiteY3826" fmla="*/ 747116 h 6523037"/>
                <a:gd name="connsiteX3827" fmla="*/ 10836786 w 12192001"/>
                <a:gd name="connsiteY3827" fmla="*/ 476005 h 6523037"/>
                <a:gd name="connsiteX3828" fmla="*/ 11120474 w 12192001"/>
                <a:gd name="connsiteY3828" fmla="*/ 475306 h 6523037"/>
                <a:gd name="connsiteX3829" fmla="*/ 10850062 w 12192001"/>
                <a:gd name="connsiteY3829" fmla="*/ 746417 h 6523037"/>
                <a:gd name="connsiteX3830" fmla="*/ 11121173 w 12192001"/>
                <a:gd name="connsiteY3830" fmla="*/ 1016829 h 6523037"/>
                <a:gd name="connsiteX3831" fmla="*/ 11122571 w 12192001"/>
                <a:gd name="connsiteY3831" fmla="*/ 1018227 h 6523037"/>
                <a:gd name="connsiteX3832" fmla="*/ 11386694 w 12192001"/>
                <a:gd name="connsiteY3832" fmla="*/ 1018227 h 6523037"/>
                <a:gd name="connsiteX3833" fmla="*/ 11255331 w 12192001"/>
                <a:gd name="connsiteY3833" fmla="*/ 886863 h 6523037"/>
                <a:gd name="connsiteX3834" fmla="*/ 11117678 w 12192001"/>
                <a:gd name="connsiteY3834" fmla="*/ 749211 h 6523037"/>
                <a:gd name="connsiteX3835" fmla="*/ 11386694 w 12192001"/>
                <a:gd name="connsiteY3835" fmla="*/ 475306 h 6523037"/>
                <a:gd name="connsiteX3836" fmla="*/ 11936601 w 12192001"/>
                <a:gd name="connsiteY3836" fmla="*/ 473209 h 6523037"/>
                <a:gd name="connsiteX3837" fmla="*/ 11670382 w 12192001"/>
                <a:gd name="connsiteY3837" fmla="*/ 476005 h 6523037"/>
                <a:gd name="connsiteX3838" fmla="*/ 11399970 w 12192001"/>
                <a:gd name="connsiteY3838" fmla="*/ 747116 h 6523037"/>
                <a:gd name="connsiteX3839" fmla="*/ 11671081 w 12192001"/>
                <a:gd name="connsiteY3839" fmla="*/ 1017528 h 6523037"/>
                <a:gd name="connsiteX3840" fmla="*/ 11935204 w 12192001"/>
                <a:gd name="connsiteY3840" fmla="*/ 1017528 h 6523037"/>
                <a:gd name="connsiteX3841" fmla="*/ 11664093 w 12192001"/>
                <a:gd name="connsiteY3841" fmla="*/ 747116 h 6523037"/>
                <a:gd name="connsiteX3842" fmla="*/ 161407 w 12192001"/>
                <a:gd name="connsiteY3842" fmla="*/ 211433 h 6523037"/>
                <a:gd name="connsiteX3843" fmla="*/ 432518 w 12192001"/>
                <a:gd name="connsiteY3843" fmla="*/ 481845 h 6523037"/>
                <a:gd name="connsiteX3844" fmla="*/ 429724 w 12192001"/>
                <a:gd name="connsiteY3844" fmla="*/ 484641 h 6523037"/>
                <a:gd name="connsiteX3845" fmla="*/ 339586 w 12192001"/>
                <a:gd name="connsiteY3845" fmla="*/ 575476 h 6523037"/>
                <a:gd name="connsiteX3846" fmla="*/ 162106 w 12192001"/>
                <a:gd name="connsiteY3846" fmla="*/ 752257 h 6523037"/>
                <a:gd name="connsiteX3847" fmla="*/ 426230 w 12192001"/>
                <a:gd name="connsiteY3847" fmla="*/ 752257 h 6523037"/>
                <a:gd name="connsiteX3848" fmla="*/ 515668 w 12192001"/>
                <a:gd name="connsiteY3848" fmla="*/ 662819 h 6523037"/>
                <a:gd name="connsiteX3849" fmla="*/ 696642 w 12192001"/>
                <a:gd name="connsiteY3849" fmla="*/ 481845 h 6523037"/>
                <a:gd name="connsiteX3850" fmla="*/ 425531 w 12192001"/>
                <a:gd name="connsiteY3850" fmla="*/ 211433 h 6523037"/>
                <a:gd name="connsiteX3851" fmla="*/ 710617 w 12192001"/>
                <a:gd name="connsiteY3851" fmla="*/ 210735 h 6523037"/>
                <a:gd name="connsiteX3852" fmla="*/ 840582 w 12192001"/>
                <a:gd name="connsiteY3852" fmla="*/ 340700 h 6523037"/>
                <a:gd name="connsiteX3853" fmla="*/ 981029 w 12192001"/>
                <a:gd name="connsiteY3853" fmla="*/ 480448 h 6523037"/>
                <a:gd name="connsiteX3854" fmla="*/ 710617 w 12192001"/>
                <a:gd name="connsiteY3854" fmla="*/ 751558 h 6523037"/>
                <a:gd name="connsiteX3855" fmla="*/ 974740 w 12192001"/>
                <a:gd name="connsiteY3855" fmla="*/ 751558 h 6523037"/>
                <a:gd name="connsiteX3856" fmla="*/ 1245851 w 12192001"/>
                <a:gd name="connsiteY3856" fmla="*/ 481146 h 6523037"/>
                <a:gd name="connsiteX3857" fmla="*/ 974740 w 12192001"/>
                <a:gd name="connsiteY3857" fmla="*/ 210735 h 6523037"/>
                <a:gd name="connsiteX3858" fmla="*/ 2906055 w 12192001"/>
                <a:gd name="connsiteY3858" fmla="*/ 210036 h 6523037"/>
                <a:gd name="connsiteX3859" fmla="*/ 3035322 w 12192001"/>
                <a:gd name="connsiteY3859" fmla="*/ 337905 h 6523037"/>
                <a:gd name="connsiteX3860" fmla="*/ 3035322 w 12192001"/>
                <a:gd name="connsiteY3860" fmla="*/ 338604 h 6523037"/>
                <a:gd name="connsiteX3861" fmla="*/ 3177166 w 12192001"/>
                <a:gd name="connsiteY3861" fmla="*/ 480448 h 6523037"/>
                <a:gd name="connsiteX3862" fmla="*/ 2906754 w 12192001"/>
                <a:gd name="connsiteY3862" fmla="*/ 751558 h 6523037"/>
                <a:gd name="connsiteX3863" fmla="*/ 3170178 w 12192001"/>
                <a:gd name="connsiteY3863" fmla="*/ 751558 h 6523037"/>
                <a:gd name="connsiteX3864" fmla="*/ 3440590 w 12192001"/>
                <a:gd name="connsiteY3864" fmla="*/ 480448 h 6523037"/>
                <a:gd name="connsiteX3865" fmla="*/ 3435000 w 12192001"/>
                <a:gd name="connsiteY3865" fmla="*/ 474858 h 6523037"/>
                <a:gd name="connsiteX3866" fmla="*/ 3434301 w 12192001"/>
                <a:gd name="connsiteY3866" fmla="*/ 474858 h 6523037"/>
                <a:gd name="connsiteX3867" fmla="*/ 3168781 w 12192001"/>
                <a:gd name="connsiteY3867" fmla="*/ 210036 h 6523037"/>
                <a:gd name="connsiteX3868" fmla="*/ 1808336 w 12192001"/>
                <a:gd name="connsiteY3868" fmla="*/ 210036 h 6523037"/>
                <a:gd name="connsiteX3869" fmla="*/ 1810426 w 12192001"/>
                <a:gd name="connsiteY3869" fmla="*/ 212824 h 6523037"/>
                <a:gd name="connsiteX3870" fmla="*/ 1809733 w 12192001"/>
                <a:gd name="connsiteY3870" fmla="*/ 212132 h 6523037"/>
                <a:gd name="connsiteX3871" fmla="*/ 1810432 w 12192001"/>
                <a:gd name="connsiteY3871" fmla="*/ 212831 h 6523037"/>
                <a:gd name="connsiteX3872" fmla="*/ 1810426 w 12192001"/>
                <a:gd name="connsiteY3872" fmla="*/ 212824 h 6523037"/>
                <a:gd name="connsiteX3873" fmla="*/ 2068965 w 12192001"/>
                <a:gd name="connsiteY3873" fmla="*/ 470666 h 6523037"/>
                <a:gd name="connsiteX3874" fmla="*/ 2078748 w 12192001"/>
                <a:gd name="connsiteY3874" fmla="*/ 479749 h 6523037"/>
                <a:gd name="connsiteX3875" fmla="*/ 2080844 w 12192001"/>
                <a:gd name="connsiteY3875" fmla="*/ 481845 h 6523037"/>
                <a:gd name="connsiteX3876" fmla="*/ 1816022 w 12192001"/>
                <a:gd name="connsiteY3876" fmla="*/ 751558 h 6523037"/>
                <a:gd name="connsiteX3877" fmla="*/ 2075254 w 12192001"/>
                <a:gd name="connsiteY3877" fmla="*/ 752257 h 6523037"/>
                <a:gd name="connsiteX3878" fmla="*/ 2344968 w 12192001"/>
                <a:gd name="connsiteY3878" fmla="*/ 481845 h 6523037"/>
                <a:gd name="connsiteX3879" fmla="*/ 2209412 w 12192001"/>
                <a:gd name="connsiteY3879" fmla="*/ 346988 h 6523037"/>
                <a:gd name="connsiteX3880" fmla="*/ 2192643 w 12192001"/>
                <a:gd name="connsiteY3880" fmla="*/ 330219 h 6523037"/>
                <a:gd name="connsiteX3881" fmla="*/ 2073158 w 12192001"/>
                <a:gd name="connsiteY3881" fmla="*/ 211433 h 6523037"/>
                <a:gd name="connsiteX3882" fmla="*/ 2068965 w 12192001"/>
                <a:gd name="connsiteY3882" fmla="*/ 210036 h 6523037"/>
                <a:gd name="connsiteX3883" fmla="*/ 1258428 w 12192001"/>
                <a:gd name="connsiteY3883" fmla="*/ 210036 h 6523037"/>
                <a:gd name="connsiteX3884" fmla="*/ 1529539 w 12192001"/>
                <a:gd name="connsiteY3884" fmla="*/ 480448 h 6523037"/>
                <a:gd name="connsiteX3885" fmla="*/ 1259127 w 12192001"/>
                <a:gd name="connsiteY3885" fmla="*/ 751558 h 6523037"/>
                <a:gd name="connsiteX3886" fmla="*/ 1523250 w 12192001"/>
                <a:gd name="connsiteY3886" fmla="*/ 751558 h 6523037"/>
                <a:gd name="connsiteX3887" fmla="*/ 1793662 w 12192001"/>
                <a:gd name="connsiteY3887" fmla="*/ 480448 h 6523037"/>
                <a:gd name="connsiteX3888" fmla="*/ 1522551 w 12192001"/>
                <a:gd name="connsiteY3888" fmla="*/ 210036 h 6523037"/>
                <a:gd name="connsiteX3889" fmla="*/ 2621668 w 12192001"/>
                <a:gd name="connsiteY3889" fmla="*/ 208638 h 6523037"/>
                <a:gd name="connsiteX3890" fmla="*/ 2358243 w 12192001"/>
                <a:gd name="connsiteY3890" fmla="*/ 209337 h 6523037"/>
                <a:gd name="connsiteX3891" fmla="*/ 2627259 w 12192001"/>
                <a:gd name="connsiteY3891" fmla="*/ 477653 h 6523037"/>
                <a:gd name="connsiteX3892" fmla="*/ 2626560 w 12192001"/>
                <a:gd name="connsiteY3892" fmla="*/ 478352 h 6523037"/>
                <a:gd name="connsiteX3893" fmla="*/ 2627957 w 12192001"/>
                <a:gd name="connsiteY3893" fmla="*/ 479749 h 6523037"/>
                <a:gd name="connsiteX3894" fmla="*/ 2357544 w 12192001"/>
                <a:gd name="connsiteY3894" fmla="*/ 750860 h 6523037"/>
                <a:gd name="connsiteX3895" fmla="*/ 2621668 w 12192001"/>
                <a:gd name="connsiteY3895" fmla="*/ 750860 h 6523037"/>
                <a:gd name="connsiteX3896" fmla="*/ 2711805 w 12192001"/>
                <a:gd name="connsiteY3896" fmla="*/ 660723 h 6523037"/>
                <a:gd name="connsiteX3897" fmla="*/ 2891382 w 12192001"/>
                <a:gd name="connsiteY3897" fmla="*/ 477653 h 6523037"/>
                <a:gd name="connsiteX3898" fmla="*/ 4550188 w 12192001"/>
                <a:gd name="connsiteY3898" fmla="*/ 207940 h 6523037"/>
                <a:gd name="connsiteX3899" fmla="*/ 4817219 w 12192001"/>
                <a:gd name="connsiteY3899" fmla="*/ 474283 h 6523037"/>
                <a:gd name="connsiteX3900" fmla="*/ 5079348 w 12192001"/>
                <a:gd name="connsiteY3900" fmla="*/ 473590 h 6523037"/>
                <a:gd name="connsiteX3901" fmla="*/ 4813011 w 12192001"/>
                <a:gd name="connsiteY3901" fmla="*/ 207940 h 6523037"/>
                <a:gd name="connsiteX3902" fmla="*/ 4001678 w 12192001"/>
                <a:gd name="connsiteY3902" fmla="*/ 207940 h 6523037"/>
                <a:gd name="connsiteX3903" fmla="*/ 4131644 w 12192001"/>
                <a:gd name="connsiteY3903" fmla="*/ 337206 h 6523037"/>
                <a:gd name="connsiteX3904" fmla="*/ 4272090 w 12192001"/>
                <a:gd name="connsiteY3904" fmla="*/ 477653 h 6523037"/>
                <a:gd name="connsiteX3905" fmla="*/ 4179158 w 12192001"/>
                <a:gd name="connsiteY3905" fmla="*/ 571284 h 6523037"/>
                <a:gd name="connsiteX3906" fmla="*/ 4179856 w 12192001"/>
                <a:gd name="connsiteY3906" fmla="*/ 571983 h 6523037"/>
                <a:gd name="connsiteX3907" fmla="*/ 4003075 w 12192001"/>
                <a:gd name="connsiteY3907" fmla="*/ 749462 h 6523037"/>
                <a:gd name="connsiteX3908" fmla="*/ 4265801 w 12192001"/>
                <a:gd name="connsiteY3908" fmla="*/ 749462 h 6523037"/>
                <a:gd name="connsiteX3909" fmla="*/ 4536213 w 12192001"/>
                <a:gd name="connsiteY3909" fmla="*/ 478352 h 6523037"/>
                <a:gd name="connsiteX3910" fmla="*/ 4265103 w 12192001"/>
                <a:gd name="connsiteY3910" fmla="*/ 207940 h 6523037"/>
                <a:gd name="connsiteX3911" fmla="*/ 3453167 w 12192001"/>
                <a:gd name="connsiteY3911" fmla="*/ 207940 h 6523037"/>
                <a:gd name="connsiteX3912" fmla="*/ 3724278 w 12192001"/>
                <a:gd name="connsiteY3912" fmla="*/ 478352 h 6523037"/>
                <a:gd name="connsiteX3913" fmla="*/ 3724977 w 12192001"/>
                <a:gd name="connsiteY3913" fmla="*/ 479050 h 6523037"/>
                <a:gd name="connsiteX3914" fmla="*/ 3454565 w 12192001"/>
                <a:gd name="connsiteY3914" fmla="*/ 750161 h 6523037"/>
                <a:gd name="connsiteX3915" fmla="*/ 3718688 w 12192001"/>
                <a:gd name="connsiteY3915" fmla="*/ 750161 h 6523037"/>
                <a:gd name="connsiteX3916" fmla="*/ 3808127 w 12192001"/>
                <a:gd name="connsiteY3916" fmla="*/ 660024 h 6523037"/>
                <a:gd name="connsiteX3917" fmla="*/ 3807428 w 12192001"/>
                <a:gd name="connsiteY3917" fmla="*/ 660024 h 6523037"/>
                <a:gd name="connsiteX3918" fmla="*/ 3988403 w 12192001"/>
                <a:gd name="connsiteY3918" fmla="*/ 479050 h 6523037"/>
                <a:gd name="connsiteX3919" fmla="*/ 3983511 w 12192001"/>
                <a:gd name="connsiteY3919" fmla="*/ 473460 h 6523037"/>
                <a:gd name="connsiteX3920" fmla="*/ 3717291 w 12192001"/>
                <a:gd name="connsiteY3920" fmla="*/ 207940 h 6523037"/>
                <a:gd name="connsiteX3921" fmla="*/ 4823396 w 12192001"/>
                <a:gd name="connsiteY3921" fmla="*/ 206671 h 6523037"/>
                <a:gd name="connsiteX3922" fmla="*/ 4823396 w 12192001"/>
                <a:gd name="connsiteY3922" fmla="*/ 208549 h 6523037"/>
                <a:gd name="connsiteX3923" fmla="*/ 5092624 w 12192001"/>
                <a:gd name="connsiteY3923" fmla="*/ 477083 h 6523037"/>
                <a:gd name="connsiteX3924" fmla="*/ 5089830 w 12192001"/>
                <a:gd name="connsiteY3924" fmla="*/ 479879 h 6523037"/>
                <a:gd name="connsiteX3925" fmla="*/ 4999692 w 12192001"/>
                <a:gd name="connsiteY3925" fmla="*/ 570714 h 6523037"/>
                <a:gd name="connsiteX3926" fmla="*/ 4823396 w 12192001"/>
                <a:gd name="connsiteY3926" fmla="*/ 746316 h 6523037"/>
                <a:gd name="connsiteX3927" fmla="*/ 4823396 w 12192001"/>
                <a:gd name="connsiteY3927" fmla="*/ 747495 h 6523037"/>
                <a:gd name="connsiteX3928" fmla="*/ 5086337 w 12192001"/>
                <a:gd name="connsiteY3928" fmla="*/ 747495 h 6523037"/>
                <a:gd name="connsiteX3929" fmla="*/ 5175775 w 12192001"/>
                <a:gd name="connsiteY3929" fmla="*/ 658057 h 6523037"/>
                <a:gd name="connsiteX3930" fmla="*/ 5356748 w 12192001"/>
                <a:gd name="connsiteY3930" fmla="*/ 477083 h 6523037"/>
                <a:gd name="connsiteX3931" fmla="*/ 5085637 w 12192001"/>
                <a:gd name="connsiteY3931" fmla="*/ 206671 h 6523037"/>
                <a:gd name="connsiteX3932" fmla="*/ 5370723 w 12192001"/>
                <a:gd name="connsiteY3932" fmla="*/ 205973 h 6523037"/>
                <a:gd name="connsiteX3933" fmla="*/ 5500688 w 12192001"/>
                <a:gd name="connsiteY3933" fmla="*/ 335938 h 6523037"/>
                <a:gd name="connsiteX3934" fmla="*/ 5641135 w 12192001"/>
                <a:gd name="connsiteY3934" fmla="*/ 475686 h 6523037"/>
                <a:gd name="connsiteX3935" fmla="*/ 5370723 w 12192001"/>
                <a:gd name="connsiteY3935" fmla="*/ 746796 h 6523037"/>
                <a:gd name="connsiteX3936" fmla="*/ 5634846 w 12192001"/>
                <a:gd name="connsiteY3936" fmla="*/ 746796 h 6523037"/>
                <a:gd name="connsiteX3937" fmla="*/ 5905958 w 12192001"/>
                <a:gd name="connsiteY3937" fmla="*/ 476384 h 6523037"/>
                <a:gd name="connsiteX3938" fmla="*/ 5634846 w 12192001"/>
                <a:gd name="connsiteY3938" fmla="*/ 205973 h 6523037"/>
                <a:gd name="connsiteX3939" fmla="*/ 7566161 w 12192001"/>
                <a:gd name="connsiteY3939" fmla="*/ 205274 h 6523037"/>
                <a:gd name="connsiteX3940" fmla="*/ 7695428 w 12192001"/>
                <a:gd name="connsiteY3940" fmla="*/ 333143 h 6523037"/>
                <a:gd name="connsiteX3941" fmla="*/ 7695428 w 12192001"/>
                <a:gd name="connsiteY3941" fmla="*/ 333842 h 6523037"/>
                <a:gd name="connsiteX3942" fmla="*/ 7837272 w 12192001"/>
                <a:gd name="connsiteY3942" fmla="*/ 475686 h 6523037"/>
                <a:gd name="connsiteX3943" fmla="*/ 7566860 w 12192001"/>
                <a:gd name="connsiteY3943" fmla="*/ 746796 h 6523037"/>
                <a:gd name="connsiteX3944" fmla="*/ 7830284 w 12192001"/>
                <a:gd name="connsiteY3944" fmla="*/ 746796 h 6523037"/>
                <a:gd name="connsiteX3945" fmla="*/ 8100696 w 12192001"/>
                <a:gd name="connsiteY3945" fmla="*/ 475686 h 6523037"/>
                <a:gd name="connsiteX3946" fmla="*/ 8095106 w 12192001"/>
                <a:gd name="connsiteY3946" fmla="*/ 470096 h 6523037"/>
                <a:gd name="connsiteX3947" fmla="*/ 8094407 w 12192001"/>
                <a:gd name="connsiteY3947" fmla="*/ 470096 h 6523037"/>
                <a:gd name="connsiteX3948" fmla="*/ 7828887 w 12192001"/>
                <a:gd name="connsiteY3948" fmla="*/ 205274 h 6523037"/>
                <a:gd name="connsiteX3949" fmla="*/ 6468443 w 12192001"/>
                <a:gd name="connsiteY3949" fmla="*/ 205274 h 6523037"/>
                <a:gd name="connsiteX3950" fmla="*/ 6470532 w 12192001"/>
                <a:gd name="connsiteY3950" fmla="*/ 208062 h 6523037"/>
                <a:gd name="connsiteX3951" fmla="*/ 6469839 w 12192001"/>
                <a:gd name="connsiteY3951" fmla="*/ 207370 h 6523037"/>
                <a:gd name="connsiteX3952" fmla="*/ 6470538 w 12192001"/>
                <a:gd name="connsiteY3952" fmla="*/ 208069 h 6523037"/>
                <a:gd name="connsiteX3953" fmla="*/ 6470532 w 12192001"/>
                <a:gd name="connsiteY3953" fmla="*/ 208062 h 6523037"/>
                <a:gd name="connsiteX3954" fmla="*/ 6729071 w 12192001"/>
                <a:gd name="connsiteY3954" fmla="*/ 465904 h 6523037"/>
                <a:gd name="connsiteX3955" fmla="*/ 6738854 w 12192001"/>
                <a:gd name="connsiteY3955" fmla="*/ 474987 h 6523037"/>
                <a:gd name="connsiteX3956" fmla="*/ 6740950 w 12192001"/>
                <a:gd name="connsiteY3956" fmla="*/ 477083 h 6523037"/>
                <a:gd name="connsiteX3957" fmla="*/ 6476128 w 12192001"/>
                <a:gd name="connsiteY3957" fmla="*/ 746796 h 6523037"/>
                <a:gd name="connsiteX3958" fmla="*/ 6735361 w 12192001"/>
                <a:gd name="connsiteY3958" fmla="*/ 747495 h 6523037"/>
                <a:gd name="connsiteX3959" fmla="*/ 7005075 w 12192001"/>
                <a:gd name="connsiteY3959" fmla="*/ 477083 h 6523037"/>
                <a:gd name="connsiteX3960" fmla="*/ 6869518 w 12192001"/>
                <a:gd name="connsiteY3960" fmla="*/ 342226 h 6523037"/>
                <a:gd name="connsiteX3961" fmla="*/ 6852749 w 12192001"/>
                <a:gd name="connsiteY3961" fmla="*/ 325457 h 6523037"/>
                <a:gd name="connsiteX3962" fmla="*/ 6733264 w 12192001"/>
                <a:gd name="connsiteY3962" fmla="*/ 206671 h 6523037"/>
                <a:gd name="connsiteX3963" fmla="*/ 6729071 w 12192001"/>
                <a:gd name="connsiteY3963" fmla="*/ 205274 h 6523037"/>
                <a:gd name="connsiteX3964" fmla="*/ 5918534 w 12192001"/>
                <a:gd name="connsiteY3964" fmla="*/ 205274 h 6523037"/>
                <a:gd name="connsiteX3965" fmla="*/ 6189645 w 12192001"/>
                <a:gd name="connsiteY3965" fmla="*/ 475686 h 6523037"/>
                <a:gd name="connsiteX3966" fmla="*/ 5919233 w 12192001"/>
                <a:gd name="connsiteY3966" fmla="*/ 746796 h 6523037"/>
                <a:gd name="connsiteX3967" fmla="*/ 6183356 w 12192001"/>
                <a:gd name="connsiteY3967" fmla="*/ 746796 h 6523037"/>
                <a:gd name="connsiteX3968" fmla="*/ 6453768 w 12192001"/>
                <a:gd name="connsiteY3968" fmla="*/ 475686 h 6523037"/>
                <a:gd name="connsiteX3969" fmla="*/ 6182657 w 12192001"/>
                <a:gd name="connsiteY3969" fmla="*/ 205274 h 6523037"/>
                <a:gd name="connsiteX3970" fmla="*/ 7281774 w 12192001"/>
                <a:gd name="connsiteY3970" fmla="*/ 203876 h 6523037"/>
                <a:gd name="connsiteX3971" fmla="*/ 7018349 w 12192001"/>
                <a:gd name="connsiteY3971" fmla="*/ 204575 h 6523037"/>
                <a:gd name="connsiteX3972" fmla="*/ 7287365 w 12192001"/>
                <a:gd name="connsiteY3972" fmla="*/ 472891 h 6523037"/>
                <a:gd name="connsiteX3973" fmla="*/ 7286666 w 12192001"/>
                <a:gd name="connsiteY3973" fmla="*/ 473590 h 6523037"/>
                <a:gd name="connsiteX3974" fmla="*/ 7288063 w 12192001"/>
                <a:gd name="connsiteY3974" fmla="*/ 474987 h 6523037"/>
                <a:gd name="connsiteX3975" fmla="*/ 7017651 w 12192001"/>
                <a:gd name="connsiteY3975" fmla="*/ 746098 h 6523037"/>
                <a:gd name="connsiteX3976" fmla="*/ 7281774 w 12192001"/>
                <a:gd name="connsiteY3976" fmla="*/ 746098 h 6523037"/>
                <a:gd name="connsiteX3977" fmla="*/ 7371911 w 12192001"/>
                <a:gd name="connsiteY3977" fmla="*/ 655961 h 6523037"/>
                <a:gd name="connsiteX3978" fmla="*/ 7551488 w 12192001"/>
                <a:gd name="connsiteY3978" fmla="*/ 472891 h 6523037"/>
                <a:gd name="connsiteX3979" fmla="*/ 9483502 w 12192001"/>
                <a:gd name="connsiteY3979" fmla="*/ 203496 h 6523037"/>
                <a:gd name="connsiteX3980" fmla="*/ 9483502 w 12192001"/>
                <a:gd name="connsiteY3980" fmla="*/ 205064 h 6523037"/>
                <a:gd name="connsiteX3981" fmla="*/ 9753041 w 12192001"/>
                <a:gd name="connsiteY3981" fmla="*/ 473908 h 6523037"/>
                <a:gd name="connsiteX3982" fmla="*/ 9750247 w 12192001"/>
                <a:gd name="connsiteY3982" fmla="*/ 476704 h 6523037"/>
                <a:gd name="connsiteX3983" fmla="*/ 9660109 w 12192001"/>
                <a:gd name="connsiteY3983" fmla="*/ 567539 h 6523037"/>
                <a:gd name="connsiteX3984" fmla="*/ 9483502 w 12192001"/>
                <a:gd name="connsiteY3984" fmla="*/ 743451 h 6523037"/>
                <a:gd name="connsiteX3985" fmla="*/ 9483502 w 12192001"/>
                <a:gd name="connsiteY3985" fmla="*/ 744320 h 6523037"/>
                <a:gd name="connsiteX3986" fmla="*/ 9746753 w 12192001"/>
                <a:gd name="connsiteY3986" fmla="*/ 744320 h 6523037"/>
                <a:gd name="connsiteX3987" fmla="*/ 9836191 w 12192001"/>
                <a:gd name="connsiteY3987" fmla="*/ 654882 h 6523037"/>
                <a:gd name="connsiteX3988" fmla="*/ 10017165 w 12192001"/>
                <a:gd name="connsiteY3988" fmla="*/ 473908 h 6523037"/>
                <a:gd name="connsiteX3989" fmla="*/ 9746054 w 12192001"/>
                <a:gd name="connsiteY3989" fmla="*/ 203496 h 6523037"/>
                <a:gd name="connsiteX3990" fmla="*/ 9210294 w 12192001"/>
                <a:gd name="connsiteY3990" fmla="*/ 203178 h 6523037"/>
                <a:gd name="connsiteX3991" fmla="*/ 9478913 w 12192001"/>
                <a:gd name="connsiteY3991" fmla="*/ 471105 h 6523037"/>
                <a:gd name="connsiteX3992" fmla="*/ 9739765 w 12192001"/>
                <a:gd name="connsiteY3992" fmla="*/ 470415 h 6523037"/>
                <a:gd name="connsiteX3993" fmla="*/ 9471837 w 12192001"/>
                <a:gd name="connsiteY3993" fmla="*/ 203178 h 6523037"/>
                <a:gd name="connsiteX3994" fmla="*/ 8661784 w 12192001"/>
                <a:gd name="connsiteY3994" fmla="*/ 203178 h 6523037"/>
                <a:gd name="connsiteX3995" fmla="*/ 8791750 w 12192001"/>
                <a:gd name="connsiteY3995" fmla="*/ 332444 h 6523037"/>
                <a:gd name="connsiteX3996" fmla="*/ 8932196 w 12192001"/>
                <a:gd name="connsiteY3996" fmla="*/ 472891 h 6523037"/>
                <a:gd name="connsiteX3997" fmla="*/ 8839264 w 12192001"/>
                <a:gd name="connsiteY3997" fmla="*/ 566522 h 6523037"/>
                <a:gd name="connsiteX3998" fmla="*/ 8839962 w 12192001"/>
                <a:gd name="connsiteY3998" fmla="*/ 567221 h 6523037"/>
                <a:gd name="connsiteX3999" fmla="*/ 8663181 w 12192001"/>
                <a:gd name="connsiteY3999" fmla="*/ 744700 h 6523037"/>
                <a:gd name="connsiteX4000" fmla="*/ 8925907 w 12192001"/>
                <a:gd name="connsiteY4000" fmla="*/ 744700 h 6523037"/>
                <a:gd name="connsiteX4001" fmla="*/ 9196319 w 12192001"/>
                <a:gd name="connsiteY4001" fmla="*/ 473590 h 6523037"/>
                <a:gd name="connsiteX4002" fmla="*/ 8925208 w 12192001"/>
                <a:gd name="connsiteY4002" fmla="*/ 203178 h 6523037"/>
                <a:gd name="connsiteX4003" fmla="*/ 8113273 w 12192001"/>
                <a:gd name="connsiteY4003" fmla="*/ 203178 h 6523037"/>
                <a:gd name="connsiteX4004" fmla="*/ 8384384 w 12192001"/>
                <a:gd name="connsiteY4004" fmla="*/ 473590 h 6523037"/>
                <a:gd name="connsiteX4005" fmla="*/ 8385083 w 12192001"/>
                <a:gd name="connsiteY4005" fmla="*/ 474288 h 6523037"/>
                <a:gd name="connsiteX4006" fmla="*/ 8114671 w 12192001"/>
                <a:gd name="connsiteY4006" fmla="*/ 745399 h 6523037"/>
                <a:gd name="connsiteX4007" fmla="*/ 8378794 w 12192001"/>
                <a:gd name="connsiteY4007" fmla="*/ 745399 h 6523037"/>
                <a:gd name="connsiteX4008" fmla="*/ 8468233 w 12192001"/>
                <a:gd name="connsiteY4008" fmla="*/ 655262 h 6523037"/>
                <a:gd name="connsiteX4009" fmla="*/ 8467534 w 12192001"/>
                <a:gd name="connsiteY4009" fmla="*/ 655262 h 6523037"/>
                <a:gd name="connsiteX4010" fmla="*/ 8648509 w 12192001"/>
                <a:gd name="connsiteY4010" fmla="*/ 474288 h 6523037"/>
                <a:gd name="connsiteX4011" fmla="*/ 8643617 w 12192001"/>
                <a:gd name="connsiteY4011" fmla="*/ 468698 h 6523037"/>
                <a:gd name="connsiteX4012" fmla="*/ 8377397 w 12192001"/>
                <a:gd name="connsiteY4012" fmla="*/ 203178 h 6523037"/>
                <a:gd name="connsiteX4013" fmla="*/ 10031140 w 12192001"/>
                <a:gd name="connsiteY4013" fmla="*/ 202798 h 6523037"/>
                <a:gd name="connsiteX4014" fmla="*/ 10161105 w 12192001"/>
                <a:gd name="connsiteY4014" fmla="*/ 332763 h 6523037"/>
                <a:gd name="connsiteX4015" fmla="*/ 10301552 w 12192001"/>
                <a:gd name="connsiteY4015" fmla="*/ 472511 h 6523037"/>
                <a:gd name="connsiteX4016" fmla="*/ 10031140 w 12192001"/>
                <a:gd name="connsiteY4016" fmla="*/ 743621 h 6523037"/>
                <a:gd name="connsiteX4017" fmla="*/ 10295263 w 12192001"/>
                <a:gd name="connsiteY4017" fmla="*/ 743621 h 6523037"/>
                <a:gd name="connsiteX4018" fmla="*/ 10566374 w 12192001"/>
                <a:gd name="connsiteY4018" fmla="*/ 473209 h 6523037"/>
                <a:gd name="connsiteX4019" fmla="*/ 10295263 w 12192001"/>
                <a:gd name="connsiteY4019" fmla="*/ 202798 h 6523037"/>
                <a:gd name="connsiteX4020" fmla="*/ 11128859 w 12192001"/>
                <a:gd name="connsiteY4020" fmla="*/ 202099 h 6523037"/>
                <a:gd name="connsiteX4021" fmla="*/ 11130949 w 12192001"/>
                <a:gd name="connsiteY4021" fmla="*/ 204887 h 6523037"/>
                <a:gd name="connsiteX4022" fmla="*/ 11130256 w 12192001"/>
                <a:gd name="connsiteY4022" fmla="*/ 204195 h 6523037"/>
                <a:gd name="connsiteX4023" fmla="*/ 11130955 w 12192001"/>
                <a:gd name="connsiteY4023" fmla="*/ 204894 h 6523037"/>
                <a:gd name="connsiteX4024" fmla="*/ 11130949 w 12192001"/>
                <a:gd name="connsiteY4024" fmla="*/ 204887 h 6523037"/>
                <a:gd name="connsiteX4025" fmla="*/ 11389488 w 12192001"/>
                <a:gd name="connsiteY4025" fmla="*/ 462729 h 6523037"/>
                <a:gd name="connsiteX4026" fmla="*/ 11399271 w 12192001"/>
                <a:gd name="connsiteY4026" fmla="*/ 471812 h 6523037"/>
                <a:gd name="connsiteX4027" fmla="*/ 11401367 w 12192001"/>
                <a:gd name="connsiteY4027" fmla="*/ 473908 h 6523037"/>
                <a:gd name="connsiteX4028" fmla="*/ 11136545 w 12192001"/>
                <a:gd name="connsiteY4028" fmla="*/ 743621 h 6523037"/>
                <a:gd name="connsiteX4029" fmla="*/ 11395777 w 12192001"/>
                <a:gd name="connsiteY4029" fmla="*/ 744320 h 6523037"/>
                <a:gd name="connsiteX4030" fmla="*/ 11665491 w 12192001"/>
                <a:gd name="connsiteY4030" fmla="*/ 473908 h 6523037"/>
                <a:gd name="connsiteX4031" fmla="*/ 11529935 w 12192001"/>
                <a:gd name="connsiteY4031" fmla="*/ 339051 h 6523037"/>
                <a:gd name="connsiteX4032" fmla="*/ 11513166 w 12192001"/>
                <a:gd name="connsiteY4032" fmla="*/ 322282 h 6523037"/>
                <a:gd name="connsiteX4033" fmla="*/ 11393681 w 12192001"/>
                <a:gd name="connsiteY4033" fmla="*/ 203496 h 6523037"/>
                <a:gd name="connsiteX4034" fmla="*/ 11389488 w 12192001"/>
                <a:gd name="connsiteY4034" fmla="*/ 202099 h 6523037"/>
                <a:gd name="connsiteX4035" fmla="*/ 10578951 w 12192001"/>
                <a:gd name="connsiteY4035" fmla="*/ 202099 h 6523037"/>
                <a:gd name="connsiteX4036" fmla="*/ 10850062 w 12192001"/>
                <a:gd name="connsiteY4036" fmla="*/ 472511 h 6523037"/>
                <a:gd name="connsiteX4037" fmla="*/ 10579650 w 12192001"/>
                <a:gd name="connsiteY4037" fmla="*/ 743621 h 6523037"/>
                <a:gd name="connsiteX4038" fmla="*/ 10843773 w 12192001"/>
                <a:gd name="connsiteY4038" fmla="*/ 743621 h 6523037"/>
                <a:gd name="connsiteX4039" fmla="*/ 11114185 w 12192001"/>
                <a:gd name="connsiteY4039" fmla="*/ 472511 h 6523037"/>
                <a:gd name="connsiteX4040" fmla="*/ 10843074 w 12192001"/>
                <a:gd name="connsiteY4040" fmla="*/ 202099 h 6523037"/>
                <a:gd name="connsiteX4041" fmla="*/ 73183 w 12192001"/>
                <a:gd name="connsiteY4041" fmla="*/ 7937 h 6523037"/>
                <a:gd name="connsiteX4042" fmla="*/ 84011 w 12192001"/>
                <a:gd name="connsiteY4042" fmla="*/ 7937 h 6523037"/>
                <a:gd name="connsiteX4043" fmla="*/ 0 w 12192001"/>
                <a:gd name="connsiteY4043" fmla="*/ 91948 h 6523037"/>
                <a:gd name="connsiteX4044" fmla="*/ 0 w 12192001"/>
                <a:gd name="connsiteY4044" fmla="*/ 81467 h 6523037"/>
                <a:gd name="connsiteX4045" fmla="*/ 9393706 w 12192001"/>
                <a:gd name="connsiteY4045" fmla="*/ 0 h 6523037"/>
                <a:gd name="connsiteX4046" fmla="*/ 9404534 w 12192001"/>
                <a:gd name="connsiteY4046" fmla="*/ 0 h 6523037"/>
                <a:gd name="connsiteX4047" fmla="*/ 9401359 w 12192001"/>
                <a:gd name="connsiteY4047" fmla="*/ 3175 h 6523037"/>
                <a:gd name="connsiteX4048" fmla="*/ 9401912 w 12192001"/>
                <a:gd name="connsiteY4048" fmla="*/ 3175 h 6523037"/>
                <a:gd name="connsiteX4049" fmla="*/ 9209595 w 12192001"/>
                <a:gd name="connsiteY4049" fmla="*/ 195492 h 6523037"/>
                <a:gd name="connsiteX4050" fmla="*/ 9473165 w 12192001"/>
                <a:gd name="connsiteY4050" fmla="*/ 195492 h 6523037"/>
                <a:gd name="connsiteX4051" fmla="*/ 9668657 w 12192001"/>
                <a:gd name="connsiteY4051" fmla="*/ 0 h 6523037"/>
                <a:gd name="connsiteX4052" fmla="*/ 9679138 w 12192001"/>
                <a:gd name="connsiteY4052" fmla="*/ 0 h 6523037"/>
                <a:gd name="connsiteX4053" fmla="*/ 9483502 w 12192001"/>
                <a:gd name="connsiteY4053" fmla="*/ 195636 h 6523037"/>
                <a:gd name="connsiteX4054" fmla="*/ 9483502 w 12192001"/>
                <a:gd name="connsiteY4054" fmla="*/ 196191 h 6523037"/>
                <a:gd name="connsiteX4055" fmla="*/ 9483184 w 12192001"/>
                <a:gd name="connsiteY4055" fmla="*/ 196509 h 6523037"/>
                <a:gd name="connsiteX4056" fmla="*/ 9746753 w 12192001"/>
                <a:gd name="connsiteY4056" fmla="*/ 196509 h 6523037"/>
                <a:gd name="connsiteX4057" fmla="*/ 9942755 w 12192001"/>
                <a:gd name="connsiteY4057" fmla="*/ 0 h 6523037"/>
                <a:gd name="connsiteX4058" fmla="*/ 9952529 w 12192001"/>
                <a:gd name="connsiteY4058" fmla="*/ 0 h 6523037"/>
                <a:gd name="connsiteX4059" fmla="*/ 9753041 w 12192001"/>
                <a:gd name="connsiteY4059" fmla="*/ 200003 h 6523037"/>
                <a:gd name="connsiteX4060" fmla="*/ 10024851 w 12192001"/>
                <a:gd name="connsiteY4060" fmla="*/ 470415 h 6523037"/>
                <a:gd name="connsiteX4061" fmla="*/ 10288275 w 12192001"/>
                <a:gd name="connsiteY4061" fmla="*/ 470415 h 6523037"/>
                <a:gd name="connsiteX4062" fmla="*/ 10157612 w 12192001"/>
                <a:gd name="connsiteY4062" fmla="*/ 340449 h 6523037"/>
                <a:gd name="connsiteX4063" fmla="*/ 10017165 w 12192001"/>
                <a:gd name="connsiteY4063" fmla="*/ 200003 h 6523037"/>
                <a:gd name="connsiteX4064" fmla="*/ 10216652 w 12192001"/>
                <a:gd name="connsiteY4064" fmla="*/ 0 h 6523037"/>
                <a:gd name="connsiteX4065" fmla="*/ 10227841 w 12192001"/>
                <a:gd name="connsiteY4065" fmla="*/ 0 h 6523037"/>
                <a:gd name="connsiteX4066" fmla="*/ 10031839 w 12192001"/>
                <a:gd name="connsiteY4066" fmla="*/ 196509 h 6523037"/>
                <a:gd name="connsiteX4067" fmla="*/ 10295263 w 12192001"/>
                <a:gd name="connsiteY4067" fmla="*/ 196509 h 6523037"/>
                <a:gd name="connsiteX4068" fmla="*/ 10491265 w 12192001"/>
                <a:gd name="connsiteY4068" fmla="*/ 0 h 6523037"/>
                <a:gd name="connsiteX4069" fmla="*/ 10500342 w 12192001"/>
                <a:gd name="connsiteY4069" fmla="*/ 0 h 6523037"/>
                <a:gd name="connsiteX4070" fmla="*/ 10301552 w 12192001"/>
                <a:gd name="connsiteY4070" fmla="*/ 199304 h 6523037"/>
                <a:gd name="connsiteX4071" fmla="*/ 10572663 w 12192001"/>
                <a:gd name="connsiteY4071" fmla="*/ 469716 h 6523037"/>
                <a:gd name="connsiteX4072" fmla="*/ 10836786 w 12192001"/>
                <a:gd name="connsiteY4072" fmla="*/ 469716 h 6523037"/>
                <a:gd name="connsiteX4073" fmla="*/ 10565675 w 12192001"/>
                <a:gd name="connsiteY4073" fmla="*/ 199304 h 6523037"/>
                <a:gd name="connsiteX4074" fmla="*/ 10764465 w 12192001"/>
                <a:gd name="connsiteY4074" fmla="*/ 0 h 6523037"/>
                <a:gd name="connsiteX4075" fmla="*/ 10773933 w 12192001"/>
                <a:gd name="connsiteY4075" fmla="*/ 0 h 6523037"/>
                <a:gd name="connsiteX4076" fmla="*/ 10757130 w 12192001"/>
                <a:gd name="connsiteY4076" fmla="*/ 16933 h 6523037"/>
                <a:gd name="connsiteX4077" fmla="*/ 10756431 w 12192001"/>
                <a:gd name="connsiteY4077" fmla="*/ 16933 h 6523037"/>
                <a:gd name="connsiteX4078" fmla="*/ 10578951 w 12192001"/>
                <a:gd name="connsiteY4078" fmla="*/ 195111 h 6523037"/>
                <a:gd name="connsiteX4079" fmla="*/ 10843074 w 12192001"/>
                <a:gd name="connsiteY4079" fmla="*/ 195111 h 6523037"/>
                <a:gd name="connsiteX4080" fmla="*/ 11038186 w 12192001"/>
                <a:gd name="connsiteY4080" fmla="*/ 0 h 6523037"/>
                <a:gd name="connsiteX4081" fmla="*/ 11048947 w 12192001"/>
                <a:gd name="connsiteY4081" fmla="*/ 0 h 6523037"/>
                <a:gd name="connsiteX4082" fmla="*/ 10940899 w 12192001"/>
                <a:gd name="connsiteY4082" fmla="*/ 108468 h 6523037"/>
                <a:gd name="connsiteX4083" fmla="*/ 10940200 w 12192001"/>
                <a:gd name="connsiteY4083" fmla="*/ 108468 h 6523037"/>
                <a:gd name="connsiteX4084" fmla="*/ 10850062 w 12192001"/>
                <a:gd name="connsiteY4084" fmla="*/ 198605 h 6523037"/>
                <a:gd name="connsiteX4085" fmla="*/ 11120474 w 12192001"/>
                <a:gd name="connsiteY4085" fmla="*/ 469716 h 6523037"/>
                <a:gd name="connsiteX4086" fmla="*/ 11384597 w 12192001"/>
                <a:gd name="connsiteY4086" fmla="*/ 469716 h 6523037"/>
                <a:gd name="connsiteX4087" fmla="*/ 11113487 w 12192001"/>
                <a:gd name="connsiteY4087" fmla="*/ 199304 h 6523037"/>
                <a:gd name="connsiteX4088" fmla="*/ 11297954 w 12192001"/>
                <a:gd name="connsiteY4088" fmla="*/ 14837 h 6523037"/>
                <a:gd name="connsiteX4089" fmla="*/ 11298653 w 12192001"/>
                <a:gd name="connsiteY4089" fmla="*/ 14837 h 6523037"/>
                <a:gd name="connsiteX4090" fmla="*/ 11313370 w 12192001"/>
                <a:gd name="connsiteY4090" fmla="*/ 0 h 6523037"/>
                <a:gd name="connsiteX4091" fmla="*/ 11322770 w 12192001"/>
                <a:gd name="connsiteY4091" fmla="*/ 0 h 6523037"/>
                <a:gd name="connsiteX4092" fmla="*/ 11128859 w 12192001"/>
                <a:gd name="connsiteY4092" fmla="*/ 194412 h 6523037"/>
                <a:gd name="connsiteX4093" fmla="*/ 11392284 w 12192001"/>
                <a:gd name="connsiteY4093" fmla="*/ 194412 h 6523037"/>
                <a:gd name="connsiteX4094" fmla="*/ 11586696 w 12192001"/>
                <a:gd name="connsiteY4094" fmla="*/ 0 h 6523037"/>
                <a:gd name="connsiteX4095" fmla="*/ 11598062 w 12192001"/>
                <a:gd name="connsiteY4095" fmla="*/ 0 h 6523037"/>
                <a:gd name="connsiteX4096" fmla="*/ 11399271 w 12192001"/>
                <a:gd name="connsiteY4096" fmla="*/ 199304 h 6523037"/>
                <a:gd name="connsiteX4097" fmla="*/ 11668984 w 12192001"/>
                <a:gd name="connsiteY4097" fmla="*/ 468319 h 6523037"/>
                <a:gd name="connsiteX4098" fmla="*/ 11932409 w 12192001"/>
                <a:gd name="connsiteY4098" fmla="*/ 468319 h 6523037"/>
                <a:gd name="connsiteX4099" fmla="*/ 11663395 w 12192001"/>
                <a:gd name="connsiteY4099" fmla="*/ 199304 h 6523037"/>
                <a:gd name="connsiteX4100" fmla="*/ 11664093 w 12192001"/>
                <a:gd name="connsiteY4100" fmla="*/ 198605 h 6523037"/>
                <a:gd name="connsiteX4101" fmla="*/ 11662696 w 12192001"/>
                <a:gd name="connsiteY4101" fmla="*/ 197208 h 6523037"/>
                <a:gd name="connsiteX4102" fmla="*/ 11859391 w 12192001"/>
                <a:gd name="connsiteY4102" fmla="*/ 0 h 6523037"/>
                <a:gd name="connsiteX4103" fmla="*/ 11872675 w 12192001"/>
                <a:gd name="connsiteY4103" fmla="*/ 0 h 6523037"/>
                <a:gd name="connsiteX4104" fmla="*/ 11678766 w 12192001"/>
                <a:gd name="connsiteY4104" fmla="*/ 194412 h 6523037"/>
                <a:gd name="connsiteX4105" fmla="*/ 11940794 w 12192001"/>
                <a:gd name="connsiteY4105" fmla="*/ 194412 h 6523037"/>
                <a:gd name="connsiteX4106" fmla="*/ 12134704 w 12192001"/>
                <a:gd name="connsiteY4106" fmla="*/ 0 h 6523037"/>
                <a:gd name="connsiteX4107" fmla="*/ 12146063 w 12192001"/>
                <a:gd name="connsiteY4107" fmla="*/ 0 h 6523037"/>
                <a:gd name="connsiteX4108" fmla="*/ 11949178 w 12192001"/>
                <a:gd name="connsiteY4108" fmla="*/ 197906 h 6523037"/>
                <a:gd name="connsiteX4109" fmla="*/ 12192001 w 12192001"/>
                <a:gd name="connsiteY4109" fmla="*/ 440101 h 6523037"/>
                <a:gd name="connsiteX4110" fmla="*/ 12192001 w 12192001"/>
                <a:gd name="connsiteY4110" fmla="*/ 449864 h 6523037"/>
                <a:gd name="connsiteX4111" fmla="*/ 11942191 w 12192001"/>
                <a:gd name="connsiteY4111" fmla="*/ 200701 h 6523037"/>
                <a:gd name="connsiteX4112" fmla="*/ 11678766 w 12192001"/>
                <a:gd name="connsiteY4112" fmla="*/ 201400 h 6523037"/>
                <a:gd name="connsiteX4113" fmla="*/ 11947782 w 12192001"/>
                <a:gd name="connsiteY4113" fmla="*/ 469716 h 6523037"/>
                <a:gd name="connsiteX4114" fmla="*/ 11947083 w 12192001"/>
                <a:gd name="connsiteY4114" fmla="*/ 470415 h 6523037"/>
                <a:gd name="connsiteX4115" fmla="*/ 11948480 w 12192001"/>
                <a:gd name="connsiteY4115" fmla="*/ 471812 h 6523037"/>
                <a:gd name="connsiteX4116" fmla="*/ 11678067 w 12192001"/>
                <a:gd name="connsiteY4116" fmla="*/ 742923 h 6523037"/>
                <a:gd name="connsiteX4117" fmla="*/ 11942191 w 12192001"/>
                <a:gd name="connsiteY4117" fmla="*/ 742923 h 6523037"/>
                <a:gd name="connsiteX4118" fmla="*/ 12032328 w 12192001"/>
                <a:gd name="connsiteY4118" fmla="*/ 652786 h 6523037"/>
                <a:gd name="connsiteX4119" fmla="*/ 12192001 w 12192001"/>
                <a:gd name="connsiteY4119" fmla="*/ 490007 h 6523037"/>
                <a:gd name="connsiteX4120" fmla="*/ 12192001 w 12192001"/>
                <a:gd name="connsiteY4120" fmla="*/ 502966 h 6523037"/>
                <a:gd name="connsiteX4121" fmla="*/ 11949178 w 12192001"/>
                <a:gd name="connsiteY4121" fmla="*/ 746417 h 6523037"/>
                <a:gd name="connsiteX4122" fmla="*/ 12192001 w 12192001"/>
                <a:gd name="connsiteY4122" fmla="*/ 988614 h 6523037"/>
                <a:gd name="connsiteX4123" fmla="*/ 12192001 w 12192001"/>
                <a:gd name="connsiteY4123" fmla="*/ 999775 h 6523037"/>
                <a:gd name="connsiteX4124" fmla="*/ 11942191 w 12192001"/>
                <a:gd name="connsiteY4124" fmla="*/ 750609 h 6523037"/>
                <a:gd name="connsiteX4125" fmla="*/ 11678067 w 12192001"/>
                <a:gd name="connsiteY4125" fmla="*/ 750609 h 6523037"/>
                <a:gd name="connsiteX4126" fmla="*/ 11949178 w 12192001"/>
                <a:gd name="connsiteY4126" fmla="*/ 1020322 h 6523037"/>
                <a:gd name="connsiteX4127" fmla="*/ 11946384 w 12192001"/>
                <a:gd name="connsiteY4127" fmla="*/ 1023118 h 6523037"/>
                <a:gd name="connsiteX4128" fmla="*/ 11856246 w 12192001"/>
                <a:gd name="connsiteY4128" fmla="*/ 1113953 h 6523037"/>
                <a:gd name="connsiteX4129" fmla="*/ 11678766 w 12192001"/>
                <a:gd name="connsiteY4129" fmla="*/ 1291433 h 6523037"/>
                <a:gd name="connsiteX4130" fmla="*/ 11942890 w 12192001"/>
                <a:gd name="connsiteY4130" fmla="*/ 1291433 h 6523037"/>
                <a:gd name="connsiteX4131" fmla="*/ 12032328 w 12192001"/>
                <a:gd name="connsiteY4131" fmla="*/ 1201994 h 6523037"/>
                <a:gd name="connsiteX4132" fmla="*/ 12192001 w 12192001"/>
                <a:gd name="connsiteY4132" fmla="*/ 1042322 h 6523037"/>
                <a:gd name="connsiteX4133" fmla="*/ 12192001 w 12192001"/>
                <a:gd name="connsiteY4133" fmla="*/ 1052103 h 6523037"/>
                <a:gd name="connsiteX4134" fmla="*/ 12039316 w 12192001"/>
                <a:gd name="connsiteY4134" fmla="*/ 1204790 h 6523037"/>
                <a:gd name="connsiteX4135" fmla="*/ 11949877 w 12192001"/>
                <a:gd name="connsiteY4135" fmla="*/ 1294927 h 6523037"/>
                <a:gd name="connsiteX4136" fmla="*/ 12084035 w 12192001"/>
                <a:gd name="connsiteY4136" fmla="*/ 1428386 h 6523037"/>
                <a:gd name="connsiteX4137" fmla="*/ 12192001 w 12192001"/>
                <a:gd name="connsiteY4137" fmla="*/ 1536351 h 6523037"/>
                <a:gd name="connsiteX4138" fmla="*/ 12192001 w 12192001"/>
                <a:gd name="connsiteY4138" fmla="*/ 1547647 h 6523037"/>
                <a:gd name="connsiteX4139" fmla="*/ 12079843 w 12192001"/>
                <a:gd name="connsiteY4139" fmla="*/ 1436072 h 6523037"/>
                <a:gd name="connsiteX4140" fmla="*/ 11942890 w 12192001"/>
                <a:gd name="connsiteY4140" fmla="*/ 1299119 h 6523037"/>
                <a:gd name="connsiteX4141" fmla="*/ 11678766 w 12192001"/>
                <a:gd name="connsiteY4141" fmla="*/ 1299119 h 6523037"/>
                <a:gd name="connsiteX4142" fmla="*/ 11949877 w 12192001"/>
                <a:gd name="connsiteY4142" fmla="*/ 1569531 h 6523037"/>
                <a:gd name="connsiteX4143" fmla="*/ 11680164 w 12192001"/>
                <a:gd name="connsiteY4143" fmla="*/ 1840642 h 6523037"/>
                <a:gd name="connsiteX4144" fmla="*/ 11943588 w 12192001"/>
                <a:gd name="connsiteY4144" fmla="*/ 1840642 h 6523037"/>
                <a:gd name="connsiteX4145" fmla="*/ 12192001 w 12192001"/>
                <a:gd name="connsiteY4145" fmla="*/ 1591587 h 6523037"/>
                <a:gd name="connsiteX4146" fmla="*/ 12192001 w 12192001"/>
                <a:gd name="connsiteY4146" fmla="*/ 1601385 h 6523037"/>
                <a:gd name="connsiteX4147" fmla="*/ 11949877 w 12192001"/>
                <a:gd name="connsiteY4147" fmla="*/ 1844135 h 6523037"/>
                <a:gd name="connsiteX4148" fmla="*/ 12192001 w 12192001"/>
                <a:gd name="connsiteY4148" fmla="*/ 2085635 h 6523037"/>
                <a:gd name="connsiteX4149" fmla="*/ 12192001 w 12192001"/>
                <a:gd name="connsiteY4149" fmla="*/ 2095403 h 6523037"/>
                <a:gd name="connsiteX4150" fmla="*/ 11943588 w 12192001"/>
                <a:gd name="connsiteY4150" fmla="*/ 1847630 h 6523037"/>
                <a:gd name="connsiteX4151" fmla="*/ 11680164 w 12192001"/>
                <a:gd name="connsiteY4151" fmla="*/ 1847630 h 6523037"/>
                <a:gd name="connsiteX4152" fmla="*/ 11810129 w 12192001"/>
                <a:gd name="connsiteY4152" fmla="*/ 1977595 h 6523037"/>
                <a:gd name="connsiteX4153" fmla="*/ 11950576 w 12192001"/>
                <a:gd name="connsiteY4153" fmla="*/ 2118042 h 6523037"/>
                <a:gd name="connsiteX4154" fmla="*/ 11680164 w 12192001"/>
                <a:gd name="connsiteY4154" fmla="*/ 2389152 h 6523037"/>
                <a:gd name="connsiteX4155" fmla="*/ 11944287 w 12192001"/>
                <a:gd name="connsiteY4155" fmla="*/ 2389152 h 6523037"/>
                <a:gd name="connsiteX4156" fmla="*/ 12192001 w 12192001"/>
                <a:gd name="connsiteY4156" fmla="*/ 2140799 h 6523037"/>
                <a:gd name="connsiteX4157" fmla="*/ 12192001 w 12192001"/>
                <a:gd name="connsiteY4157" fmla="*/ 2150597 h 6523037"/>
                <a:gd name="connsiteX4158" fmla="*/ 11950576 w 12192001"/>
                <a:gd name="connsiteY4158" fmla="*/ 2392646 h 6523037"/>
                <a:gd name="connsiteX4159" fmla="*/ 12192001 w 12192001"/>
                <a:gd name="connsiteY4159" fmla="*/ 2633449 h 6523037"/>
                <a:gd name="connsiteX4160" fmla="*/ 12192001 w 12192001"/>
                <a:gd name="connsiteY4160" fmla="*/ 2643202 h 6523037"/>
                <a:gd name="connsiteX4161" fmla="*/ 11944287 w 12192001"/>
                <a:gd name="connsiteY4161" fmla="*/ 2396139 h 6523037"/>
                <a:gd name="connsiteX4162" fmla="*/ 11680164 w 12192001"/>
                <a:gd name="connsiteY4162" fmla="*/ 2396139 h 6523037"/>
                <a:gd name="connsiteX4163" fmla="*/ 11681562 w 12192001"/>
                <a:gd name="connsiteY4163" fmla="*/ 2397537 h 6523037"/>
                <a:gd name="connsiteX4164" fmla="*/ 11949877 w 12192001"/>
                <a:gd name="connsiteY4164" fmla="*/ 2665853 h 6523037"/>
                <a:gd name="connsiteX4165" fmla="*/ 11679465 w 12192001"/>
                <a:gd name="connsiteY4165" fmla="*/ 2936964 h 6523037"/>
                <a:gd name="connsiteX4166" fmla="*/ 11943588 w 12192001"/>
                <a:gd name="connsiteY4166" fmla="*/ 2936964 h 6523037"/>
                <a:gd name="connsiteX4167" fmla="*/ 12192001 w 12192001"/>
                <a:gd name="connsiteY4167" fmla="*/ 2687909 h 6523037"/>
                <a:gd name="connsiteX4168" fmla="*/ 12192001 w 12192001"/>
                <a:gd name="connsiteY4168" fmla="*/ 2698409 h 6523037"/>
                <a:gd name="connsiteX4169" fmla="*/ 11950576 w 12192001"/>
                <a:gd name="connsiteY4169" fmla="*/ 2940457 h 6523037"/>
                <a:gd name="connsiteX4170" fmla="*/ 12192001 w 12192001"/>
                <a:gd name="connsiteY4170" fmla="*/ 3181261 h 6523037"/>
                <a:gd name="connsiteX4171" fmla="*/ 12192001 w 12192001"/>
                <a:gd name="connsiteY4171" fmla="*/ 3190330 h 6523037"/>
                <a:gd name="connsiteX4172" fmla="*/ 11944986 w 12192001"/>
                <a:gd name="connsiteY4172" fmla="*/ 2943952 h 6523037"/>
                <a:gd name="connsiteX4173" fmla="*/ 11680863 w 12192001"/>
                <a:gd name="connsiteY4173" fmla="*/ 2943952 h 6523037"/>
                <a:gd name="connsiteX4174" fmla="*/ 11951974 w 12192001"/>
                <a:gd name="connsiteY4174" fmla="*/ 3214364 h 6523037"/>
                <a:gd name="connsiteX4175" fmla="*/ 11681562 w 12192001"/>
                <a:gd name="connsiteY4175" fmla="*/ 3485473 h 6523037"/>
                <a:gd name="connsiteX4176" fmla="*/ 11945685 w 12192001"/>
                <a:gd name="connsiteY4176" fmla="*/ 3485473 h 6523037"/>
                <a:gd name="connsiteX4177" fmla="*/ 12192001 w 12192001"/>
                <a:gd name="connsiteY4177" fmla="*/ 3238522 h 6523037"/>
                <a:gd name="connsiteX4178" fmla="*/ 12192001 w 12192001"/>
                <a:gd name="connsiteY4178" fmla="*/ 3249019 h 6523037"/>
                <a:gd name="connsiteX4179" fmla="*/ 11951275 w 12192001"/>
                <a:gd name="connsiteY4179" fmla="*/ 3490365 h 6523037"/>
                <a:gd name="connsiteX4180" fmla="*/ 12192001 w 12192001"/>
                <a:gd name="connsiteY4180" fmla="*/ 3730470 h 6523037"/>
                <a:gd name="connsiteX4181" fmla="*/ 12192001 w 12192001"/>
                <a:gd name="connsiteY4181" fmla="*/ 3738839 h 6523037"/>
                <a:gd name="connsiteX4182" fmla="*/ 11945685 w 12192001"/>
                <a:gd name="connsiteY4182" fmla="*/ 3493160 h 6523037"/>
                <a:gd name="connsiteX4183" fmla="*/ 11681562 w 12192001"/>
                <a:gd name="connsiteY4183" fmla="*/ 3493160 h 6523037"/>
                <a:gd name="connsiteX4184" fmla="*/ 11951974 w 12192001"/>
                <a:gd name="connsiteY4184" fmla="*/ 3762174 h 6523037"/>
                <a:gd name="connsiteX4185" fmla="*/ 11949178 w 12192001"/>
                <a:gd name="connsiteY4185" fmla="*/ 3764969 h 6523037"/>
                <a:gd name="connsiteX4186" fmla="*/ 11859042 w 12192001"/>
                <a:gd name="connsiteY4186" fmla="*/ 3855806 h 6523037"/>
                <a:gd name="connsiteX4187" fmla="*/ 11682312 w 12192001"/>
                <a:gd name="connsiteY4187" fmla="*/ 4032535 h 6523037"/>
                <a:gd name="connsiteX4188" fmla="*/ 11945176 w 12192001"/>
                <a:gd name="connsiteY4188" fmla="*/ 4032535 h 6523037"/>
                <a:gd name="connsiteX4189" fmla="*/ 12116367 w 12192001"/>
                <a:gd name="connsiteY4189" fmla="*/ 3860644 h 6523037"/>
                <a:gd name="connsiteX4190" fmla="*/ 12118325 w 12192001"/>
                <a:gd name="connsiteY4190" fmla="*/ 3860644 h 6523037"/>
                <a:gd name="connsiteX4191" fmla="*/ 12192001 w 12192001"/>
                <a:gd name="connsiteY4191" fmla="*/ 3786969 h 6523037"/>
                <a:gd name="connsiteX4192" fmla="*/ 12192001 w 12192001"/>
                <a:gd name="connsiteY4192" fmla="*/ 3798267 h 6523037"/>
                <a:gd name="connsiteX4193" fmla="*/ 12042111 w 12192001"/>
                <a:gd name="connsiteY4193" fmla="*/ 3948738 h 6523037"/>
                <a:gd name="connsiteX4194" fmla="*/ 11953840 w 12192001"/>
                <a:gd name="connsiteY4194" fmla="*/ 4037700 h 6523037"/>
                <a:gd name="connsiteX4195" fmla="*/ 12192001 w 12192001"/>
                <a:gd name="connsiteY4195" fmla="*/ 4275248 h 6523037"/>
                <a:gd name="connsiteX4196" fmla="*/ 12192001 w 12192001"/>
                <a:gd name="connsiteY4196" fmla="*/ 4286404 h 6523037"/>
                <a:gd name="connsiteX4197" fmla="*/ 11988663 w 12192001"/>
                <a:gd name="connsiteY4197" fmla="*/ 4083594 h 6523037"/>
                <a:gd name="connsiteX4198" fmla="*/ 11986910 w 12192001"/>
                <a:gd name="connsiteY4198" fmla="*/ 4083594 h 6523037"/>
                <a:gd name="connsiteX4199" fmla="*/ 11946384 w 12192001"/>
                <a:gd name="connsiteY4199" fmla="*/ 4043068 h 6523037"/>
                <a:gd name="connsiteX4200" fmla="*/ 11683900 w 12192001"/>
                <a:gd name="connsiteY4200" fmla="*/ 4043068 h 6523037"/>
                <a:gd name="connsiteX4201" fmla="*/ 11951465 w 12192001"/>
                <a:gd name="connsiteY4201" fmla="*/ 4310632 h 6523037"/>
                <a:gd name="connsiteX4202" fmla="*/ 11952862 w 12192001"/>
                <a:gd name="connsiteY4202" fmla="*/ 4312030 h 6523037"/>
                <a:gd name="connsiteX4203" fmla="*/ 11683847 w 12192001"/>
                <a:gd name="connsiteY4203" fmla="*/ 4581743 h 6523037"/>
                <a:gd name="connsiteX4204" fmla="*/ 11945875 w 12192001"/>
                <a:gd name="connsiteY4204" fmla="*/ 4581743 h 6523037"/>
                <a:gd name="connsiteX4205" fmla="*/ 12192001 w 12192001"/>
                <a:gd name="connsiteY4205" fmla="*/ 4334979 h 6523037"/>
                <a:gd name="connsiteX4206" fmla="*/ 12192001 w 12192001"/>
                <a:gd name="connsiteY4206" fmla="*/ 4346260 h 6523037"/>
                <a:gd name="connsiteX4207" fmla="*/ 11954259 w 12192001"/>
                <a:gd name="connsiteY4207" fmla="*/ 4585237 h 6523037"/>
                <a:gd name="connsiteX4208" fmla="*/ 12192001 w 12192001"/>
                <a:gd name="connsiteY4208" fmla="*/ 4822363 h 6523037"/>
                <a:gd name="connsiteX4209" fmla="*/ 12192001 w 12192001"/>
                <a:gd name="connsiteY4209" fmla="*/ 4832127 h 6523037"/>
                <a:gd name="connsiteX4210" fmla="*/ 11947272 w 12192001"/>
                <a:gd name="connsiteY4210" fmla="*/ 4588031 h 6523037"/>
                <a:gd name="connsiteX4211" fmla="*/ 11683847 w 12192001"/>
                <a:gd name="connsiteY4211" fmla="*/ 4588730 h 6523037"/>
                <a:gd name="connsiteX4212" fmla="*/ 11952862 w 12192001"/>
                <a:gd name="connsiteY4212" fmla="*/ 4857047 h 6523037"/>
                <a:gd name="connsiteX4213" fmla="*/ 11952164 w 12192001"/>
                <a:gd name="connsiteY4213" fmla="*/ 4857746 h 6523037"/>
                <a:gd name="connsiteX4214" fmla="*/ 11953561 w 12192001"/>
                <a:gd name="connsiteY4214" fmla="*/ 4859142 h 6523037"/>
                <a:gd name="connsiteX4215" fmla="*/ 11683148 w 12192001"/>
                <a:gd name="connsiteY4215" fmla="*/ 5130253 h 6523037"/>
                <a:gd name="connsiteX4216" fmla="*/ 11947272 w 12192001"/>
                <a:gd name="connsiteY4216" fmla="*/ 5130253 h 6523037"/>
                <a:gd name="connsiteX4217" fmla="*/ 12037409 w 12192001"/>
                <a:gd name="connsiteY4217" fmla="*/ 5040116 h 6523037"/>
                <a:gd name="connsiteX4218" fmla="*/ 12192001 w 12192001"/>
                <a:gd name="connsiteY4218" fmla="*/ 4882518 h 6523037"/>
                <a:gd name="connsiteX4219" fmla="*/ 12192001 w 12192001"/>
                <a:gd name="connsiteY4219" fmla="*/ 4895391 h 6523037"/>
                <a:gd name="connsiteX4220" fmla="*/ 11954259 w 12192001"/>
                <a:gd name="connsiteY4220" fmla="*/ 5133747 h 6523037"/>
                <a:gd name="connsiteX4221" fmla="*/ 12192001 w 12192001"/>
                <a:gd name="connsiteY4221" fmla="*/ 5370876 h 6523037"/>
                <a:gd name="connsiteX4222" fmla="*/ 12192001 w 12192001"/>
                <a:gd name="connsiteY4222" fmla="*/ 5382038 h 6523037"/>
                <a:gd name="connsiteX4223" fmla="*/ 11947272 w 12192001"/>
                <a:gd name="connsiteY4223" fmla="*/ 5137939 h 6523037"/>
                <a:gd name="connsiteX4224" fmla="*/ 11683148 w 12192001"/>
                <a:gd name="connsiteY4224" fmla="*/ 5137939 h 6523037"/>
                <a:gd name="connsiteX4225" fmla="*/ 11954259 w 12192001"/>
                <a:gd name="connsiteY4225" fmla="*/ 5407653 h 6523037"/>
                <a:gd name="connsiteX4226" fmla="*/ 11951465 w 12192001"/>
                <a:gd name="connsiteY4226" fmla="*/ 5410448 h 6523037"/>
                <a:gd name="connsiteX4227" fmla="*/ 11861327 w 12192001"/>
                <a:gd name="connsiteY4227" fmla="*/ 5501283 h 6523037"/>
                <a:gd name="connsiteX4228" fmla="*/ 11683847 w 12192001"/>
                <a:gd name="connsiteY4228" fmla="*/ 5678763 h 6523037"/>
                <a:gd name="connsiteX4229" fmla="*/ 11947970 w 12192001"/>
                <a:gd name="connsiteY4229" fmla="*/ 5678763 h 6523037"/>
                <a:gd name="connsiteX4230" fmla="*/ 12037409 w 12192001"/>
                <a:gd name="connsiteY4230" fmla="*/ 5589325 h 6523037"/>
                <a:gd name="connsiteX4231" fmla="*/ 12192001 w 12192001"/>
                <a:gd name="connsiteY4231" fmla="*/ 5434732 h 6523037"/>
                <a:gd name="connsiteX4232" fmla="*/ 12192001 w 12192001"/>
                <a:gd name="connsiteY4232" fmla="*/ 5444515 h 6523037"/>
                <a:gd name="connsiteX4233" fmla="*/ 12044397 w 12192001"/>
                <a:gd name="connsiteY4233" fmla="*/ 5592120 h 6523037"/>
                <a:gd name="connsiteX4234" fmla="*/ 11954958 w 12192001"/>
                <a:gd name="connsiteY4234" fmla="*/ 5682258 h 6523037"/>
                <a:gd name="connsiteX4235" fmla="*/ 12089116 w 12192001"/>
                <a:gd name="connsiteY4235" fmla="*/ 5815716 h 6523037"/>
                <a:gd name="connsiteX4236" fmla="*/ 12192001 w 12192001"/>
                <a:gd name="connsiteY4236" fmla="*/ 5918601 h 6523037"/>
                <a:gd name="connsiteX4237" fmla="*/ 12192001 w 12192001"/>
                <a:gd name="connsiteY4237" fmla="*/ 5929923 h 6523037"/>
                <a:gd name="connsiteX4238" fmla="*/ 12084924 w 12192001"/>
                <a:gd name="connsiteY4238" fmla="*/ 5823402 h 6523037"/>
                <a:gd name="connsiteX4239" fmla="*/ 11947970 w 12192001"/>
                <a:gd name="connsiteY4239" fmla="*/ 5686450 h 6523037"/>
                <a:gd name="connsiteX4240" fmla="*/ 11683847 w 12192001"/>
                <a:gd name="connsiteY4240" fmla="*/ 5686450 h 6523037"/>
                <a:gd name="connsiteX4241" fmla="*/ 11954958 w 12192001"/>
                <a:gd name="connsiteY4241" fmla="*/ 5956862 h 6523037"/>
                <a:gd name="connsiteX4242" fmla="*/ 11685245 w 12192001"/>
                <a:gd name="connsiteY4242" fmla="*/ 6227973 h 6523037"/>
                <a:gd name="connsiteX4243" fmla="*/ 11948669 w 12192001"/>
                <a:gd name="connsiteY4243" fmla="*/ 6227973 h 6523037"/>
                <a:gd name="connsiteX4244" fmla="*/ 12192001 w 12192001"/>
                <a:gd name="connsiteY4244" fmla="*/ 5984012 h 6523037"/>
                <a:gd name="connsiteX4245" fmla="*/ 12192001 w 12192001"/>
                <a:gd name="connsiteY4245" fmla="*/ 5993810 h 6523037"/>
                <a:gd name="connsiteX4246" fmla="*/ 11954958 w 12192001"/>
                <a:gd name="connsiteY4246" fmla="*/ 6231466 h 6523037"/>
                <a:gd name="connsiteX4247" fmla="*/ 12192001 w 12192001"/>
                <a:gd name="connsiteY4247" fmla="*/ 6467898 h 6523037"/>
                <a:gd name="connsiteX4248" fmla="*/ 12192001 w 12192001"/>
                <a:gd name="connsiteY4248" fmla="*/ 6477665 h 6523037"/>
                <a:gd name="connsiteX4249" fmla="*/ 11948669 w 12192001"/>
                <a:gd name="connsiteY4249" fmla="*/ 6234960 h 6523037"/>
                <a:gd name="connsiteX4250" fmla="*/ 11685245 w 12192001"/>
                <a:gd name="connsiteY4250" fmla="*/ 6234960 h 6523037"/>
                <a:gd name="connsiteX4251" fmla="*/ 11815210 w 12192001"/>
                <a:gd name="connsiteY4251" fmla="*/ 6364925 h 6523037"/>
                <a:gd name="connsiteX4252" fmla="*/ 11955657 w 12192001"/>
                <a:gd name="connsiteY4252" fmla="*/ 6505372 h 6523037"/>
                <a:gd name="connsiteX4253" fmla="*/ 11945954 w 12192001"/>
                <a:gd name="connsiteY4253" fmla="*/ 6515100 h 6523037"/>
                <a:gd name="connsiteX4254" fmla="*/ 11935461 w 12192001"/>
                <a:gd name="connsiteY4254" fmla="*/ 6515100 h 6523037"/>
                <a:gd name="connsiteX4255" fmla="*/ 11940983 w 12192001"/>
                <a:gd name="connsiteY4255" fmla="*/ 6509564 h 6523037"/>
                <a:gd name="connsiteX4256" fmla="*/ 11677558 w 12192001"/>
                <a:gd name="connsiteY4256" fmla="*/ 6509564 h 6523037"/>
                <a:gd name="connsiteX4257" fmla="*/ 11672044 w 12192001"/>
                <a:gd name="connsiteY4257" fmla="*/ 6515100 h 6523037"/>
                <a:gd name="connsiteX4258" fmla="*/ 11661542 w 12192001"/>
                <a:gd name="connsiteY4258" fmla="*/ 6515100 h 6523037"/>
                <a:gd name="connsiteX4259" fmla="*/ 11671270 w 12192001"/>
                <a:gd name="connsiteY4259" fmla="*/ 6505372 h 6523037"/>
                <a:gd name="connsiteX4260" fmla="*/ 11400159 w 12192001"/>
                <a:gd name="connsiteY4260" fmla="*/ 6234960 h 6523037"/>
                <a:gd name="connsiteX4261" fmla="*/ 11136036 w 12192001"/>
                <a:gd name="connsiteY4261" fmla="*/ 6234960 h 6523037"/>
                <a:gd name="connsiteX4262" fmla="*/ 11407146 w 12192001"/>
                <a:gd name="connsiteY4262" fmla="*/ 6505372 h 6523037"/>
                <a:gd name="connsiteX4263" fmla="*/ 11404352 w 12192001"/>
                <a:gd name="connsiteY4263" fmla="*/ 6508166 h 6523037"/>
                <a:gd name="connsiteX4264" fmla="*/ 11397471 w 12192001"/>
                <a:gd name="connsiteY4264" fmla="*/ 6515100 h 6523037"/>
                <a:gd name="connsiteX4265" fmla="*/ 11387635 w 12192001"/>
                <a:gd name="connsiteY4265" fmla="*/ 6515100 h 6523037"/>
                <a:gd name="connsiteX4266" fmla="*/ 11393171 w 12192001"/>
                <a:gd name="connsiteY4266" fmla="*/ 6509564 h 6523037"/>
                <a:gd name="connsiteX4267" fmla="*/ 11129049 w 12192001"/>
                <a:gd name="connsiteY4267" fmla="*/ 6509564 h 6523037"/>
                <a:gd name="connsiteX4268" fmla="*/ 11123527 w 12192001"/>
                <a:gd name="connsiteY4268" fmla="*/ 6515100 h 6523037"/>
                <a:gd name="connsiteX4269" fmla="*/ 11113055 w 12192001"/>
                <a:gd name="connsiteY4269" fmla="*/ 6515100 h 6523037"/>
                <a:gd name="connsiteX4270" fmla="*/ 11122062 w 12192001"/>
                <a:gd name="connsiteY4270" fmla="*/ 6506071 h 6523037"/>
                <a:gd name="connsiteX4271" fmla="*/ 11117170 w 12192001"/>
                <a:gd name="connsiteY4271" fmla="*/ 6501179 h 6523037"/>
                <a:gd name="connsiteX4272" fmla="*/ 10851650 w 12192001"/>
                <a:gd name="connsiteY4272" fmla="*/ 6236358 h 6523037"/>
                <a:gd name="connsiteX4273" fmla="*/ 10587525 w 12192001"/>
                <a:gd name="connsiteY4273" fmla="*/ 6236358 h 6523037"/>
                <a:gd name="connsiteX4274" fmla="*/ 10588224 w 12192001"/>
                <a:gd name="connsiteY4274" fmla="*/ 6237056 h 6523037"/>
                <a:gd name="connsiteX4275" fmla="*/ 10588923 w 12192001"/>
                <a:gd name="connsiteY4275" fmla="*/ 6237056 h 6523037"/>
                <a:gd name="connsiteX4276" fmla="*/ 10857937 w 12192001"/>
                <a:gd name="connsiteY4276" fmla="*/ 6506071 h 6523037"/>
                <a:gd name="connsiteX4277" fmla="*/ 10848931 w 12192001"/>
                <a:gd name="connsiteY4277" fmla="*/ 6515100 h 6523037"/>
                <a:gd name="connsiteX4278" fmla="*/ 10840523 w 12192001"/>
                <a:gd name="connsiteY4278" fmla="*/ 6515100 h 6523037"/>
                <a:gd name="connsiteX4279" fmla="*/ 10845361 w 12192001"/>
                <a:gd name="connsiteY4279" fmla="*/ 6510263 h 6523037"/>
                <a:gd name="connsiteX4280" fmla="*/ 10581237 w 12192001"/>
                <a:gd name="connsiteY4280" fmla="*/ 6510263 h 6523037"/>
                <a:gd name="connsiteX4281" fmla="*/ 10576412 w 12192001"/>
                <a:gd name="connsiteY4281" fmla="*/ 6515100 h 6523037"/>
                <a:gd name="connsiteX4282" fmla="*/ 10563823 w 12192001"/>
                <a:gd name="connsiteY4282" fmla="*/ 6515100 h 6523037"/>
                <a:gd name="connsiteX4283" fmla="*/ 10572852 w 12192001"/>
                <a:gd name="connsiteY4283" fmla="*/ 6506071 h 6523037"/>
                <a:gd name="connsiteX4284" fmla="*/ 10440092 w 12192001"/>
                <a:gd name="connsiteY4284" fmla="*/ 6374009 h 6523037"/>
                <a:gd name="connsiteX4285" fmla="*/ 10301742 w 12192001"/>
                <a:gd name="connsiteY4285" fmla="*/ 6235659 h 6523037"/>
                <a:gd name="connsiteX4286" fmla="*/ 10037618 w 12192001"/>
                <a:gd name="connsiteY4286" fmla="*/ 6235659 h 6523037"/>
                <a:gd name="connsiteX4287" fmla="*/ 10308729 w 12192001"/>
                <a:gd name="connsiteY4287" fmla="*/ 6505372 h 6523037"/>
                <a:gd name="connsiteX4288" fmla="*/ 10305934 w 12192001"/>
                <a:gd name="connsiteY4288" fmla="*/ 6508166 h 6523037"/>
                <a:gd name="connsiteX4289" fmla="*/ 10299053 w 12192001"/>
                <a:gd name="connsiteY4289" fmla="*/ 6515100 h 6523037"/>
                <a:gd name="connsiteX4290" fmla="*/ 10289917 w 12192001"/>
                <a:gd name="connsiteY4290" fmla="*/ 6515100 h 6523037"/>
                <a:gd name="connsiteX4291" fmla="*/ 10295453 w 12192001"/>
                <a:gd name="connsiteY4291" fmla="*/ 6509564 h 6523037"/>
                <a:gd name="connsiteX4292" fmla="*/ 10036919 w 12192001"/>
                <a:gd name="connsiteY4292" fmla="*/ 6509564 h 6523037"/>
                <a:gd name="connsiteX4293" fmla="*/ 10035464 w 12192001"/>
                <a:gd name="connsiteY4293" fmla="*/ 6508865 h 6523037"/>
                <a:gd name="connsiteX4294" fmla="*/ 10036919 w 12192001"/>
                <a:gd name="connsiteY4294" fmla="*/ 6508865 h 6523037"/>
                <a:gd name="connsiteX4295" fmla="*/ 10019451 w 12192001"/>
                <a:gd name="connsiteY4295" fmla="*/ 6500480 h 6523037"/>
                <a:gd name="connsiteX4296" fmla="*/ 10020794 w 12192001"/>
                <a:gd name="connsiteY4296" fmla="*/ 6501824 h 6523037"/>
                <a:gd name="connsiteX4297" fmla="*/ 10019451 w 12192001"/>
                <a:gd name="connsiteY4297" fmla="*/ 6501179 h 6523037"/>
                <a:gd name="connsiteX4298" fmla="*/ 9753930 w 12192001"/>
                <a:gd name="connsiteY4298" fmla="*/ 6236358 h 6523037"/>
                <a:gd name="connsiteX4299" fmla="*/ 9489807 w 12192001"/>
                <a:gd name="connsiteY4299" fmla="*/ 6236358 h 6523037"/>
                <a:gd name="connsiteX4300" fmla="*/ 9491204 w 12192001"/>
                <a:gd name="connsiteY4300" fmla="*/ 6237754 h 6523037"/>
                <a:gd name="connsiteX4301" fmla="*/ 9760219 w 12192001"/>
                <a:gd name="connsiteY4301" fmla="*/ 6506770 h 6523037"/>
                <a:gd name="connsiteX4302" fmla="*/ 9751867 w 12192001"/>
                <a:gd name="connsiteY4302" fmla="*/ 6515100 h 6523037"/>
                <a:gd name="connsiteX4303" fmla="*/ 9741431 w 12192001"/>
                <a:gd name="connsiteY4303" fmla="*/ 6515100 h 6523037"/>
                <a:gd name="connsiteX4304" fmla="*/ 9746244 w 12192001"/>
                <a:gd name="connsiteY4304" fmla="*/ 6510263 h 6523037"/>
                <a:gd name="connsiteX4305" fmla="*/ 9484783 w 12192001"/>
                <a:gd name="connsiteY4305" fmla="*/ 6510263 h 6523037"/>
                <a:gd name="connsiteX4306" fmla="*/ 9476833 w 12192001"/>
                <a:gd name="connsiteY4306" fmla="*/ 6518275 h 6523037"/>
                <a:gd name="connsiteX4307" fmla="*/ 9466908 w 12192001"/>
                <a:gd name="connsiteY4307" fmla="*/ 6518275 h 6523037"/>
                <a:gd name="connsiteX4308" fmla="*/ 9470109 w 12192001"/>
                <a:gd name="connsiteY4308" fmla="*/ 6515100 h 6523037"/>
                <a:gd name="connsiteX4309" fmla="*/ 9467501 w 12192001"/>
                <a:gd name="connsiteY4309" fmla="*/ 6515100 h 6523037"/>
                <a:gd name="connsiteX4310" fmla="*/ 9472657 w 12192001"/>
                <a:gd name="connsiteY4310" fmla="*/ 6509945 h 6523037"/>
                <a:gd name="connsiteX4311" fmla="*/ 9211183 w 12192001"/>
                <a:gd name="connsiteY4311" fmla="*/ 6509945 h 6523037"/>
                <a:gd name="connsiteX4312" fmla="*/ 9202874 w 12192001"/>
                <a:gd name="connsiteY4312" fmla="*/ 6518275 h 6523037"/>
                <a:gd name="connsiteX4313" fmla="*/ 9191704 w 12192001"/>
                <a:gd name="connsiteY4313" fmla="*/ 6518275 h 6523037"/>
                <a:gd name="connsiteX4314" fmla="*/ 9204195 w 12192001"/>
                <a:gd name="connsiteY4314" fmla="*/ 6505752 h 6523037"/>
                <a:gd name="connsiteX4315" fmla="*/ 9199304 w 12192001"/>
                <a:gd name="connsiteY4315" fmla="*/ 6500861 h 6523037"/>
                <a:gd name="connsiteX4316" fmla="*/ 8933783 w 12192001"/>
                <a:gd name="connsiteY4316" fmla="*/ 6235340 h 6523037"/>
                <a:gd name="connsiteX4317" fmla="*/ 8669660 w 12192001"/>
                <a:gd name="connsiteY4317" fmla="*/ 6235340 h 6523037"/>
                <a:gd name="connsiteX4318" fmla="*/ 8671058 w 12192001"/>
                <a:gd name="connsiteY4318" fmla="*/ 6236737 h 6523037"/>
                <a:gd name="connsiteX4319" fmla="*/ 8940072 w 12192001"/>
                <a:gd name="connsiteY4319" fmla="*/ 6505752 h 6523037"/>
                <a:gd name="connsiteX4320" fmla="*/ 8927581 w 12192001"/>
                <a:gd name="connsiteY4320" fmla="*/ 6518275 h 6523037"/>
                <a:gd name="connsiteX4321" fmla="*/ 8919183 w 12192001"/>
                <a:gd name="connsiteY4321" fmla="*/ 6518275 h 6523037"/>
                <a:gd name="connsiteX4322" fmla="*/ 8926796 w 12192001"/>
                <a:gd name="connsiteY4322" fmla="*/ 6510643 h 6523037"/>
                <a:gd name="connsiteX4323" fmla="*/ 8662672 w 12192001"/>
                <a:gd name="connsiteY4323" fmla="*/ 6510643 h 6523037"/>
                <a:gd name="connsiteX4324" fmla="*/ 8655060 w 12192001"/>
                <a:gd name="connsiteY4324" fmla="*/ 6518275 h 6523037"/>
                <a:gd name="connsiteX4325" fmla="*/ 8643195 w 12192001"/>
                <a:gd name="connsiteY4325" fmla="*/ 6518275 h 6523037"/>
                <a:gd name="connsiteX4326" fmla="*/ 8656384 w 12192001"/>
                <a:gd name="connsiteY4326" fmla="*/ 6505053 h 6523037"/>
                <a:gd name="connsiteX4327" fmla="*/ 8522925 w 12192001"/>
                <a:gd name="connsiteY4327" fmla="*/ 6372290 h 6523037"/>
                <a:gd name="connsiteX4328" fmla="*/ 8525720 w 12192001"/>
                <a:gd name="connsiteY4328" fmla="*/ 6366702 h 6523037"/>
                <a:gd name="connsiteX4329" fmla="*/ 8525021 w 12192001"/>
                <a:gd name="connsiteY4329" fmla="*/ 6366004 h 6523037"/>
                <a:gd name="connsiteX4330" fmla="*/ 8525720 w 12192001"/>
                <a:gd name="connsiteY4330" fmla="*/ 6364607 h 6523037"/>
                <a:gd name="connsiteX4331" fmla="*/ 8662672 w 12192001"/>
                <a:gd name="connsiteY4331" fmla="*/ 6501560 h 6523037"/>
                <a:gd name="connsiteX4332" fmla="*/ 8926796 w 12192001"/>
                <a:gd name="connsiteY4332" fmla="*/ 6501560 h 6523037"/>
                <a:gd name="connsiteX4333" fmla="*/ 8655685 w 12192001"/>
                <a:gd name="connsiteY4333" fmla="*/ 6231148 h 6523037"/>
                <a:gd name="connsiteX4334" fmla="*/ 8657083 w 12192001"/>
                <a:gd name="connsiteY4334" fmla="*/ 6229750 h 6523037"/>
                <a:gd name="connsiteX4335" fmla="*/ 8925398 w 12192001"/>
                <a:gd name="connsiteY4335" fmla="*/ 5960736 h 6523037"/>
                <a:gd name="connsiteX4336" fmla="*/ 8726957 w 12192001"/>
                <a:gd name="connsiteY4336" fmla="*/ 5960736 h 6523037"/>
                <a:gd name="connsiteX4337" fmla="*/ 8730450 w 12192001"/>
                <a:gd name="connsiteY4337" fmla="*/ 5953748 h 6523037"/>
                <a:gd name="connsiteX4338" fmla="*/ 8925398 w 12192001"/>
                <a:gd name="connsiteY4338" fmla="*/ 5953748 h 6523037"/>
                <a:gd name="connsiteX4339" fmla="*/ 8795433 w 12192001"/>
                <a:gd name="connsiteY4339" fmla="*/ 5823783 h 6523037"/>
                <a:gd name="connsiteX4340" fmla="*/ 8798926 w 12192001"/>
                <a:gd name="connsiteY4340" fmla="*/ 5816795 h 6523037"/>
                <a:gd name="connsiteX4341" fmla="*/ 8939373 w 12192001"/>
                <a:gd name="connsiteY4341" fmla="*/ 5957241 h 6523037"/>
                <a:gd name="connsiteX4342" fmla="*/ 8668961 w 12192001"/>
                <a:gd name="connsiteY4342" fmla="*/ 6228352 h 6523037"/>
                <a:gd name="connsiteX4343" fmla="*/ 8933085 w 12192001"/>
                <a:gd name="connsiteY4343" fmla="*/ 6228352 h 6523037"/>
                <a:gd name="connsiteX4344" fmla="*/ 9203497 w 12192001"/>
                <a:gd name="connsiteY4344" fmla="*/ 5957241 h 6523037"/>
                <a:gd name="connsiteX4345" fmla="*/ 8932386 w 12192001"/>
                <a:gd name="connsiteY4345" fmla="*/ 5687528 h 6523037"/>
                <a:gd name="connsiteX4346" fmla="*/ 8863909 w 12192001"/>
                <a:gd name="connsiteY4346" fmla="*/ 5687528 h 6523037"/>
                <a:gd name="connsiteX4347" fmla="*/ 8668961 w 12192001"/>
                <a:gd name="connsiteY4347" fmla="*/ 5687528 h 6523037"/>
                <a:gd name="connsiteX4348" fmla="*/ 8798227 w 12192001"/>
                <a:gd name="connsiteY4348" fmla="*/ 5817494 h 6523037"/>
                <a:gd name="connsiteX4349" fmla="*/ 8794734 w 12192001"/>
                <a:gd name="connsiteY4349" fmla="*/ 5824481 h 6523037"/>
                <a:gd name="connsiteX4350" fmla="*/ 8654287 w 12192001"/>
                <a:gd name="connsiteY4350" fmla="*/ 5684035 h 6523037"/>
                <a:gd name="connsiteX4351" fmla="*/ 8924699 w 12192001"/>
                <a:gd name="connsiteY4351" fmla="*/ 5412924 h 6523037"/>
                <a:gd name="connsiteX4352" fmla="*/ 8660576 w 12192001"/>
                <a:gd name="connsiteY4352" fmla="*/ 5412924 h 6523037"/>
                <a:gd name="connsiteX4353" fmla="*/ 8390164 w 12192001"/>
                <a:gd name="connsiteY4353" fmla="*/ 5684035 h 6523037"/>
                <a:gd name="connsiteX4354" fmla="*/ 8661275 w 12192001"/>
                <a:gd name="connsiteY4354" fmla="*/ 5954447 h 6523037"/>
                <a:gd name="connsiteX4355" fmla="*/ 8729751 w 12192001"/>
                <a:gd name="connsiteY4355" fmla="*/ 5954447 h 6523037"/>
                <a:gd name="connsiteX4356" fmla="*/ 8726258 w 12192001"/>
                <a:gd name="connsiteY4356" fmla="*/ 5961434 h 6523037"/>
                <a:gd name="connsiteX4357" fmla="*/ 8661275 w 12192001"/>
                <a:gd name="connsiteY4357" fmla="*/ 5961434 h 6523037"/>
                <a:gd name="connsiteX4358" fmla="*/ 8481000 w 12192001"/>
                <a:gd name="connsiteY4358" fmla="*/ 6142408 h 6523037"/>
                <a:gd name="connsiteX4359" fmla="*/ 8391562 w 12192001"/>
                <a:gd name="connsiteY4359" fmla="*/ 6232545 h 6523037"/>
                <a:gd name="connsiteX4360" fmla="*/ 8525021 w 12192001"/>
                <a:gd name="connsiteY4360" fmla="*/ 6366004 h 6523037"/>
                <a:gd name="connsiteX4361" fmla="*/ 8522226 w 12192001"/>
                <a:gd name="connsiteY4361" fmla="*/ 6371593 h 6523037"/>
                <a:gd name="connsiteX4362" fmla="*/ 8522925 w 12192001"/>
                <a:gd name="connsiteY4362" fmla="*/ 6372290 h 6523037"/>
                <a:gd name="connsiteX4363" fmla="*/ 8522226 w 12192001"/>
                <a:gd name="connsiteY4363" fmla="*/ 6373690 h 6523037"/>
                <a:gd name="connsiteX4364" fmla="*/ 8385273 w 12192001"/>
                <a:gd name="connsiteY4364" fmla="*/ 6236737 h 6523037"/>
                <a:gd name="connsiteX4365" fmla="*/ 8121150 w 12192001"/>
                <a:gd name="connsiteY4365" fmla="*/ 6236737 h 6523037"/>
                <a:gd name="connsiteX4366" fmla="*/ 8392260 w 12192001"/>
                <a:gd name="connsiteY4366" fmla="*/ 6507149 h 6523037"/>
                <a:gd name="connsiteX4367" fmla="*/ 8381163 w 12192001"/>
                <a:gd name="connsiteY4367" fmla="*/ 6518275 h 6523037"/>
                <a:gd name="connsiteX4368" fmla="*/ 8370672 w 12192001"/>
                <a:gd name="connsiteY4368" fmla="*/ 6518275 h 6523037"/>
                <a:gd name="connsiteX4369" fmla="*/ 8378285 w 12192001"/>
                <a:gd name="connsiteY4369" fmla="*/ 6510643 h 6523037"/>
                <a:gd name="connsiteX4370" fmla="*/ 8114162 w 12192001"/>
                <a:gd name="connsiteY4370" fmla="*/ 6510643 h 6523037"/>
                <a:gd name="connsiteX4371" fmla="*/ 8106549 w 12192001"/>
                <a:gd name="connsiteY4371" fmla="*/ 6518275 h 6523037"/>
                <a:gd name="connsiteX4372" fmla="*/ 8097473 w 12192001"/>
                <a:gd name="connsiteY4372" fmla="*/ 6518275 h 6523037"/>
                <a:gd name="connsiteX4373" fmla="*/ 8107873 w 12192001"/>
                <a:gd name="connsiteY4373" fmla="*/ 6507848 h 6523037"/>
                <a:gd name="connsiteX4374" fmla="*/ 7836763 w 12192001"/>
                <a:gd name="connsiteY4374" fmla="*/ 6237436 h 6523037"/>
                <a:gd name="connsiteX4375" fmla="*/ 7572639 w 12192001"/>
                <a:gd name="connsiteY4375" fmla="*/ 6237436 h 6523037"/>
                <a:gd name="connsiteX4376" fmla="*/ 7843750 w 12192001"/>
                <a:gd name="connsiteY4376" fmla="*/ 6507848 h 6523037"/>
                <a:gd name="connsiteX4377" fmla="*/ 7833350 w 12192001"/>
                <a:gd name="connsiteY4377" fmla="*/ 6518275 h 6523037"/>
                <a:gd name="connsiteX4378" fmla="*/ 7823556 w 12192001"/>
                <a:gd name="connsiteY4378" fmla="*/ 6518275 h 6523037"/>
                <a:gd name="connsiteX4379" fmla="*/ 7829775 w 12192001"/>
                <a:gd name="connsiteY4379" fmla="*/ 6512040 h 6523037"/>
                <a:gd name="connsiteX4380" fmla="*/ 7565652 w 12192001"/>
                <a:gd name="connsiteY4380" fmla="*/ 6512040 h 6523037"/>
                <a:gd name="connsiteX4381" fmla="*/ 7559433 w 12192001"/>
                <a:gd name="connsiteY4381" fmla="*/ 6518275 h 6523037"/>
                <a:gd name="connsiteX4382" fmla="*/ 7549660 w 12192001"/>
                <a:gd name="connsiteY4382" fmla="*/ 6518275 h 6523037"/>
                <a:gd name="connsiteX4383" fmla="*/ 7559363 w 12192001"/>
                <a:gd name="connsiteY4383" fmla="*/ 6508547 h 6523037"/>
                <a:gd name="connsiteX4384" fmla="*/ 7288252 w 12192001"/>
                <a:gd name="connsiteY4384" fmla="*/ 6238135 h 6523037"/>
                <a:gd name="connsiteX4385" fmla="*/ 7024828 w 12192001"/>
                <a:gd name="connsiteY4385" fmla="*/ 6238135 h 6523037"/>
                <a:gd name="connsiteX4386" fmla="*/ 7154793 w 12192001"/>
                <a:gd name="connsiteY4386" fmla="*/ 6368100 h 6523037"/>
                <a:gd name="connsiteX4387" fmla="*/ 7295240 w 12192001"/>
                <a:gd name="connsiteY4387" fmla="*/ 6508547 h 6523037"/>
                <a:gd name="connsiteX4388" fmla="*/ 7285537 w 12192001"/>
                <a:gd name="connsiteY4388" fmla="*/ 6518275 h 6523037"/>
                <a:gd name="connsiteX4389" fmla="*/ 7275044 w 12192001"/>
                <a:gd name="connsiteY4389" fmla="*/ 6518275 h 6523037"/>
                <a:gd name="connsiteX4390" fmla="*/ 7280566 w 12192001"/>
                <a:gd name="connsiteY4390" fmla="*/ 6512739 h 6523037"/>
                <a:gd name="connsiteX4391" fmla="*/ 7017141 w 12192001"/>
                <a:gd name="connsiteY4391" fmla="*/ 6512739 h 6523037"/>
                <a:gd name="connsiteX4392" fmla="*/ 7011627 w 12192001"/>
                <a:gd name="connsiteY4392" fmla="*/ 6518275 h 6523037"/>
                <a:gd name="connsiteX4393" fmla="*/ 7001125 w 12192001"/>
                <a:gd name="connsiteY4393" fmla="*/ 6518275 h 6523037"/>
                <a:gd name="connsiteX4394" fmla="*/ 7010853 w 12192001"/>
                <a:gd name="connsiteY4394" fmla="*/ 6508547 h 6523037"/>
                <a:gd name="connsiteX4395" fmla="*/ 6739742 w 12192001"/>
                <a:gd name="connsiteY4395" fmla="*/ 6238135 h 6523037"/>
                <a:gd name="connsiteX4396" fmla="*/ 6475619 w 12192001"/>
                <a:gd name="connsiteY4396" fmla="*/ 6238135 h 6523037"/>
                <a:gd name="connsiteX4397" fmla="*/ 6746729 w 12192001"/>
                <a:gd name="connsiteY4397" fmla="*/ 6508547 h 6523037"/>
                <a:gd name="connsiteX4398" fmla="*/ 6743935 w 12192001"/>
                <a:gd name="connsiteY4398" fmla="*/ 6511341 h 6523037"/>
                <a:gd name="connsiteX4399" fmla="*/ 6737054 w 12192001"/>
                <a:gd name="connsiteY4399" fmla="*/ 6518275 h 6523037"/>
                <a:gd name="connsiteX4400" fmla="*/ 6727219 w 12192001"/>
                <a:gd name="connsiteY4400" fmla="*/ 6518275 h 6523037"/>
                <a:gd name="connsiteX4401" fmla="*/ 6732754 w 12192001"/>
                <a:gd name="connsiteY4401" fmla="*/ 6512739 h 6523037"/>
                <a:gd name="connsiteX4402" fmla="*/ 6468632 w 12192001"/>
                <a:gd name="connsiteY4402" fmla="*/ 6512739 h 6523037"/>
                <a:gd name="connsiteX4403" fmla="*/ 6463111 w 12192001"/>
                <a:gd name="connsiteY4403" fmla="*/ 6518275 h 6523037"/>
                <a:gd name="connsiteX4404" fmla="*/ 6452638 w 12192001"/>
                <a:gd name="connsiteY4404" fmla="*/ 6518275 h 6523037"/>
                <a:gd name="connsiteX4405" fmla="*/ 6461645 w 12192001"/>
                <a:gd name="connsiteY4405" fmla="*/ 6509246 h 6523037"/>
                <a:gd name="connsiteX4406" fmla="*/ 6456753 w 12192001"/>
                <a:gd name="connsiteY4406" fmla="*/ 6504354 h 6523037"/>
                <a:gd name="connsiteX4407" fmla="*/ 6191234 w 12192001"/>
                <a:gd name="connsiteY4407" fmla="*/ 6239533 h 6523037"/>
                <a:gd name="connsiteX4408" fmla="*/ 5927108 w 12192001"/>
                <a:gd name="connsiteY4408" fmla="*/ 6239533 h 6523037"/>
                <a:gd name="connsiteX4409" fmla="*/ 5927807 w 12192001"/>
                <a:gd name="connsiteY4409" fmla="*/ 6240231 h 6523037"/>
                <a:gd name="connsiteX4410" fmla="*/ 5928507 w 12192001"/>
                <a:gd name="connsiteY4410" fmla="*/ 6240231 h 6523037"/>
                <a:gd name="connsiteX4411" fmla="*/ 6197521 w 12192001"/>
                <a:gd name="connsiteY4411" fmla="*/ 6509246 h 6523037"/>
                <a:gd name="connsiteX4412" fmla="*/ 6188514 w 12192001"/>
                <a:gd name="connsiteY4412" fmla="*/ 6518275 h 6523037"/>
                <a:gd name="connsiteX4413" fmla="*/ 6180107 w 12192001"/>
                <a:gd name="connsiteY4413" fmla="*/ 6518275 h 6523037"/>
                <a:gd name="connsiteX4414" fmla="*/ 6184944 w 12192001"/>
                <a:gd name="connsiteY4414" fmla="*/ 6513438 h 6523037"/>
                <a:gd name="connsiteX4415" fmla="*/ 5920821 w 12192001"/>
                <a:gd name="connsiteY4415" fmla="*/ 6513438 h 6523037"/>
                <a:gd name="connsiteX4416" fmla="*/ 5915996 w 12192001"/>
                <a:gd name="connsiteY4416" fmla="*/ 6518275 h 6523037"/>
                <a:gd name="connsiteX4417" fmla="*/ 5903406 w 12192001"/>
                <a:gd name="connsiteY4417" fmla="*/ 6518275 h 6523037"/>
                <a:gd name="connsiteX4418" fmla="*/ 5912435 w 12192001"/>
                <a:gd name="connsiteY4418" fmla="*/ 6509246 h 6523037"/>
                <a:gd name="connsiteX4419" fmla="*/ 5779675 w 12192001"/>
                <a:gd name="connsiteY4419" fmla="*/ 6377184 h 6523037"/>
                <a:gd name="connsiteX4420" fmla="*/ 5641325 w 12192001"/>
                <a:gd name="connsiteY4420" fmla="*/ 6238834 h 6523037"/>
                <a:gd name="connsiteX4421" fmla="*/ 5377202 w 12192001"/>
                <a:gd name="connsiteY4421" fmla="*/ 6238834 h 6523037"/>
                <a:gd name="connsiteX4422" fmla="*/ 5648312 w 12192001"/>
                <a:gd name="connsiteY4422" fmla="*/ 6508547 h 6523037"/>
                <a:gd name="connsiteX4423" fmla="*/ 5645518 w 12192001"/>
                <a:gd name="connsiteY4423" fmla="*/ 6511341 h 6523037"/>
                <a:gd name="connsiteX4424" fmla="*/ 5638636 w 12192001"/>
                <a:gd name="connsiteY4424" fmla="*/ 6518275 h 6523037"/>
                <a:gd name="connsiteX4425" fmla="*/ 5629500 w 12192001"/>
                <a:gd name="connsiteY4425" fmla="*/ 6518275 h 6523037"/>
                <a:gd name="connsiteX4426" fmla="*/ 5635036 w 12192001"/>
                <a:gd name="connsiteY4426" fmla="*/ 6512739 h 6523037"/>
                <a:gd name="connsiteX4427" fmla="*/ 5376502 w 12192001"/>
                <a:gd name="connsiteY4427" fmla="*/ 6512739 h 6523037"/>
                <a:gd name="connsiteX4428" fmla="*/ 5375047 w 12192001"/>
                <a:gd name="connsiteY4428" fmla="*/ 6512040 h 6523037"/>
                <a:gd name="connsiteX4429" fmla="*/ 5376502 w 12192001"/>
                <a:gd name="connsiteY4429" fmla="*/ 6512040 h 6523037"/>
                <a:gd name="connsiteX4430" fmla="*/ 5359034 w 12192001"/>
                <a:gd name="connsiteY4430" fmla="*/ 6503655 h 6523037"/>
                <a:gd name="connsiteX4431" fmla="*/ 5360377 w 12192001"/>
                <a:gd name="connsiteY4431" fmla="*/ 6504999 h 6523037"/>
                <a:gd name="connsiteX4432" fmla="*/ 5359034 w 12192001"/>
                <a:gd name="connsiteY4432" fmla="*/ 6504354 h 6523037"/>
                <a:gd name="connsiteX4433" fmla="*/ 5093513 w 12192001"/>
                <a:gd name="connsiteY4433" fmla="*/ 6239533 h 6523037"/>
                <a:gd name="connsiteX4434" fmla="*/ 4829390 w 12192001"/>
                <a:gd name="connsiteY4434" fmla="*/ 6239533 h 6523037"/>
                <a:gd name="connsiteX4435" fmla="*/ 4830788 w 12192001"/>
                <a:gd name="connsiteY4435" fmla="*/ 6240929 h 6523037"/>
                <a:gd name="connsiteX4436" fmla="*/ 5099802 w 12192001"/>
                <a:gd name="connsiteY4436" fmla="*/ 6509945 h 6523037"/>
                <a:gd name="connsiteX4437" fmla="*/ 5091450 w 12192001"/>
                <a:gd name="connsiteY4437" fmla="*/ 6518275 h 6523037"/>
                <a:gd name="connsiteX4438" fmla="*/ 5081014 w 12192001"/>
                <a:gd name="connsiteY4438" fmla="*/ 6518275 h 6523037"/>
                <a:gd name="connsiteX4439" fmla="*/ 5085827 w 12192001"/>
                <a:gd name="connsiteY4439" fmla="*/ 6513438 h 6523037"/>
                <a:gd name="connsiteX4440" fmla="*/ 4826252 w 12192001"/>
                <a:gd name="connsiteY4440" fmla="*/ 6513438 h 6523037"/>
                <a:gd name="connsiteX4441" fmla="*/ 4816727 w 12192001"/>
                <a:gd name="connsiteY4441" fmla="*/ 6523037 h 6523037"/>
                <a:gd name="connsiteX4442" fmla="*/ 4806802 w 12192001"/>
                <a:gd name="connsiteY4442" fmla="*/ 6523037 h 6523037"/>
                <a:gd name="connsiteX4443" fmla="*/ 4811603 w 12192001"/>
                <a:gd name="connsiteY4443" fmla="*/ 6518275 h 6523037"/>
                <a:gd name="connsiteX4444" fmla="*/ 4807085 w 12192001"/>
                <a:gd name="connsiteY4444" fmla="*/ 6518275 h 6523037"/>
                <a:gd name="connsiteX4445" fmla="*/ 4810652 w 12192001"/>
                <a:gd name="connsiteY4445" fmla="*/ 6514707 h 6523037"/>
                <a:gd name="connsiteX4446" fmla="*/ 4551077 w 12192001"/>
                <a:gd name="connsiteY4446" fmla="*/ 6514707 h 6523037"/>
                <a:gd name="connsiteX4447" fmla="*/ 4542768 w 12192001"/>
                <a:gd name="connsiteY4447" fmla="*/ 6523037 h 6523037"/>
                <a:gd name="connsiteX4448" fmla="*/ 4531598 w 12192001"/>
                <a:gd name="connsiteY4448" fmla="*/ 6523037 h 6523037"/>
                <a:gd name="connsiteX4449" fmla="*/ 4544090 w 12192001"/>
                <a:gd name="connsiteY4449" fmla="*/ 6510514 h 6523037"/>
                <a:gd name="connsiteX4450" fmla="*/ 4539199 w 12192001"/>
                <a:gd name="connsiteY4450" fmla="*/ 6505623 h 6523037"/>
                <a:gd name="connsiteX4451" fmla="*/ 4273677 w 12192001"/>
                <a:gd name="connsiteY4451" fmla="*/ 6240102 h 6523037"/>
                <a:gd name="connsiteX4452" fmla="*/ 4009554 w 12192001"/>
                <a:gd name="connsiteY4452" fmla="*/ 6240102 h 6523037"/>
                <a:gd name="connsiteX4453" fmla="*/ 4010952 w 12192001"/>
                <a:gd name="connsiteY4453" fmla="*/ 6241499 h 6523037"/>
                <a:gd name="connsiteX4454" fmla="*/ 4279967 w 12192001"/>
                <a:gd name="connsiteY4454" fmla="*/ 6510514 h 6523037"/>
                <a:gd name="connsiteX4455" fmla="*/ 4267475 w 12192001"/>
                <a:gd name="connsiteY4455" fmla="*/ 6523037 h 6523037"/>
                <a:gd name="connsiteX4456" fmla="*/ 4259077 w 12192001"/>
                <a:gd name="connsiteY4456" fmla="*/ 6523037 h 6523037"/>
                <a:gd name="connsiteX4457" fmla="*/ 4266690 w 12192001"/>
                <a:gd name="connsiteY4457" fmla="*/ 6515405 h 6523037"/>
                <a:gd name="connsiteX4458" fmla="*/ 4002566 w 12192001"/>
                <a:gd name="connsiteY4458" fmla="*/ 6515405 h 6523037"/>
                <a:gd name="connsiteX4459" fmla="*/ 3994954 w 12192001"/>
                <a:gd name="connsiteY4459" fmla="*/ 6523037 h 6523037"/>
                <a:gd name="connsiteX4460" fmla="*/ 3983089 w 12192001"/>
                <a:gd name="connsiteY4460" fmla="*/ 6523037 h 6523037"/>
                <a:gd name="connsiteX4461" fmla="*/ 3996278 w 12192001"/>
                <a:gd name="connsiteY4461" fmla="*/ 6509815 h 6523037"/>
                <a:gd name="connsiteX4462" fmla="*/ 3862819 w 12192001"/>
                <a:gd name="connsiteY4462" fmla="*/ 6377052 h 6523037"/>
                <a:gd name="connsiteX4463" fmla="*/ 3865614 w 12192001"/>
                <a:gd name="connsiteY4463" fmla="*/ 6371464 h 6523037"/>
                <a:gd name="connsiteX4464" fmla="*/ 3864915 w 12192001"/>
                <a:gd name="connsiteY4464" fmla="*/ 6370766 h 6523037"/>
                <a:gd name="connsiteX4465" fmla="*/ 3865614 w 12192001"/>
                <a:gd name="connsiteY4465" fmla="*/ 6369369 h 6523037"/>
                <a:gd name="connsiteX4466" fmla="*/ 4002566 w 12192001"/>
                <a:gd name="connsiteY4466" fmla="*/ 6506322 h 6523037"/>
                <a:gd name="connsiteX4467" fmla="*/ 4266690 w 12192001"/>
                <a:gd name="connsiteY4467" fmla="*/ 6506322 h 6523037"/>
                <a:gd name="connsiteX4468" fmla="*/ 3995579 w 12192001"/>
                <a:gd name="connsiteY4468" fmla="*/ 6235910 h 6523037"/>
                <a:gd name="connsiteX4469" fmla="*/ 3996977 w 12192001"/>
                <a:gd name="connsiteY4469" fmla="*/ 6234512 h 6523037"/>
                <a:gd name="connsiteX4470" fmla="*/ 4265292 w 12192001"/>
                <a:gd name="connsiteY4470" fmla="*/ 5965498 h 6523037"/>
                <a:gd name="connsiteX4471" fmla="*/ 4066851 w 12192001"/>
                <a:gd name="connsiteY4471" fmla="*/ 5965498 h 6523037"/>
                <a:gd name="connsiteX4472" fmla="*/ 4070344 w 12192001"/>
                <a:gd name="connsiteY4472" fmla="*/ 5958510 h 6523037"/>
                <a:gd name="connsiteX4473" fmla="*/ 4265292 w 12192001"/>
                <a:gd name="connsiteY4473" fmla="*/ 5958510 h 6523037"/>
                <a:gd name="connsiteX4474" fmla="*/ 4135327 w 12192001"/>
                <a:gd name="connsiteY4474" fmla="*/ 5828545 h 6523037"/>
                <a:gd name="connsiteX4475" fmla="*/ 4138820 w 12192001"/>
                <a:gd name="connsiteY4475" fmla="*/ 5821557 h 6523037"/>
                <a:gd name="connsiteX4476" fmla="*/ 4279267 w 12192001"/>
                <a:gd name="connsiteY4476" fmla="*/ 5962003 h 6523037"/>
                <a:gd name="connsiteX4477" fmla="*/ 4008855 w 12192001"/>
                <a:gd name="connsiteY4477" fmla="*/ 6233114 h 6523037"/>
                <a:gd name="connsiteX4478" fmla="*/ 4272979 w 12192001"/>
                <a:gd name="connsiteY4478" fmla="*/ 6233114 h 6523037"/>
                <a:gd name="connsiteX4479" fmla="*/ 4543392 w 12192001"/>
                <a:gd name="connsiteY4479" fmla="*/ 5962003 h 6523037"/>
                <a:gd name="connsiteX4480" fmla="*/ 4272281 w 12192001"/>
                <a:gd name="connsiteY4480" fmla="*/ 5692290 h 6523037"/>
                <a:gd name="connsiteX4481" fmla="*/ 4203803 w 12192001"/>
                <a:gd name="connsiteY4481" fmla="*/ 5692290 h 6523037"/>
                <a:gd name="connsiteX4482" fmla="*/ 4008855 w 12192001"/>
                <a:gd name="connsiteY4482" fmla="*/ 5692290 h 6523037"/>
                <a:gd name="connsiteX4483" fmla="*/ 4138121 w 12192001"/>
                <a:gd name="connsiteY4483" fmla="*/ 5822256 h 6523037"/>
                <a:gd name="connsiteX4484" fmla="*/ 4134628 w 12192001"/>
                <a:gd name="connsiteY4484" fmla="*/ 5829243 h 6523037"/>
                <a:gd name="connsiteX4485" fmla="*/ 3994181 w 12192001"/>
                <a:gd name="connsiteY4485" fmla="*/ 5688797 h 6523037"/>
                <a:gd name="connsiteX4486" fmla="*/ 4264593 w 12192001"/>
                <a:gd name="connsiteY4486" fmla="*/ 5417686 h 6523037"/>
                <a:gd name="connsiteX4487" fmla="*/ 4000470 w 12192001"/>
                <a:gd name="connsiteY4487" fmla="*/ 5417686 h 6523037"/>
                <a:gd name="connsiteX4488" fmla="*/ 3730058 w 12192001"/>
                <a:gd name="connsiteY4488" fmla="*/ 5688797 h 6523037"/>
                <a:gd name="connsiteX4489" fmla="*/ 4001169 w 12192001"/>
                <a:gd name="connsiteY4489" fmla="*/ 5959209 h 6523037"/>
                <a:gd name="connsiteX4490" fmla="*/ 4069645 w 12192001"/>
                <a:gd name="connsiteY4490" fmla="*/ 5959209 h 6523037"/>
                <a:gd name="connsiteX4491" fmla="*/ 4066152 w 12192001"/>
                <a:gd name="connsiteY4491" fmla="*/ 5966196 h 6523037"/>
                <a:gd name="connsiteX4492" fmla="*/ 4001169 w 12192001"/>
                <a:gd name="connsiteY4492" fmla="*/ 5966196 h 6523037"/>
                <a:gd name="connsiteX4493" fmla="*/ 3820894 w 12192001"/>
                <a:gd name="connsiteY4493" fmla="*/ 6147170 h 6523037"/>
                <a:gd name="connsiteX4494" fmla="*/ 3731456 w 12192001"/>
                <a:gd name="connsiteY4494" fmla="*/ 6237307 h 6523037"/>
                <a:gd name="connsiteX4495" fmla="*/ 3864915 w 12192001"/>
                <a:gd name="connsiteY4495" fmla="*/ 6370766 h 6523037"/>
                <a:gd name="connsiteX4496" fmla="*/ 3862120 w 12192001"/>
                <a:gd name="connsiteY4496" fmla="*/ 6376355 h 6523037"/>
                <a:gd name="connsiteX4497" fmla="*/ 3862819 w 12192001"/>
                <a:gd name="connsiteY4497" fmla="*/ 6377052 h 6523037"/>
                <a:gd name="connsiteX4498" fmla="*/ 3862120 w 12192001"/>
                <a:gd name="connsiteY4498" fmla="*/ 6378452 h 6523037"/>
                <a:gd name="connsiteX4499" fmla="*/ 3725167 w 12192001"/>
                <a:gd name="connsiteY4499" fmla="*/ 6241499 h 6523037"/>
                <a:gd name="connsiteX4500" fmla="*/ 3461044 w 12192001"/>
                <a:gd name="connsiteY4500" fmla="*/ 6241499 h 6523037"/>
                <a:gd name="connsiteX4501" fmla="*/ 3732154 w 12192001"/>
                <a:gd name="connsiteY4501" fmla="*/ 6511911 h 6523037"/>
                <a:gd name="connsiteX4502" fmla="*/ 3721057 w 12192001"/>
                <a:gd name="connsiteY4502" fmla="*/ 6523037 h 6523037"/>
                <a:gd name="connsiteX4503" fmla="*/ 3710566 w 12192001"/>
                <a:gd name="connsiteY4503" fmla="*/ 6523037 h 6523037"/>
                <a:gd name="connsiteX4504" fmla="*/ 3718179 w 12192001"/>
                <a:gd name="connsiteY4504" fmla="*/ 6515405 h 6523037"/>
                <a:gd name="connsiteX4505" fmla="*/ 3454056 w 12192001"/>
                <a:gd name="connsiteY4505" fmla="*/ 6515405 h 6523037"/>
                <a:gd name="connsiteX4506" fmla="*/ 3446443 w 12192001"/>
                <a:gd name="connsiteY4506" fmla="*/ 6523037 h 6523037"/>
                <a:gd name="connsiteX4507" fmla="*/ 3437367 w 12192001"/>
                <a:gd name="connsiteY4507" fmla="*/ 6523037 h 6523037"/>
                <a:gd name="connsiteX4508" fmla="*/ 3447767 w 12192001"/>
                <a:gd name="connsiteY4508" fmla="*/ 6512610 h 6523037"/>
                <a:gd name="connsiteX4509" fmla="*/ 3176657 w 12192001"/>
                <a:gd name="connsiteY4509" fmla="*/ 6242198 h 6523037"/>
                <a:gd name="connsiteX4510" fmla="*/ 2912533 w 12192001"/>
                <a:gd name="connsiteY4510" fmla="*/ 6242198 h 6523037"/>
                <a:gd name="connsiteX4511" fmla="*/ 3183644 w 12192001"/>
                <a:gd name="connsiteY4511" fmla="*/ 6512610 h 6523037"/>
                <a:gd name="connsiteX4512" fmla="*/ 3173244 w 12192001"/>
                <a:gd name="connsiteY4512" fmla="*/ 6523037 h 6523037"/>
                <a:gd name="connsiteX4513" fmla="*/ 3163450 w 12192001"/>
                <a:gd name="connsiteY4513" fmla="*/ 6523037 h 6523037"/>
                <a:gd name="connsiteX4514" fmla="*/ 3169669 w 12192001"/>
                <a:gd name="connsiteY4514" fmla="*/ 6516802 h 6523037"/>
                <a:gd name="connsiteX4515" fmla="*/ 2905546 w 12192001"/>
                <a:gd name="connsiteY4515" fmla="*/ 6516802 h 6523037"/>
                <a:gd name="connsiteX4516" fmla="*/ 2899327 w 12192001"/>
                <a:gd name="connsiteY4516" fmla="*/ 6523037 h 6523037"/>
                <a:gd name="connsiteX4517" fmla="*/ 2889554 w 12192001"/>
                <a:gd name="connsiteY4517" fmla="*/ 6523037 h 6523037"/>
                <a:gd name="connsiteX4518" fmla="*/ 2899257 w 12192001"/>
                <a:gd name="connsiteY4518" fmla="*/ 6513309 h 6523037"/>
                <a:gd name="connsiteX4519" fmla="*/ 2628146 w 12192001"/>
                <a:gd name="connsiteY4519" fmla="*/ 6242897 h 6523037"/>
                <a:gd name="connsiteX4520" fmla="*/ 2364722 w 12192001"/>
                <a:gd name="connsiteY4520" fmla="*/ 6242897 h 6523037"/>
                <a:gd name="connsiteX4521" fmla="*/ 2494687 w 12192001"/>
                <a:gd name="connsiteY4521" fmla="*/ 6372862 h 6523037"/>
                <a:gd name="connsiteX4522" fmla="*/ 2635134 w 12192001"/>
                <a:gd name="connsiteY4522" fmla="*/ 6513309 h 6523037"/>
                <a:gd name="connsiteX4523" fmla="*/ 2625431 w 12192001"/>
                <a:gd name="connsiteY4523" fmla="*/ 6523037 h 6523037"/>
                <a:gd name="connsiteX4524" fmla="*/ 2614938 w 12192001"/>
                <a:gd name="connsiteY4524" fmla="*/ 6523037 h 6523037"/>
                <a:gd name="connsiteX4525" fmla="*/ 2620460 w 12192001"/>
                <a:gd name="connsiteY4525" fmla="*/ 6517501 h 6523037"/>
                <a:gd name="connsiteX4526" fmla="*/ 2357035 w 12192001"/>
                <a:gd name="connsiteY4526" fmla="*/ 6517501 h 6523037"/>
                <a:gd name="connsiteX4527" fmla="*/ 2351521 w 12192001"/>
                <a:gd name="connsiteY4527" fmla="*/ 6523037 h 6523037"/>
                <a:gd name="connsiteX4528" fmla="*/ 2341019 w 12192001"/>
                <a:gd name="connsiteY4528" fmla="*/ 6523037 h 6523037"/>
                <a:gd name="connsiteX4529" fmla="*/ 2350747 w 12192001"/>
                <a:gd name="connsiteY4529" fmla="*/ 6513309 h 6523037"/>
                <a:gd name="connsiteX4530" fmla="*/ 2079636 w 12192001"/>
                <a:gd name="connsiteY4530" fmla="*/ 6242897 h 6523037"/>
                <a:gd name="connsiteX4531" fmla="*/ 1815513 w 12192001"/>
                <a:gd name="connsiteY4531" fmla="*/ 6242897 h 6523037"/>
                <a:gd name="connsiteX4532" fmla="*/ 2086623 w 12192001"/>
                <a:gd name="connsiteY4532" fmla="*/ 6513309 h 6523037"/>
                <a:gd name="connsiteX4533" fmla="*/ 2083829 w 12192001"/>
                <a:gd name="connsiteY4533" fmla="*/ 6516103 h 6523037"/>
                <a:gd name="connsiteX4534" fmla="*/ 2076948 w 12192001"/>
                <a:gd name="connsiteY4534" fmla="*/ 6523037 h 6523037"/>
                <a:gd name="connsiteX4535" fmla="*/ 2067112 w 12192001"/>
                <a:gd name="connsiteY4535" fmla="*/ 6523037 h 6523037"/>
                <a:gd name="connsiteX4536" fmla="*/ 2072648 w 12192001"/>
                <a:gd name="connsiteY4536" fmla="*/ 6517501 h 6523037"/>
                <a:gd name="connsiteX4537" fmla="*/ 1808526 w 12192001"/>
                <a:gd name="connsiteY4537" fmla="*/ 6517501 h 6523037"/>
                <a:gd name="connsiteX4538" fmla="*/ 1803004 w 12192001"/>
                <a:gd name="connsiteY4538" fmla="*/ 6523037 h 6523037"/>
                <a:gd name="connsiteX4539" fmla="*/ 1792532 w 12192001"/>
                <a:gd name="connsiteY4539" fmla="*/ 6523037 h 6523037"/>
                <a:gd name="connsiteX4540" fmla="*/ 1801539 w 12192001"/>
                <a:gd name="connsiteY4540" fmla="*/ 6514008 h 6523037"/>
                <a:gd name="connsiteX4541" fmla="*/ 1796647 w 12192001"/>
                <a:gd name="connsiteY4541" fmla="*/ 6509116 h 6523037"/>
                <a:gd name="connsiteX4542" fmla="*/ 1531127 w 12192001"/>
                <a:gd name="connsiteY4542" fmla="*/ 6244295 h 6523037"/>
                <a:gd name="connsiteX4543" fmla="*/ 1267002 w 12192001"/>
                <a:gd name="connsiteY4543" fmla="*/ 6244295 h 6523037"/>
                <a:gd name="connsiteX4544" fmla="*/ 1267701 w 12192001"/>
                <a:gd name="connsiteY4544" fmla="*/ 6244993 h 6523037"/>
                <a:gd name="connsiteX4545" fmla="*/ 1268400 w 12192001"/>
                <a:gd name="connsiteY4545" fmla="*/ 6244993 h 6523037"/>
                <a:gd name="connsiteX4546" fmla="*/ 1537414 w 12192001"/>
                <a:gd name="connsiteY4546" fmla="*/ 6514008 h 6523037"/>
                <a:gd name="connsiteX4547" fmla="*/ 1528408 w 12192001"/>
                <a:gd name="connsiteY4547" fmla="*/ 6523037 h 6523037"/>
                <a:gd name="connsiteX4548" fmla="*/ 1520000 w 12192001"/>
                <a:gd name="connsiteY4548" fmla="*/ 6523037 h 6523037"/>
                <a:gd name="connsiteX4549" fmla="*/ 1524838 w 12192001"/>
                <a:gd name="connsiteY4549" fmla="*/ 6518200 h 6523037"/>
                <a:gd name="connsiteX4550" fmla="*/ 1260714 w 12192001"/>
                <a:gd name="connsiteY4550" fmla="*/ 6518200 h 6523037"/>
                <a:gd name="connsiteX4551" fmla="*/ 1255889 w 12192001"/>
                <a:gd name="connsiteY4551" fmla="*/ 6523037 h 6523037"/>
                <a:gd name="connsiteX4552" fmla="*/ 1243300 w 12192001"/>
                <a:gd name="connsiteY4552" fmla="*/ 6523037 h 6523037"/>
                <a:gd name="connsiteX4553" fmla="*/ 1252329 w 12192001"/>
                <a:gd name="connsiteY4553" fmla="*/ 6514008 h 6523037"/>
                <a:gd name="connsiteX4554" fmla="*/ 1119569 w 12192001"/>
                <a:gd name="connsiteY4554" fmla="*/ 6381946 h 6523037"/>
                <a:gd name="connsiteX4555" fmla="*/ 981219 w 12192001"/>
                <a:gd name="connsiteY4555" fmla="*/ 6243596 h 6523037"/>
                <a:gd name="connsiteX4556" fmla="*/ 717095 w 12192001"/>
                <a:gd name="connsiteY4556" fmla="*/ 6243596 h 6523037"/>
                <a:gd name="connsiteX4557" fmla="*/ 988206 w 12192001"/>
                <a:gd name="connsiteY4557" fmla="*/ 6513309 h 6523037"/>
                <a:gd name="connsiteX4558" fmla="*/ 985411 w 12192001"/>
                <a:gd name="connsiteY4558" fmla="*/ 6516103 h 6523037"/>
                <a:gd name="connsiteX4559" fmla="*/ 978530 w 12192001"/>
                <a:gd name="connsiteY4559" fmla="*/ 6523037 h 6523037"/>
                <a:gd name="connsiteX4560" fmla="*/ 969394 w 12192001"/>
                <a:gd name="connsiteY4560" fmla="*/ 6523037 h 6523037"/>
                <a:gd name="connsiteX4561" fmla="*/ 974930 w 12192001"/>
                <a:gd name="connsiteY4561" fmla="*/ 6517501 h 6523037"/>
                <a:gd name="connsiteX4562" fmla="*/ 716396 w 12192001"/>
                <a:gd name="connsiteY4562" fmla="*/ 6517501 h 6523037"/>
                <a:gd name="connsiteX4563" fmla="*/ 714941 w 12192001"/>
                <a:gd name="connsiteY4563" fmla="*/ 6516802 h 6523037"/>
                <a:gd name="connsiteX4564" fmla="*/ 716396 w 12192001"/>
                <a:gd name="connsiteY4564" fmla="*/ 6516802 h 6523037"/>
                <a:gd name="connsiteX4565" fmla="*/ 698928 w 12192001"/>
                <a:gd name="connsiteY4565" fmla="*/ 6508417 h 6523037"/>
                <a:gd name="connsiteX4566" fmla="*/ 700271 w 12192001"/>
                <a:gd name="connsiteY4566" fmla="*/ 6509761 h 6523037"/>
                <a:gd name="connsiteX4567" fmla="*/ 698928 w 12192001"/>
                <a:gd name="connsiteY4567" fmla="*/ 6509116 h 6523037"/>
                <a:gd name="connsiteX4568" fmla="*/ 433407 w 12192001"/>
                <a:gd name="connsiteY4568" fmla="*/ 6244295 h 6523037"/>
                <a:gd name="connsiteX4569" fmla="*/ 169284 w 12192001"/>
                <a:gd name="connsiteY4569" fmla="*/ 6244295 h 6523037"/>
                <a:gd name="connsiteX4570" fmla="*/ 170681 w 12192001"/>
                <a:gd name="connsiteY4570" fmla="*/ 6245691 h 6523037"/>
                <a:gd name="connsiteX4571" fmla="*/ 439696 w 12192001"/>
                <a:gd name="connsiteY4571" fmla="*/ 6514707 h 6523037"/>
                <a:gd name="connsiteX4572" fmla="*/ 431344 w 12192001"/>
                <a:gd name="connsiteY4572" fmla="*/ 6523037 h 6523037"/>
                <a:gd name="connsiteX4573" fmla="*/ 420908 w 12192001"/>
                <a:gd name="connsiteY4573" fmla="*/ 6523037 h 6523037"/>
                <a:gd name="connsiteX4574" fmla="*/ 425721 w 12192001"/>
                <a:gd name="connsiteY4574" fmla="*/ 6518200 h 6523037"/>
                <a:gd name="connsiteX4575" fmla="*/ 161597 w 12192001"/>
                <a:gd name="connsiteY4575" fmla="*/ 6518200 h 6523037"/>
                <a:gd name="connsiteX4576" fmla="*/ 156781 w 12192001"/>
                <a:gd name="connsiteY4576" fmla="*/ 6523037 h 6523037"/>
                <a:gd name="connsiteX4577" fmla="*/ 146978 w 12192001"/>
                <a:gd name="connsiteY4577" fmla="*/ 6523037 h 6523037"/>
                <a:gd name="connsiteX4578" fmla="*/ 155309 w 12192001"/>
                <a:gd name="connsiteY4578" fmla="*/ 6514707 h 6523037"/>
                <a:gd name="connsiteX4579" fmla="*/ 21150 w 12192001"/>
                <a:gd name="connsiteY4579" fmla="*/ 6381247 h 6523037"/>
                <a:gd name="connsiteX4580" fmla="*/ 5080 w 12192001"/>
                <a:gd name="connsiteY4580" fmla="*/ 6365176 h 6523037"/>
                <a:gd name="connsiteX4581" fmla="*/ 5080 w 12192001"/>
                <a:gd name="connsiteY4581" fmla="*/ 6355394 h 6523037"/>
                <a:gd name="connsiteX4582" fmla="*/ 24645 w 12192001"/>
                <a:gd name="connsiteY4582" fmla="*/ 6374959 h 6523037"/>
                <a:gd name="connsiteX4583" fmla="*/ 161597 w 12192001"/>
                <a:gd name="connsiteY4583" fmla="*/ 6511212 h 6523037"/>
                <a:gd name="connsiteX4584" fmla="*/ 425721 w 12192001"/>
                <a:gd name="connsiteY4584" fmla="*/ 6511212 h 6523037"/>
                <a:gd name="connsiteX4585" fmla="*/ 154610 w 12192001"/>
                <a:gd name="connsiteY4585" fmla="*/ 6240800 h 6523037"/>
                <a:gd name="connsiteX4586" fmla="*/ 156008 w 12192001"/>
                <a:gd name="connsiteY4586" fmla="*/ 6239403 h 6523037"/>
                <a:gd name="connsiteX4587" fmla="*/ 156706 w 12192001"/>
                <a:gd name="connsiteY4587" fmla="*/ 6239403 h 6523037"/>
                <a:gd name="connsiteX4588" fmla="*/ 425022 w 12192001"/>
                <a:gd name="connsiteY4588" fmla="*/ 5970389 h 6523037"/>
                <a:gd name="connsiteX4589" fmla="*/ 161597 w 12192001"/>
                <a:gd name="connsiteY4589" fmla="*/ 5970389 h 6523037"/>
                <a:gd name="connsiteX4590" fmla="*/ 5080 w 12192001"/>
                <a:gd name="connsiteY4590" fmla="*/ 6126906 h 6523037"/>
                <a:gd name="connsiteX4591" fmla="*/ 5080 w 12192001"/>
                <a:gd name="connsiteY4591" fmla="*/ 6116425 h 6523037"/>
                <a:gd name="connsiteX4592" fmla="*/ 154610 w 12192001"/>
                <a:gd name="connsiteY4592" fmla="*/ 5966894 h 6523037"/>
                <a:gd name="connsiteX4593" fmla="*/ 5080 w 12192001"/>
                <a:gd name="connsiteY4593" fmla="*/ 5817364 h 6523037"/>
                <a:gd name="connsiteX4594" fmla="*/ 5080 w 12192001"/>
                <a:gd name="connsiteY4594" fmla="*/ 5806884 h 6523037"/>
                <a:gd name="connsiteX4595" fmla="*/ 161597 w 12192001"/>
                <a:gd name="connsiteY4595" fmla="*/ 5962702 h 6523037"/>
                <a:gd name="connsiteX4596" fmla="*/ 425022 w 12192001"/>
                <a:gd name="connsiteY4596" fmla="*/ 5962702 h 6523037"/>
                <a:gd name="connsiteX4597" fmla="*/ 295057 w 12192001"/>
                <a:gd name="connsiteY4597" fmla="*/ 5832737 h 6523037"/>
                <a:gd name="connsiteX4598" fmla="*/ 154610 w 12192001"/>
                <a:gd name="connsiteY4598" fmla="*/ 5692290 h 6523037"/>
                <a:gd name="connsiteX4599" fmla="*/ 425022 w 12192001"/>
                <a:gd name="connsiteY4599" fmla="*/ 5421878 h 6523037"/>
                <a:gd name="connsiteX4600" fmla="*/ 160898 w 12192001"/>
                <a:gd name="connsiteY4600" fmla="*/ 5421878 h 6523037"/>
                <a:gd name="connsiteX4601" fmla="*/ 5080 w 12192001"/>
                <a:gd name="connsiteY4601" fmla="*/ 5577697 h 6523037"/>
                <a:gd name="connsiteX4602" fmla="*/ 5080 w 12192001"/>
                <a:gd name="connsiteY4602" fmla="*/ 5567216 h 6523037"/>
                <a:gd name="connsiteX4603" fmla="*/ 153911 w 12192001"/>
                <a:gd name="connsiteY4603" fmla="*/ 5418385 h 6523037"/>
                <a:gd name="connsiteX4604" fmla="*/ 5080 w 12192001"/>
                <a:gd name="connsiteY4604" fmla="*/ 5269553 h 6523037"/>
                <a:gd name="connsiteX4605" fmla="*/ 5080 w 12192001"/>
                <a:gd name="connsiteY4605" fmla="*/ 5259072 h 6523037"/>
                <a:gd name="connsiteX4606" fmla="*/ 160898 w 12192001"/>
                <a:gd name="connsiteY4606" fmla="*/ 5414192 h 6523037"/>
                <a:gd name="connsiteX4607" fmla="*/ 425022 w 12192001"/>
                <a:gd name="connsiteY4607" fmla="*/ 5414192 h 6523037"/>
                <a:gd name="connsiteX4608" fmla="*/ 153911 w 12192001"/>
                <a:gd name="connsiteY4608" fmla="*/ 5143780 h 6523037"/>
                <a:gd name="connsiteX4609" fmla="*/ 338378 w 12192001"/>
                <a:gd name="connsiteY4609" fmla="*/ 4959313 h 6523037"/>
                <a:gd name="connsiteX4610" fmla="*/ 424323 w 12192001"/>
                <a:gd name="connsiteY4610" fmla="*/ 4873368 h 6523037"/>
                <a:gd name="connsiteX4611" fmla="*/ 160200 w 12192001"/>
                <a:gd name="connsiteY4611" fmla="*/ 4873368 h 6523037"/>
                <a:gd name="connsiteX4612" fmla="*/ 5080 w 12192001"/>
                <a:gd name="connsiteY4612" fmla="*/ 5028489 h 6523037"/>
                <a:gd name="connsiteX4613" fmla="*/ 5080 w 12192001"/>
                <a:gd name="connsiteY4613" fmla="*/ 5018007 h 6523037"/>
                <a:gd name="connsiteX4614" fmla="*/ 153212 w 12192001"/>
                <a:gd name="connsiteY4614" fmla="*/ 4869176 h 6523037"/>
                <a:gd name="connsiteX4615" fmla="*/ 148321 w 12192001"/>
                <a:gd name="connsiteY4615" fmla="*/ 4864285 h 6523037"/>
                <a:gd name="connsiteX4616" fmla="*/ 5080 w 12192001"/>
                <a:gd name="connsiteY4616" fmla="*/ 4721741 h 6523037"/>
                <a:gd name="connsiteX4617" fmla="*/ 5080 w 12192001"/>
                <a:gd name="connsiteY4617" fmla="*/ 4711960 h 6523037"/>
                <a:gd name="connsiteX4618" fmla="*/ 160200 w 12192001"/>
                <a:gd name="connsiteY4618" fmla="*/ 4866380 h 6523037"/>
                <a:gd name="connsiteX4619" fmla="*/ 424323 w 12192001"/>
                <a:gd name="connsiteY4619" fmla="*/ 4865683 h 6523037"/>
                <a:gd name="connsiteX4620" fmla="*/ 153212 w 12192001"/>
                <a:gd name="connsiteY4620" fmla="*/ 4595271 h 6523037"/>
                <a:gd name="connsiteX4621" fmla="*/ 423624 w 12192001"/>
                <a:gd name="connsiteY4621" fmla="*/ 4324859 h 6523037"/>
                <a:gd name="connsiteX4622" fmla="*/ 159501 w 12192001"/>
                <a:gd name="connsiteY4622" fmla="*/ 4324859 h 6523037"/>
                <a:gd name="connsiteX4623" fmla="*/ 5080 w 12192001"/>
                <a:gd name="connsiteY4623" fmla="*/ 4479279 h 6523037"/>
                <a:gd name="connsiteX4624" fmla="*/ 5080 w 12192001"/>
                <a:gd name="connsiteY4624" fmla="*/ 4468799 h 6523037"/>
                <a:gd name="connsiteX4625" fmla="*/ 152513 w 12192001"/>
                <a:gd name="connsiteY4625" fmla="*/ 4320665 h 6523037"/>
                <a:gd name="connsiteX4626" fmla="*/ 5080 w 12192001"/>
                <a:gd name="connsiteY4626" fmla="*/ 4173930 h 6523037"/>
                <a:gd name="connsiteX4627" fmla="*/ 5080 w 12192001"/>
                <a:gd name="connsiteY4627" fmla="*/ 4163449 h 6523037"/>
                <a:gd name="connsiteX4628" fmla="*/ 159501 w 12192001"/>
                <a:gd name="connsiteY4628" fmla="*/ 4317172 h 6523037"/>
                <a:gd name="connsiteX4629" fmla="*/ 423624 w 12192001"/>
                <a:gd name="connsiteY4629" fmla="*/ 4317172 h 6523037"/>
                <a:gd name="connsiteX4630" fmla="*/ 152513 w 12192001"/>
                <a:gd name="connsiteY4630" fmla="*/ 4047459 h 6523037"/>
                <a:gd name="connsiteX4631" fmla="*/ 331391 w 12192001"/>
                <a:gd name="connsiteY4631" fmla="*/ 3868581 h 6523037"/>
                <a:gd name="connsiteX4632" fmla="*/ 331489 w 12192001"/>
                <a:gd name="connsiteY4632" fmla="*/ 3868581 h 6523037"/>
                <a:gd name="connsiteX4633" fmla="*/ 422038 w 12192001"/>
                <a:gd name="connsiteY4633" fmla="*/ 3777797 h 6523037"/>
                <a:gd name="connsiteX4634" fmla="*/ 225692 w 12192001"/>
                <a:gd name="connsiteY4634" fmla="*/ 3777797 h 6523037"/>
                <a:gd name="connsiteX4635" fmla="*/ 226391 w 12192001"/>
                <a:gd name="connsiteY4635" fmla="*/ 3776401 h 6523037"/>
                <a:gd name="connsiteX4636" fmla="*/ 158613 w 12192001"/>
                <a:gd name="connsiteY4636" fmla="*/ 3776401 h 6523037"/>
                <a:gd name="connsiteX4637" fmla="*/ 0 w 12192001"/>
                <a:gd name="connsiteY4637" fmla="*/ 3935012 h 6523037"/>
                <a:gd name="connsiteX4638" fmla="*/ 0 w 12192001"/>
                <a:gd name="connsiteY4638" fmla="*/ 3925231 h 6523037"/>
                <a:gd name="connsiteX4639" fmla="*/ 152324 w 12192001"/>
                <a:gd name="connsiteY4639" fmla="*/ 3772906 h 6523037"/>
                <a:gd name="connsiteX4640" fmla="*/ 0 w 12192001"/>
                <a:gd name="connsiteY4640" fmla="*/ 3621281 h 6523037"/>
                <a:gd name="connsiteX4641" fmla="*/ 0 w 12192001"/>
                <a:gd name="connsiteY4641" fmla="*/ 3610800 h 6523037"/>
                <a:gd name="connsiteX4642" fmla="*/ 159312 w 12192001"/>
                <a:gd name="connsiteY4642" fmla="*/ 3768713 h 6523037"/>
                <a:gd name="connsiteX4643" fmla="*/ 423435 w 12192001"/>
                <a:gd name="connsiteY4643" fmla="*/ 3768713 h 6523037"/>
                <a:gd name="connsiteX4644" fmla="*/ 294168 w 12192001"/>
                <a:gd name="connsiteY4644" fmla="*/ 3640146 h 6523037"/>
                <a:gd name="connsiteX4645" fmla="*/ 152324 w 12192001"/>
                <a:gd name="connsiteY4645" fmla="*/ 3499001 h 6523037"/>
                <a:gd name="connsiteX4646" fmla="*/ 336093 w 12192001"/>
                <a:gd name="connsiteY4646" fmla="*/ 3313835 h 6523037"/>
                <a:gd name="connsiteX4647" fmla="*/ 422038 w 12192001"/>
                <a:gd name="connsiteY4647" fmla="*/ 3227890 h 6523037"/>
                <a:gd name="connsiteX4648" fmla="*/ 157914 w 12192001"/>
                <a:gd name="connsiteY4648" fmla="*/ 3227890 h 6523037"/>
                <a:gd name="connsiteX4649" fmla="*/ 0 w 12192001"/>
                <a:gd name="connsiteY4649" fmla="*/ 3386503 h 6523037"/>
                <a:gd name="connsiteX4650" fmla="*/ 0 w 12192001"/>
                <a:gd name="connsiteY4650" fmla="*/ 3376021 h 6523037"/>
                <a:gd name="connsiteX4651" fmla="*/ 152324 w 12192001"/>
                <a:gd name="connsiteY4651" fmla="*/ 3224396 h 6523037"/>
                <a:gd name="connsiteX4652" fmla="*/ 146735 w 12192001"/>
                <a:gd name="connsiteY4652" fmla="*/ 3219505 h 6523037"/>
                <a:gd name="connsiteX4653" fmla="*/ 0 w 12192001"/>
                <a:gd name="connsiteY4653" fmla="*/ 3073469 h 6523037"/>
                <a:gd name="connsiteX4654" fmla="*/ 0 w 12192001"/>
                <a:gd name="connsiteY4654" fmla="*/ 3062989 h 6523037"/>
                <a:gd name="connsiteX4655" fmla="*/ 157914 w 12192001"/>
                <a:gd name="connsiteY4655" fmla="*/ 3220903 h 6523037"/>
                <a:gd name="connsiteX4656" fmla="*/ 422038 w 12192001"/>
                <a:gd name="connsiteY4656" fmla="*/ 3220903 h 6523037"/>
                <a:gd name="connsiteX4657" fmla="*/ 150927 w 12192001"/>
                <a:gd name="connsiteY4657" fmla="*/ 2950491 h 6523037"/>
                <a:gd name="connsiteX4658" fmla="*/ 421339 w 12192001"/>
                <a:gd name="connsiteY4658" fmla="*/ 2679380 h 6523037"/>
                <a:gd name="connsiteX4659" fmla="*/ 157215 w 12192001"/>
                <a:gd name="connsiteY4659" fmla="*/ 2679380 h 6523037"/>
                <a:gd name="connsiteX4660" fmla="*/ 0 w 12192001"/>
                <a:gd name="connsiteY4660" fmla="*/ 2837294 h 6523037"/>
                <a:gd name="connsiteX4661" fmla="*/ 0 w 12192001"/>
                <a:gd name="connsiteY4661" fmla="*/ 2826812 h 6523037"/>
                <a:gd name="connsiteX4662" fmla="*/ 150927 w 12192001"/>
                <a:gd name="connsiteY4662" fmla="*/ 2675886 h 6523037"/>
                <a:gd name="connsiteX4663" fmla="*/ 0 w 12192001"/>
                <a:gd name="connsiteY4663" fmla="*/ 2525658 h 6523037"/>
                <a:gd name="connsiteX4664" fmla="*/ 0 w 12192001"/>
                <a:gd name="connsiteY4664" fmla="*/ 2515876 h 6523037"/>
                <a:gd name="connsiteX4665" fmla="*/ 157914 w 12192001"/>
                <a:gd name="connsiteY4665" fmla="*/ 2672393 h 6523037"/>
                <a:gd name="connsiteX4666" fmla="*/ 422038 w 12192001"/>
                <a:gd name="connsiteY4666" fmla="*/ 2672393 h 6523037"/>
                <a:gd name="connsiteX4667" fmla="*/ 150927 w 12192001"/>
                <a:gd name="connsiteY4667" fmla="*/ 2401981 h 6523037"/>
                <a:gd name="connsiteX4668" fmla="*/ 420640 w 12192001"/>
                <a:gd name="connsiteY4668" fmla="*/ 2130870 h 6523037"/>
                <a:gd name="connsiteX4669" fmla="*/ 156517 w 12192001"/>
                <a:gd name="connsiteY4669" fmla="*/ 2130870 h 6523037"/>
                <a:gd name="connsiteX4670" fmla="*/ 0 w 12192001"/>
                <a:gd name="connsiteY4670" fmla="*/ 2288085 h 6523037"/>
                <a:gd name="connsiteX4671" fmla="*/ 0 w 12192001"/>
                <a:gd name="connsiteY4671" fmla="*/ 2277604 h 6523037"/>
                <a:gd name="connsiteX4672" fmla="*/ 150228 w 12192001"/>
                <a:gd name="connsiteY4672" fmla="*/ 2127376 h 6523037"/>
                <a:gd name="connsiteX4673" fmla="*/ 16070 w 12192001"/>
                <a:gd name="connsiteY4673" fmla="*/ 1993917 h 6523037"/>
                <a:gd name="connsiteX4674" fmla="*/ 0 w 12192001"/>
                <a:gd name="connsiteY4674" fmla="*/ 1977846 h 6523037"/>
                <a:gd name="connsiteX4675" fmla="*/ 0 w 12192001"/>
                <a:gd name="connsiteY4675" fmla="*/ 1968064 h 6523037"/>
                <a:gd name="connsiteX4676" fmla="*/ 19564 w 12192001"/>
                <a:gd name="connsiteY4676" fmla="*/ 1987628 h 6523037"/>
                <a:gd name="connsiteX4677" fmla="*/ 156517 w 12192001"/>
                <a:gd name="connsiteY4677" fmla="*/ 2123882 h 6523037"/>
                <a:gd name="connsiteX4678" fmla="*/ 420640 w 12192001"/>
                <a:gd name="connsiteY4678" fmla="*/ 2123882 h 6523037"/>
                <a:gd name="connsiteX4679" fmla="*/ 149529 w 12192001"/>
                <a:gd name="connsiteY4679" fmla="*/ 1853470 h 6523037"/>
                <a:gd name="connsiteX4680" fmla="*/ 150927 w 12192001"/>
                <a:gd name="connsiteY4680" fmla="*/ 1852072 h 6523037"/>
                <a:gd name="connsiteX4681" fmla="*/ 151626 w 12192001"/>
                <a:gd name="connsiteY4681" fmla="*/ 1852072 h 6523037"/>
                <a:gd name="connsiteX4682" fmla="*/ 419941 w 12192001"/>
                <a:gd name="connsiteY4682" fmla="*/ 1583058 h 6523037"/>
                <a:gd name="connsiteX4683" fmla="*/ 156517 w 12192001"/>
                <a:gd name="connsiteY4683" fmla="*/ 1583058 h 6523037"/>
                <a:gd name="connsiteX4684" fmla="*/ 0 w 12192001"/>
                <a:gd name="connsiteY4684" fmla="*/ 1739574 h 6523037"/>
                <a:gd name="connsiteX4685" fmla="*/ 0 w 12192001"/>
                <a:gd name="connsiteY4685" fmla="*/ 1729094 h 6523037"/>
                <a:gd name="connsiteX4686" fmla="*/ 149529 w 12192001"/>
                <a:gd name="connsiteY4686" fmla="*/ 1579564 h 6523037"/>
                <a:gd name="connsiteX4687" fmla="*/ 0 w 12192001"/>
                <a:gd name="connsiteY4687" fmla="*/ 1430035 h 6523037"/>
                <a:gd name="connsiteX4688" fmla="*/ 0 w 12192001"/>
                <a:gd name="connsiteY4688" fmla="*/ 1419554 h 6523037"/>
                <a:gd name="connsiteX4689" fmla="*/ 156517 w 12192001"/>
                <a:gd name="connsiteY4689" fmla="*/ 1575372 h 6523037"/>
                <a:gd name="connsiteX4690" fmla="*/ 419941 w 12192001"/>
                <a:gd name="connsiteY4690" fmla="*/ 1575372 h 6523037"/>
                <a:gd name="connsiteX4691" fmla="*/ 289976 w 12192001"/>
                <a:gd name="connsiteY4691" fmla="*/ 1445407 h 6523037"/>
                <a:gd name="connsiteX4692" fmla="*/ 149529 w 12192001"/>
                <a:gd name="connsiteY4692" fmla="*/ 1304960 h 6523037"/>
                <a:gd name="connsiteX4693" fmla="*/ 419941 w 12192001"/>
                <a:gd name="connsiteY4693" fmla="*/ 1034548 h 6523037"/>
                <a:gd name="connsiteX4694" fmla="*/ 155818 w 12192001"/>
                <a:gd name="connsiteY4694" fmla="*/ 1034548 h 6523037"/>
                <a:gd name="connsiteX4695" fmla="*/ 0 w 12192001"/>
                <a:gd name="connsiteY4695" fmla="*/ 1190365 h 6523037"/>
                <a:gd name="connsiteX4696" fmla="*/ 0 w 12192001"/>
                <a:gd name="connsiteY4696" fmla="*/ 1179885 h 6523037"/>
                <a:gd name="connsiteX4697" fmla="*/ 148830 w 12192001"/>
                <a:gd name="connsiteY4697" fmla="*/ 1031055 h 6523037"/>
                <a:gd name="connsiteX4698" fmla="*/ 0 w 12192001"/>
                <a:gd name="connsiteY4698" fmla="*/ 882223 h 6523037"/>
                <a:gd name="connsiteX4699" fmla="*/ 0 w 12192001"/>
                <a:gd name="connsiteY4699" fmla="*/ 871743 h 6523037"/>
                <a:gd name="connsiteX4700" fmla="*/ 155818 w 12192001"/>
                <a:gd name="connsiteY4700" fmla="*/ 1026861 h 6523037"/>
                <a:gd name="connsiteX4701" fmla="*/ 419941 w 12192001"/>
                <a:gd name="connsiteY4701" fmla="*/ 1026861 h 6523037"/>
                <a:gd name="connsiteX4702" fmla="*/ 148830 w 12192001"/>
                <a:gd name="connsiteY4702" fmla="*/ 756449 h 6523037"/>
                <a:gd name="connsiteX4703" fmla="*/ 333298 w 12192001"/>
                <a:gd name="connsiteY4703" fmla="*/ 571983 h 6523037"/>
                <a:gd name="connsiteX4704" fmla="*/ 419242 w 12192001"/>
                <a:gd name="connsiteY4704" fmla="*/ 486037 h 6523037"/>
                <a:gd name="connsiteX4705" fmla="*/ 155119 w 12192001"/>
                <a:gd name="connsiteY4705" fmla="*/ 486037 h 6523037"/>
                <a:gd name="connsiteX4706" fmla="*/ 0 w 12192001"/>
                <a:gd name="connsiteY4706" fmla="*/ 641157 h 6523037"/>
                <a:gd name="connsiteX4707" fmla="*/ 0 w 12192001"/>
                <a:gd name="connsiteY4707" fmla="*/ 630675 h 6523037"/>
                <a:gd name="connsiteX4708" fmla="*/ 148131 w 12192001"/>
                <a:gd name="connsiteY4708" fmla="*/ 481845 h 6523037"/>
                <a:gd name="connsiteX4709" fmla="*/ 143240 w 12192001"/>
                <a:gd name="connsiteY4709" fmla="*/ 476954 h 6523037"/>
                <a:gd name="connsiteX4710" fmla="*/ 0 w 12192001"/>
                <a:gd name="connsiteY4710" fmla="*/ 334412 h 6523037"/>
                <a:gd name="connsiteX4711" fmla="*/ 0 w 12192001"/>
                <a:gd name="connsiteY4711" fmla="*/ 324630 h 6523037"/>
                <a:gd name="connsiteX4712" fmla="*/ 155119 w 12192001"/>
                <a:gd name="connsiteY4712" fmla="*/ 479050 h 6523037"/>
                <a:gd name="connsiteX4713" fmla="*/ 419242 w 12192001"/>
                <a:gd name="connsiteY4713" fmla="*/ 478352 h 6523037"/>
                <a:gd name="connsiteX4714" fmla="*/ 148131 w 12192001"/>
                <a:gd name="connsiteY4714" fmla="*/ 207940 h 6523037"/>
                <a:gd name="connsiteX4715" fmla="*/ 348134 w 12192001"/>
                <a:gd name="connsiteY4715" fmla="*/ 7937 h 6523037"/>
                <a:gd name="connsiteX4716" fmla="*/ 358615 w 12192001"/>
                <a:gd name="connsiteY4716" fmla="*/ 7937 h 6523037"/>
                <a:gd name="connsiteX4717" fmla="*/ 162106 w 12192001"/>
                <a:gd name="connsiteY4717" fmla="*/ 204446 h 6523037"/>
                <a:gd name="connsiteX4718" fmla="*/ 426230 w 12192001"/>
                <a:gd name="connsiteY4718" fmla="*/ 204446 h 6523037"/>
                <a:gd name="connsiteX4719" fmla="*/ 622232 w 12192001"/>
                <a:gd name="connsiteY4719" fmla="*/ 7937 h 6523037"/>
                <a:gd name="connsiteX4720" fmla="*/ 632006 w 12192001"/>
                <a:gd name="connsiteY4720" fmla="*/ 7937 h 6523037"/>
                <a:gd name="connsiteX4721" fmla="*/ 432518 w 12192001"/>
                <a:gd name="connsiteY4721" fmla="*/ 207940 h 6523037"/>
                <a:gd name="connsiteX4722" fmla="*/ 704328 w 12192001"/>
                <a:gd name="connsiteY4722" fmla="*/ 478352 h 6523037"/>
                <a:gd name="connsiteX4723" fmla="*/ 967752 w 12192001"/>
                <a:gd name="connsiteY4723" fmla="*/ 478352 h 6523037"/>
                <a:gd name="connsiteX4724" fmla="*/ 837089 w 12192001"/>
                <a:gd name="connsiteY4724" fmla="*/ 348386 h 6523037"/>
                <a:gd name="connsiteX4725" fmla="*/ 696642 w 12192001"/>
                <a:gd name="connsiteY4725" fmla="*/ 207940 h 6523037"/>
                <a:gd name="connsiteX4726" fmla="*/ 896129 w 12192001"/>
                <a:gd name="connsiteY4726" fmla="*/ 7937 h 6523037"/>
                <a:gd name="connsiteX4727" fmla="*/ 907318 w 12192001"/>
                <a:gd name="connsiteY4727" fmla="*/ 7937 h 6523037"/>
                <a:gd name="connsiteX4728" fmla="*/ 711316 w 12192001"/>
                <a:gd name="connsiteY4728" fmla="*/ 204446 h 6523037"/>
                <a:gd name="connsiteX4729" fmla="*/ 974740 w 12192001"/>
                <a:gd name="connsiteY4729" fmla="*/ 204446 h 6523037"/>
                <a:gd name="connsiteX4730" fmla="*/ 1170742 w 12192001"/>
                <a:gd name="connsiteY4730" fmla="*/ 7937 h 6523037"/>
                <a:gd name="connsiteX4731" fmla="*/ 1179819 w 12192001"/>
                <a:gd name="connsiteY4731" fmla="*/ 7937 h 6523037"/>
                <a:gd name="connsiteX4732" fmla="*/ 981029 w 12192001"/>
                <a:gd name="connsiteY4732" fmla="*/ 207241 h 6523037"/>
                <a:gd name="connsiteX4733" fmla="*/ 1252140 w 12192001"/>
                <a:gd name="connsiteY4733" fmla="*/ 477653 h 6523037"/>
                <a:gd name="connsiteX4734" fmla="*/ 1516263 w 12192001"/>
                <a:gd name="connsiteY4734" fmla="*/ 477653 h 6523037"/>
                <a:gd name="connsiteX4735" fmla="*/ 1245152 w 12192001"/>
                <a:gd name="connsiteY4735" fmla="*/ 207241 h 6523037"/>
                <a:gd name="connsiteX4736" fmla="*/ 1443942 w 12192001"/>
                <a:gd name="connsiteY4736" fmla="*/ 7937 h 6523037"/>
                <a:gd name="connsiteX4737" fmla="*/ 1453410 w 12192001"/>
                <a:gd name="connsiteY4737" fmla="*/ 7937 h 6523037"/>
                <a:gd name="connsiteX4738" fmla="*/ 1436607 w 12192001"/>
                <a:gd name="connsiteY4738" fmla="*/ 24870 h 6523037"/>
                <a:gd name="connsiteX4739" fmla="*/ 1435908 w 12192001"/>
                <a:gd name="connsiteY4739" fmla="*/ 24870 h 6523037"/>
                <a:gd name="connsiteX4740" fmla="*/ 1258428 w 12192001"/>
                <a:gd name="connsiteY4740" fmla="*/ 203048 h 6523037"/>
                <a:gd name="connsiteX4741" fmla="*/ 1522551 w 12192001"/>
                <a:gd name="connsiteY4741" fmla="*/ 203048 h 6523037"/>
                <a:gd name="connsiteX4742" fmla="*/ 1717663 w 12192001"/>
                <a:gd name="connsiteY4742" fmla="*/ 7937 h 6523037"/>
                <a:gd name="connsiteX4743" fmla="*/ 1728424 w 12192001"/>
                <a:gd name="connsiteY4743" fmla="*/ 7937 h 6523037"/>
                <a:gd name="connsiteX4744" fmla="*/ 1620376 w 12192001"/>
                <a:gd name="connsiteY4744" fmla="*/ 116405 h 6523037"/>
                <a:gd name="connsiteX4745" fmla="*/ 1619677 w 12192001"/>
                <a:gd name="connsiteY4745" fmla="*/ 116405 h 6523037"/>
                <a:gd name="connsiteX4746" fmla="*/ 1529539 w 12192001"/>
                <a:gd name="connsiteY4746" fmla="*/ 206542 h 6523037"/>
                <a:gd name="connsiteX4747" fmla="*/ 1799951 w 12192001"/>
                <a:gd name="connsiteY4747" fmla="*/ 477653 h 6523037"/>
                <a:gd name="connsiteX4748" fmla="*/ 2064074 w 12192001"/>
                <a:gd name="connsiteY4748" fmla="*/ 477653 h 6523037"/>
                <a:gd name="connsiteX4749" fmla="*/ 1792964 w 12192001"/>
                <a:gd name="connsiteY4749" fmla="*/ 207241 h 6523037"/>
                <a:gd name="connsiteX4750" fmla="*/ 1977431 w 12192001"/>
                <a:gd name="connsiteY4750" fmla="*/ 22774 h 6523037"/>
                <a:gd name="connsiteX4751" fmla="*/ 1978130 w 12192001"/>
                <a:gd name="connsiteY4751" fmla="*/ 22774 h 6523037"/>
                <a:gd name="connsiteX4752" fmla="*/ 1992847 w 12192001"/>
                <a:gd name="connsiteY4752" fmla="*/ 7937 h 6523037"/>
                <a:gd name="connsiteX4753" fmla="*/ 2002247 w 12192001"/>
                <a:gd name="connsiteY4753" fmla="*/ 7937 h 6523037"/>
                <a:gd name="connsiteX4754" fmla="*/ 1808336 w 12192001"/>
                <a:gd name="connsiteY4754" fmla="*/ 202349 h 6523037"/>
                <a:gd name="connsiteX4755" fmla="*/ 2071761 w 12192001"/>
                <a:gd name="connsiteY4755" fmla="*/ 202349 h 6523037"/>
                <a:gd name="connsiteX4756" fmla="*/ 2266173 w 12192001"/>
                <a:gd name="connsiteY4756" fmla="*/ 7937 h 6523037"/>
                <a:gd name="connsiteX4757" fmla="*/ 2277539 w 12192001"/>
                <a:gd name="connsiteY4757" fmla="*/ 7937 h 6523037"/>
                <a:gd name="connsiteX4758" fmla="*/ 2078748 w 12192001"/>
                <a:gd name="connsiteY4758" fmla="*/ 207241 h 6523037"/>
                <a:gd name="connsiteX4759" fmla="*/ 2348461 w 12192001"/>
                <a:gd name="connsiteY4759" fmla="*/ 476256 h 6523037"/>
                <a:gd name="connsiteX4760" fmla="*/ 2611886 w 12192001"/>
                <a:gd name="connsiteY4760" fmla="*/ 476256 h 6523037"/>
                <a:gd name="connsiteX4761" fmla="*/ 2342872 w 12192001"/>
                <a:gd name="connsiteY4761" fmla="*/ 207241 h 6523037"/>
                <a:gd name="connsiteX4762" fmla="*/ 2343570 w 12192001"/>
                <a:gd name="connsiteY4762" fmla="*/ 206542 h 6523037"/>
                <a:gd name="connsiteX4763" fmla="*/ 2342173 w 12192001"/>
                <a:gd name="connsiteY4763" fmla="*/ 205145 h 6523037"/>
                <a:gd name="connsiteX4764" fmla="*/ 2538868 w 12192001"/>
                <a:gd name="connsiteY4764" fmla="*/ 7937 h 6523037"/>
                <a:gd name="connsiteX4765" fmla="*/ 2552152 w 12192001"/>
                <a:gd name="connsiteY4765" fmla="*/ 7937 h 6523037"/>
                <a:gd name="connsiteX4766" fmla="*/ 2358243 w 12192001"/>
                <a:gd name="connsiteY4766" fmla="*/ 202349 h 6523037"/>
                <a:gd name="connsiteX4767" fmla="*/ 2620271 w 12192001"/>
                <a:gd name="connsiteY4767" fmla="*/ 202349 h 6523037"/>
                <a:gd name="connsiteX4768" fmla="*/ 2814181 w 12192001"/>
                <a:gd name="connsiteY4768" fmla="*/ 7937 h 6523037"/>
                <a:gd name="connsiteX4769" fmla="*/ 2825540 w 12192001"/>
                <a:gd name="connsiteY4769" fmla="*/ 7937 h 6523037"/>
                <a:gd name="connsiteX4770" fmla="*/ 2628655 w 12192001"/>
                <a:gd name="connsiteY4770" fmla="*/ 205843 h 6523037"/>
                <a:gd name="connsiteX4771" fmla="*/ 2898368 w 12192001"/>
                <a:gd name="connsiteY4771" fmla="*/ 474858 h 6523037"/>
                <a:gd name="connsiteX4772" fmla="*/ 3163191 w 12192001"/>
                <a:gd name="connsiteY4772" fmla="*/ 476256 h 6523037"/>
                <a:gd name="connsiteX4773" fmla="*/ 2892081 w 12192001"/>
                <a:gd name="connsiteY4773" fmla="*/ 205843 h 6523037"/>
                <a:gd name="connsiteX4774" fmla="*/ 2890683 w 12192001"/>
                <a:gd name="connsiteY4774" fmla="*/ 204446 h 6523037"/>
                <a:gd name="connsiteX4775" fmla="*/ 3086683 w 12192001"/>
                <a:gd name="connsiteY4775" fmla="*/ 7937 h 6523037"/>
                <a:gd name="connsiteX4776" fmla="*/ 3097556 w 12192001"/>
                <a:gd name="connsiteY4776" fmla="*/ 7937 h 6523037"/>
                <a:gd name="connsiteX4777" fmla="*/ 3082137 w 12192001"/>
                <a:gd name="connsiteY4777" fmla="*/ 23473 h 6523037"/>
                <a:gd name="connsiteX4778" fmla="*/ 3082836 w 12192001"/>
                <a:gd name="connsiteY4778" fmla="*/ 24172 h 6523037"/>
                <a:gd name="connsiteX4779" fmla="*/ 2906754 w 12192001"/>
                <a:gd name="connsiteY4779" fmla="*/ 200254 h 6523037"/>
                <a:gd name="connsiteX4780" fmla="*/ 3103099 w 12192001"/>
                <a:gd name="connsiteY4780" fmla="*/ 200254 h 6523037"/>
                <a:gd name="connsiteX4781" fmla="*/ 3102401 w 12192001"/>
                <a:gd name="connsiteY4781" fmla="*/ 201651 h 6523037"/>
                <a:gd name="connsiteX4782" fmla="*/ 3168083 w 12192001"/>
                <a:gd name="connsiteY4782" fmla="*/ 201651 h 6523037"/>
                <a:gd name="connsiteX4783" fmla="*/ 3361298 w 12192001"/>
                <a:gd name="connsiteY4783" fmla="*/ 7937 h 6523037"/>
                <a:gd name="connsiteX4784" fmla="*/ 3371863 w 12192001"/>
                <a:gd name="connsiteY4784" fmla="*/ 7937 h 6523037"/>
                <a:gd name="connsiteX4785" fmla="*/ 3264508 w 12192001"/>
                <a:gd name="connsiteY4785" fmla="*/ 115706 h 6523037"/>
                <a:gd name="connsiteX4786" fmla="*/ 3265906 w 12192001"/>
                <a:gd name="connsiteY4786" fmla="*/ 116405 h 6523037"/>
                <a:gd name="connsiteX4787" fmla="*/ 3176467 w 12192001"/>
                <a:gd name="connsiteY4787" fmla="*/ 205843 h 6523037"/>
                <a:gd name="connsiteX4788" fmla="*/ 3446879 w 12192001"/>
                <a:gd name="connsiteY4788" fmla="*/ 475557 h 6523037"/>
                <a:gd name="connsiteX4789" fmla="*/ 3710303 w 12192001"/>
                <a:gd name="connsiteY4789" fmla="*/ 475557 h 6523037"/>
                <a:gd name="connsiteX4790" fmla="*/ 3439891 w 12192001"/>
                <a:gd name="connsiteY4790" fmla="*/ 205843 h 6523037"/>
                <a:gd name="connsiteX4791" fmla="*/ 3439193 w 12192001"/>
                <a:gd name="connsiteY4791" fmla="*/ 205145 h 6523037"/>
                <a:gd name="connsiteX4792" fmla="*/ 3635893 w 12192001"/>
                <a:gd name="connsiteY4792" fmla="*/ 7937 h 6523037"/>
                <a:gd name="connsiteX4793" fmla="*/ 3646183 w 12192001"/>
                <a:gd name="connsiteY4793" fmla="*/ 7937 h 6523037"/>
                <a:gd name="connsiteX4794" fmla="*/ 3453167 w 12192001"/>
                <a:gd name="connsiteY4794" fmla="*/ 200953 h 6523037"/>
                <a:gd name="connsiteX4795" fmla="*/ 3717291 w 12192001"/>
                <a:gd name="connsiteY4795" fmla="*/ 200953 h 6523037"/>
                <a:gd name="connsiteX4796" fmla="*/ 3910306 w 12192001"/>
                <a:gd name="connsiteY4796" fmla="*/ 7937 h 6523037"/>
                <a:gd name="connsiteX4797" fmla="*/ 3919582 w 12192001"/>
                <a:gd name="connsiteY4797" fmla="*/ 7937 h 6523037"/>
                <a:gd name="connsiteX4798" fmla="*/ 3723579 w 12192001"/>
                <a:gd name="connsiteY4798" fmla="*/ 204446 h 6523037"/>
                <a:gd name="connsiteX4799" fmla="*/ 3994690 w 12192001"/>
                <a:gd name="connsiteY4799" fmla="*/ 474858 h 6523037"/>
                <a:gd name="connsiteX4800" fmla="*/ 4258116 w 12192001"/>
                <a:gd name="connsiteY4800" fmla="*/ 474858 h 6523037"/>
                <a:gd name="connsiteX4801" fmla="*/ 4128150 w 12192001"/>
                <a:gd name="connsiteY4801" fmla="*/ 344893 h 6523037"/>
                <a:gd name="connsiteX4802" fmla="*/ 3987703 w 12192001"/>
                <a:gd name="connsiteY4802" fmla="*/ 204446 h 6523037"/>
                <a:gd name="connsiteX4803" fmla="*/ 4183705 w 12192001"/>
                <a:gd name="connsiteY4803" fmla="*/ 7937 h 6523037"/>
                <a:gd name="connsiteX4804" fmla="*/ 4194197 w 12192001"/>
                <a:gd name="connsiteY4804" fmla="*/ 7937 h 6523037"/>
                <a:gd name="connsiteX4805" fmla="*/ 4002377 w 12192001"/>
                <a:gd name="connsiteY4805" fmla="*/ 200254 h 6523037"/>
                <a:gd name="connsiteX4806" fmla="*/ 4265801 w 12192001"/>
                <a:gd name="connsiteY4806" fmla="*/ 200254 h 6523037"/>
                <a:gd name="connsiteX4807" fmla="*/ 4457622 w 12192001"/>
                <a:gd name="connsiteY4807" fmla="*/ 7937 h 6523037"/>
                <a:gd name="connsiteX4808" fmla="*/ 4467396 w 12192001"/>
                <a:gd name="connsiteY4808" fmla="*/ 7937 h 6523037"/>
                <a:gd name="connsiteX4809" fmla="*/ 4272090 w 12192001"/>
                <a:gd name="connsiteY4809" fmla="*/ 203747 h 6523037"/>
                <a:gd name="connsiteX4810" fmla="*/ 4543201 w 12192001"/>
                <a:gd name="connsiteY4810" fmla="*/ 474159 h 6523037"/>
                <a:gd name="connsiteX4811" fmla="*/ 4805314 w 12192001"/>
                <a:gd name="connsiteY4811" fmla="*/ 474159 h 6523037"/>
                <a:gd name="connsiteX4812" fmla="*/ 4803346 w 12192001"/>
                <a:gd name="connsiteY4812" fmla="*/ 472192 h 6523037"/>
                <a:gd name="connsiteX4813" fmla="*/ 4660106 w 12192001"/>
                <a:gd name="connsiteY4813" fmla="*/ 329650 h 6523037"/>
                <a:gd name="connsiteX4814" fmla="*/ 4660106 w 12192001"/>
                <a:gd name="connsiteY4814" fmla="*/ 327321 h 6523037"/>
                <a:gd name="connsiteX4815" fmla="*/ 4536213 w 12192001"/>
                <a:gd name="connsiteY4815" fmla="*/ 203747 h 6523037"/>
                <a:gd name="connsiteX4816" fmla="*/ 4660106 w 12192001"/>
                <a:gd name="connsiteY4816" fmla="*/ 79534 h 6523037"/>
                <a:gd name="connsiteX4817" fmla="*/ 4660106 w 12192001"/>
                <a:gd name="connsiteY4817" fmla="*/ 76705 h 6523037"/>
                <a:gd name="connsiteX4818" fmla="*/ 4733289 w 12192001"/>
                <a:gd name="connsiteY4818" fmla="*/ 3175 h 6523037"/>
                <a:gd name="connsiteX4819" fmla="*/ 4744118 w 12192001"/>
                <a:gd name="connsiteY4819" fmla="*/ 3175 h 6523037"/>
                <a:gd name="connsiteX4820" fmla="*/ 4739355 w 12192001"/>
                <a:gd name="connsiteY4820" fmla="*/ 7937 h 6523037"/>
                <a:gd name="connsiteX4821" fmla="*/ 4741807 w 12192001"/>
                <a:gd name="connsiteY4821" fmla="*/ 7937 h 6523037"/>
                <a:gd name="connsiteX4822" fmla="*/ 4549490 w 12192001"/>
                <a:gd name="connsiteY4822" fmla="*/ 200254 h 6523037"/>
                <a:gd name="connsiteX4823" fmla="*/ 4811162 w 12192001"/>
                <a:gd name="connsiteY4823" fmla="*/ 200254 h 6523037"/>
                <a:gd name="connsiteX4824" fmla="*/ 5008241 w 12192001"/>
                <a:gd name="connsiteY4824" fmla="*/ 3175 h 6523037"/>
                <a:gd name="connsiteX4825" fmla="*/ 5018721 w 12192001"/>
                <a:gd name="connsiteY4825" fmla="*/ 3175 h 6523037"/>
                <a:gd name="connsiteX4826" fmla="*/ 4823396 w 12192001"/>
                <a:gd name="connsiteY4826" fmla="*/ 198500 h 6523037"/>
                <a:gd name="connsiteX4827" fmla="*/ 4823396 w 12192001"/>
                <a:gd name="connsiteY4827" fmla="*/ 199684 h 6523037"/>
                <a:gd name="connsiteX4828" fmla="*/ 5086337 w 12192001"/>
                <a:gd name="connsiteY4828" fmla="*/ 199684 h 6523037"/>
                <a:gd name="connsiteX4829" fmla="*/ 5282338 w 12192001"/>
                <a:gd name="connsiteY4829" fmla="*/ 3175 h 6523037"/>
                <a:gd name="connsiteX4830" fmla="*/ 5292112 w 12192001"/>
                <a:gd name="connsiteY4830" fmla="*/ 3175 h 6523037"/>
                <a:gd name="connsiteX4831" fmla="*/ 5092624 w 12192001"/>
                <a:gd name="connsiteY4831" fmla="*/ 203178 h 6523037"/>
                <a:gd name="connsiteX4832" fmla="*/ 5364435 w 12192001"/>
                <a:gd name="connsiteY4832" fmla="*/ 473590 h 6523037"/>
                <a:gd name="connsiteX4833" fmla="*/ 5627858 w 12192001"/>
                <a:gd name="connsiteY4833" fmla="*/ 473590 h 6523037"/>
                <a:gd name="connsiteX4834" fmla="*/ 5497196 w 12192001"/>
                <a:gd name="connsiteY4834" fmla="*/ 343624 h 6523037"/>
                <a:gd name="connsiteX4835" fmla="*/ 5356748 w 12192001"/>
                <a:gd name="connsiteY4835" fmla="*/ 203178 h 6523037"/>
                <a:gd name="connsiteX4836" fmla="*/ 5556235 w 12192001"/>
                <a:gd name="connsiteY4836" fmla="*/ 3175 h 6523037"/>
                <a:gd name="connsiteX4837" fmla="*/ 5567425 w 12192001"/>
                <a:gd name="connsiteY4837" fmla="*/ 3175 h 6523037"/>
                <a:gd name="connsiteX4838" fmla="*/ 5371422 w 12192001"/>
                <a:gd name="connsiteY4838" fmla="*/ 199684 h 6523037"/>
                <a:gd name="connsiteX4839" fmla="*/ 5634846 w 12192001"/>
                <a:gd name="connsiteY4839" fmla="*/ 199684 h 6523037"/>
                <a:gd name="connsiteX4840" fmla="*/ 5830848 w 12192001"/>
                <a:gd name="connsiteY4840" fmla="*/ 3175 h 6523037"/>
                <a:gd name="connsiteX4841" fmla="*/ 5839925 w 12192001"/>
                <a:gd name="connsiteY4841" fmla="*/ 3175 h 6523037"/>
                <a:gd name="connsiteX4842" fmla="*/ 5641135 w 12192001"/>
                <a:gd name="connsiteY4842" fmla="*/ 202479 h 6523037"/>
                <a:gd name="connsiteX4843" fmla="*/ 5912246 w 12192001"/>
                <a:gd name="connsiteY4843" fmla="*/ 472891 h 6523037"/>
                <a:gd name="connsiteX4844" fmla="*/ 6176369 w 12192001"/>
                <a:gd name="connsiteY4844" fmla="*/ 472891 h 6523037"/>
                <a:gd name="connsiteX4845" fmla="*/ 5905258 w 12192001"/>
                <a:gd name="connsiteY4845" fmla="*/ 202479 h 6523037"/>
                <a:gd name="connsiteX4846" fmla="*/ 6104048 w 12192001"/>
                <a:gd name="connsiteY4846" fmla="*/ 3175 h 6523037"/>
                <a:gd name="connsiteX4847" fmla="*/ 6113517 w 12192001"/>
                <a:gd name="connsiteY4847" fmla="*/ 3175 h 6523037"/>
                <a:gd name="connsiteX4848" fmla="*/ 6096713 w 12192001"/>
                <a:gd name="connsiteY4848" fmla="*/ 20108 h 6523037"/>
                <a:gd name="connsiteX4849" fmla="*/ 6096014 w 12192001"/>
                <a:gd name="connsiteY4849" fmla="*/ 20108 h 6523037"/>
                <a:gd name="connsiteX4850" fmla="*/ 5918534 w 12192001"/>
                <a:gd name="connsiteY4850" fmla="*/ 198286 h 6523037"/>
                <a:gd name="connsiteX4851" fmla="*/ 6182657 w 12192001"/>
                <a:gd name="connsiteY4851" fmla="*/ 198286 h 6523037"/>
                <a:gd name="connsiteX4852" fmla="*/ 6377769 w 12192001"/>
                <a:gd name="connsiteY4852" fmla="*/ 3175 h 6523037"/>
                <a:gd name="connsiteX4853" fmla="*/ 6388531 w 12192001"/>
                <a:gd name="connsiteY4853" fmla="*/ 3175 h 6523037"/>
                <a:gd name="connsiteX4854" fmla="*/ 6280482 w 12192001"/>
                <a:gd name="connsiteY4854" fmla="*/ 111643 h 6523037"/>
                <a:gd name="connsiteX4855" fmla="*/ 6279783 w 12192001"/>
                <a:gd name="connsiteY4855" fmla="*/ 111643 h 6523037"/>
                <a:gd name="connsiteX4856" fmla="*/ 6189645 w 12192001"/>
                <a:gd name="connsiteY4856" fmla="*/ 201780 h 6523037"/>
                <a:gd name="connsiteX4857" fmla="*/ 6460057 w 12192001"/>
                <a:gd name="connsiteY4857" fmla="*/ 472891 h 6523037"/>
                <a:gd name="connsiteX4858" fmla="*/ 6724180 w 12192001"/>
                <a:gd name="connsiteY4858" fmla="*/ 472891 h 6523037"/>
                <a:gd name="connsiteX4859" fmla="*/ 6453070 w 12192001"/>
                <a:gd name="connsiteY4859" fmla="*/ 202479 h 6523037"/>
                <a:gd name="connsiteX4860" fmla="*/ 6637537 w 12192001"/>
                <a:gd name="connsiteY4860" fmla="*/ 18012 h 6523037"/>
                <a:gd name="connsiteX4861" fmla="*/ 6638236 w 12192001"/>
                <a:gd name="connsiteY4861" fmla="*/ 18012 h 6523037"/>
                <a:gd name="connsiteX4862" fmla="*/ 6652953 w 12192001"/>
                <a:gd name="connsiteY4862" fmla="*/ 3175 h 6523037"/>
                <a:gd name="connsiteX4863" fmla="*/ 6662353 w 12192001"/>
                <a:gd name="connsiteY4863" fmla="*/ 3175 h 6523037"/>
                <a:gd name="connsiteX4864" fmla="*/ 6468443 w 12192001"/>
                <a:gd name="connsiteY4864" fmla="*/ 197587 h 6523037"/>
                <a:gd name="connsiteX4865" fmla="*/ 6731868 w 12192001"/>
                <a:gd name="connsiteY4865" fmla="*/ 197587 h 6523037"/>
                <a:gd name="connsiteX4866" fmla="*/ 6926279 w 12192001"/>
                <a:gd name="connsiteY4866" fmla="*/ 3175 h 6523037"/>
                <a:gd name="connsiteX4867" fmla="*/ 6937645 w 12192001"/>
                <a:gd name="connsiteY4867" fmla="*/ 3175 h 6523037"/>
                <a:gd name="connsiteX4868" fmla="*/ 6738854 w 12192001"/>
                <a:gd name="connsiteY4868" fmla="*/ 202479 h 6523037"/>
                <a:gd name="connsiteX4869" fmla="*/ 7008567 w 12192001"/>
                <a:gd name="connsiteY4869" fmla="*/ 471494 h 6523037"/>
                <a:gd name="connsiteX4870" fmla="*/ 7271992 w 12192001"/>
                <a:gd name="connsiteY4870" fmla="*/ 471494 h 6523037"/>
                <a:gd name="connsiteX4871" fmla="*/ 7002979 w 12192001"/>
                <a:gd name="connsiteY4871" fmla="*/ 202479 h 6523037"/>
                <a:gd name="connsiteX4872" fmla="*/ 7003677 w 12192001"/>
                <a:gd name="connsiteY4872" fmla="*/ 201780 h 6523037"/>
                <a:gd name="connsiteX4873" fmla="*/ 7002279 w 12192001"/>
                <a:gd name="connsiteY4873" fmla="*/ 200383 h 6523037"/>
                <a:gd name="connsiteX4874" fmla="*/ 7198974 w 12192001"/>
                <a:gd name="connsiteY4874" fmla="*/ 3175 h 6523037"/>
                <a:gd name="connsiteX4875" fmla="*/ 7212258 w 12192001"/>
                <a:gd name="connsiteY4875" fmla="*/ 3175 h 6523037"/>
                <a:gd name="connsiteX4876" fmla="*/ 7018349 w 12192001"/>
                <a:gd name="connsiteY4876" fmla="*/ 197587 h 6523037"/>
                <a:gd name="connsiteX4877" fmla="*/ 7280377 w 12192001"/>
                <a:gd name="connsiteY4877" fmla="*/ 197587 h 6523037"/>
                <a:gd name="connsiteX4878" fmla="*/ 7474287 w 12192001"/>
                <a:gd name="connsiteY4878" fmla="*/ 3175 h 6523037"/>
                <a:gd name="connsiteX4879" fmla="*/ 7485646 w 12192001"/>
                <a:gd name="connsiteY4879" fmla="*/ 3175 h 6523037"/>
                <a:gd name="connsiteX4880" fmla="*/ 7288761 w 12192001"/>
                <a:gd name="connsiteY4880" fmla="*/ 201081 h 6523037"/>
                <a:gd name="connsiteX4881" fmla="*/ 7558474 w 12192001"/>
                <a:gd name="connsiteY4881" fmla="*/ 470096 h 6523037"/>
                <a:gd name="connsiteX4882" fmla="*/ 7823297 w 12192001"/>
                <a:gd name="connsiteY4882" fmla="*/ 471494 h 6523037"/>
                <a:gd name="connsiteX4883" fmla="*/ 7552187 w 12192001"/>
                <a:gd name="connsiteY4883" fmla="*/ 201081 h 6523037"/>
                <a:gd name="connsiteX4884" fmla="*/ 7550789 w 12192001"/>
                <a:gd name="connsiteY4884" fmla="*/ 199684 h 6523037"/>
                <a:gd name="connsiteX4885" fmla="*/ 7746789 w 12192001"/>
                <a:gd name="connsiteY4885" fmla="*/ 3175 h 6523037"/>
                <a:gd name="connsiteX4886" fmla="*/ 7757662 w 12192001"/>
                <a:gd name="connsiteY4886" fmla="*/ 3175 h 6523037"/>
                <a:gd name="connsiteX4887" fmla="*/ 7742243 w 12192001"/>
                <a:gd name="connsiteY4887" fmla="*/ 18711 h 6523037"/>
                <a:gd name="connsiteX4888" fmla="*/ 7742942 w 12192001"/>
                <a:gd name="connsiteY4888" fmla="*/ 19410 h 6523037"/>
                <a:gd name="connsiteX4889" fmla="*/ 7566860 w 12192001"/>
                <a:gd name="connsiteY4889" fmla="*/ 195492 h 6523037"/>
                <a:gd name="connsiteX4890" fmla="*/ 7763205 w 12192001"/>
                <a:gd name="connsiteY4890" fmla="*/ 195492 h 6523037"/>
                <a:gd name="connsiteX4891" fmla="*/ 7762507 w 12192001"/>
                <a:gd name="connsiteY4891" fmla="*/ 196889 h 6523037"/>
                <a:gd name="connsiteX4892" fmla="*/ 7828189 w 12192001"/>
                <a:gd name="connsiteY4892" fmla="*/ 196889 h 6523037"/>
                <a:gd name="connsiteX4893" fmla="*/ 8021404 w 12192001"/>
                <a:gd name="connsiteY4893" fmla="*/ 3175 h 6523037"/>
                <a:gd name="connsiteX4894" fmla="*/ 8031969 w 12192001"/>
                <a:gd name="connsiteY4894" fmla="*/ 3175 h 6523037"/>
                <a:gd name="connsiteX4895" fmla="*/ 7924614 w 12192001"/>
                <a:gd name="connsiteY4895" fmla="*/ 110944 h 6523037"/>
                <a:gd name="connsiteX4896" fmla="*/ 7926012 w 12192001"/>
                <a:gd name="connsiteY4896" fmla="*/ 111643 h 6523037"/>
                <a:gd name="connsiteX4897" fmla="*/ 7836573 w 12192001"/>
                <a:gd name="connsiteY4897" fmla="*/ 201081 h 6523037"/>
                <a:gd name="connsiteX4898" fmla="*/ 8106985 w 12192001"/>
                <a:gd name="connsiteY4898" fmla="*/ 470795 h 6523037"/>
                <a:gd name="connsiteX4899" fmla="*/ 8370409 w 12192001"/>
                <a:gd name="connsiteY4899" fmla="*/ 470795 h 6523037"/>
                <a:gd name="connsiteX4900" fmla="*/ 8099997 w 12192001"/>
                <a:gd name="connsiteY4900" fmla="*/ 201081 h 6523037"/>
                <a:gd name="connsiteX4901" fmla="*/ 8099299 w 12192001"/>
                <a:gd name="connsiteY4901" fmla="*/ 200383 h 6523037"/>
                <a:gd name="connsiteX4902" fmla="*/ 8295999 w 12192001"/>
                <a:gd name="connsiteY4902" fmla="*/ 3175 h 6523037"/>
                <a:gd name="connsiteX4903" fmla="*/ 8306289 w 12192001"/>
                <a:gd name="connsiteY4903" fmla="*/ 3175 h 6523037"/>
                <a:gd name="connsiteX4904" fmla="*/ 8113273 w 12192001"/>
                <a:gd name="connsiteY4904" fmla="*/ 196191 h 6523037"/>
                <a:gd name="connsiteX4905" fmla="*/ 8377397 w 12192001"/>
                <a:gd name="connsiteY4905" fmla="*/ 196191 h 6523037"/>
                <a:gd name="connsiteX4906" fmla="*/ 8570412 w 12192001"/>
                <a:gd name="connsiteY4906" fmla="*/ 3175 h 6523037"/>
                <a:gd name="connsiteX4907" fmla="*/ 8579688 w 12192001"/>
                <a:gd name="connsiteY4907" fmla="*/ 3175 h 6523037"/>
                <a:gd name="connsiteX4908" fmla="*/ 8383685 w 12192001"/>
                <a:gd name="connsiteY4908" fmla="*/ 199684 h 6523037"/>
                <a:gd name="connsiteX4909" fmla="*/ 8654796 w 12192001"/>
                <a:gd name="connsiteY4909" fmla="*/ 470096 h 6523037"/>
                <a:gd name="connsiteX4910" fmla="*/ 8918222 w 12192001"/>
                <a:gd name="connsiteY4910" fmla="*/ 470096 h 6523037"/>
                <a:gd name="connsiteX4911" fmla="*/ 8788256 w 12192001"/>
                <a:gd name="connsiteY4911" fmla="*/ 340131 h 6523037"/>
                <a:gd name="connsiteX4912" fmla="*/ 8647809 w 12192001"/>
                <a:gd name="connsiteY4912" fmla="*/ 199684 h 6523037"/>
                <a:gd name="connsiteX4913" fmla="*/ 8843811 w 12192001"/>
                <a:gd name="connsiteY4913" fmla="*/ 3175 h 6523037"/>
                <a:gd name="connsiteX4914" fmla="*/ 8854303 w 12192001"/>
                <a:gd name="connsiteY4914" fmla="*/ 3175 h 6523037"/>
                <a:gd name="connsiteX4915" fmla="*/ 8662483 w 12192001"/>
                <a:gd name="connsiteY4915" fmla="*/ 195492 h 6523037"/>
                <a:gd name="connsiteX4916" fmla="*/ 8925907 w 12192001"/>
                <a:gd name="connsiteY4916" fmla="*/ 195492 h 6523037"/>
                <a:gd name="connsiteX4917" fmla="*/ 9117728 w 12192001"/>
                <a:gd name="connsiteY4917" fmla="*/ 3175 h 6523037"/>
                <a:gd name="connsiteX4918" fmla="*/ 9127502 w 12192001"/>
                <a:gd name="connsiteY4918" fmla="*/ 3175 h 6523037"/>
                <a:gd name="connsiteX4919" fmla="*/ 8932196 w 12192001"/>
                <a:gd name="connsiteY4919" fmla="*/ 198985 h 6523037"/>
                <a:gd name="connsiteX4920" fmla="*/ 9203307 w 12192001"/>
                <a:gd name="connsiteY4920" fmla="*/ 469397 h 6523037"/>
                <a:gd name="connsiteX4921" fmla="*/ 9464143 w 12192001"/>
                <a:gd name="connsiteY4921" fmla="*/ 469397 h 6523037"/>
                <a:gd name="connsiteX4922" fmla="*/ 9463763 w 12192001"/>
                <a:gd name="connsiteY4922" fmla="*/ 469017 h 6523037"/>
                <a:gd name="connsiteX4923" fmla="*/ 9320523 w 12192001"/>
                <a:gd name="connsiteY4923" fmla="*/ 326475 h 6523037"/>
                <a:gd name="connsiteX4924" fmla="*/ 9320523 w 12192001"/>
                <a:gd name="connsiteY4924" fmla="*/ 322869 h 6523037"/>
                <a:gd name="connsiteX4925" fmla="*/ 9196319 w 12192001"/>
                <a:gd name="connsiteY4925" fmla="*/ 198985 h 6523037"/>
                <a:gd name="connsiteX4926" fmla="*/ 9320523 w 12192001"/>
                <a:gd name="connsiteY4926" fmla="*/ 74460 h 6523037"/>
                <a:gd name="connsiteX4927" fmla="*/ 9320523 w 12192001"/>
                <a:gd name="connsiteY4927" fmla="*/ 73530 h 652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Lst>
              <a:rect l="l" t="t" r="r" b="b"/>
              <a:pathLst>
                <a:path w="12192001" h="6523037">
                  <a:moveTo>
                    <a:pt x="700271" y="6509761"/>
                  </a:moveTo>
                  <a:lnTo>
                    <a:pt x="714941" y="6516802"/>
                  </a:lnTo>
                  <a:lnTo>
                    <a:pt x="710807" y="6516802"/>
                  </a:lnTo>
                  <a:lnTo>
                    <a:pt x="704588" y="6523037"/>
                  </a:lnTo>
                  <a:lnTo>
                    <a:pt x="694116" y="6523037"/>
                  </a:lnTo>
                  <a:lnTo>
                    <a:pt x="703819" y="6513309"/>
                  </a:lnTo>
                  <a:close/>
                  <a:moveTo>
                    <a:pt x="5360377" y="6504999"/>
                  </a:moveTo>
                  <a:lnTo>
                    <a:pt x="5375047" y="6512040"/>
                  </a:lnTo>
                  <a:lnTo>
                    <a:pt x="5370913" y="6512040"/>
                  </a:lnTo>
                  <a:lnTo>
                    <a:pt x="5364694" y="6518275"/>
                  </a:lnTo>
                  <a:lnTo>
                    <a:pt x="5354222" y="6518275"/>
                  </a:lnTo>
                  <a:lnTo>
                    <a:pt x="5363925" y="6508547"/>
                  </a:lnTo>
                  <a:close/>
                  <a:moveTo>
                    <a:pt x="10020794" y="6501824"/>
                  </a:moveTo>
                  <a:lnTo>
                    <a:pt x="10035464" y="6508865"/>
                  </a:lnTo>
                  <a:lnTo>
                    <a:pt x="10031330" y="6508865"/>
                  </a:lnTo>
                  <a:lnTo>
                    <a:pt x="10025111" y="6515100"/>
                  </a:lnTo>
                  <a:lnTo>
                    <a:pt x="10014639" y="6515100"/>
                  </a:lnTo>
                  <a:lnTo>
                    <a:pt x="10024342" y="6505372"/>
                  </a:lnTo>
                  <a:close/>
                  <a:moveTo>
                    <a:pt x="4558064" y="6240102"/>
                  </a:moveTo>
                  <a:lnTo>
                    <a:pt x="4825101" y="6506450"/>
                  </a:lnTo>
                  <a:lnTo>
                    <a:pt x="5085827" y="6506450"/>
                  </a:lnTo>
                  <a:lnTo>
                    <a:pt x="4818791" y="6240102"/>
                  </a:lnTo>
                  <a:close/>
                  <a:moveTo>
                    <a:pt x="9218170" y="6235340"/>
                  </a:moveTo>
                  <a:lnTo>
                    <a:pt x="9486798" y="6503275"/>
                  </a:lnTo>
                  <a:lnTo>
                    <a:pt x="9746244" y="6503275"/>
                  </a:lnTo>
                  <a:lnTo>
                    <a:pt x="9477616" y="6235340"/>
                  </a:lnTo>
                  <a:close/>
                  <a:moveTo>
                    <a:pt x="710108" y="5969690"/>
                  </a:moveTo>
                  <a:lnTo>
                    <a:pt x="439696" y="6240800"/>
                  </a:lnTo>
                  <a:lnTo>
                    <a:pt x="710807" y="6511212"/>
                  </a:lnTo>
                  <a:lnTo>
                    <a:pt x="974930" y="6511212"/>
                  </a:lnTo>
                  <a:lnTo>
                    <a:pt x="703819" y="6240800"/>
                  </a:lnTo>
                  <a:lnTo>
                    <a:pt x="974231" y="5969690"/>
                  </a:lnTo>
                  <a:close/>
                  <a:moveTo>
                    <a:pt x="1807827" y="5968991"/>
                  </a:moveTo>
                  <a:lnTo>
                    <a:pt x="1537414" y="6240102"/>
                  </a:lnTo>
                  <a:lnTo>
                    <a:pt x="1808526" y="6510514"/>
                  </a:lnTo>
                  <a:lnTo>
                    <a:pt x="2072648" y="6510514"/>
                  </a:lnTo>
                  <a:lnTo>
                    <a:pt x="1801539" y="6240102"/>
                  </a:lnTo>
                  <a:lnTo>
                    <a:pt x="2071951" y="5968991"/>
                  </a:lnTo>
                  <a:close/>
                  <a:moveTo>
                    <a:pt x="1257919" y="5968991"/>
                  </a:moveTo>
                  <a:lnTo>
                    <a:pt x="988206" y="6240102"/>
                  </a:lnTo>
                  <a:lnTo>
                    <a:pt x="1188744" y="6440640"/>
                  </a:lnTo>
                  <a:lnTo>
                    <a:pt x="1259317" y="6510514"/>
                  </a:lnTo>
                  <a:lnTo>
                    <a:pt x="1327793" y="6510514"/>
                  </a:lnTo>
                  <a:lnTo>
                    <a:pt x="1327094" y="6511911"/>
                  </a:lnTo>
                  <a:lnTo>
                    <a:pt x="1524139" y="6511911"/>
                  </a:lnTo>
                  <a:lnTo>
                    <a:pt x="1253028" y="6241499"/>
                  </a:lnTo>
                  <a:lnTo>
                    <a:pt x="1253727" y="6240800"/>
                  </a:lnTo>
                  <a:lnTo>
                    <a:pt x="1251631" y="6240102"/>
                  </a:lnTo>
                  <a:lnTo>
                    <a:pt x="1522043" y="5968991"/>
                  </a:lnTo>
                  <a:close/>
                  <a:moveTo>
                    <a:pt x="2904847" y="5968292"/>
                  </a:moveTo>
                  <a:lnTo>
                    <a:pt x="2634435" y="6239403"/>
                  </a:lnTo>
                  <a:lnTo>
                    <a:pt x="2905546" y="6509815"/>
                  </a:lnTo>
                  <a:lnTo>
                    <a:pt x="3169669" y="6509815"/>
                  </a:lnTo>
                  <a:lnTo>
                    <a:pt x="2898558" y="6239403"/>
                  </a:lnTo>
                  <a:lnTo>
                    <a:pt x="3168970" y="5968292"/>
                  </a:lnTo>
                  <a:close/>
                  <a:moveTo>
                    <a:pt x="2356338" y="5968292"/>
                  </a:moveTo>
                  <a:lnTo>
                    <a:pt x="2085925" y="6239403"/>
                  </a:lnTo>
                  <a:lnTo>
                    <a:pt x="2357035" y="6509815"/>
                  </a:lnTo>
                  <a:lnTo>
                    <a:pt x="2620460" y="6509815"/>
                  </a:lnTo>
                  <a:lnTo>
                    <a:pt x="2490495" y="6379850"/>
                  </a:lnTo>
                  <a:lnTo>
                    <a:pt x="2350049" y="6239403"/>
                  </a:lnTo>
                  <a:lnTo>
                    <a:pt x="2620460" y="5968292"/>
                  </a:lnTo>
                  <a:close/>
                  <a:moveTo>
                    <a:pt x="3453357" y="5967593"/>
                  </a:moveTo>
                  <a:lnTo>
                    <a:pt x="3182945" y="6238704"/>
                  </a:lnTo>
                  <a:lnTo>
                    <a:pt x="3454056" y="6508417"/>
                  </a:lnTo>
                  <a:lnTo>
                    <a:pt x="3718179" y="6508417"/>
                  </a:lnTo>
                  <a:lnTo>
                    <a:pt x="3447069" y="6238006"/>
                  </a:lnTo>
                  <a:lnTo>
                    <a:pt x="3631536" y="6053539"/>
                  </a:lnTo>
                  <a:lnTo>
                    <a:pt x="3717481" y="5967593"/>
                  </a:lnTo>
                  <a:close/>
                  <a:moveTo>
                    <a:pt x="4550379" y="5966196"/>
                  </a:moveTo>
                  <a:lnTo>
                    <a:pt x="4279967" y="6237307"/>
                  </a:lnTo>
                  <a:lnTo>
                    <a:pt x="4551077" y="6507020"/>
                  </a:lnTo>
                  <a:lnTo>
                    <a:pt x="4812475" y="6507020"/>
                  </a:lnTo>
                  <a:lnTo>
                    <a:pt x="4681256" y="6376485"/>
                  </a:lnTo>
                  <a:lnTo>
                    <a:pt x="4665187" y="6360414"/>
                  </a:lnTo>
                  <a:lnTo>
                    <a:pt x="4665187" y="6357393"/>
                  </a:lnTo>
                  <a:lnTo>
                    <a:pt x="4544090" y="6236608"/>
                  </a:lnTo>
                  <a:lnTo>
                    <a:pt x="4665187" y="6115511"/>
                  </a:lnTo>
                  <a:lnTo>
                    <a:pt x="4665187" y="6111663"/>
                  </a:lnTo>
                  <a:lnTo>
                    <a:pt x="4810652" y="5966196"/>
                  </a:lnTo>
                  <a:close/>
                  <a:moveTo>
                    <a:pt x="4824862" y="5965627"/>
                  </a:moveTo>
                  <a:lnTo>
                    <a:pt x="4558064" y="6233114"/>
                  </a:lnTo>
                  <a:lnTo>
                    <a:pt x="4818335" y="6233114"/>
                  </a:lnTo>
                  <a:lnTo>
                    <a:pt x="5085129" y="5965627"/>
                  </a:lnTo>
                  <a:close/>
                  <a:moveTo>
                    <a:pt x="5370215" y="5964928"/>
                  </a:moveTo>
                  <a:lnTo>
                    <a:pt x="5099802" y="6236038"/>
                  </a:lnTo>
                  <a:lnTo>
                    <a:pt x="5370913" y="6506450"/>
                  </a:lnTo>
                  <a:lnTo>
                    <a:pt x="5635036" y="6506450"/>
                  </a:lnTo>
                  <a:lnTo>
                    <a:pt x="5363925" y="6236038"/>
                  </a:lnTo>
                  <a:lnTo>
                    <a:pt x="5634338" y="5964928"/>
                  </a:lnTo>
                  <a:close/>
                  <a:moveTo>
                    <a:pt x="6467933" y="5964229"/>
                  </a:moveTo>
                  <a:lnTo>
                    <a:pt x="6197521" y="6235340"/>
                  </a:lnTo>
                  <a:lnTo>
                    <a:pt x="6468632" y="6505752"/>
                  </a:lnTo>
                  <a:lnTo>
                    <a:pt x="6732754" y="6505752"/>
                  </a:lnTo>
                  <a:lnTo>
                    <a:pt x="6461645" y="6235340"/>
                  </a:lnTo>
                  <a:lnTo>
                    <a:pt x="6732057" y="5964229"/>
                  </a:lnTo>
                  <a:close/>
                  <a:moveTo>
                    <a:pt x="5918025" y="5964229"/>
                  </a:moveTo>
                  <a:lnTo>
                    <a:pt x="5648312" y="6235340"/>
                  </a:lnTo>
                  <a:lnTo>
                    <a:pt x="5848851" y="6435878"/>
                  </a:lnTo>
                  <a:lnTo>
                    <a:pt x="5919423" y="6505752"/>
                  </a:lnTo>
                  <a:lnTo>
                    <a:pt x="5987899" y="6505752"/>
                  </a:lnTo>
                  <a:lnTo>
                    <a:pt x="5987200" y="6507149"/>
                  </a:lnTo>
                  <a:lnTo>
                    <a:pt x="6184245" y="6507149"/>
                  </a:lnTo>
                  <a:lnTo>
                    <a:pt x="5913134" y="6236737"/>
                  </a:lnTo>
                  <a:lnTo>
                    <a:pt x="5913834" y="6236038"/>
                  </a:lnTo>
                  <a:lnTo>
                    <a:pt x="5911738" y="6235340"/>
                  </a:lnTo>
                  <a:lnTo>
                    <a:pt x="6182150" y="5964229"/>
                  </a:lnTo>
                  <a:close/>
                  <a:moveTo>
                    <a:pt x="7564953" y="5963530"/>
                  </a:moveTo>
                  <a:lnTo>
                    <a:pt x="7294541" y="6234641"/>
                  </a:lnTo>
                  <a:lnTo>
                    <a:pt x="7565652" y="6505053"/>
                  </a:lnTo>
                  <a:lnTo>
                    <a:pt x="7829775" y="6505053"/>
                  </a:lnTo>
                  <a:lnTo>
                    <a:pt x="7558664" y="6234641"/>
                  </a:lnTo>
                  <a:lnTo>
                    <a:pt x="7829076" y="5963530"/>
                  </a:lnTo>
                  <a:close/>
                  <a:moveTo>
                    <a:pt x="7016444" y="5963530"/>
                  </a:moveTo>
                  <a:lnTo>
                    <a:pt x="6746031" y="6234641"/>
                  </a:lnTo>
                  <a:lnTo>
                    <a:pt x="7017141" y="6505053"/>
                  </a:lnTo>
                  <a:lnTo>
                    <a:pt x="7280566" y="6505053"/>
                  </a:lnTo>
                  <a:lnTo>
                    <a:pt x="7150601" y="6375088"/>
                  </a:lnTo>
                  <a:lnTo>
                    <a:pt x="7010155" y="6234641"/>
                  </a:lnTo>
                  <a:lnTo>
                    <a:pt x="7280566" y="5963530"/>
                  </a:lnTo>
                  <a:close/>
                  <a:moveTo>
                    <a:pt x="8113463" y="5962831"/>
                  </a:moveTo>
                  <a:lnTo>
                    <a:pt x="7843051" y="6233942"/>
                  </a:lnTo>
                  <a:lnTo>
                    <a:pt x="8114162" y="6503655"/>
                  </a:lnTo>
                  <a:lnTo>
                    <a:pt x="8378285" y="6503655"/>
                  </a:lnTo>
                  <a:lnTo>
                    <a:pt x="8107175" y="6233244"/>
                  </a:lnTo>
                  <a:lnTo>
                    <a:pt x="8291642" y="6048777"/>
                  </a:lnTo>
                  <a:lnTo>
                    <a:pt x="8377587" y="5962831"/>
                  </a:lnTo>
                  <a:close/>
                  <a:moveTo>
                    <a:pt x="9483384" y="5962452"/>
                  </a:moveTo>
                  <a:lnTo>
                    <a:pt x="9218170" y="6228352"/>
                  </a:lnTo>
                  <a:lnTo>
                    <a:pt x="9480335" y="6228352"/>
                  </a:lnTo>
                  <a:lnTo>
                    <a:pt x="9745545" y="5962452"/>
                  </a:lnTo>
                  <a:close/>
                  <a:moveTo>
                    <a:pt x="10030631" y="5961753"/>
                  </a:moveTo>
                  <a:lnTo>
                    <a:pt x="9760219" y="6232863"/>
                  </a:lnTo>
                  <a:lnTo>
                    <a:pt x="10031330" y="6503275"/>
                  </a:lnTo>
                  <a:lnTo>
                    <a:pt x="10295453" y="6503275"/>
                  </a:lnTo>
                  <a:lnTo>
                    <a:pt x="10024342" y="6232863"/>
                  </a:lnTo>
                  <a:lnTo>
                    <a:pt x="10294754" y="5961753"/>
                  </a:lnTo>
                  <a:close/>
                  <a:moveTo>
                    <a:pt x="9210484" y="5961434"/>
                  </a:moveTo>
                  <a:lnTo>
                    <a:pt x="8940072" y="6232545"/>
                  </a:lnTo>
                  <a:lnTo>
                    <a:pt x="9211183" y="6502258"/>
                  </a:lnTo>
                  <a:lnTo>
                    <a:pt x="9471296" y="6502258"/>
                  </a:lnTo>
                  <a:lnTo>
                    <a:pt x="9341673" y="6373310"/>
                  </a:lnTo>
                  <a:lnTo>
                    <a:pt x="9325603" y="6357239"/>
                  </a:lnTo>
                  <a:lnTo>
                    <a:pt x="9325603" y="6352941"/>
                  </a:lnTo>
                  <a:lnTo>
                    <a:pt x="9204195" y="6231846"/>
                  </a:lnTo>
                  <a:lnTo>
                    <a:pt x="9325603" y="6110438"/>
                  </a:lnTo>
                  <a:lnTo>
                    <a:pt x="9325603" y="6108488"/>
                  </a:lnTo>
                  <a:lnTo>
                    <a:pt x="9472656" y="5961434"/>
                  </a:lnTo>
                  <a:close/>
                  <a:moveTo>
                    <a:pt x="11128350" y="5961054"/>
                  </a:moveTo>
                  <a:lnTo>
                    <a:pt x="10857937" y="6232165"/>
                  </a:lnTo>
                  <a:lnTo>
                    <a:pt x="11129049" y="6502577"/>
                  </a:lnTo>
                  <a:lnTo>
                    <a:pt x="11393171" y="6502577"/>
                  </a:lnTo>
                  <a:lnTo>
                    <a:pt x="11122062" y="6232165"/>
                  </a:lnTo>
                  <a:lnTo>
                    <a:pt x="11392474" y="5961054"/>
                  </a:lnTo>
                  <a:close/>
                  <a:moveTo>
                    <a:pt x="10578442" y="5961054"/>
                  </a:moveTo>
                  <a:lnTo>
                    <a:pt x="10308729" y="6232165"/>
                  </a:lnTo>
                  <a:lnTo>
                    <a:pt x="10509267" y="6432703"/>
                  </a:lnTo>
                  <a:lnTo>
                    <a:pt x="10579840" y="6502577"/>
                  </a:lnTo>
                  <a:lnTo>
                    <a:pt x="10648316" y="6502577"/>
                  </a:lnTo>
                  <a:lnTo>
                    <a:pt x="10647617" y="6503974"/>
                  </a:lnTo>
                  <a:lnTo>
                    <a:pt x="10844662" y="6503974"/>
                  </a:lnTo>
                  <a:lnTo>
                    <a:pt x="10573551" y="6233562"/>
                  </a:lnTo>
                  <a:lnTo>
                    <a:pt x="10574250" y="6232863"/>
                  </a:lnTo>
                  <a:lnTo>
                    <a:pt x="10572154" y="6232165"/>
                  </a:lnTo>
                  <a:lnTo>
                    <a:pt x="10842566" y="5961054"/>
                  </a:lnTo>
                  <a:close/>
                  <a:moveTo>
                    <a:pt x="11676861" y="5960355"/>
                  </a:moveTo>
                  <a:lnTo>
                    <a:pt x="11406448" y="6231466"/>
                  </a:lnTo>
                  <a:lnTo>
                    <a:pt x="11677558" y="6501878"/>
                  </a:lnTo>
                  <a:lnTo>
                    <a:pt x="11940983" y="6501878"/>
                  </a:lnTo>
                  <a:lnTo>
                    <a:pt x="11811018" y="6371913"/>
                  </a:lnTo>
                  <a:lnTo>
                    <a:pt x="11670572" y="6231466"/>
                  </a:lnTo>
                  <a:lnTo>
                    <a:pt x="11940983" y="5960355"/>
                  </a:lnTo>
                  <a:close/>
                  <a:moveTo>
                    <a:pt x="169284" y="5695784"/>
                  </a:moveTo>
                  <a:lnTo>
                    <a:pt x="299249" y="5825750"/>
                  </a:lnTo>
                  <a:lnTo>
                    <a:pt x="439696" y="5966196"/>
                  </a:lnTo>
                  <a:lnTo>
                    <a:pt x="169284" y="6237307"/>
                  </a:lnTo>
                  <a:lnTo>
                    <a:pt x="433407" y="6237307"/>
                  </a:lnTo>
                  <a:lnTo>
                    <a:pt x="703819" y="5966196"/>
                  </a:lnTo>
                  <a:lnTo>
                    <a:pt x="432708" y="5695784"/>
                  </a:lnTo>
                  <a:close/>
                  <a:moveTo>
                    <a:pt x="1814814" y="5695086"/>
                  </a:moveTo>
                  <a:lnTo>
                    <a:pt x="2085925" y="5965498"/>
                  </a:lnTo>
                  <a:lnTo>
                    <a:pt x="1815513" y="6235910"/>
                  </a:lnTo>
                  <a:lnTo>
                    <a:pt x="2079636" y="6235910"/>
                  </a:lnTo>
                  <a:lnTo>
                    <a:pt x="2350049" y="5965498"/>
                  </a:lnTo>
                  <a:lnTo>
                    <a:pt x="2078937" y="5695086"/>
                  </a:lnTo>
                  <a:close/>
                  <a:moveTo>
                    <a:pt x="717095" y="5695086"/>
                  </a:moveTo>
                  <a:lnTo>
                    <a:pt x="988206" y="5965498"/>
                  </a:lnTo>
                  <a:lnTo>
                    <a:pt x="717794" y="6236608"/>
                  </a:lnTo>
                  <a:lnTo>
                    <a:pt x="981917" y="6236608"/>
                  </a:lnTo>
                  <a:lnTo>
                    <a:pt x="1252329" y="5965498"/>
                  </a:lnTo>
                  <a:lnTo>
                    <a:pt x="981219" y="5695086"/>
                  </a:lnTo>
                  <a:close/>
                  <a:moveTo>
                    <a:pt x="2363324" y="5694387"/>
                  </a:moveTo>
                  <a:lnTo>
                    <a:pt x="2634435" y="5964799"/>
                  </a:lnTo>
                  <a:lnTo>
                    <a:pt x="2364722" y="6235910"/>
                  </a:lnTo>
                  <a:lnTo>
                    <a:pt x="2628146" y="6235910"/>
                  </a:lnTo>
                  <a:lnTo>
                    <a:pt x="2898558" y="5964799"/>
                  </a:lnTo>
                  <a:lnTo>
                    <a:pt x="2764401" y="5831339"/>
                  </a:lnTo>
                  <a:lnTo>
                    <a:pt x="2627447" y="5694387"/>
                  </a:lnTo>
                  <a:close/>
                  <a:moveTo>
                    <a:pt x="2911834" y="5693688"/>
                  </a:moveTo>
                  <a:lnTo>
                    <a:pt x="2913232" y="5695086"/>
                  </a:lnTo>
                  <a:lnTo>
                    <a:pt x="3182945" y="5964100"/>
                  </a:lnTo>
                  <a:lnTo>
                    <a:pt x="2912533" y="6234512"/>
                  </a:lnTo>
                  <a:lnTo>
                    <a:pt x="3176657" y="6234512"/>
                  </a:lnTo>
                  <a:lnTo>
                    <a:pt x="3447069" y="5964100"/>
                  </a:lnTo>
                  <a:lnTo>
                    <a:pt x="3441479" y="5959209"/>
                  </a:lnTo>
                  <a:lnTo>
                    <a:pt x="3175958" y="5693688"/>
                  </a:lnTo>
                  <a:close/>
                  <a:moveTo>
                    <a:pt x="1530428" y="5693688"/>
                  </a:moveTo>
                  <a:lnTo>
                    <a:pt x="1529030" y="5694387"/>
                  </a:lnTo>
                  <a:lnTo>
                    <a:pt x="1264907" y="5694387"/>
                  </a:lnTo>
                  <a:lnTo>
                    <a:pt x="1536018" y="5964799"/>
                  </a:lnTo>
                  <a:lnTo>
                    <a:pt x="1531824" y="5968991"/>
                  </a:lnTo>
                  <a:lnTo>
                    <a:pt x="1537414" y="5966196"/>
                  </a:lnTo>
                  <a:lnTo>
                    <a:pt x="1267002" y="6237307"/>
                  </a:lnTo>
                  <a:lnTo>
                    <a:pt x="1531127" y="6237307"/>
                  </a:lnTo>
                  <a:lnTo>
                    <a:pt x="1801539" y="5966196"/>
                  </a:lnTo>
                  <a:lnTo>
                    <a:pt x="1530428" y="5695784"/>
                  </a:lnTo>
                  <a:close/>
                  <a:moveTo>
                    <a:pt x="3459646" y="5692989"/>
                  </a:moveTo>
                  <a:lnTo>
                    <a:pt x="3730757" y="5963401"/>
                  </a:lnTo>
                  <a:lnTo>
                    <a:pt x="3727962" y="5966196"/>
                  </a:lnTo>
                  <a:lnTo>
                    <a:pt x="3637825" y="6057032"/>
                  </a:lnTo>
                  <a:lnTo>
                    <a:pt x="3460345" y="6233813"/>
                  </a:lnTo>
                  <a:lnTo>
                    <a:pt x="3724468" y="6233813"/>
                  </a:lnTo>
                  <a:lnTo>
                    <a:pt x="3813907" y="6144374"/>
                  </a:lnTo>
                  <a:lnTo>
                    <a:pt x="3994880" y="5963401"/>
                  </a:lnTo>
                  <a:lnTo>
                    <a:pt x="3723769" y="5692989"/>
                  </a:lnTo>
                  <a:close/>
                  <a:moveTo>
                    <a:pt x="4818785" y="5691597"/>
                  </a:moveTo>
                  <a:lnTo>
                    <a:pt x="4556667" y="5692290"/>
                  </a:lnTo>
                  <a:lnTo>
                    <a:pt x="4824382" y="5957940"/>
                  </a:lnTo>
                  <a:lnTo>
                    <a:pt x="5085129" y="5957940"/>
                  </a:lnTo>
                  <a:lnTo>
                    <a:pt x="4955163" y="5827975"/>
                  </a:lnTo>
                  <a:close/>
                  <a:moveTo>
                    <a:pt x="4829390" y="5691022"/>
                  </a:moveTo>
                  <a:lnTo>
                    <a:pt x="4959356" y="5820988"/>
                  </a:lnTo>
                  <a:lnTo>
                    <a:pt x="5099802" y="5961434"/>
                  </a:lnTo>
                  <a:lnTo>
                    <a:pt x="4829390" y="6232545"/>
                  </a:lnTo>
                  <a:lnTo>
                    <a:pt x="5093513" y="6232545"/>
                  </a:lnTo>
                  <a:lnTo>
                    <a:pt x="5363925" y="5961434"/>
                  </a:lnTo>
                  <a:lnTo>
                    <a:pt x="5092815" y="5691022"/>
                  </a:lnTo>
                  <a:close/>
                  <a:moveTo>
                    <a:pt x="6474921" y="5690324"/>
                  </a:moveTo>
                  <a:lnTo>
                    <a:pt x="6746031" y="5960736"/>
                  </a:lnTo>
                  <a:lnTo>
                    <a:pt x="6475619" y="6231148"/>
                  </a:lnTo>
                  <a:lnTo>
                    <a:pt x="6739742" y="6231148"/>
                  </a:lnTo>
                  <a:lnTo>
                    <a:pt x="7010155" y="5960736"/>
                  </a:lnTo>
                  <a:lnTo>
                    <a:pt x="6739044" y="5690324"/>
                  </a:lnTo>
                  <a:close/>
                  <a:moveTo>
                    <a:pt x="5377202" y="5690324"/>
                  </a:moveTo>
                  <a:lnTo>
                    <a:pt x="5648312" y="5960736"/>
                  </a:lnTo>
                  <a:lnTo>
                    <a:pt x="5377900" y="6231846"/>
                  </a:lnTo>
                  <a:lnTo>
                    <a:pt x="5642023" y="6231846"/>
                  </a:lnTo>
                  <a:lnTo>
                    <a:pt x="5912435" y="5960736"/>
                  </a:lnTo>
                  <a:lnTo>
                    <a:pt x="5641325" y="5690324"/>
                  </a:lnTo>
                  <a:close/>
                  <a:moveTo>
                    <a:pt x="7023431" y="5689625"/>
                  </a:moveTo>
                  <a:lnTo>
                    <a:pt x="7294541" y="5960037"/>
                  </a:lnTo>
                  <a:lnTo>
                    <a:pt x="7024828" y="6231148"/>
                  </a:lnTo>
                  <a:lnTo>
                    <a:pt x="7288252" y="6231148"/>
                  </a:lnTo>
                  <a:lnTo>
                    <a:pt x="7558664" y="5960037"/>
                  </a:lnTo>
                  <a:lnTo>
                    <a:pt x="7424507" y="5826577"/>
                  </a:lnTo>
                  <a:lnTo>
                    <a:pt x="7287553" y="5689625"/>
                  </a:lnTo>
                  <a:close/>
                  <a:moveTo>
                    <a:pt x="7571940" y="5688926"/>
                  </a:moveTo>
                  <a:lnTo>
                    <a:pt x="7573338" y="5690324"/>
                  </a:lnTo>
                  <a:lnTo>
                    <a:pt x="7843051" y="5959338"/>
                  </a:lnTo>
                  <a:lnTo>
                    <a:pt x="7572639" y="6229750"/>
                  </a:lnTo>
                  <a:lnTo>
                    <a:pt x="7836763" y="6229750"/>
                  </a:lnTo>
                  <a:lnTo>
                    <a:pt x="8107175" y="5959338"/>
                  </a:lnTo>
                  <a:lnTo>
                    <a:pt x="8101585" y="5954447"/>
                  </a:lnTo>
                  <a:lnTo>
                    <a:pt x="7836064" y="5688926"/>
                  </a:lnTo>
                  <a:close/>
                  <a:moveTo>
                    <a:pt x="6190534" y="5688926"/>
                  </a:moveTo>
                  <a:lnTo>
                    <a:pt x="6189136" y="5689625"/>
                  </a:lnTo>
                  <a:lnTo>
                    <a:pt x="5925013" y="5689625"/>
                  </a:lnTo>
                  <a:lnTo>
                    <a:pt x="6196125" y="5960037"/>
                  </a:lnTo>
                  <a:lnTo>
                    <a:pt x="6191930" y="5964229"/>
                  </a:lnTo>
                  <a:lnTo>
                    <a:pt x="6197521" y="5961434"/>
                  </a:lnTo>
                  <a:lnTo>
                    <a:pt x="5927108" y="6232545"/>
                  </a:lnTo>
                  <a:lnTo>
                    <a:pt x="6191234" y="6232545"/>
                  </a:lnTo>
                  <a:lnTo>
                    <a:pt x="6461645" y="5961434"/>
                  </a:lnTo>
                  <a:lnTo>
                    <a:pt x="6190534" y="5691022"/>
                  </a:lnTo>
                  <a:close/>
                  <a:moveTo>
                    <a:pt x="8119752" y="5688227"/>
                  </a:moveTo>
                  <a:lnTo>
                    <a:pt x="8390863" y="5958639"/>
                  </a:lnTo>
                  <a:lnTo>
                    <a:pt x="8388068" y="5961434"/>
                  </a:lnTo>
                  <a:lnTo>
                    <a:pt x="8297931" y="6052270"/>
                  </a:lnTo>
                  <a:lnTo>
                    <a:pt x="8120451" y="6229051"/>
                  </a:lnTo>
                  <a:lnTo>
                    <a:pt x="8384574" y="6229051"/>
                  </a:lnTo>
                  <a:lnTo>
                    <a:pt x="8474013" y="6139612"/>
                  </a:lnTo>
                  <a:lnTo>
                    <a:pt x="8654986" y="5958639"/>
                  </a:lnTo>
                  <a:lnTo>
                    <a:pt x="8383875" y="5688227"/>
                  </a:lnTo>
                  <a:close/>
                  <a:moveTo>
                    <a:pt x="9489807" y="5687847"/>
                  </a:moveTo>
                  <a:lnTo>
                    <a:pt x="9619772" y="5817813"/>
                  </a:lnTo>
                  <a:lnTo>
                    <a:pt x="9760219" y="5958259"/>
                  </a:lnTo>
                  <a:lnTo>
                    <a:pt x="9489807" y="6229370"/>
                  </a:lnTo>
                  <a:lnTo>
                    <a:pt x="9753930" y="6229370"/>
                  </a:lnTo>
                  <a:lnTo>
                    <a:pt x="10024342" y="5958259"/>
                  </a:lnTo>
                  <a:lnTo>
                    <a:pt x="9753231" y="5687847"/>
                  </a:lnTo>
                  <a:close/>
                  <a:moveTo>
                    <a:pt x="11135337" y="5687149"/>
                  </a:moveTo>
                  <a:lnTo>
                    <a:pt x="11406448" y="5957561"/>
                  </a:lnTo>
                  <a:lnTo>
                    <a:pt x="11136036" y="6227973"/>
                  </a:lnTo>
                  <a:lnTo>
                    <a:pt x="11400159" y="6227973"/>
                  </a:lnTo>
                  <a:lnTo>
                    <a:pt x="11670572" y="5957561"/>
                  </a:lnTo>
                  <a:lnTo>
                    <a:pt x="11399460" y="5687149"/>
                  </a:lnTo>
                  <a:close/>
                  <a:moveTo>
                    <a:pt x="10037618" y="5687149"/>
                  </a:moveTo>
                  <a:lnTo>
                    <a:pt x="10308729" y="5957561"/>
                  </a:lnTo>
                  <a:lnTo>
                    <a:pt x="10038317" y="6228671"/>
                  </a:lnTo>
                  <a:lnTo>
                    <a:pt x="10302440" y="6228671"/>
                  </a:lnTo>
                  <a:lnTo>
                    <a:pt x="10572852" y="5957561"/>
                  </a:lnTo>
                  <a:lnTo>
                    <a:pt x="10301742" y="5687149"/>
                  </a:lnTo>
                  <a:close/>
                  <a:moveTo>
                    <a:pt x="9477618" y="5686838"/>
                  </a:moveTo>
                  <a:lnTo>
                    <a:pt x="9216773" y="5687528"/>
                  </a:lnTo>
                  <a:lnTo>
                    <a:pt x="9486087" y="5954765"/>
                  </a:lnTo>
                  <a:lnTo>
                    <a:pt x="9745545" y="5954765"/>
                  </a:lnTo>
                  <a:lnTo>
                    <a:pt x="9615580" y="5824800"/>
                  </a:lnTo>
                  <a:close/>
                  <a:moveTo>
                    <a:pt x="10850951" y="5685751"/>
                  </a:moveTo>
                  <a:lnTo>
                    <a:pt x="10849553" y="5686450"/>
                  </a:lnTo>
                  <a:lnTo>
                    <a:pt x="10585430" y="5686450"/>
                  </a:lnTo>
                  <a:lnTo>
                    <a:pt x="10856541" y="5956862"/>
                  </a:lnTo>
                  <a:lnTo>
                    <a:pt x="10852347" y="5961054"/>
                  </a:lnTo>
                  <a:lnTo>
                    <a:pt x="10857937" y="5958259"/>
                  </a:lnTo>
                  <a:lnTo>
                    <a:pt x="10587525" y="6229370"/>
                  </a:lnTo>
                  <a:lnTo>
                    <a:pt x="10851650" y="6229370"/>
                  </a:lnTo>
                  <a:lnTo>
                    <a:pt x="11122062" y="5958259"/>
                  </a:lnTo>
                  <a:lnTo>
                    <a:pt x="10850951" y="5687847"/>
                  </a:lnTo>
                  <a:close/>
                  <a:moveTo>
                    <a:pt x="1807128" y="5420480"/>
                  </a:moveTo>
                  <a:lnTo>
                    <a:pt x="1536716" y="5691591"/>
                  </a:lnTo>
                  <a:lnTo>
                    <a:pt x="1807827" y="5962003"/>
                  </a:lnTo>
                  <a:lnTo>
                    <a:pt x="2071951" y="5962003"/>
                  </a:lnTo>
                  <a:lnTo>
                    <a:pt x="1800840" y="5691591"/>
                  </a:lnTo>
                  <a:lnTo>
                    <a:pt x="2071252" y="5420480"/>
                  </a:lnTo>
                  <a:close/>
                  <a:moveTo>
                    <a:pt x="709409" y="5420480"/>
                  </a:moveTo>
                  <a:lnTo>
                    <a:pt x="438997" y="5691591"/>
                  </a:lnTo>
                  <a:lnTo>
                    <a:pt x="710108" y="5962003"/>
                  </a:lnTo>
                  <a:lnTo>
                    <a:pt x="974231" y="5962003"/>
                  </a:lnTo>
                  <a:lnTo>
                    <a:pt x="703120" y="5691591"/>
                  </a:lnTo>
                  <a:lnTo>
                    <a:pt x="972833" y="5420480"/>
                  </a:lnTo>
                  <a:close/>
                  <a:moveTo>
                    <a:pt x="2904148" y="5419782"/>
                  </a:moveTo>
                  <a:lnTo>
                    <a:pt x="2723874" y="5600057"/>
                  </a:lnTo>
                  <a:lnTo>
                    <a:pt x="2634435" y="5690195"/>
                  </a:lnTo>
                  <a:lnTo>
                    <a:pt x="2768593" y="5823653"/>
                  </a:lnTo>
                  <a:lnTo>
                    <a:pt x="2905546" y="5960606"/>
                  </a:lnTo>
                  <a:lnTo>
                    <a:pt x="3169669" y="5960606"/>
                  </a:lnTo>
                  <a:lnTo>
                    <a:pt x="2898558" y="5690195"/>
                  </a:lnTo>
                  <a:lnTo>
                    <a:pt x="2899956" y="5688797"/>
                  </a:lnTo>
                  <a:lnTo>
                    <a:pt x="3168271" y="5419782"/>
                  </a:lnTo>
                  <a:close/>
                  <a:moveTo>
                    <a:pt x="2355639" y="5419782"/>
                  </a:moveTo>
                  <a:lnTo>
                    <a:pt x="2085226" y="5690892"/>
                  </a:lnTo>
                  <a:lnTo>
                    <a:pt x="2356338" y="5961304"/>
                  </a:lnTo>
                  <a:lnTo>
                    <a:pt x="2620460" y="5961304"/>
                  </a:lnTo>
                  <a:lnTo>
                    <a:pt x="2349350" y="5690892"/>
                  </a:lnTo>
                  <a:lnTo>
                    <a:pt x="2533816" y="5506426"/>
                  </a:lnTo>
                  <a:lnTo>
                    <a:pt x="2619762" y="5420480"/>
                  </a:lnTo>
                  <a:lnTo>
                    <a:pt x="2361229" y="5420480"/>
                  </a:lnTo>
                  <a:close/>
                  <a:moveTo>
                    <a:pt x="1257919" y="5419782"/>
                  </a:moveTo>
                  <a:lnTo>
                    <a:pt x="987507" y="5690892"/>
                  </a:lnTo>
                  <a:lnTo>
                    <a:pt x="1258618" y="5961304"/>
                  </a:lnTo>
                  <a:lnTo>
                    <a:pt x="1522741" y="5961304"/>
                  </a:lnTo>
                  <a:lnTo>
                    <a:pt x="1251631" y="5690892"/>
                  </a:lnTo>
                  <a:lnTo>
                    <a:pt x="1436098" y="5506426"/>
                  </a:lnTo>
                  <a:lnTo>
                    <a:pt x="1522043" y="5419782"/>
                  </a:lnTo>
                  <a:close/>
                  <a:moveTo>
                    <a:pt x="3452658" y="5419084"/>
                  </a:moveTo>
                  <a:lnTo>
                    <a:pt x="3182246" y="5690195"/>
                  </a:lnTo>
                  <a:lnTo>
                    <a:pt x="3453357" y="5960606"/>
                  </a:lnTo>
                  <a:lnTo>
                    <a:pt x="3717481" y="5960606"/>
                  </a:lnTo>
                  <a:lnTo>
                    <a:pt x="3446370" y="5690195"/>
                  </a:lnTo>
                  <a:lnTo>
                    <a:pt x="3716782" y="5419084"/>
                  </a:lnTo>
                  <a:close/>
                  <a:moveTo>
                    <a:pt x="4549679" y="5417686"/>
                  </a:moveTo>
                  <a:lnTo>
                    <a:pt x="4279267" y="5688797"/>
                  </a:lnTo>
                  <a:lnTo>
                    <a:pt x="4550379" y="5959209"/>
                  </a:lnTo>
                  <a:lnTo>
                    <a:pt x="4811794" y="5959209"/>
                  </a:lnTo>
                  <a:lnTo>
                    <a:pt x="4665187" y="5812602"/>
                  </a:lnTo>
                  <a:lnTo>
                    <a:pt x="4665187" y="5810279"/>
                  </a:lnTo>
                  <a:lnTo>
                    <a:pt x="4543392" y="5688797"/>
                  </a:lnTo>
                  <a:lnTo>
                    <a:pt x="4665187" y="5566541"/>
                  </a:lnTo>
                  <a:lnTo>
                    <a:pt x="4665187" y="5562454"/>
                  </a:lnTo>
                  <a:lnTo>
                    <a:pt x="4809954" y="5417686"/>
                  </a:lnTo>
                  <a:close/>
                  <a:moveTo>
                    <a:pt x="4824163" y="5417116"/>
                  </a:moveTo>
                  <a:lnTo>
                    <a:pt x="4556667" y="5685303"/>
                  </a:lnTo>
                  <a:lnTo>
                    <a:pt x="4816942" y="5685303"/>
                  </a:lnTo>
                  <a:lnTo>
                    <a:pt x="5085129" y="5417116"/>
                  </a:lnTo>
                  <a:close/>
                  <a:moveTo>
                    <a:pt x="6467235" y="5415718"/>
                  </a:moveTo>
                  <a:lnTo>
                    <a:pt x="6196823" y="5686829"/>
                  </a:lnTo>
                  <a:lnTo>
                    <a:pt x="6467933" y="5957241"/>
                  </a:lnTo>
                  <a:lnTo>
                    <a:pt x="6732057" y="5957241"/>
                  </a:lnTo>
                  <a:lnTo>
                    <a:pt x="6460946" y="5686829"/>
                  </a:lnTo>
                  <a:lnTo>
                    <a:pt x="6731358" y="5415718"/>
                  </a:lnTo>
                  <a:close/>
                  <a:moveTo>
                    <a:pt x="5369515" y="5415718"/>
                  </a:moveTo>
                  <a:lnTo>
                    <a:pt x="5099104" y="5686829"/>
                  </a:lnTo>
                  <a:lnTo>
                    <a:pt x="5370215" y="5957241"/>
                  </a:lnTo>
                  <a:lnTo>
                    <a:pt x="5634338" y="5957241"/>
                  </a:lnTo>
                  <a:lnTo>
                    <a:pt x="5363227" y="5686829"/>
                  </a:lnTo>
                  <a:lnTo>
                    <a:pt x="5632939" y="5415718"/>
                  </a:lnTo>
                  <a:close/>
                  <a:moveTo>
                    <a:pt x="7564254" y="5415020"/>
                  </a:moveTo>
                  <a:lnTo>
                    <a:pt x="7383980" y="5595295"/>
                  </a:lnTo>
                  <a:lnTo>
                    <a:pt x="7294541" y="5685433"/>
                  </a:lnTo>
                  <a:lnTo>
                    <a:pt x="7428699" y="5818891"/>
                  </a:lnTo>
                  <a:lnTo>
                    <a:pt x="7565652" y="5955844"/>
                  </a:lnTo>
                  <a:lnTo>
                    <a:pt x="7829775" y="5955844"/>
                  </a:lnTo>
                  <a:lnTo>
                    <a:pt x="7558664" y="5685433"/>
                  </a:lnTo>
                  <a:lnTo>
                    <a:pt x="7560062" y="5684035"/>
                  </a:lnTo>
                  <a:lnTo>
                    <a:pt x="7828377" y="5415020"/>
                  </a:lnTo>
                  <a:close/>
                  <a:moveTo>
                    <a:pt x="7015746" y="5415020"/>
                  </a:moveTo>
                  <a:lnTo>
                    <a:pt x="6745333" y="5686130"/>
                  </a:lnTo>
                  <a:lnTo>
                    <a:pt x="7016444" y="5956542"/>
                  </a:lnTo>
                  <a:lnTo>
                    <a:pt x="7280566" y="5956542"/>
                  </a:lnTo>
                  <a:lnTo>
                    <a:pt x="7009456" y="5686130"/>
                  </a:lnTo>
                  <a:lnTo>
                    <a:pt x="7193922" y="5501664"/>
                  </a:lnTo>
                  <a:lnTo>
                    <a:pt x="7279868" y="5415718"/>
                  </a:lnTo>
                  <a:lnTo>
                    <a:pt x="7021335" y="5415718"/>
                  </a:lnTo>
                  <a:close/>
                  <a:moveTo>
                    <a:pt x="5918025" y="5415020"/>
                  </a:moveTo>
                  <a:lnTo>
                    <a:pt x="5647613" y="5686130"/>
                  </a:lnTo>
                  <a:lnTo>
                    <a:pt x="5918725" y="5956542"/>
                  </a:lnTo>
                  <a:lnTo>
                    <a:pt x="6182848" y="5956542"/>
                  </a:lnTo>
                  <a:lnTo>
                    <a:pt x="5911738" y="5686130"/>
                  </a:lnTo>
                  <a:lnTo>
                    <a:pt x="6096205" y="5501664"/>
                  </a:lnTo>
                  <a:lnTo>
                    <a:pt x="6182150" y="5415020"/>
                  </a:lnTo>
                  <a:close/>
                  <a:moveTo>
                    <a:pt x="8112764" y="5414322"/>
                  </a:moveTo>
                  <a:lnTo>
                    <a:pt x="7842352" y="5685433"/>
                  </a:lnTo>
                  <a:lnTo>
                    <a:pt x="8113463" y="5955844"/>
                  </a:lnTo>
                  <a:lnTo>
                    <a:pt x="8377587" y="5955844"/>
                  </a:lnTo>
                  <a:lnTo>
                    <a:pt x="8106476" y="5685433"/>
                  </a:lnTo>
                  <a:lnTo>
                    <a:pt x="8376888" y="5414322"/>
                  </a:lnTo>
                  <a:close/>
                  <a:moveTo>
                    <a:pt x="9482686" y="5413941"/>
                  </a:moveTo>
                  <a:lnTo>
                    <a:pt x="9216773" y="5680541"/>
                  </a:lnTo>
                  <a:lnTo>
                    <a:pt x="9478945" y="5680541"/>
                  </a:lnTo>
                  <a:lnTo>
                    <a:pt x="9745545" y="5413941"/>
                  </a:lnTo>
                  <a:close/>
                  <a:moveTo>
                    <a:pt x="9209785" y="5412924"/>
                  </a:moveTo>
                  <a:lnTo>
                    <a:pt x="8939373" y="5684035"/>
                  </a:lnTo>
                  <a:lnTo>
                    <a:pt x="9210484" y="5954447"/>
                  </a:lnTo>
                  <a:lnTo>
                    <a:pt x="9470623" y="5954447"/>
                  </a:lnTo>
                  <a:lnTo>
                    <a:pt x="9325603" y="5809427"/>
                  </a:lnTo>
                  <a:lnTo>
                    <a:pt x="9325603" y="5805827"/>
                  </a:lnTo>
                  <a:lnTo>
                    <a:pt x="9203497" y="5684035"/>
                  </a:lnTo>
                  <a:lnTo>
                    <a:pt x="9325603" y="5561467"/>
                  </a:lnTo>
                  <a:lnTo>
                    <a:pt x="9325603" y="5559279"/>
                  </a:lnTo>
                  <a:lnTo>
                    <a:pt x="9471958" y="5412924"/>
                  </a:lnTo>
                  <a:close/>
                  <a:moveTo>
                    <a:pt x="11127651" y="5412543"/>
                  </a:moveTo>
                  <a:lnTo>
                    <a:pt x="10857239" y="5683654"/>
                  </a:lnTo>
                  <a:lnTo>
                    <a:pt x="11128350" y="5954066"/>
                  </a:lnTo>
                  <a:lnTo>
                    <a:pt x="11392474" y="5954066"/>
                  </a:lnTo>
                  <a:lnTo>
                    <a:pt x="11121363" y="5683654"/>
                  </a:lnTo>
                  <a:lnTo>
                    <a:pt x="11391775" y="5412543"/>
                  </a:lnTo>
                  <a:close/>
                  <a:moveTo>
                    <a:pt x="10029932" y="5412543"/>
                  </a:moveTo>
                  <a:lnTo>
                    <a:pt x="9759520" y="5683654"/>
                  </a:lnTo>
                  <a:lnTo>
                    <a:pt x="10030631" y="5954066"/>
                  </a:lnTo>
                  <a:lnTo>
                    <a:pt x="10294754" y="5954066"/>
                  </a:lnTo>
                  <a:lnTo>
                    <a:pt x="10023643" y="5683654"/>
                  </a:lnTo>
                  <a:lnTo>
                    <a:pt x="10293356" y="5412543"/>
                  </a:lnTo>
                  <a:close/>
                  <a:moveTo>
                    <a:pt x="11676162" y="5411845"/>
                  </a:moveTo>
                  <a:lnTo>
                    <a:pt x="11405749" y="5682955"/>
                  </a:lnTo>
                  <a:lnTo>
                    <a:pt x="11676861" y="5953367"/>
                  </a:lnTo>
                  <a:lnTo>
                    <a:pt x="11940983" y="5953367"/>
                  </a:lnTo>
                  <a:lnTo>
                    <a:pt x="11669873" y="5682955"/>
                  </a:lnTo>
                  <a:lnTo>
                    <a:pt x="11854339" y="5498489"/>
                  </a:lnTo>
                  <a:lnTo>
                    <a:pt x="11940285" y="5412543"/>
                  </a:lnTo>
                  <a:lnTo>
                    <a:pt x="11681752" y="5412543"/>
                  </a:lnTo>
                  <a:close/>
                  <a:moveTo>
                    <a:pt x="10578442" y="5411845"/>
                  </a:moveTo>
                  <a:lnTo>
                    <a:pt x="10308030" y="5682955"/>
                  </a:lnTo>
                  <a:lnTo>
                    <a:pt x="10579141" y="5953367"/>
                  </a:lnTo>
                  <a:lnTo>
                    <a:pt x="10843264" y="5953367"/>
                  </a:lnTo>
                  <a:lnTo>
                    <a:pt x="10572154" y="5682955"/>
                  </a:lnTo>
                  <a:lnTo>
                    <a:pt x="10756621" y="5498489"/>
                  </a:lnTo>
                  <a:lnTo>
                    <a:pt x="10842566" y="5411845"/>
                  </a:lnTo>
                  <a:close/>
                  <a:moveTo>
                    <a:pt x="167886" y="5147274"/>
                  </a:moveTo>
                  <a:lnTo>
                    <a:pt x="438997" y="5417686"/>
                  </a:lnTo>
                  <a:lnTo>
                    <a:pt x="169284" y="5688797"/>
                  </a:lnTo>
                  <a:lnTo>
                    <a:pt x="432708" y="5688797"/>
                  </a:lnTo>
                  <a:lnTo>
                    <a:pt x="703120" y="5417686"/>
                  </a:lnTo>
                  <a:lnTo>
                    <a:pt x="568962" y="5284227"/>
                  </a:lnTo>
                  <a:lnTo>
                    <a:pt x="432009" y="5147274"/>
                  </a:lnTo>
                  <a:close/>
                  <a:moveTo>
                    <a:pt x="1814116" y="5146575"/>
                  </a:moveTo>
                  <a:lnTo>
                    <a:pt x="1942683" y="5275144"/>
                  </a:lnTo>
                  <a:lnTo>
                    <a:pt x="2084528" y="5416987"/>
                  </a:lnTo>
                  <a:lnTo>
                    <a:pt x="1814116" y="5688098"/>
                  </a:lnTo>
                  <a:lnTo>
                    <a:pt x="2078239" y="5688098"/>
                  </a:lnTo>
                  <a:lnTo>
                    <a:pt x="2348651" y="5416987"/>
                  </a:lnTo>
                  <a:lnTo>
                    <a:pt x="2343759" y="5412096"/>
                  </a:lnTo>
                  <a:lnTo>
                    <a:pt x="2078239" y="5146575"/>
                  </a:lnTo>
                  <a:close/>
                  <a:moveTo>
                    <a:pt x="2362625" y="5145876"/>
                  </a:moveTo>
                  <a:lnTo>
                    <a:pt x="2633736" y="5415590"/>
                  </a:lnTo>
                  <a:lnTo>
                    <a:pt x="2630942" y="5418385"/>
                  </a:lnTo>
                  <a:lnTo>
                    <a:pt x="2540804" y="5509220"/>
                  </a:lnTo>
                  <a:lnTo>
                    <a:pt x="2363324" y="5686700"/>
                  </a:lnTo>
                  <a:lnTo>
                    <a:pt x="2627447" y="5686700"/>
                  </a:lnTo>
                  <a:lnTo>
                    <a:pt x="2716886" y="5597262"/>
                  </a:lnTo>
                  <a:lnTo>
                    <a:pt x="2897859" y="5416288"/>
                  </a:lnTo>
                  <a:lnTo>
                    <a:pt x="2626749" y="5145876"/>
                  </a:lnTo>
                  <a:close/>
                  <a:moveTo>
                    <a:pt x="1264208" y="5145876"/>
                  </a:moveTo>
                  <a:lnTo>
                    <a:pt x="1535319" y="5415590"/>
                  </a:lnTo>
                  <a:lnTo>
                    <a:pt x="1532523" y="5418385"/>
                  </a:lnTo>
                  <a:lnTo>
                    <a:pt x="1442387" y="5509220"/>
                  </a:lnTo>
                  <a:lnTo>
                    <a:pt x="1264907" y="5686700"/>
                  </a:lnTo>
                  <a:lnTo>
                    <a:pt x="1529030" y="5686700"/>
                  </a:lnTo>
                  <a:lnTo>
                    <a:pt x="1618469" y="5597262"/>
                  </a:lnTo>
                  <a:lnTo>
                    <a:pt x="1799442" y="5416288"/>
                  </a:lnTo>
                  <a:lnTo>
                    <a:pt x="1528331" y="5145876"/>
                  </a:lnTo>
                  <a:close/>
                  <a:moveTo>
                    <a:pt x="715697" y="5145876"/>
                  </a:moveTo>
                  <a:lnTo>
                    <a:pt x="717095" y="5147274"/>
                  </a:lnTo>
                  <a:lnTo>
                    <a:pt x="986808" y="5416288"/>
                  </a:lnTo>
                  <a:lnTo>
                    <a:pt x="716396" y="5687399"/>
                  </a:lnTo>
                  <a:lnTo>
                    <a:pt x="980520" y="5687399"/>
                  </a:lnTo>
                  <a:lnTo>
                    <a:pt x="1250932" y="5416288"/>
                  </a:lnTo>
                  <a:lnTo>
                    <a:pt x="1245342" y="5411397"/>
                  </a:lnTo>
                  <a:lnTo>
                    <a:pt x="979821" y="5145876"/>
                  </a:lnTo>
                  <a:close/>
                  <a:moveTo>
                    <a:pt x="2911136" y="5145178"/>
                  </a:moveTo>
                  <a:lnTo>
                    <a:pt x="3041801" y="5274445"/>
                  </a:lnTo>
                  <a:lnTo>
                    <a:pt x="3182246" y="5414891"/>
                  </a:lnTo>
                  <a:lnTo>
                    <a:pt x="2911834" y="5686002"/>
                  </a:lnTo>
                  <a:lnTo>
                    <a:pt x="3175958" y="5686002"/>
                  </a:lnTo>
                  <a:lnTo>
                    <a:pt x="3446370" y="5415590"/>
                  </a:lnTo>
                  <a:lnTo>
                    <a:pt x="3175259" y="5145178"/>
                  </a:lnTo>
                  <a:close/>
                  <a:moveTo>
                    <a:pt x="3459646" y="5144479"/>
                  </a:moveTo>
                  <a:lnTo>
                    <a:pt x="3730757" y="5414891"/>
                  </a:lnTo>
                  <a:lnTo>
                    <a:pt x="3460345" y="5686002"/>
                  </a:lnTo>
                  <a:lnTo>
                    <a:pt x="3724468" y="5686002"/>
                  </a:lnTo>
                  <a:lnTo>
                    <a:pt x="3994880" y="5414891"/>
                  </a:lnTo>
                  <a:lnTo>
                    <a:pt x="3723769" y="5144479"/>
                  </a:lnTo>
                  <a:close/>
                  <a:moveTo>
                    <a:pt x="4008156" y="5143780"/>
                  </a:moveTo>
                  <a:lnTo>
                    <a:pt x="4279267" y="5414192"/>
                  </a:lnTo>
                  <a:lnTo>
                    <a:pt x="4008855" y="5685303"/>
                  </a:lnTo>
                  <a:lnTo>
                    <a:pt x="4207298" y="5685303"/>
                  </a:lnTo>
                  <a:lnTo>
                    <a:pt x="4272281" y="5685303"/>
                  </a:lnTo>
                  <a:lnTo>
                    <a:pt x="4543392" y="5414192"/>
                  </a:lnTo>
                  <a:lnTo>
                    <a:pt x="4409232" y="5280734"/>
                  </a:lnTo>
                  <a:lnTo>
                    <a:pt x="4272281" y="5143780"/>
                  </a:lnTo>
                  <a:close/>
                  <a:moveTo>
                    <a:pt x="4555270" y="5143081"/>
                  </a:moveTo>
                  <a:lnTo>
                    <a:pt x="4822307" y="5409430"/>
                  </a:lnTo>
                  <a:lnTo>
                    <a:pt x="5085129" y="5409430"/>
                  </a:lnTo>
                  <a:lnTo>
                    <a:pt x="4818091" y="5143081"/>
                  </a:lnTo>
                  <a:close/>
                  <a:moveTo>
                    <a:pt x="4828477" y="5142512"/>
                  </a:moveTo>
                  <a:lnTo>
                    <a:pt x="4828477" y="5142995"/>
                  </a:lnTo>
                  <a:lnTo>
                    <a:pt x="5099104" y="5412924"/>
                  </a:lnTo>
                  <a:lnTo>
                    <a:pt x="4829390" y="5684035"/>
                  </a:lnTo>
                  <a:lnTo>
                    <a:pt x="5092815" y="5684035"/>
                  </a:lnTo>
                  <a:lnTo>
                    <a:pt x="5363227" y="5412924"/>
                  </a:lnTo>
                  <a:lnTo>
                    <a:pt x="5229068" y="5279465"/>
                  </a:lnTo>
                  <a:lnTo>
                    <a:pt x="5092115" y="5142512"/>
                  </a:lnTo>
                  <a:close/>
                  <a:moveTo>
                    <a:pt x="6474223" y="5141813"/>
                  </a:moveTo>
                  <a:lnTo>
                    <a:pt x="6602789" y="5270382"/>
                  </a:lnTo>
                  <a:lnTo>
                    <a:pt x="6744635" y="5412225"/>
                  </a:lnTo>
                  <a:lnTo>
                    <a:pt x="6474223" y="5683336"/>
                  </a:lnTo>
                  <a:lnTo>
                    <a:pt x="6738346" y="5683336"/>
                  </a:lnTo>
                  <a:lnTo>
                    <a:pt x="7008758" y="5412225"/>
                  </a:lnTo>
                  <a:lnTo>
                    <a:pt x="7003865" y="5407334"/>
                  </a:lnTo>
                  <a:lnTo>
                    <a:pt x="6738346" y="5141813"/>
                  </a:lnTo>
                  <a:close/>
                  <a:moveTo>
                    <a:pt x="7022731" y="5141114"/>
                  </a:moveTo>
                  <a:lnTo>
                    <a:pt x="7293842" y="5410828"/>
                  </a:lnTo>
                  <a:lnTo>
                    <a:pt x="7291048" y="5413623"/>
                  </a:lnTo>
                  <a:lnTo>
                    <a:pt x="7200910" y="5504458"/>
                  </a:lnTo>
                  <a:lnTo>
                    <a:pt x="7023431" y="5681938"/>
                  </a:lnTo>
                  <a:lnTo>
                    <a:pt x="7287553" y="5681938"/>
                  </a:lnTo>
                  <a:lnTo>
                    <a:pt x="7376992" y="5592500"/>
                  </a:lnTo>
                  <a:lnTo>
                    <a:pt x="7557965" y="5411526"/>
                  </a:lnTo>
                  <a:lnTo>
                    <a:pt x="7286855" y="5141114"/>
                  </a:lnTo>
                  <a:close/>
                  <a:moveTo>
                    <a:pt x="5924314" y="5141114"/>
                  </a:moveTo>
                  <a:lnTo>
                    <a:pt x="6195425" y="5410828"/>
                  </a:lnTo>
                  <a:lnTo>
                    <a:pt x="6192630" y="5413623"/>
                  </a:lnTo>
                  <a:lnTo>
                    <a:pt x="6102494" y="5504458"/>
                  </a:lnTo>
                  <a:lnTo>
                    <a:pt x="5925013" y="5681938"/>
                  </a:lnTo>
                  <a:lnTo>
                    <a:pt x="6189136" y="5681938"/>
                  </a:lnTo>
                  <a:lnTo>
                    <a:pt x="6278575" y="5592500"/>
                  </a:lnTo>
                  <a:lnTo>
                    <a:pt x="6459548" y="5411526"/>
                  </a:lnTo>
                  <a:lnTo>
                    <a:pt x="6188437" y="5141114"/>
                  </a:lnTo>
                  <a:close/>
                  <a:moveTo>
                    <a:pt x="5375803" y="5141114"/>
                  </a:moveTo>
                  <a:lnTo>
                    <a:pt x="5377202" y="5142512"/>
                  </a:lnTo>
                  <a:lnTo>
                    <a:pt x="5646914" y="5411526"/>
                  </a:lnTo>
                  <a:lnTo>
                    <a:pt x="5376502" y="5682637"/>
                  </a:lnTo>
                  <a:lnTo>
                    <a:pt x="5640627" y="5682637"/>
                  </a:lnTo>
                  <a:lnTo>
                    <a:pt x="5911038" y="5411526"/>
                  </a:lnTo>
                  <a:lnTo>
                    <a:pt x="5905448" y="5406635"/>
                  </a:lnTo>
                  <a:lnTo>
                    <a:pt x="5639927" y="5141114"/>
                  </a:lnTo>
                  <a:close/>
                  <a:moveTo>
                    <a:pt x="7571242" y="5140416"/>
                  </a:moveTo>
                  <a:lnTo>
                    <a:pt x="7701907" y="5269683"/>
                  </a:lnTo>
                  <a:lnTo>
                    <a:pt x="7842352" y="5410129"/>
                  </a:lnTo>
                  <a:lnTo>
                    <a:pt x="7571940" y="5681240"/>
                  </a:lnTo>
                  <a:lnTo>
                    <a:pt x="7836064" y="5681240"/>
                  </a:lnTo>
                  <a:lnTo>
                    <a:pt x="8106476" y="5410828"/>
                  </a:lnTo>
                  <a:lnTo>
                    <a:pt x="7835365" y="5140416"/>
                  </a:lnTo>
                  <a:close/>
                  <a:moveTo>
                    <a:pt x="8119752" y="5139717"/>
                  </a:moveTo>
                  <a:lnTo>
                    <a:pt x="8390863" y="5410129"/>
                  </a:lnTo>
                  <a:lnTo>
                    <a:pt x="8120451" y="5681240"/>
                  </a:lnTo>
                  <a:lnTo>
                    <a:pt x="8384574" y="5681240"/>
                  </a:lnTo>
                  <a:lnTo>
                    <a:pt x="8654986" y="5410129"/>
                  </a:lnTo>
                  <a:lnTo>
                    <a:pt x="8383875" y="5139717"/>
                  </a:lnTo>
                  <a:close/>
                  <a:moveTo>
                    <a:pt x="9488582" y="5139337"/>
                  </a:moveTo>
                  <a:lnTo>
                    <a:pt x="9488582" y="5139510"/>
                  </a:lnTo>
                  <a:lnTo>
                    <a:pt x="9759520" y="5409749"/>
                  </a:lnTo>
                  <a:lnTo>
                    <a:pt x="9489807" y="5680860"/>
                  </a:lnTo>
                  <a:lnTo>
                    <a:pt x="9753231" y="5680860"/>
                  </a:lnTo>
                  <a:lnTo>
                    <a:pt x="10023643" y="5409749"/>
                  </a:lnTo>
                  <a:lnTo>
                    <a:pt x="9889485" y="5276290"/>
                  </a:lnTo>
                  <a:lnTo>
                    <a:pt x="9752532" y="5139337"/>
                  </a:lnTo>
                  <a:close/>
                  <a:moveTo>
                    <a:pt x="8668262" y="5139018"/>
                  </a:moveTo>
                  <a:lnTo>
                    <a:pt x="8939373" y="5409430"/>
                  </a:lnTo>
                  <a:lnTo>
                    <a:pt x="8668961" y="5680541"/>
                  </a:lnTo>
                  <a:lnTo>
                    <a:pt x="8867403" y="5680541"/>
                  </a:lnTo>
                  <a:lnTo>
                    <a:pt x="8932386" y="5680541"/>
                  </a:lnTo>
                  <a:lnTo>
                    <a:pt x="9203497" y="5409430"/>
                  </a:lnTo>
                  <a:lnTo>
                    <a:pt x="9069338" y="5275972"/>
                  </a:lnTo>
                  <a:lnTo>
                    <a:pt x="8932386" y="5139018"/>
                  </a:lnTo>
                  <a:close/>
                  <a:moveTo>
                    <a:pt x="11134639" y="5138638"/>
                  </a:moveTo>
                  <a:lnTo>
                    <a:pt x="11263206" y="5267207"/>
                  </a:lnTo>
                  <a:lnTo>
                    <a:pt x="11405051" y="5409050"/>
                  </a:lnTo>
                  <a:lnTo>
                    <a:pt x="11134639" y="5680161"/>
                  </a:lnTo>
                  <a:lnTo>
                    <a:pt x="11398762" y="5680161"/>
                  </a:lnTo>
                  <a:lnTo>
                    <a:pt x="11669174" y="5409050"/>
                  </a:lnTo>
                  <a:lnTo>
                    <a:pt x="11664282" y="5404159"/>
                  </a:lnTo>
                  <a:lnTo>
                    <a:pt x="11398762" y="5138638"/>
                  </a:lnTo>
                  <a:close/>
                  <a:moveTo>
                    <a:pt x="9215375" y="5138319"/>
                  </a:moveTo>
                  <a:lnTo>
                    <a:pt x="9484003" y="5406255"/>
                  </a:lnTo>
                  <a:lnTo>
                    <a:pt x="9745545" y="5406255"/>
                  </a:lnTo>
                  <a:lnTo>
                    <a:pt x="9476916" y="5138319"/>
                  </a:lnTo>
                  <a:close/>
                  <a:moveTo>
                    <a:pt x="10584731" y="5137939"/>
                  </a:moveTo>
                  <a:lnTo>
                    <a:pt x="10855842" y="5407653"/>
                  </a:lnTo>
                  <a:lnTo>
                    <a:pt x="10853046" y="5410448"/>
                  </a:lnTo>
                  <a:lnTo>
                    <a:pt x="10762910" y="5501283"/>
                  </a:lnTo>
                  <a:lnTo>
                    <a:pt x="10585430" y="5678763"/>
                  </a:lnTo>
                  <a:lnTo>
                    <a:pt x="10849553" y="5678763"/>
                  </a:lnTo>
                  <a:lnTo>
                    <a:pt x="10938992" y="5589325"/>
                  </a:lnTo>
                  <a:lnTo>
                    <a:pt x="11119965" y="5408351"/>
                  </a:lnTo>
                  <a:lnTo>
                    <a:pt x="10848854" y="5137939"/>
                  </a:lnTo>
                  <a:close/>
                  <a:moveTo>
                    <a:pt x="10036220" y="5137939"/>
                  </a:moveTo>
                  <a:lnTo>
                    <a:pt x="10037618" y="5139337"/>
                  </a:lnTo>
                  <a:lnTo>
                    <a:pt x="10307331" y="5408351"/>
                  </a:lnTo>
                  <a:lnTo>
                    <a:pt x="10036919" y="5679462"/>
                  </a:lnTo>
                  <a:lnTo>
                    <a:pt x="10301043" y="5679462"/>
                  </a:lnTo>
                  <a:lnTo>
                    <a:pt x="10571455" y="5408351"/>
                  </a:lnTo>
                  <a:lnTo>
                    <a:pt x="10565865" y="5403460"/>
                  </a:lnTo>
                  <a:lnTo>
                    <a:pt x="10300344" y="5137939"/>
                  </a:lnTo>
                  <a:close/>
                  <a:moveTo>
                    <a:pt x="708011" y="4871971"/>
                  </a:moveTo>
                  <a:lnTo>
                    <a:pt x="527737" y="5052944"/>
                  </a:lnTo>
                  <a:lnTo>
                    <a:pt x="438298" y="5143081"/>
                  </a:lnTo>
                  <a:lnTo>
                    <a:pt x="572456" y="5276540"/>
                  </a:lnTo>
                  <a:lnTo>
                    <a:pt x="709409" y="5413494"/>
                  </a:lnTo>
                  <a:lnTo>
                    <a:pt x="973532" y="5413494"/>
                  </a:lnTo>
                  <a:lnTo>
                    <a:pt x="702421" y="5143081"/>
                  </a:lnTo>
                  <a:lnTo>
                    <a:pt x="703819" y="5141684"/>
                  </a:lnTo>
                  <a:lnTo>
                    <a:pt x="972135" y="4871971"/>
                  </a:lnTo>
                  <a:close/>
                  <a:moveTo>
                    <a:pt x="1257220" y="4871272"/>
                  </a:moveTo>
                  <a:lnTo>
                    <a:pt x="986808" y="5142383"/>
                  </a:lnTo>
                  <a:lnTo>
                    <a:pt x="1257919" y="5412795"/>
                  </a:lnTo>
                  <a:lnTo>
                    <a:pt x="1522043" y="5412795"/>
                  </a:lnTo>
                  <a:lnTo>
                    <a:pt x="1250932" y="5142383"/>
                  </a:lnTo>
                  <a:lnTo>
                    <a:pt x="1521344" y="4871272"/>
                  </a:lnTo>
                  <a:close/>
                  <a:moveTo>
                    <a:pt x="2904148" y="4870573"/>
                  </a:moveTo>
                  <a:lnTo>
                    <a:pt x="2633736" y="5141684"/>
                  </a:lnTo>
                  <a:lnTo>
                    <a:pt x="2904847" y="5412096"/>
                  </a:lnTo>
                  <a:lnTo>
                    <a:pt x="3168271" y="5412096"/>
                  </a:lnTo>
                  <a:lnTo>
                    <a:pt x="3037607" y="5282130"/>
                  </a:lnTo>
                  <a:lnTo>
                    <a:pt x="2897162" y="5141684"/>
                  </a:lnTo>
                  <a:lnTo>
                    <a:pt x="3168271" y="4870573"/>
                  </a:lnTo>
                  <a:close/>
                  <a:moveTo>
                    <a:pt x="1805032" y="4870573"/>
                  </a:moveTo>
                  <a:lnTo>
                    <a:pt x="1534620" y="5141684"/>
                  </a:lnTo>
                  <a:lnTo>
                    <a:pt x="1805731" y="5412096"/>
                  </a:lnTo>
                  <a:lnTo>
                    <a:pt x="1807128" y="5413494"/>
                  </a:lnTo>
                  <a:lnTo>
                    <a:pt x="2071252" y="5413494"/>
                  </a:lnTo>
                  <a:lnTo>
                    <a:pt x="1939889" y="5282130"/>
                  </a:lnTo>
                  <a:lnTo>
                    <a:pt x="1802236" y="5144479"/>
                  </a:lnTo>
                  <a:lnTo>
                    <a:pt x="2071252" y="4870573"/>
                  </a:lnTo>
                  <a:close/>
                  <a:moveTo>
                    <a:pt x="3451960" y="4869875"/>
                  </a:moveTo>
                  <a:lnTo>
                    <a:pt x="3181548" y="5140985"/>
                  </a:lnTo>
                  <a:lnTo>
                    <a:pt x="3452658" y="5411397"/>
                  </a:lnTo>
                  <a:lnTo>
                    <a:pt x="3716782" y="5411397"/>
                  </a:lnTo>
                  <a:lnTo>
                    <a:pt x="3445671" y="5140985"/>
                  </a:lnTo>
                  <a:lnTo>
                    <a:pt x="3630138" y="4956518"/>
                  </a:lnTo>
                  <a:lnTo>
                    <a:pt x="3714686" y="4869875"/>
                  </a:lnTo>
                  <a:close/>
                  <a:moveTo>
                    <a:pt x="4000470" y="4869176"/>
                  </a:moveTo>
                  <a:lnTo>
                    <a:pt x="3730058" y="5140287"/>
                  </a:lnTo>
                  <a:lnTo>
                    <a:pt x="4001169" y="5410699"/>
                  </a:lnTo>
                  <a:lnTo>
                    <a:pt x="4265292" y="5410699"/>
                  </a:lnTo>
                  <a:lnTo>
                    <a:pt x="3994181" y="5140287"/>
                  </a:lnTo>
                  <a:lnTo>
                    <a:pt x="3995579" y="5138889"/>
                  </a:lnTo>
                  <a:lnTo>
                    <a:pt x="3994880" y="5138889"/>
                  </a:lnTo>
                  <a:lnTo>
                    <a:pt x="4263197" y="4869875"/>
                  </a:lnTo>
                  <a:lnTo>
                    <a:pt x="4004663" y="4869875"/>
                  </a:lnTo>
                  <a:lnTo>
                    <a:pt x="4006060" y="4869176"/>
                  </a:lnTo>
                  <a:close/>
                  <a:moveTo>
                    <a:pt x="4823465" y="4868606"/>
                  </a:moveTo>
                  <a:lnTo>
                    <a:pt x="4555968" y="5136792"/>
                  </a:lnTo>
                  <a:lnTo>
                    <a:pt x="4816244" y="5136792"/>
                  </a:lnTo>
                  <a:lnTo>
                    <a:pt x="4998484" y="4954551"/>
                  </a:lnTo>
                  <a:lnTo>
                    <a:pt x="5084429" y="4868606"/>
                  </a:lnTo>
                  <a:close/>
                  <a:moveTo>
                    <a:pt x="4548281" y="4868477"/>
                  </a:moveTo>
                  <a:lnTo>
                    <a:pt x="4367308" y="5049450"/>
                  </a:lnTo>
                  <a:lnTo>
                    <a:pt x="4368007" y="5050149"/>
                  </a:lnTo>
                  <a:lnTo>
                    <a:pt x="4278568" y="5140287"/>
                  </a:lnTo>
                  <a:lnTo>
                    <a:pt x="4412727" y="5273746"/>
                  </a:lnTo>
                  <a:lnTo>
                    <a:pt x="4548980" y="5410000"/>
                  </a:lnTo>
                  <a:lnTo>
                    <a:pt x="4810394" y="5410000"/>
                  </a:lnTo>
                  <a:lnTo>
                    <a:pt x="4665187" y="5264791"/>
                  </a:lnTo>
                  <a:lnTo>
                    <a:pt x="4665187" y="5262463"/>
                  </a:lnTo>
                  <a:lnTo>
                    <a:pt x="4541993" y="5139588"/>
                  </a:lnTo>
                  <a:lnTo>
                    <a:pt x="4665187" y="5016077"/>
                  </a:lnTo>
                  <a:lnTo>
                    <a:pt x="4665187" y="5013245"/>
                  </a:lnTo>
                  <a:lnTo>
                    <a:pt x="4809274" y="4868477"/>
                  </a:lnTo>
                  <a:close/>
                  <a:moveTo>
                    <a:pt x="2621159" y="4868477"/>
                  </a:moveTo>
                  <a:lnTo>
                    <a:pt x="2354940" y="4871272"/>
                  </a:lnTo>
                  <a:lnTo>
                    <a:pt x="2084528" y="5142383"/>
                  </a:lnTo>
                  <a:lnTo>
                    <a:pt x="2355639" y="5412795"/>
                  </a:lnTo>
                  <a:lnTo>
                    <a:pt x="2619762" y="5412795"/>
                  </a:lnTo>
                  <a:lnTo>
                    <a:pt x="2348651" y="5142383"/>
                  </a:lnTo>
                  <a:close/>
                  <a:moveTo>
                    <a:pt x="5368118" y="4867209"/>
                  </a:moveTo>
                  <a:lnTo>
                    <a:pt x="5187844" y="5048182"/>
                  </a:lnTo>
                  <a:lnTo>
                    <a:pt x="5098404" y="5138319"/>
                  </a:lnTo>
                  <a:lnTo>
                    <a:pt x="5232563" y="5271778"/>
                  </a:lnTo>
                  <a:lnTo>
                    <a:pt x="5369515" y="5408732"/>
                  </a:lnTo>
                  <a:lnTo>
                    <a:pt x="5633638" y="5408732"/>
                  </a:lnTo>
                  <a:lnTo>
                    <a:pt x="5362527" y="5138319"/>
                  </a:lnTo>
                  <a:lnTo>
                    <a:pt x="5363925" y="5136922"/>
                  </a:lnTo>
                  <a:lnTo>
                    <a:pt x="5632241" y="4867209"/>
                  </a:lnTo>
                  <a:close/>
                  <a:moveTo>
                    <a:pt x="5917326" y="4866510"/>
                  </a:moveTo>
                  <a:lnTo>
                    <a:pt x="5646914" y="5137621"/>
                  </a:lnTo>
                  <a:lnTo>
                    <a:pt x="5918025" y="5408033"/>
                  </a:lnTo>
                  <a:lnTo>
                    <a:pt x="6182150" y="5408033"/>
                  </a:lnTo>
                  <a:lnTo>
                    <a:pt x="5911038" y="5137621"/>
                  </a:lnTo>
                  <a:lnTo>
                    <a:pt x="6181450" y="4866510"/>
                  </a:lnTo>
                  <a:close/>
                  <a:moveTo>
                    <a:pt x="7564254" y="4865811"/>
                  </a:moveTo>
                  <a:lnTo>
                    <a:pt x="7293842" y="5136922"/>
                  </a:lnTo>
                  <a:lnTo>
                    <a:pt x="7564953" y="5407334"/>
                  </a:lnTo>
                  <a:lnTo>
                    <a:pt x="7828377" y="5407334"/>
                  </a:lnTo>
                  <a:lnTo>
                    <a:pt x="7697713" y="5277368"/>
                  </a:lnTo>
                  <a:lnTo>
                    <a:pt x="7557268" y="5136922"/>
                  </a:lnTo>
                  <a:lnTo>
                    <a:pt x="7828377" y="4865811"/>
                  </a:lnTo>
                  <a:close/>
                  <a:moveTo>
                    <a:pt x="6465139" y="4865811"/>
                  </a:moveTo>
                  <a:lnTo>
                    <a:pt x="6194726" y="5136922"/>
                  </a:lnTo>
                  <a:lnTo>
                    <a:pt x="6465837" y="5407334"/>
                  </a:lnTo>
                  <a:lnTo>
                    <a:pt x="6467235" y="5408732"/>
                  </a:lnTo>
                  <a:lnTo>
                    <a:pt x="6731358" y="5408732"/>
                  </a:lnTo>
                  <a:lnTo>
                    <a:pt x="6599996" y="5277368"/>
                  </a:lnTo>
                  <a:lnTo>
                    <a:pt x="6462342" y="5139717"/>
                  </a:lnTo>
                  <a:lnTo>
                    <a:pt x="6731358" y="4865811"/>
                  </a:lnTo>
                  <a:close/>
                  <a:moveTo>
                    <a:pt x="9481988" y="4865431"/>
                  </a:moveTo>
                  <a:lnTo>
                    <a:pt x="9216074" y="5132030"/>
                  </a:lnTo>
                  <a:lnTo>
                    <a:pt x="9478247" y="5132030"/>
                  </a:lnTo>
                  <a:lnTo>
                    <a:pt x="9658901" y="4951376"/>
                  </a:lnTo>
                  <a:lnTo>
                    <a:pt x="9744846" y="4865431"/>
                  </a:lnTo>
                  <a:close/>
                  <a:moveTo>
                    <a:pt x="8112066" y="4865113"/>
                  </a:moveTo>
                  <a:lnTo>
                    <a:pt x="7841654" y="5136223"/>
                  </a:lnTo>
                  <a:lnTo>
                    <a:pt x="8112764" y="5406635"/>
                  </a:lnTo>
                  <a:lnTo>
                    <a:pt x="8376888" y="5406635"/>
                  </a:lnTo>
                  <a:lnTo>
                    <a:pt x="8105777" y="5136223"/>
                  </a:lnTo>
                  <a:lnTo>
                    <a:pt x="8290244" y="4951756"/>
                  </a:lnTo>
                  <a:lnTo>
                    <a:pt x="8374792" y="4865113"/>
                  </a:lnTo>
                  <a:close/>
                  <a:moveTo>
                    <a:pt x="8660576" y="4864414"/>
                  </a:moveTo>
                  <a:lnTo>
                    <a:pt x="8390164" y="5135525"/>
                  </a:lnTo>
                  <a:lnTo>
                    <a:pt x="8661275" y="5405937"/>
                  </a:lnTo>
                  <a:lnTo>
                    <a:pt x="8925398" y="5405937"/>
                  </a:lnTo>
                  <a:lnTo>
                    <a:pt x="8654287" y="5135525"/>
                  </a:lnTo>
                  <a:lnTo>
                    <a:pt x="8655685" y="5134127"/>
                  </a:lnTo>
                  <a:lnTo>
                    <a:pt x="8654986" y="5134127"/>
                  </a:lnTo>
                  <a:lnTo>
                    <a:pt x="8923303" y="4865113"/>
                  </a:lnTo>
                  <a:lnTo>
                    <a:pt x="8664769" y="4865113"/>
                  </a:lnTo>
                  <a:lnTo>
                    <a:pt x="8666166" y="4864414"/>
                  </a:lnTo>
                  <a:close/>
                  <a:moveTo>
                    <a:pt x="10028534" y="4864034"/>
                  </a:moveTo>
                  <a:lnTo>
                    <a:pt x="9848260" y="5045007"/>
                  </a:lnTo>
                  <a:lnTo>
                    <a:pt x="9758821" y="5135144"/>
                  </a:lnTo>
                  <a:lnTo>
                    <a:pt x="9892979" y="5268603"/>
                  </a:lnTo>
                  <a:lnTo>
                    <a:pt x="10029932" y="5405557"/>
                  </a:lnTo>
                  <a:lnTo>
                    <a:pt x="10294055" y="5405557"/>
                  </a:lnTo>
                  <a:lnTo>
                    <a:pt x="10022944" y="5135144"/>
                  </a:lnTo>
                  <a:lnTo>
                    <a:pt x="10024342" y="5133747"/>
                  </a:lnTo>
                  <a:lnTo>
                    <a:pt x="10292658" y="4864034"/>
                  </a:lnTo>
                  <a:close/>
                  <a:moveTo>
                    <a:pt x="9208387" y="4863715"/>
                  </a:moveTo>
                  <a:lnTo>
                    <a:pt x="9027414" y="5044688"/>
                  </a:lnTo>
                  <a:lnTo>
                    <a:pt x="9028113" y="5045387"/>
                  </a:lnTo>
                  <a:lnTo>
                    <a:pt x="8938674" y="5135525"/>
                  </a:lnTo>
                  <a:lnTo>
                    <a:pt x="9072833" y="5268984"/>
                  </a:lnTo>
                  <a:lnTo>
                    <a:pt x="9209086" y="5405238"/>
                  </a:lnTo>
                  <a:lnTo>
                    <a:pt x="9469224" y="5405238"/>
                  </a:lnTo>
                  <a:lnTo>
                    <a:pt x="9325603" y="5261616"/>
                  </a:lnTo>
                  <a:lnTo>
                    <a:pt x="9325603" y="5258012"/>
                  </a:lnTo>
                  <a:lnTo>
                    <a:pt x="9202099" y="5134826"/>
                  </a:lnTo>
                  <a:lnTo>
                    <a:pt x="9325603" y="5011003"/>
                  </a:lnTo>
                  <a:lnTo>
                    <a:pt x="9325603" y="5010070"/>
                  </a:lnTo>
                  <a:lnTo>
                    <a:pt x="9471271" y="4863715"/>
                  </a:lnTo>
                  <a:close/>
                  <a:moveTo>
                    <a:pt x="7281265" y="4863715"/>
                  </a:moveTo>
                  <a:lnTo>
                    <a:pt x="7015046" y="4866510"/>
                  </a:lnTo>
                  <a:lnTo>
                    <a:pt x="6744635" y="5137621"/>
                  </a:lnTo>
                  <a:lnTo>
                    <a:pt x="7015746" y="5408033"/>
                  </a:lnTo>
                  <a:lnTo>
                    <a:pt x="7279868" y="5408033"/>
                  </a:lnTo>
                  <a:lnTo>
                    <a:pt x="7008758" y="5137621"/>
                  </a:lnTo>
                  <a:close/>
                  <a:moveTo>
                    <a:pt x="10577743" y="4863335"/>
                  </a:moveTo>
                  <a:lnTo>
                    <a:pt x="10307331" y="5134446"/>
                  </a:lnTo>
                  <a:lnTo>
                    <a:pt x="10578442" y="5404858"/>
                  </a:lnTo>
                  <a:lnTo>
                    <a:pt x="10842566" y="5404858"/>
                  </a:lnTo>
                  <a:lnTo>
                    <a:pt x="10571455" y="5134446"/>
                  </a:lnTo>
                  <a:lnTo>
                    <a:pt x="10841867" y="4863335"/>
                  </a:lnTo>
                  <a:close/>
                  <a:moveTo>
                    <a:pt x="11125555" y="4862636"/>
                  </a:moveTo>
                  <a:lnTo>
                    <a:pt x="10855143" y="5133747"/>
                  </a:lnTo>
                  <a:lnTo>
                    <a:pt x="11126254" y="5404159"/>
                  </a:lnTo>
                  <a:lnTo>
                    <a:pt x="11127651" y="5405557"/>
                  </a:lnTo>
                  <a:lnTo>
                    <a:pt x="11391775" y="5405557"/>
                  </a:lnTo>
                  <a:lnTo>
                    <a:pt x="11260412" y="5274193"/>
                  </a:lnTo>
                  <a:lnTo>
                    <a:pt x="11122759" y="5136542"/>
                  </a:lnTo>
                  <a:lnTo>
                    <a:pt x="11391775" y="4862636"/>
                  </a:lnTo>
                  <a:close/>
                  <a:moveTo>
                    <a:pt x="11941682" y="4860540"/>
                  </a:moveTo>
                  <a:lnTo>
                    <a:pt x="11675463" y="4863335"/>
                  </a:lnTo>
                  <a:lnTo>
                    <a:pt x="11405051" y="5134446"/>
                  </a:lnTo>
                  <a:lnTo>
                    <a:pt x="11676162" y="5404858"/>
                  </a:lnTo>
                  <a:lnTo>
                    <a:pt x="11940285" y="5404858"/>
                  </a:lnTo>
                  <a:lnTo>
                    <a:pt x="11669174" y="5134446"/>
                  </a:lnTo>
                  <a:close/>
                  <a:moveTo>
                    <a:pt x="166488" y="4598764"/>
                  </a:moveTo>
                  <a:lnTo>
                    <a:pt x="437599" y="4869176"/>
                  </a:lnTo>
                  <a:lnTo>
                    <a:pt x="434805" y="4871971"/>
                  </a:lnTo>
                  <a:lnTo>
                    <a:pt x="344667" y="4962807"/>
                  </a:lnTo>
                  <a:lnTo>
                    <a:pt x="167187" y="5139588"/>
                  </a:lnTo>
                  <a:lnTo>
                    <a:pt x="431311" y="5139588"/>
                  </a:lnTo>
                  <a:lnTo>
                    <a:pt x="520749" y="5050149"/>
                  </a:lnTo>
                  <a:lnTo>
                    <a:pt x="701722" y="4869176"/>
                  </a:lnTo>
                  <a:lnTo>
                    <a:pt x="430612" y="4598764"/>
                  </a:lnTo>
                  <a:close/>
                  <a:moveTo>
                    <a:pt x="715697" y="4598065"/>
                  </a:moveTo>
                  <a:lnTo>
                    <a:pt x="845663" y="4728030"/>
                  </a:lnTo>
                  <a:lnTo>
                    <a:pt x="986109" y="4867778"/>
                  </a:lnTo>
                  <a:lnTo>
                    <a:pt x="715697" y="5138889"/>
                  </a:lnTo>
                  <a:lnTo>
                    <a:pt x="979821" y="5138889"/>
                  </a:lnTo>
                  <a:lnTo>
                    <a:pt x="1250932" y="4868477"/>
                  </a:lnTo>
                  <a:lnTo>
                    <a:pt x="979821" y="4598065"/>
                  </a:lnTo>
                  <a:close/>
                  <a:moveTo>
                    <a:pt x="2911136" y="4597366"/>
                  </a:moveTo>
                  <a:lnTo>
                    <a:pt x="3040403" y="4725236"/>
                  </a:lnTo>
                  <a:lnTo>
                    <a:pt x="3040403" y="4725935"/>
                  </a:lnTo>
                  <a:lnTo>
                    <a:pt x="3182246" y="4867778"/>
                  </a:lnTo>
                  <a:lnTo>
                    <a:pt x="2911834" y="5138889"/>
                  </a:lnTo>
                  <a:lnTo>
                    <a:pt x="3175259" y="5138889"/>
                  </a:lnTo>
                  <a:lnTo>
                    <a:pt x="3445671" y="4867778"/>
                  </a:lnTo>
                  <a:lnTo>
                    <a:pt x="3440081" y="4862188"/>
                  </a:lnTo>
                  <a:lnTo>
                    <a:pt x="3439382" y="4862188"/>
                  </a:lnTo>
                  <a:lnTo>
                    <a:pt x="3173862" y="4597366"/>
                  </a:lnTo>
                  <a:close/>
                  <a:moveTo>
                    <a:pt x="1813417" y="4597366"/>
                  </a:moveTo>
                  <a:lnTo>
                    <a:pt x="1815507" y="4600154"/>
                  </a:lnTo>
                  <a:lnTo>
                    <a:pt x="1814814" y="4599463"/>
                  </a:lnTo>
                  <a:lnTo>
                    <a:pt x="1815513" y="4600162"/>
                  </a:lnTo>
                  <a:lnTo>
                    <a:pt x="1815507" y="4600154"/>
                  </a:lnTo>
                  <a:lnTo>
                    <a:pt x="2074046" y="4857996"/>
                  </a:lnTo>
                  <a:lnTo>
                    <a:pt x="2083829" y="4867079"/>
                  </a:lnTo>
                  <a:lnTo>
                    <a:pt x="2085925" y="4869176"/>
                  </a:lnTo>
                  <a:lnTo>
                    <a:pt x="1821102" y="5138889"/>
                  </a:lnTo>
                  <a:lnTo>
                    <a:pt x="2080335" y="5139588"/>
                  </a:lnTo>
                  <a:lnTo>
                    <a:pt x="2350049" y="4869176"/>
                  </a:lnTo>
                  <a:lnTo>
                    <a:pt x="2214493" y="4734319"/>
                  </a:lnTo>
                  <a:lnTo>
                    <a:pt x="2197724" y="4717549"/>
                  </a:lnTo>
                  <a:lnTo>
                    <a:pt x="2078239" y="4598764"/>
                  </a:lnTo>
                  <a:lnTo>
                    <a:pt x="2074046" y="4597366"/>
                  </a:lnTo>
                  <a:close/>
                  <a:moveTo>
                    <a:pt x="1263509" y="4597366"/>
                  </a:moveTo>
                  <a:lnTo>
                    <a:pt x="1534620" y="4867778"/>
                  </a:lnTo>
                  <a:lnTo>
                    <a:pt x="1264208" y="5138889"/>
                  </a:lnTo>
                  <a:lnTo>
                    <a:pt x="1528331" y="5138889"/>
                  </a:lnTo>
                  <a:lnTo>
                    <a:pt x="1798743" y="4867778"/>
                  </a:lnTo>
                  <a:lnTo>
                    <a:pt x="1527632" y="4597366"/>
                  </a:lnTo>
                  <a:close/>
                  <a:moveTo>
                    <a:pt x="2626749" y="4595968"/>
                  </a:moveTo>
                  <a:lnTo>
                    <a:pt x="2363324" y="4596667"/>
                  </a:lnTo>
                  <a:lnTo>
                    <a:pt x="2632339" y="4864984"/>
                  </a:lnTo>
                  <a:lnTo>
                    <a:pt x="2631641" y="4865683"/>
                  </a:lnTo>
                  <a:lnTo>
                    <a:pt x="2633038" y="4867079"/>
                  </a:lnTo>
                  <a:lnTo>
                    <a:pt x="2362625" y="5138190"/>
                  </a:lnTo>
                  <a:lnTo>
                    <a:pt x="2626749" y="5138190"/>
                  </a:lnTo>
                  <a:lnTo>
                    <a:pt x="2716886" y="5048053"/>
                  </a:lnTo>
                  <a:lnTo>
                    <a:pt x="2896463" y="4864984"/>
                  </a:lnTo>
                  <a:close/>
                  <a:moveTo>
                    <a:pt x="4555270" y="4595271"/>
                  </a:moveTo>
                  <a:lnTo>
                    <a:pt x="4822299" y="4861613"/>
                  </a:lnTo>
                  <a:lnTo>
                    <a:pt x="5084429" y="4860921"/>
                  </a:lnTo>
                  <a:lnTo>
                    <a:pt x="4818093" y="4595271"/>
                  </a:lnTo>
                  <a:close/>
                  <a:moveTo>
                    <a:pt x="4006759" y="4595271"/>
                  </a:moveTo>
                  <a:lnTo>
                    <a:pt x="4136725" y="4724537"/>
                  </a:lnTo>
                  <a:lnTo>
                    <a:pt x="4277172" y="4864984"/>
                  </a:lnTo>
                  <a:lnTo>
                    <a:pt x="4184238" y="4958615"/>
                  </a:lnTo>
                  <a:lnTo>
                    <a:pt x="4184937" y="4959313"/>
                  </a:lnTo>
                  <a:lnTo>
                    <a:pt x="4008156" y="5136792"/>
                  </a:lnTo>
                  <a:lnTo>
                    <a:pt x="4270883" y="5136792"/>
                  </a:lnTo>
                  <a:lnTo>
                    <a:pt x="4541295" y="4865683"/>
                  </a:lnTo>
                  <a:lnTo>
                    <a:pt x="4270183" y="4595271"/>
                  </a:lnTo>
                  <a:close/>
                  <a:moveTo>
                    <a:pt x="3458248" y="4595271"/>
                  </a:moveTo>
                  <a:lnTo>
                    <a:pt x="3729359" y="4865683"/>
                  </a:lnTo>
                  <a:lnTo>
                    <a:pt x="3730058" y="4866380"/>
                  </a:lnTo>
                  <a:lnTo>
                    <a:pt x="3459646" y="5137491"/>
                  </a:lnTo>
                  <a:lnTo>
                    <a:pt x="3723769" y="5137491"/>
                  </a:lnTo>
                  <a:lnTo>
                    <a:pt x="3813208" y="5047355"/>
                  </a:lnTo>
                  <a:lnTo>
                    <a:pt x="3812509" y="5047355"/>
                  </a:lnTo>
                  <a:lnTo>
                    <a:pt x="3993483" y="4866380"/>
                  </a:lnTo>
                  <a:lnTo>
                    <a:pt x="3988591" y="4860791"/>
                  </a:lnTo>
                  <a:lnTo>
                    <a:pt x="3722372" y="4595271"/>
                  </a:lnTo>
                  <a:close/>
                  <a:moveTo>
                    <a:pt x="4828477" y="4594002"/>
                  </a:moveTo>
                  <a:lnTo>
                    <a:pt x="4828477" y="4595879"/>
                  </a:lnTo>
                  <a:lnTo>
                    <a:pt x="5097706" y="4864414"/>
                  </a:lnTo>
                  <a:lnTo>
                    <a:pt x="5094911" y="4867209"/>
                  </a:lnTo>
                  <a:lnTo>
                    <a:pt x="5004773" y="4958045"/>
                  </a:lnTo>
                  <a:lnTo>
                    <a:pt x="4828477" y="5133648"/>
                  </a:lnTo>
                  <a:lnTo>
                    <a:pt x="4828477" y="5134826"/>
                  </a:lnTo>
                  <a:lnTo>
                    <a:pt x="5091417" y="5134826"/>
                  </a:lnTo>
                  <a:lnTo>
                    <a:pt x="5180855" y="5045387"/>
                  </a:lnTo>
                  <a:lnTo>
                    <a:pt x="5361829" y="4864414"/>
                  </a:lnTo>
                  <a:lnTo>
                    <a:pt x="5090718" y="4594002"/>
                  </a:lnTo>
                  <a:close/>
                  <a:moveTo>
                    <a:pt x="5375803" y="4593303"/>
                  </a:moveTo>
                  <a:lnTo>
                    <a:pt x="5505770" y="4723268"/>
                  </a:lnTo>
                  <a:lnTo>
                    <a:pt x="5646216" y="4863016"/>
                  </a:lnTo>
                  <a:lnTo>
                    <a:pt x="5375803" y="5134127"/>
                  </a:lnTo>
                  <a:lnTo>
                    <a:pt x="5639927" y="5134127"/>
                  </a:lnTo>
                  <a:lnTo>
                    <a:pt x="5911038" y="4863715"/>
                  </a:lnTo>
                  <a:lnTo>
                    <a:pt x="5639927" y="4593303"/>
                  </a:lnTo>
                  <a:close/>
                  <a:moveTo>
                    <a:pt x="7571242" y="4592604"/>
                  </a:moveTo>
                  <a:lnTo>
                    <a:pt x="7700509" y="4720474"/>
                  </a:lnTo>
                  <a:lnTo>
                    <a:pt x="7700509" y="4721173"/>
                  </a:lnTo>
                  <a:lnTo>
                    <a:pt x="7842352" y="4863016"/>
                  </a:lnTo>
                  <a:lnTo>
                    <a:pt x="7571940" y="5134127"/>
                  </a:lnTo>
                  <a:lnTo>
                    <a:pt x="7835365" y="5134127"/>
                  </a:lnTo>
                  <a:lnTo>
                    <a:pt x="8105777" y="4863016"/>
                  </a:lnTo>
                  <a:lnTo>
                    <a:pt x="8100187" y="4857426"/>
                  </a:lnTo>
                  <a:lnTo>
                    <a:pt x="8099488" y="4857426"/>
                  </a:lnTo>
                  <a:lnTo>
                    <a:pt x="7833968" y="4592604"/>
                  </a:lnTo>
                  <a:close/>
                  <a:moveTo>
                    <a:pt x="6473523" y="4592604"/>
                  </a:moveTo>
                  <a:lnTo>
                    <a:pt x="6475613" y="4595392"/>
                  </a:lnTo>
                  <a:lnTo>
                    <a:pt x="6474921" y="4594701"/>
                  </a:lnTo>
                  <a:lnTo>
                    <a:pt x="6475619" y="4595400"/>
                  </a:lnTo>
                  <a:lnTo>
                    <a:pt x="6475613" y="4595392"/>
                  </a:lnTo>
                  <a:lnTo>
                    <a:pt x="6734153" y="4853234"/>
                  </a:lnTo>
                  <a:lnTo>
                    <a:pt x="6743935" y="4862317"/>
                  </a:lnTo>
                  <a:lnTo>
                    <a:pt x="6746031" y="4864414"/>
                  </a:lnTo>
                  <a:lnTo>
                    <a:pt x="6481208" y="5134127"/>
                  </a:lnTo>
                  <a:lnTo>
                    <a:pt x="6740442" y="5134826"/>
                  </a:lnTo>
                  <a:lnTo>
                    <a:pt x="7010155" y="4864414"/>
                  </a:lnTo>
                  <a:lnTo>
                    <a:pt x="6874599" y="4729557"/>
                  </a:lnTo>
                  <a:lnTo>
                    <a:pt x="6857830" y="4712787"/>
                  </a:lnTo>
                  <a:lnTo>
                    <a:pt x="6738346" y="4594002"/>
                  </a:lnTo>
                  <a:lnTo>
                    <a:pt x="6734153" y="4592604"/>
                  </a:lnTo>
                  <a:close/>
                  <a:moveTo>
                    <a:pt x="5923616" y="4592604"/>
                  </a:moveTo>
                  <a:lnTo>
                    <a:pt x="6194726" y="4863016"/>
                  </a:lnTo>
                  <a:lnTo>
                    <a:pt x="5924314" y="5134127"/>
                  </a:lnTo>
                  <a:lnTo>
                    <a:pt x="6188437" y="5134127"/>
                  </a:lnTo>
                  <a:lnTo>
                    <a:pt x="6458849" y="4863016"/>
                  </a:lnTo>
                  <a:lnTo>
                    <a:pt x="6187739" y="4592604"/>
                  </a:lnTo>
                  <a:close/>
                  <a:moveTo>
                    <a:pt x="7286855" y="4591206"/>
                  </a:moveTo>
                  <a:lnTo>
                    <a:pt x="7023431" y="4591905"/>
                  </a:lnTo>
                  <a:lnTo>
                    <a:pt x="7292445" y="4860222"/>
                  </a:lnTo>
                  <a:lnTo>
                    <a:pt x="7291747" y="4860921"/>
                  </a:lnTo>
                  <a:lnTo>
                    <a:pt x="7293144" y="4862317"/>
                  </a:lnTo>
                  <a:lnTo>
                    <a:pt x="7022731" y="5133428"/>
                  </a:lnTo>
                  <a:lnTo>
                    <a:pt x="7286855" y="5133428"/>
                  </a:lnTo>
                  <a:lnTo>
                    <a:pt x="7376992" y="5043291"/>
                  </a:lnTo>
                  <a:lnTo>
                    <a:pt x="7556569" y="4860222"/>
                  </a:lnTo>
                  <a:close/>
                  <a:moveTo>
                    <a:pt x="9488582" y="4590827"/>
                  </a:moveTo>
                  <a:lnTo>
                    <a:pt x="9488582" y="4592394"/>
                  </a:lnTo>
                  <a:lnTo>
                    <a:pt x="9758122" y="4861239"/>
                  </a:lnTo>
                  <a:lnTo>
                    <a:pt x="9755328" y="4864034"/>
                  </a:lnTo>
                  <a:lnTo>
                    <a:pt x="9665190" y="4954870"/>
                  </a:lnTo>
                  <a:lnTo>
                    <a:pt x="9488582" y="5130783"/>
                  </a:lnTo>
                  <a:lnTo>
                    <a:pt x="9488582" y="5131651"/>
                  </a:lnTo>
                  <a:lnTo>
                    <a:pt x="9751834" y="5131651"/>
                  </a:lnTo>
                  <a:lnTo>
                    <a:pt x="9841272" y="5042212"/>
                  </a:lnTo>
                  <a:lnTo>
                    <a:pt x="10022245" y="4861239"/>
                  </a:lnTo>
                  <a:lnTo>
                    <a:pt x="9751135" y="4590827"/>
                  </a:lnTo>
                  <a:close/>
                  <a:moveTo>
                    <a:pt x="9215375" y="4590509"/>
                  </a:moveTo>
                  <a:lnTo>
                    <a:pt x="9483993" y="4858435"/>
                  </a:lnTo>
                  <a:lnTo>
                    <a:pt x="9744846" y="4857746"/>
                  </a:lnTo>
                  <a:lnTo>
                    <a:pt x="9476918" y="4590509"/>
                  </a:lnTo>
                  <a:close/>
                  <a:moveTo>
                    <a:pt x="8666865" y="4590509"/>
                  </a:moveTo>
                  <a:lnTo>
                    <a:pt x="8796831" y="4719775"/>
                  </a:lnTo>
                  <a:lnTo>
                    <a:pt x="8937277" y="4860222"/>
                  </a:lnTo>
                  <a:lnTo>
                    <a:pt x="8844344" y="4953853"/>
                  </a:lnTo>
                  <a:lnTo>
                    <a:pt x="8845043" y="4954551"/>
                  </a:lnTo>
                  <a:lnTo>
                    <a:pt x="8668262" y="5132030"/>
                  </a:lnTo>
                  <a:lnTo>
                    <a:pt x="8930988" y="5132030"/>
                  </a:lnTo>
                  <a:lnTo>
                    <a:pt x="9201400" y="4860921"/>
                  </a:lnTo>
                  <a:lnTo>
                    <a:pt x="8930289" y="4590509"/>
                  </a:lnTo>
                  <a:close/>
                  <a:moveTo>
                    <a:pt x="8118354" y="4590509"/>
                  </a:moveTo>
                  <a:lnTo>
                    <a:pt x="8389465" y="4860921"/>
                  </a:lnTo>
                  <a:lnTo>
                    <a:pt x="8390164" y="4861618"/>
                  </a:lnTo>
                  <a:lnTo>
                    <a:pt x="8119752" y="5132729"/>
                  </a:lnTo>
                  <a:lnTo>
                    <a:pt x="8383875" y="5132729"/>
                  </a:lnTo>
                  <a:lnTo>
                    <a:pt x="8473314" y="5042593"/>
                  </a:lnTo>
                  <a:lnTo>
                    <a:pt x="8472615" y="5042593"/>
                  </a:lnTo>
                  <a:lnTo>
                    <a:pt x="8653589" y="4861618"/>
                  </a:lnTo>
                  <a:lnTo>
                    <a:pt x="8648697" y="4856029"/>
                  </a:lnTo>
                  <a:lnTo>
                    <a:pt x="8382478" y="4590509"/>
                  </a:lnTo>
                  <a:close/>
                  <a:moveTo>
                    <a:pt x="10036220" y="4590128"/>
                  </a:moveTo>
                  <a:lnTo>
                    <a:pt x="10166186" y="4720093"/>
                  </a:lnTo>
                  <a:lnTo>
                    <a:pt x="10306632" y="4859841"/>
                  </a:lnTo>
                  <a:lnTo>
                    <a:pt x="10036220" y="5130952"/>
                  </a:lnTo>
                  <a:lnTo>
                    <a:pt x="10300344" y="5130952"/>
                  </a:lnTo>
                  <a:lnTo>
                    <a:pt x="10571455" y="4860540"/>
                  </a:lnTo>
                  <a:lnTo>
                    <a:pt x="10300344" y="4590128"/>
                  </a:lnTo>
                  <a:close/>
                  <a:moveTo>
                    <a:pt x="11133940" y="4589429"/>
                  </a:moveTo>
                  <a:lnTo>
                    <a:pt x="11136030" y="4592217"/>
                  </a:lnTo>
                  <a:lnTo>
                    <a:pt x="11135337" y="4591526"/>
                  </a:lnTo>
                  <a:lnTo>
                    <a:pt x="11136036" y="4592225"/>
                  </a:lnTo>
                  <a:lnTo>
                    <a:pt x="11136030" y="4592217"/>
                  </a:lnTo>
                  <a:lnTo>
                    <a:pt x="11394569" y="4850059"/>
                  </a:lnTo>
                  <a:lnTo>
                    <a:pt x="11404352" y="4859142"/>
                  </a:lnTo>
                  <a:lnTo>
                    <a:pt x="11406448" y="4861239"/>
                  </a:lnTo>
                  <a:lnTo>
                    <a:pt x="11141625" y="5130952"/>
                  </a:lnTo>
                  <a:lnTo>
                    <a:pt x="11400858" y="5131651"/>
                  </a:lnTo>
                  <a:lnTo>
                    <a:pt x="11670572" y="4861239"/>
                  </a:lnTo>
                  <a:lnTo>
                    <a:pt x="11535016" y="4726382"/>
                  </a:lnTo>
                  <a:lnTo>
                    <a:pt x="11518247" y="4709612"/>
                  </a:lnTo>
                  <a:lnTo>
                    <a:pt x="11398762" y="4590827"/>
                  </a:lnTo>
                  <a:lnTo>
                    <a:pt x="11394569" y="4589429"/>
                  </a:lnTo>
                  <a:close/>
                  <a:moveTo>
                    <a:pt x="10584032" y="4589429"/>
                  </a:moveTo>
                  <a:lnTo>
                    <a:pt x="10855143" y="4859841"/>
                  </a:lnTo>
                  <a:lnTo>
                    <a:pt x="10584731" y="5130952"/>
                  </a:lnTo>
                  <a:lnTo>
                    <a:pt x="10848854" y="5130952"/>
                  </a:lnTo>
                  <a:lnTo>
                    <a:pt x="11119266" y="4859841"/>
                  </a:lnTo>
                  <a:lnTo>
                    <a:pt x="10848155" y="4589429"/>
                  </a:lnTo>
                  <a:close/>
                  <a:moveTo>
                    <a:pt x="708011" y="4324160"/>
                  </a:moveTo>
                  <a:lnTo>
                    <a:pt x="437599" y="4595271"/>
                  </a:lnTo>
                  <a:lnTo>
                    <a:pt x="709409" y="4865683"/>
                  </a:lnTo>
                  <a:lnTo>
                    <a:pt x="972833" y="4865683"/>
                  </a:lnTo>
                  <a:lnTo>
                    <a:pt x="842169" y="4735716"/>
                  </a:lnTo>
                  <a:lnTo>
                    <a:pt x="701722" y="4595271"/>
                  </a:lnTo>
                  <a:lnTo>
                    <a:pt x="972135" y="4324160"/>
                  </a:lnTo>
                  <a:close/>
                  <a:moveTo>
                    <a:pt x="2354241" y="4323461"/>
                  </a:moveTo>
                  <a:lnTo>
                    <a:pt x="2083829" y="4594572"/>
                  </a:lnTo>
                  <a:lnTo>
                    <a:pt x="2353542" y="4863586"/>
                  </a:lnTo>
                  <a:lnTo>
                    <a:pt x="2616967" y="4863586"/>
                  </a:lnTo>
                  <a:lnTo>
                    <a:pt x="2347952" y="4594572"/>
                  </a:lnTo>
                  <a:lnTo>
                    <a:pt x="2348651" y="4593873"/>
                  </a:lnTo>
                  <a:lnTo>
                    <a:pt x="2347254" y="4592475"/>
                  </a:lnTo>
                  <a:lnTo>
                    <a:pt x="2615569" y="4323461"/>
                  </a:lnTo>
                  <a:close/>
                  <a:moveTo>
                    <a:pt x="1256521" y="4323461"/>
                  </a:moveTo>
                  <a:lnTo>
                    <a:pt x="986109" y="4594572"/>
                  </a:lnTo>
                  <a:lnTo>
                    <a:pt x="1257220" y="4864984"/>
                  </a:lnTo>
                  <a:lnTo>
                    <a:pt x="1521344" y="4864984"/>
                  </a:lnTo>
                  <a:lnTo>
                    <a:pt x="1250233" y="4594572"/>
                  </a:lnTo>
                  <a:lnTo>
                    <a:pt x="1520645" y="4323461"/>
                  </a:lnTo>
                  <a:lnTo>
                    <a:pt x="1392775" y="4323461"/>
                  </a:lnTo>
                  <a:close/>
                  <a:moveTo>
                    <a:pt x="1805731" y="4322762"/>
                  </a:moveTo>
                  <a:lnTo>
                    <a:pt x="1625456" y="4503735"/>
                  </a:lnTo>
                  <a:lnTo>
                    <a:pt x="1624758" y="4503735"/>
                  </a:lnTo>
                  <a:lnTo>
                    <a:pt x="1534620" y="4593873"/>
                  </a:lnTo>
                  <a:lnTo>
                    <a:pt x="1805032" y="4864984"/>
                  </a:lnTo>
                  <a:lnTo>
                    <a:pt x="2069155" y="4864984"/>
                  </a:lnTo>
                  <a:lnTo>
                    <a:pt x="1798044" y="4594572"/>
                  </a:lnTo>
                  <a:lnTo>
                    <a:pt x="1982512" y="4410104"/>
                  </a:lnTo>
                  <a:lnTo>
                    <a:pt x="1983211" y="4410104"/>
                  </a:lnTo>
                  <a:lnTo>
                    <a:pt x="2069155" y="4323461"/>
                  </a:lnTo>
                  <a:lnTo>
                    <a:pt x="1810622" y="4323461"/>
                  </a:lnTo>
                  <a:close/>
                  <a:moveTo>
                    <a:pt x="3450563" y="4321364"/>
                  </a:moveTo>
                  <a:lnTo>
                    <a:pt x="3269589" y="4503036"/>
                  </a:lnTo>
                  <a:lnTo>
                    <a:pt x="3270986" y="4503735"/>
                  </a:lnTo>
                  <a:lnTo>
                    <a:pt x="3181548" y="4593174"/>
                  </a:lnTo>
                  <a:lnTo>
                    <a:pt x="3451960" y="4862887"/>
                  </a:lnTo>
                  <a:lnTo>
                    <a:pt x="3715384" y="4862887"/>
                  </a:lnTo>
                  <a:lnTo>
                    <a:pt x="3444972" y="4593174"/>
                  </a:lnTo>
                  <a:lnTo>
                    <a:pt x="3444274" y="4592475"/>
                  </a:lnTo>
                  <a:lnTo>
                    <a:pt x="3714686" y="4321364"/>
                  </a:lnTo>
                  <a:close/>
                  <a:moveTo>
                    <a:pt x="2904847" y="4321364"/>
                  </a:moveTo>
                  <a:lnTo>
                    <a:pt x="2908341" y="4322762"/>
                  </a:lnTo>
                  <a:lnTo>
                    <a:pt x="2902751" y="4322762"/>
                  </a:lnTo>
                  <a:lnTo>
                    <a:pt x="2633736" y="4593174"/>
                  </a:lnTo>
                  <a:lnTo>
                    <a:pt x="2903449" y="4862188"/>
                  </a:lnTo>
                  <a:lnTo>
                    <a:pt x="3168271" y="4863586"/>
                  </a:lnTo>
                  <a:lnTo>
                    <a:pt x="2897162" y="4593174"/>
                  </a:lnTo>
                  <a:lnTo>
                    <a:pt x="2895764" y="4591776"/>
                  </a:lnTo>
                  <a:lnTo>
                    <a:pt x="3164778" y="4322063"/>
                  </a:lnTo>
                  <a:lnTo>
                    <a:pt x="2967035" y="4322063"/>
                  </a:lnTo>
                  <a:lnTo>
                    <a:pt x="2967733" y="4321364"/>
                  </a:lnTo>
                  <a:close/>
                  <a:moveTo>
                    <a:pt x="3999073" y="4320665"/>
                  </a:moveTo>
                  <a:lnTo>
                    <a:pt x="3728660" y="4591776"/>
                  </a:lnTo>
                  <a:lnTo>
                    <a:pt x="3999771" y="4862188"/>
                  </a:lnTo>
                  <a:lnTo>
                    <a:pt x="4263197" y="4862188"/>
                  </a:lnTo>
                  <a:lnTo>
                    <a:pt x="4133230" y="4732223"/>
                  </a:lnTo>
                  <a:lnTo>
                    <a:pt x="3992783" y="4591776"/>
                  </a:lnTo>
                  <a:lnTo>
                    <a:pt x="4263197" y="4320665"/>
                  </a:lnTo>
                  <a:close/>
                  <a:moveTo>
                    <a:pt x="4822057" y="4320097"/>
                  </a:moveTo>
                  <a:lnTo>
                    <a:pt x="4554570" y="4587584"/>
                  </a:lnTo>
                  <a:lnTo>
                    <a:pt x="4816244" y="4587584"/>
                  </a:lnTo>
                  <a:lnTo>
                    <a:pt x="5083731" y="4320097"/>
                  </a:lnTo>
                  <a:close/>
                  <a:moveTo>
                    <a:pt x="4547585" y="4319967"/>
                  </a:moveTo>
                  <a:lnTo>
                    <a:pt x="4277172" y="4591077"/>
                  </a:lnTo>
                  <a:lnTo>
                    <a:pt x="4548281" y="4861489"/>
                  </a:lnTo>
                  <a:lnTo>
                    <a:pt x="4810393" y="4861489"/>
                  </a:lnTo>
                  <a:lnTo>
                    <a:pt x="4808427" y="4859523"/>
                  </a:lnTo>
                  <a:lnTo>
                    <a:pt x="4665187" y="4716979"/>
                  </a:lnTo>
                  <a:lnTo>
                    <a:pt x="4665187" y="4714650"/>
                  </a:lnTo>
                  <a:lnTo>
                    <a:pt x="4541295" y="4591077"/>
                  </a:lnTo>
                  <a:lnTo>
                    <a:pt x="4665187" y="4466865"/>
                  </a:lnTo>
                  <a:lnTo>
                    <a:pt x="4665187" y="4464037"/>
                  </a:lnTo>
                  <a:lnTo>
                    <a:pt x="4808574" y="4319967"/>
                  </a:lnTo>
                  <a:close/>
                  <a:moveTo>
                    <a:pt x="5368118" y="4319398"/>
                  </a:moveTo>
                  <a:lnTo>
                    <a:pt x="5097706" y="4590509"/>
                  </a:lnTo>
                  <a:lnTo>
                    <a:pt x="5369515" y="4860921"/>
                  </a:lnTo>
                  <a:lnTo>
                    <a:pt x="5632939" y="4860921"/>
                  </a:lnTo>
                  <a:lnTo>
                    <a:pt x="5502275" y="4730954"/>
                  </a:lnTo>
                  <a:lnTo>
                    <a:pt x="5361829" y="4590509"/>
                  </a:lnTo>
                  <a:lnTo>
                    <a:pt x="5632241" y="4319398"/>
                  </a:lnTo>
                  <a:close/>
                  <a:moveTo>
                    <a:pt x="7014347" y="4318699"/>
                  </a:moveTo>
                  <a:lnTo>
                    <a:pt x="6743935" y="4589810"/>
                  </a:lnTo>
                  <a:lnTo>
                    <a:pt x="7013649" y="4858824"/>
                  </a:lnTo>
                  <a:lnTo>
                    <a:pt x="7277073" y="4858824"/>
                  </a:lnTo>
                  <a:lnTo>
                    <a:pt x="7008058" y="4589810"/>
                  </a:lnTo>
                  <a:lnTo>
                    <a:pt x="7008758" y="4589111"/>
                  </a:lnTo>
                  <a:lnTo>
                    <a:pt x="7007360" y="4587713"/>
                  </a:lnTo>
                  <a:lnTo>
                    <a:pt x="7275675" y="4318699"/>
                  </a:lnTo>
                  <a:close/>
                  <a:moveTo>
                    <a:pt x="5916628" y="4318699"/>
                  </a:moveTo>
                  <a:lnTo>
                    <a:pt x="5646216" y="4589810"/>
                  </a:lnTo>
                  <a:lnTo>
                    <a:pt x="5917326" y="4860222"/>
                  </a:lnTo>
                  <a:lnTo>
                    <a:pt x="6181450" y="4860222"/>
                  </a:lnTo>
                  <a:lnTo>
                    <a:pt x="5910339" y="4589810"/>
                  </a:lnTo>
                  <a:lnTo>
                    <a:pt x="6180751" y="4318699"/>
                  </a:lnTo>
                  <a:lnTo>
                    <a:pt x="6052882" y="4318699"/>
                  </a:lnTo>
                  <a:close/>
                  <a:moveTo>
                    <a:pt x="6465837" y="4318000"/>
                  </a:moveTo>
                  <a:lnTo>
                    <a:pt x="6285563" y="4498973"/>
                  </a:lnTo>
                  <a:lnTo>
                    <a:pt x="6284865" y="4498973"/>
                  </a:lnTo>
                  <a:lnTo>
                    <a:pt x="6194726" y="4589111"/>
                  </a:lnTo>
                  <a:lnTo>
                    <a:pt x="6465139" y="4860222"/>
                  </a:lnTo>
                  <a:lnTo>
                    <a:pt x="6729262" y="4860222"/>
                  </a:lnTo>
                  <a:lnTo>
                    <a:pt x="6458151" y="4589810"/>
                  </a:lnTo>
                  <a:lnTo>
                    <a:pt x="6642619" y="4405342"/>
                  </a:lnTo>
                  <a:lnTo>
                    <a:pt x="6643317" y="4405342"/>
                  </a:lnTo>
                  <a:lnTo>
                    <a:pt x="6729262" y="4318699"/>
                  </a:lnTo>
                  <a:lnTo>
                    <a:pt x="6470728" y="4318699"/>
                  </a:lnTo>
                  <a:close/>
                  <a:moveTo>
                    <a:pt x="9480576" y="4316922"/>
                  </a:moveTo>
                  <a:lnTo>
                    <a:pt x="9214676" y="4582822"/>
                  </a:lnTo>
                  <a:lnTo>
                    <a:pt x="9478247" y="4582822"/>
                  </a:lnTo>
                  <a:lnTo>
                    <a:pt x="9744147" y="4316922"/>
                  </a:lnTo>
                  <a:close/>
                  <a:moveTo>
                    <a:pt x="8110669" y="4316602"/>
                  </a:moveTo>
                  <a:lnTo>
                    <a:pt x="7929695" y="4498274"/>
                  </a:lnTo>
                  <a:lnTo>
                    <a:pt x="7931092" y="4498973"/>
                  </a:lnTo>
                  <a:lnTo>
                    <a:pt x="7841654" y="4588412"/>
                  </a:lnTo>
                  <a:lnTo>
                    <a:pt x="8112066" y="4858125"/>
                  </a:lnTo>
                  <a:lnTo>
                    <a:pt x="8375490" y="4858125"/>
                  </a:lnTo>
                  <a:lnTo>
                    <a:pt x="8105078" y="4588412"/>
                  </a:lnTo>
                  <a:lnTo>
                    <a:pt x="8104380" y="4587713"/>
                  </a:lnTo>
                  <a:lnTo>
                    <a:pt x="8374792" y="4316602"/>
                  </a:lnTo>
                  <a:close/>
                  <a:moveTo>
                    <a:pt x="7564953" y="4316602"/>
                  </a:moveTo>
                  <a:lnTo>
                    <a:pt x="7568447" y="4318000"/>
                  </a:lnTo>
                  <a:lnTo>
                    <a:pt x="7562857" y="4318000"/>
                  </a:lnTo>
                  <a:lnTo>
                    <a:pt x="7293842" y="4588412"/>
                  </a:lnTo>
                  <a:lnTo>
                    <a:pt x="7563555" y="4857426"/>
                  </a:lnTo>
                  <a:lnTo>
                    <a:pt x="7828377" y="4858824"/>
                  </a:lnTo>
                  <a:lnTo>
                    <a:pt x="7557268" y="4588412"/>
                  </a:lnTo>
                  <a:lnTo>
                    <a:pt x="7555870" y="4587014"/>
                  </a:lnTo>
                  <a:lnTo>
                    <a:pt x="7824884" y="4317301"/>
                  </a:lnTo>
                  <a:lnTo>
                    <a:pt x="7627141" y="4317301"/>
                  </a:lnTo>
                  <a:lnTo>
                    <a:pt x="7627839" y="4316602"/>
                  </a:lnTo>
                  <a:close/>
                  <a:moveTo>
                    <a:pt x="10028534" y="4316223"/>
                  </a:moveTo>
                  <a:lnTo>
                    <a:pt x="9758122" y="4587334"/>
                  </a:lnTo>
                  <a:lnTo>
                    <a:pt x="10029932" y="4857746"/>
                  </a:lnTo>
                  <a:lnTo>
                    <a:pt x="10293356" y="4857746"/>
                  </a:lnTo>
                  <a:lnTo>
                    <a:pt x="10162692" y="4727779"/>
                  </a:lnTo>
                  <a:lnTo>
                    <a:pt x="10022245" y="4587334"/>
                  </a:lnTo>
                  <a:lnTo>
                    <a:pt x="10292658" y="4316223"/>
                  </a:lnTo>
                  <a:close/>
                  <a:moveTo>
                    <a:pt x="8659179" y="4315903"/>
                  </a:moveTo>
                  <a:lnTo>
                    <a:pt x="8388766" y="4587014"/>
                  </a:lnTo>
                  <a:lnTo>
                    <a:pt x="8659877" y="4857426"/>
                  </a:lnTo>
                  <a:lnTo>
                    <a:pt x="8923303" y="4857426"/>
                  </a:lnTo>
                  <a:lnTo>
                    <a:pt x="8793336" y="4727461"/>
                  </a:lnTo>
                  <a:lnTo>
                    <a:pt x="8652889" y="4587014"/>
                  </a:lnTo>
                  <a:lnTo>
                    <a:pt x="8923303" y="4315903"/>
                  </a:lnTo>
                  <a:close/>
                  <a:moveTo>
                    <a:pt x="11674764" y="4315524"/>
                  </a:moveTo>
                  <a:lnTo>
                    <a:pt x="11404352" y="4586635"/>
                  </a:lnTo>
                  <a:lnTo>
                    <a:pt x="11674065" y="4855649"/>
                  </a:lnTo>
                  <a:lnTo>
                    <a:pt x="11937490" y="4855649"/>
                  </a:lnTo>
                  <a:lnTo>
                    <a:pt x="11668475" y="4586635"/>
                  </a:lnTo>
                  <a:lnTo>
                    <a:pt x="11669174" y="4585936"/>
                  </a:lnTo>
                  <a:lnTo>
                    <a:pt x="11667777" y="4584538"/>
                  </a:lnTo>
                  <a:lnTo>
                    <a:pt x="11936092" y="4315524"/>
                  </a:lnTo>
                  <a:close/>
                  <a:moveTo>
                    <a:pt x="10577044" y="4315524"/>
                  </a:moveTo>
                  <a:lnTo>
                    <a:pt x="10306632" y="4586635"/>
                  </a:lnTo>
                  <a:lnTo>
                    <a:pt x="10577743" y="4857047"/>
                  </a:lnTo>
                  <a:lnTo>
                    <a:pt x="10841867" y="4857047"/>
                  </a:lnTo>
                  <a:lnTo>
                    <a:pt x="10570756" y="4586635"/>
                  </a:lnTo>
                  <a:lnTo>
                    <a:pt x="10841168" y="4315524"/>
                  </a:lnTo>
                  <a:lnTo>
                    <a:pt x="10713298" y="4315524"/>
                  </a:lnTo>
                  <a:close/>
                  <a:moveTo>
                    <a:pt x="9207690" y="4315205"/>
                  </a:moveTo>
                  <a:lnTo>
                    <a:pt x="8937277" y="4586315"/>
                  </a:lnTo>
                  <a:lnTo>
                    <a:pt x="9208387" y="4856727"/>
                  </a:lnTo>
                  <a:lnTo>
                    <a:pt x="9469223" y="4856727"/>
                  </a:lnTo>
                  <a:lnTo>
                    <a:pt x="9468844" y="4856348"/>
                  </a:lnTo>
                  <a:lnTo>
                    <a:pt x="9325603" y="4713804"/>
                  </a:lnTo>
                  <a:lnTo>
                    <a:pt x="9325603" y="4710198"/>
                  </a:lnTo>
                  <a:lnTo>
                    <a:pt x="9201400" y="4586315"/>
                  </a:lnTo>
                  <a:lnTo>
                    <a:pt x="9325603" y="4461792"/>
                  </a:lnTo>
                  <a:lnTo>
                    <a:pt x="9325603" y="4460862"/>
                  </a:lnTo>
                  <a:lnTo>
                    <a:pt x="9470571" y="4315205"/>
                  </a:lnTo>
                  <a:close/>
                  <a:moveTo>
                    <a:pt x="11126254" y="4314825"/>
                  </a:moveTo>
                  <a:lnTo>
                    <a:pt x="10945979" y="4495798"/>
                  </a:lnTo>
                  <a:lnTo>
                    <a:pt x="10945281" y="4495798"/>
                  </a:lnTo>
                  <a:lnTo>
                    <a:pt x="10855143" y="4585936"/>
                  </a:lnTo>
                  <a:lnTo>
                    <a:pt x="11125555" y="4857047"/>
                  </a:lnTo>
                  <a:lnTo>
                    <a:pt x="11389678" y="4857047"/>
                  </a:lnTo>
                  <a:lnTo>
                    <a:pt x="11118567" y="4586635"/>
                  </a:lnTo>
                  <a:lnTo>
                    <a:pt x="11303035" y="4402167"/>
                  </a:lnTo>
                  <a:lnTo>
                    <a:pt x="11303734" y="4402167"/>
                  </a:lnTo>
                  <a:lnTo>
                    <a:pt x="11389678" y="4315524"/>
                  </a:lnTo>
                  <a:lnTo>
                    <a:pt x="11131145" y="4315524"/>
                  </a:lnTo>
                  <a:close/>
                  <a:moveTo>
                    <a:pt x="717155" y="4052402"/>
                  </a:moveTo>
                  <a:lnTo>
                    <a:pt x="986808" y="4320665"/>
                  </a:lnTo>
                  <a:lnTo>
                    <a:pt x="716396" y="4591776"/>
                  </a:lnTo>
                  <a:lnTo>
                    <a:pt x="979821" y="4591776"/>
                  </a:lnTo>
                  <a:lnTo>
                    <a:pt x="1250233" y="4320665"/>
                  </a:lnTo>
                  <a:lnTo>
                    <a:pt x="1116075" y="4187206"/>
                  </a:lnTo>
                  <a:lnTo>
                    <a:pt x="1019702" y="4090833"/>
                  </a:lnTo>
                  <a:lnTo>
                    <a:pt x="1018761" y="4090833"/>
                  </a:lnTo>
                  <a:lnTo>
                    <a:pt x="980330" y="4052402"/>
                  </a:lnTo>
                  <a:close/>
                  <a:moveTo>
                    <a:pt x="168395" y="4052402"/>
                  </a:moveTo>
                  <a:lnTo>
                    <a:pt x="206127" y="4090134"/>
                  </a:lnTo>
                  <a:lnTo>
                    <a:pt x="205772" y="4090134"/>
                  </a:lnTo>
                  <a:lnTo>
                    <a:pt x="437599" y="4321364"/>
                  </a:lnTo>
                  <a:lnTo>
                    <a:pt x="167187" y="4591776"/>
                  </a:lnTo>
                  <a:lnTo>
                    <a:pt x="431311" y="4591776"/>
                  </a:lnTo>
                  <a:lnTo>
                    <a:pt x="701722" y="4320665"/>
                  </a:lnTo>
                  <a:lnTo>
                    <a:pt x="470596" y="4090134"/>
                  </a:lnTo>
                  <a:lnTo>
                    <a:pt x="470250" y="4090134"/>
                  </a:lnTo>
                  <a:lnTo>
                    <a:pt x="432518" y="4052402"/>
                  </a:lnTo>
                  <a:close/>
                  <a:moveTo>
                    <a:pt x="1816265" y="4051703"/>
                  </a:moveTo>
                  <a:lnTo>
                    <a:pt x="1942683" y="4178123"/>
                  </a:lnTo>
                  <a:lnTo>
                    <a:pt x="2083829" y="4318569"/>
                  </a:lnTo>
                  <a:lnTo>
                    <a:pt x="1813417" y="4589680"/>
                  </a:lnTo>
                  <a:lnTo>
                    <a:pt x="2076842" y="4589680"/>
                  </a:lnTo>
                  <a:lnTo>
                    <a:pt x="2347254" y="4319268"/>
                  </a:lnTo>
                  <a:lnTo>
                    <a:pt x="2214493" y="4186507"/>
                  </a:lnTo>
                  <a:lnTo>
                    <a:pt x="2214493" y="4185809"/>
                  </a:lnTo>
                  <a:lnTo>
                    <a:pt x="2119736" y="4091531"/>
                  </a:lnTo>
                  <a:lnTo>
                    <a:pt x="2116480" y="4091531"/>
                  </a:lnTo>
                  <a:lnTo>
                    <a:pt x="2076652" y="4051703"/>
                  </a:lnTo>
                  <a:close/>
                  <a:moveTo>
                    <a:pt x="1266369" y="4051703"/>
                  </a:moveTo>
                  <a:lnTo>
                    <a:pt x="1534620" y="4318569"/>
                  </a:lnTo>
                  <a:lnTo>
                    <a:pt x="1531824" y="4321364"/>
                  </a:lnTo>
                  <a:lnTo>
                    <a:pt x="1441688" y="4412201"/>
                  </a:lnTo>
                  <a:lnTo>
                    <a:pt x="1440989" y="4412201"/>
                  </a:lnTo>
                  <a:lnTo>
                    <a:pt x="1263509" y="4590379"/>
                  </a:lnTo>
                  <a:lnTo>
                    <a:pt x="1527632" y="4590379"/>
                  </a:lnTo>
                  <a:lnTo>
                    <a:pt x="1798044" y="4319967"/>
                  </a:lnTo>
                  <a:lnTo>
                    <a:pt x="1793153" y="4315076"/>
                  </a:lnTo>
                  <a:lnTo>
                    <a:pt x="1795249" y="4315775"/>
                  </a:lnTo>
                  <a:lnTo>
                    <a:pt x="1569718" y="4090833"/>
                  </a:lnTo>
                  <a:lnTo>
                    <a:pt x="1567271" y="4090833"/>
                  </a:lnTo>
                  <a:lnTo>
                    <a:pt x="1528141" y="4051703"/>
                  </a:lnTo>
                  <a:close/>
                  <a:moveTo>
                    <a:pt x="2363377" y="4051005"/>
                  </a:moveTo>
                  <a:lnTo>
                    <a:pt x="2630942" y="4318569"/>
                  </a:lnTo>
                  <a:lnTo>
                    <a:pt x="2632339" y="4319967"/>
                  </a:lnTo>
                  <a:lnTo>
                    <a:pt x="2363324" y="4589680"/>
                  </a:lnTo>
                  <a:lnTo>
                    <a:pt x="2625352" y="4589680"/>
                  </a:lnTo>
                  <a:lnTo>
                    <a:pt x="2895065" y="4319268"/>
                  </a:lnTo>
                  <a:lnTo>
                    <a:pt x="2890873" y="4315076"/>
                  </a:lnTo>
                  <a:lnTo>
                    <a:pt x="2892968" y="4315775"/>
                  </a:lnTo>
                  <a:lnTo>
                    <a:pt x="2668140" y="4091531"/>
                  </a:lnTo>
                  <a:lnTo>
                    <a:pt x="2666387" y="4091531"/>
                  </a:lnTo>
                  <a:lnTo>
                    <a:pt x="2625861" y="4051005"/>
                  </a:lnTo>
                  <a:close/>
                  <a:moveTo>
                    <a:pt x="2911879" y="4049607"/>
                  </a:moveTo>
                  <a:lnTo>
                    <a:pt x="3179452" y="4317871"/>
                  </a:lnTo>
                  <a:lnTo>
                    <a:pt x="3087218" y="4410803"/>
                  </a:lnTo>
                  <a:lnTo>
                    <a:pt x="3087917" y="4411502"/>
                  </a:lnTo>
                  <a:lnTo>
                    <a:pt x="2911834" y="4587584"/>
                  </a:lnTo>
                  <a:lnTo>
                    <a:pt x="3108180" y="4587584"/>
                  </a:lnTo>
                  <a:lnTo>
                    <a:pt x="3107481" y="4588982"/>
                  </a:lnTo>
                  <a:lnTo>
                    <a:pt x="3173163" y="4588982"/>
                  </a:lnTo>
                  <a:lnTo>
                    <a:pt x="3443575" y="4317871"/>
                  </a:lnTo>
                  <a:lnTo>
                    <a:pt x="3215951" y="4090833"/>
                  </a:lnTo>
                  <a:lnTo>
                    <a:pt x="3215596" y="4090833"/>
                  </a:lnTo>
                  <a:lnTo>
                    <a:pt x="3174371" y="4049607"/>
                  </a:lnTo>
                  <a:close/>
                  <a:moveTo>
                    <a:pt x="3459004" y="4048908"/>
                  </a:moveTo>
                  <a:lnTo>
                    <a:pt x="3728660" y="4317871"/>
                  </a:lnTo>
                  <a:lnTo>
                    <a:pt x="3458248" y="4588283"/>
                  </a:lnTo>
                  <a:lnTo>
                    <a:pt x="3722372" y="4588283"/>
                  </a:lnTo>
                  <a:lnTo>
                    <a:pt x="3992783" y="4317871"/>
                  </a:lnTo>
                  <a:lnTo>
                    <a:pt x="3765160" y="4090833"/>
                  </a:lnTo>
                  <a:lnTo>
                    <a:pt x="3764107" y="4090833"/>
                  </a:lnTo>
                  <a:lnTo>
                    <a:pt x="3722183" y="4048908"/>
                  </a:lnTo>
                  <a:close/>
                  <a:moveTo>
                    <a:pt x="4007520" y="4048209"/>
                  </a:moveTo>
                  <a:lnTo>
                    <a:pt x="4277870" y="4316473"/>
                  </a:lnTo>
                  <a:lnTo>
                    <a:pt x="4007457" y="4587584"/>
                  </a:lnTo>
                  <a:lnTo>
                    <a:pt x="4270883" y="4587584"/>
                  </a:lnTo>
                  <a:lnTo>
                    <a:pt x="4541295" y="4316473"/>
                  </a:lnTo>
                  <a:lnTo>
                    <a:pt x="4407136" y="4183014"/>
                  </a:lnTo>
                  <a:lnTo>
                    <a:pt x="4314483" y="4090833"/>
                  </a:lnTo>
                  <a:lnTo>
                    <a:pt x="4313317" y="4090833"/>
                  </a:lnTo>
                  <a:lnTo>
                    <a:pt x="4270692" y="4048209"/>
                  </a:lnTo>
                  <a:close/>
                  <a:moveTo>
                    <a:pt x="5377262" y="4047640"/>
                  </a:moveTo>
                  <a:lnTo>
                    <a:pt x="5646914" y="4315903"/>
                  </a:lnTo>
                  <a:lnTo>
                    <a:pt x="5376502" y="4587014"/>
                  </a:lnTo>
                  <a:lnTo>
                    <a:pt x="5639927" y="4587014"/>
                  </a:lnTo>
                  <a:lnTo>
                    <a:pt x="5910339" y="4315903"/>
                  </a:lnTo>
                  <a:lnTo>
                    <a:pt x="5776182" y="4182444"/>
                  </a:lnTo>
                  <a:lnTo>
                    <a:pt x="5679808" y="4086071"/>
                  </a:lnTo>
                  <a:lnTo>
                    <a:pt x="5678867" y="4086071"/>
                  </a:lnTo>
                  <a:lnTo>
                    <a:pt x="5640436" y="4047640"/>
                  </a:lnTo>
                  <a:close/>
                  <a:moveTo>
                    <a:pt x="4828501" y="4047640"/>
                  </a:moveTo>
                  <a:lnTo>
                    <a:pt x="4866233" y="4085372"/>
                  </a:lnTo>
                  <a:lnTo>
                    <a:pt x="4865878" y="4085372"/>
                  </a:lnTo>
                  <a:lnTo>
                    <a:pt x="5097706" y="4316602"/>
                  </a:lnTo>
                  <a:lnTo>
                    <a:pt x="4828477" y="4585831"/>
                  </a:lnTo>
                  <a:lnTo>
                    <a:pt x="4828477" y="4587014"/>
                  </a:lnTo>
                  <a:lnTo>
                    <a:pt x="5091417" y="4587014"/>
                  </a:lnTo>
                  <a:lnTo>
                    <a:pt x="5361829" y="4315903"/>
                  </a:lnTo>
                  <a:lnTo>
                    <a:pt x="5130702" y="4085372"/>
                  </a:lnTo>
                  <a:lnTo>
                    <a:pt x="5130356" y="4085372"/>
                  </a:lnTo>
                  <a:lnTo>
                    <a:pt x="5092624" y="4047640"/>
                  </a:lnTo>
                  <a:close/>
                  <a:moveTo>
                    <a:pt x="6476371" y="4046941"/>
                  </a:moveTo>
                  <a:lnTo>
                    <a:pt x="6602789" y="4173361"/>
                  </a:lnTo>
                  <a:lnTo>
                    <a:pt x="6743935" y="4313807"/>
                  </a:lnTo>
                  <a:lnTo>
                    <a:pt x="6473523" y="4584918"/>
                  </a:lnTo>
                  <a:lnTo>
                    <a:pt x="6736948" y="4584918"/>
                  </a:lnTo>
                  <a:lnTo>
                    <a:pt x="7007360" y="4314506"/>
                  </a:lnTo>
                  <a:lnTo>
                    <a:pt x="6874599" y="4181745"/>
                  </a:lnTo>
                  <a:lnTo>
                    <a:pt x="6874599" y="4181047"/>
                  </a:lnTo>
                  <a:lnTo>
                    <a:pt x="6779842" y="4086769"/>
                  </a:lnTo>
                  <a:lnTo>
                    <a:pt x="6776587" y="4086769"/>
                  </a:lnTo>
                  <a:lnTo>
                    <a:pt x="6736759" y="4046941"/>
                  </a:lnTo>
                  <a:close/>
                  <a:moveTo>
                    <a:pt x="5926476" y="4046941"/>
                  </a:moveTo>
                  <a:lnTo>
                    <a:pt x="6194726" y="4313807"/>
                  </a:lnTo>
                  <a:lnTo>
                    <a:pt x="6191930" y="4316602"/>
                  </a:lnTo>
                  <a:lnTo>
                    <a:pt x="6101794" y="4407439"/>
                  </a:lnTo>
                  <a:lnTo>
                    <a:pt x="6101096" y="4407439"/>
                  </a:lnTo>
                  <a:lnTo>
                    <a:pt x="5923616" y="4585617"/>
                  </a:lnTo>
                  <a:lnTo>
                    <a:pt x="6187739" y="4585617"/>
                  </a:lnTo>
                  <a:lnTo>
                    <a:pt x="6458151" y="4315205"/>
                  </a:lnTo>
                  <a:lnTo>
                    <a:pt x="6453259" y="4310314"/>
                  </a:lnTo>
                  <a:lnTo>
                    <a:pt x="6455355" y="4311013"/>
                  </a:lnTo>
                  <a:lnTo>
                    <a:pt x="6229824" y="4086071"/>
                  </a:lnTo>
                  <a:lnTo>
                    <a:pt x="6227377" y="4086071"/>
                  </a:lnTo>
                  <a:lnTo>
                    <a:pt x="6188247" y="4046941"/>
                  </a:lnTo>
                  <a:close/>
                  <a:moveTo>
                    <a:pt x="4555321" y="4046813"/>
                  </a:moveTo>
                  <a:lnTo>
                    <a:pt x="4555968" y="4047459"/>
                  </a:lnTo>
                  <a:lnTo>
                    <a:pt x="4821607" y="4312410"/>
                  </a:lnTo>
                  <a:lnTo>
                    <a:pt x="5083731" y="4312410"/>
                  </a:lnTo>
                  <a:lnTo>
                    <a:pt x="4816757" y="4046813"/>
                  </a:lnTo>
                  <a:close/>
                  <a:moveTo>
                    <a:pt x="7023483" y="4046243"/>
                  </a:moveTo>
                  <a:lnTo>
                    <a:pt x="7291048" y="4313807"/>
                  </a:lnTo>
                  <a:lnTo>
                    <a:pt x="7292445" y="4315205"/>
                  </a:lnTo>
                  <a:lnTo>
                    <a:pt x="7023431" y="4584918"/>
                  </a:lnTo>
                  <a:lnTo>
                    <a:pt x="7285458" y="4584918"/>
                  </a:lnTo>
                  <a:lnTo>
                    <a:pt x="7555171" y="4314506"/>
                  </a:lnTo>
                  <a:lnTo>
                    <a:pt x="7550979" y="4310314"/>
                  </a:lnTo>
                  <a:lnTo>
                    <a:pt x="7553074" y="4311013"/>
                  </a:lnTo>
                  <a:lnTo>
                    <a:pt x="7328246" y="4086769"/>
                  </a:lnTo>
                  <a:lnTo>
                    <a:pt x="7326493" y="4086769"/>
                  </a:lnTo>
                  <a:lnTo>
                    <a:pt x="7285967" y="4046243"/>
                  </a:lnTo>
                  <a:close/>
                  <a:moveTo>
                    <a:pt x="7571985" y="4044845"/>
                  </a:moveTo>
                  <a:lnTo>
                    <a:pt x="7839558" y="4313109"/>
                  </a:lnTo>
                  <a:lnTo>
                    <a:pt x="7747324" y="4406041"/>
                  </a:lnTo>
                  <a:lnTo>
                    <a:pt x="7748023" y="4406740"/>
                  </a:lnTo>
                  <a:lnTo>
                    <a:pt x="7571940" y="4582822"/>
                  </a:lnTo>
                  <a:lnTo>
                    <a:pt x="7768286" y="4582822"/>
                  </a:lnTo>
                  <a:lnTo>
                    <a:pt x="7767587" y="4584220"/>
                  </a:lnTo>
                  <a:lnTo>
                    <a:pt x="7833269" y="4584220"/>
                  </a:lnTo>
                  <a:lnTo>
                    <a:pt x="8103681" y="4313109"/>
                  </a:lnTo>
                  <a:lnTo>
                    <a:pt x="7876057" y="4086071"/>
                  </a:lnTo>
                  <a:lnTo>
                    <a:pt x="7875702" y="4086071"/>
                  </a:lnTo>
                  <a:lnTo>
                    <a:pt x="7834477" y="4044845"/>
                  </a:lnTo>
                  <a:close/>
                  <a:moveTo>
                    <a:pt x="10037678" y="4044465"/>
                  </a:moveTo>
                  <a:lnTo>
                    <a:pt x="10307331" y="4312728"/>
                  </a:lnTo>
                  <a:lnTo>
                    <a:pt x="10036919" y="4583839"/>
                  </a:lnTo>
                  <a:lnTo>
                    <a:pt x="10300344" y="4583839"/>
                  </a:lnTo>
                  <a:lnTo>
                    <a:pt x="10570756" y="4312728"/>
                  </a:lnTo>
                  <a:lnTo>
                    <a:pt x="10436598" y="4179269"/>
                  </a:lnTo>
                  <a:lnTo>
                    <a:pt x="10340225" y="4082896"/>
                  </a:lnTo>
                  <a:lnTo>
                    <a:pt x="10339284" y="4082896"/>
                  </a:lnTo>
                  <a:lnTo>
                    <a:pt x="10300853" y="4044465"/>
                  </a:lnTo>
                  <a:close/>
                  <a:moveTo>
                    <a:pt x="9488918" y="4044465"/>
                  </a:moveTo>
                  <a:lnTo>
                    <a:pt x="9526650" y="4082197"/>
                  </a:lnTo>
                  <a:lnTo>
                    <a:pt x="9526295" y="4082197"/>
                  </a:lnTo>
                  <a:lnTo>
                    <a:pt x="9758122" y="4313427"/>
                  </a:lnTo>
                  <a:lnTo>
                    <a:pt x="9488582" y="4582967"/>
                  </a:lnTo>
                  <a:lnTo>
                    <a:pt x="9488582" y="4583521"/>
                  </a:lnTo>
                  <a:lnTo>
                    <a:pt x="9488264" y="4583839"/>
                  </a:lnTo>
                  <a:lnTo>
                    <a:pt x="9751834" y="4583839"/>
                  </a:lnTo>
                  <a:lnTo>
                    <a:pt x="10022245" y="4312728"/>
                  </a:lnTo>
                  <a:lnTo>
                    <a:pt x="9791119" y="4082197"/>
                  </a:lnTo>
                  <a:lnTo>
                    <a:pt x="9790773" y="4082197"/>
                  </a:lnTo>
                  <a:lnTo>
                    <a:pt x="9753041" y="4044465"/>
                  </a:lnTo>
                  <a:close/>
                  <a:moveTo>
                    <a:pt x="8119110" y="4044146"/>
                  </a:moveTo>
                  <a:lnTo>
                    <a:pt x="8388766" y="4313109"/>
                  </a:lnTo>
                  <a:lnTo>
                    <a:pt x="8118354" y="4583521"/>
                  </a:lnTo>
                  <a:lnTo>
                    <a:pt x="8382478" y="4583521"/>
                  </a:lnTo>
                  <a:lnTo>
                    <a:pt x="8652889" y="4313109"/>
                  </a:lnTo>
                  <a:lnTo>
                    <a:pt x="8425266" y="4086071"/>
                  </a:lnTo>
                  <a:lnTo>
                    <a:pt x="8424213" y="4086071"/>
                  </a:lnTo>
                  <a:lnTo>
                    <a:pt x="8382289" y="4044146"/>
                  </a:lnTo>
                  <a:close/>
                  <a:moveTo>
                    <a:pt x="11136788" y="4043766"/>
                  </a:moveTo>
                  <a:lnTo>
                    <a:pt x="11263206" y="4170186"/>
                  </a:lnTo>
                  <a:lnTo>
                    <a:pt x="11404352" y="4310632"/>
                  </a:lnTo>
                  <a:lnTo>
                    <a:pt x="11133940" y="4581743"/>
                  </a:lnTo>
                  <a:lnTo>
                    <a:pt x="11397365" y="4581743"/>
                  </a:lnTo>
                  <a:lnTo>
                    <a:pt x="11667777" y="4311331"/>
                  </a:lnTo>
                  <a:lnTo>
                    <a:pt x="11535016" y="4178570"/>
                  </a:lnTo>
                  <a:lnTo>
                    <a:pt x="11535016" y="4177872"/>
                  </a:lnTo>
                  <a:lnTo>
                    <a:pt x="11440259" y="4083594"/>
                  </a:lnTo>
                  <a:lnTo>
                    <a:pt x="11437003" y="4083594"/>
                  </a:lnTo>
                  <a:lnTo>
                    <a:pt x="11397175" y="4043766"/>
                  </a:lnTo>
                  <a:close/>
                  <a:moveTo>
                    <a:pt x="10586892" y="4043766"/>
                  </a:moveTo>
                  <a:lnTo>
                    <a:pt x="10855143" y="4310632"/>
                  </a:lnTo>
                  <a:lnTo>
                    <a:pt x="10852347" y="4313427"/>
                  </a:lnTo>
                  <a:lnTo>
                    <a:pt x="10762211" y="4404264"/>
                  </a:lnTo>
                  <a:lnTo>
                    <a:pt x="10761512" y="4404264"/>
                  </a:lnTo>
                  <a:lnTo>
                    <a:pt x="10584032" y="4582442"/>
                  </a:lnTo>
                  <a:lnTo>
                    <a:pt x="10848155" y="4582442"/>
                  </a:lnTo>
                  <a:lnTo>
                    <a:pt x="11118567" y="4312030"/>
                  </a:lnTo>
                  <a:lnTo>
                    <a:pt x="11113676" y="4307139"/>
                  </a:lnTo>
                  <a:lnTo>
                    <a:pt x="11115772" y="4307838"/>
                  </a:lnTo>
                  <a:lnTo>
                    <a:pt x="10890241" y="4082896"/>
                  </a:lnTo>
                  <a:lnTo>
                    <a:pt x="10887794" y="4082896"/>
                  </a:lnTo>
                  <a:lnTo>
                    <a:pt x="10848664" y="4043766"/>
                  </a:lnTo>
                  <a:close/>
                  <a:moveTo>
                    <a:pt x="8667626" y="4043447"/>
                  </a:moveTo>
                  <a:lnTo>
                    <a:pt x="8937975" y="4311711"/>
                  </a:lnTo>
                  <a:lnTo>
                    <a:pt x="8667563" y="4582822"/>
                  </a:lnTo>
                  <a:lnTo>
                    <a:pt x="8930988" y="4582822"/>
                  </a:lnTo>
                  <a:lnTo>
                    <a:pt x="9201400" y="4311711"/>
                  </a:lnTo>
                  <a:lnTo>
                    <a:pt x="9067242" y="4178252"/>
                  </a:lnTo>
                  <a:lnTo>
                    <a:pt x="8974588" y="4086071"/>
                  </a:lnTo>
                  <a:lnTo>
                    <a:pt x="8973422" y="4086071"/>
                  </a:lnTo>
                  <a:lnTo>
                    <a:pt x="8930798" y="4043447"/>
                  </a:lnTo>
                  <a:close/>
                  <a:moveTo>
                    <a:pt x="9215427" y="4042051"/>
                  </a:moveTo>
                  <a:lnTo>
                    <a:pt x="9216074" y="4042697"/>
                  </a:lnTo>
                  <a:lnTo>
                    <a:pt x="9483305" y="4309235"/>
                  </a:lnTo>
                  <a:lnTo>
                    <a:pt x="9744147" y="4309235"/>
                  </a:lnTo>
                  <a:lnTo>
                    <a:pt x="9475578" y="4042051"/>
                  </a:lnTo>
                  <a:close/>
                  <a:moveTo>
                    <a:pt x="2354051" y="3777098"/>
                  </a:moveTo>
                  <a:lnTo>
                    <a:pt x="2084461" y="4047387"/>
                  </a:lnTo>
                  <a:lnTo>
                    <a:pt x="2353542" y="4315775"/>
                  </a:lnTo>
                  <a:lnTo>
                    <a:pt x="2616967" y="4315775"/>
                  </a:lnTo>
                  <a:lnTo>
                    <a:pt x="2392140" y="4091531"/>
                  </a:lnTo>
                  <a:lnTo>
                    <a:pt x="2391783" y="4091531"/>
                  </a:lnTo>
                  <a:lnTo>
                    <a:pt x="2347762" y="4047510"/>
                  </a:lnTo>
                  <a:lnTo>
                    <a:pt x="2347884" y="4047389"/>
                  </a:lnTo>
                  <a:lnTo>
                    <a:pt x="2347254" y="4046760"/>
                  </a:lnTo>
                  <a:lnTo>
                    <a:pt x="2347952" y="4046061"/>
                  </a:lnTo>
                  <a:lnTo>
                    <a:pt x="2346555" y="4044664"/>
                  </a:lnTo>
                  <a:lnTo>
                    <a:pt x="2521938" y="3868581"/>
                  </a:lnTo>
                  <a:lnTo>
                    <a:pt x="2526691" y="3868581"/>
                  </a:lnTo>
                  <a:lnTo>
                    <a:pt x="2532230" y="3863043"/>
                  </a:lnTo>
                  <a:lnTo>
                    <a:pt x="2618174" y="3777098"/>
                  </a:lnTo>
                  <a:close/>
                  <a:moveTo>
                    <a:pt x="1804842" y="3777098"/>
                  </a:moveTo>
                  <a:lnTo>
                    <a:pt x="1535948" y="4046688"/>
                  </a:lnTo>
                  <a:lnTo>
                    <a:pt x="1805731" y="4315775"/>
                  </a:lnTo>
                  <a:lnTo>
                    <a:pt x="2069155" y="4315775"/>
                  </a:lnTo>
                  <a:lnTo>
                    <a:pt x="1939190" y="4185809"/>
                  </a:lnTo>
                  <a:lnTo>
                    <a:pt x="1844912" y="4091531"/>
                  </a:lnTo>
                  <a:lnTo>
                    <a:pt x="1841875" y="4091531"/>
                  </a:lnTo>
                  <a:lnTo>
                    <a:pt x="1798553" y="4048209"/>
                  </a:lnTo>
                  <a:lnTo>
                    <a:pt x="1800069" y="4046689"/>
                  </a:lnTo>
                  <a:lnTo>
                    <a:pt x="1798743" y="4045363"/>
                  </a:lnTo>
                  <a:lnTo>
                    <a:pt x="1974825" y="3868581"/>
                  </a:lnTo>
                  <a:lnTo>
                    <a:pt x="1977718" y="3868581"/>
                  </a:lnTo>
                  <a:lnTo>
                    <a:pt x="2068965" y="3777098"/>
                  </a:lnTo>
                  <a:close/>
                  <a:moveTo>
                    <a:pt x="1257031" y="3777098"/>
                  </a:moveTo>
                  <a:lnTo>
                    <a:pt x="987788" y="4047037"/>
                  </a:lnTo>
                  <a:lnTo>
                    <a:pt x="1257220" y="4315775"/>
                  </a:lnTo>
                  <a:lnTo>
                    <a:pt x="1519946" y="4315775"/>
                  </a:lnTo>
                  <a:lnTo>
                    <a:pt x="1294422" y="4090833"/>
                  </a:lnTo>
                  <a:lnTo>
                    <a:pt x="1293365" y="4090833"/>
                  </a:lnTo>
                  <a:lnTo>
                    <a:pt x="1250742" y="4048209"/>
                  </a:lnTo>
                  <a:lnTo>
                    <a:pt x="1251213" y="4047737"/>
                  </a:lnTo>
                  <a:lnTo>
                    <a:pt x="1249534" y="4046061"/>
                  </a:lnTo>
                  <a:lnTo>
                    <a:pt x="1250932" y="4044664"/>
                  </a:lnTo>
                  <a:lnTo>
                    <a:pt x="1426315" y="3868581"/>
                  </a:lnTo>
                  <a:lnTo>
                    <a:pt x="1429907" y="3868581"/>
                  </a:lnTo>
                  <a:lnTo>
                    <a:pt x="1521154" y="3777098"/>
                  </a:lnTo>
                  <a:close/>
                  <a:moveTo>
                    <a:pt x="709219" y="3777098"/>
                  </a:moveTo>
                  <a:lnTo>
                    <a:pt x="438807" y="4048209"/>
                  </a:lnTo>
                  <a:lnTo>
                    <a:pt x="480732" y="4090134"/>
                  </a:lnTo>
                  <a:lnTo>
                    <a:pt x="480499" y="4090134"/>
                  </a:lnTo>
                  <a:lnTo>
                    <a:pt x="708011" y="4316473"/>
                  </a:lnTo>
                  <a:lnTo>
                    <a:pt x="972135" y="4316473"/>
                  </a:lnTo>
                  <a:lnTo>
                    <a:pt x="745211" y="4090134"/>
                  </a:lnTo>
                  <a:lnTo>
                    <a:pt x="744855" y="4090134"/>
                  </a:lnTo>
                  <a:lnTo>
                    <a:pt x="702930" y="4048209"/>
                  </a:lnTo>
                  <a:lnTo>
                    <a:pt x="703053" y="4048086"/>
                  </a:lnTo>
                  <a:lnTo>
                    <a:pt x="701024" y="4046061"/>
                  </a:lnTo>
                  <a:lnTo>
                    <a:pt x="878504" y="3868581"/>
                  </a:lnTo>
                  <a:lnTo>
                    <a:pt x="882095" y="3868581"/>
                  </a:lnTo>
                  <a:lnTo>
                    <a:pt x="973342" y="3777098"/>
                  </a:lnTo>
                  <a:close/>
                  <a:moveTo>
                    <a:pt x="3451072" y="3775003"/>
                  </a:moveTo>
                  <a:lnTo>
                    <a:pt x="3181135" y="4045639"/>
                  </a:lnTo>
                  <a:lnTo>
                    <a:pt x="3312910" y="4176725"/>
                  </a:lnTo>
                  <a:lnTo>
                    <a:pt x="3312910" y="4177424"/>
                  </a:lnTo>
                  <a:lnTo>
                    <a:pt x="3450563" y="4314377"/>
                  </a:lnTo>
                  <a:lnTo>
                    <a:pt x="3714686" y="4314377"/>
                  </a:lnTo>
                  <a:lnTo>
                    <a:pt x="3490444" y="4090134"/>
                  </a:lnTo>
                  <a:lnTo>
                    <a:pt x="3489503" y="4090134"/>
                  </a:lnTo>
                  <a:lnTo>
                    <a:pt x="3444084" y="4044716"/>
                  </a:lnTo>
                  <a:lnTo>
                    <a:pt x="3444556" y="4044247"/>
                  </a:lnTo>
                  <a:lnTo>
                    <a:pt x="3444274" y="4043965"/>
                  </a:lnTo>
                  <a:lnTo>
                    <a:pt x="3618959" y="3868581"/>
                  </a:lnTo>
                  <a:lnTo>
                    <a:pt x="3621132" y="3868581"/>
                  </a:lnTo>
                  <a:lnTo>
                    <a:pt x="3715195" y="3775003"/>
                  </a:lnTo>
                  <a:close/>
                  <a:moveTo>
                    <a:pt x="3999582" y="3774304"/>
                  </a:moveTo>
                  <a:lnTo>
                    <a:pt x="3729642" y="4044941"/>
                  </a:lnTo>
                  <a:lnTo>
                    <a:pt x="3999073" y="4313678"/>
                  </a:lnTo>
                  <a:lnTo>
                    <a:pt x="4263197" y="4313678"/>
                  </a:lnTo>
                  <a:lnTo>
                    <a:pt x="4039076" y="4090134"/>
                  </a:lnTo>
                  <a:lnTo>
                    <a:pt x="4038711" y="4090134"/>
                  </a:lnTo>
                  <a:lnTo>
                    <a:pt x="3992595" y="4044017"/>
                  </a:lnTo>
                  <a:lnTo>
                    <a:pt x="3992717" y="4043895"/>
                  </a:lnTo>
                  <a:lnTo>
                    <a:pt x="3992086" y="4043266"/>
                  </a:lnTo>
                  <a:lnTo>
                    <a:pt x="4166770" y="3868581"/>
                  </a:lnTo>
                  <a:lnTo>
                    <a:pt x="4168939" y="3868581"/>
                  </a:lnTo>
                  <a:lnTo>
                    <a:pt x="4263707" y="3774304"/>
                  </a:lnTo>
                  <a:close/>
                  <a:moveTo>
                    <a:pt x="4547394" y="3773605"/>
                  </a:moveTo>
                  <a:lnTo>
                    <a:pt x="4277804" y="4043891"/>
                  </a:lnTo>
                  <a:lnTo>
                    <a:pt x="4410631" y="4176026"/>
                  </a:lnTo>
                  <a:lnTo>
                    <a:pt x="4547585" y="4312979"/>
                  </a:lnTo>
                  <a:lnTo>
                    <a:pt x="4809681" y="4312979"/>
                  </a:lnTo>
                  <a:lnTo>
                    <a:pt x="4665187" y="4169168"/>
                  </a:lnTo>
                  <a:lnTo>
                    <a:pt x="4665187" y="4166459"/>
                  </a:lnTo>
                  <a:lnTo>
                    <a:pt x="4588162" y="4089435"/>
                  </a:lnTo>
                  <a:lnTo>
                    <a:pt x="4587920" y="4089435"/>
                  </a:lnTo>
                  <a:lnTo>
                    <a:pt x="4541105" y="4043318"/>
                  </a:lnTo>
                  <a:lnTo>
                    <a:pt x="4541576" y="4042849"/>
                  </a:lnTo>
                  <a:lnTo>
                    <a:pt x="4541295" y="4042567"/>
                  </a:lnTo>
                  <a:lnTo>
                    <a:pt x="4542692" y="4041170"/>
                  </a:lnTo>
                  <a:lnTo>
                    <a:pt x="4660106" y="3923279"/>
                  </a:lnTo>
                  <a:lnTo>
                    <a:pt x="4660106" y="3920469"/>
                  </a:lnTo>
                  <a:lnTo>
                    <a:pt x="4806969" y="3773605"/>
                  </a:lnTo>
                  <a:close/>
                  <a:moveTo>
                    <a:pt x="7014157" y="3772336"/>
                  </a:moveTo>
                  <a:lnTo>
                    <a:pt x="6744567" y="4042625"/>
                  </a:lnTo>
                  <a:lnTo>
                    <a:pt x="7013649" y="4311013"/>
                  </a:lnTo>
                  <a:lnTo>
                    <a:pt x="7277073" y="4311013"/>
                  </a:lnTo>
                  <a:lnTo>
                    <a:pt x="7052246" y="4086769"/>
                  </a:lnTo>
                  <a:lnTo>
                    <a:pt x="7051889" y="4086769"/>
                  </a:lnTo>
                  <a:lnTo>
                    <a:pt x="7007868" y="4042748"/>
                  </a:lnTo>
                  <a:lnTo>
                    <a:pt x="7007990" y="4042627"/>
                  </a:lnTo>
                  <a:lnTo>
                    <a:pt x="7007360" y="4041998"/>
                  </a:lnTo>
                  <a:lnTo>
                    <a:pt x="7008058" y="4041299"/>
                  </a:lnTo>
                  <a:lnTo>
                    <a:pt x="7006662" y="4039902"/>
                  </a:lnTo>
                  <a:lnTo>
                    <a:pt x="7182045" y="3863819"/>
                  </a:lnTo>
                  <a:lnTo>
                    <a:pt x="7186797" y="3863819"/>
                  </a:lnTo>
                  <a:lnTo>
                    <a:pt x="7192337" y="3858281"/>
                  </a:lnTo>
                  <a:lnTo>
                    <a:pt x="7278280" y="3772336"/>
                  </a:lnTo>
                  <a:close/>
                  <a:moveTo>
                    <a:pt x="6464948" y="3772336"/>
                  </a:moveTo>
                  <a:lnTo>
                    <a:pt x="6196054" y="4041926"/>
                  </a:lnTo>
                  <a:lnTo>
                    <a:pt x="6465837" y="4311013"/>
                  </a:lnTo>
                  <a:lnTo>
                    <a:pt x="6729262" y="4311013"/>
                  </a:lnTo>
                  <a:lnTo>
                    <a:pt x="6599296" y="4181047"/>
                  </a:lnTo>
                  <a:lnTo>
                    <a:pt x="6505018" y="4086769"/>
                  </a:lnTo>
                  <a:lnTo>
                    <a:pt x="6501982" y="4086769"/>
                  </a:lnTo>
                  <a:lnTo>
                    <a:pt x="6458659" y="4043447"/>
                  </a:lnTo>
                  <a:lnTo>
                    <a:pt x="6460176" y="4041927"/>
                  </a:lnTo>
                  <a:lnTo>
                    <a:pt x="6458849" y="4040601"/>
                  </a:lnTo>
                  <a:lnTo>
                    <a:pt x="6634931" y="3863819"/>
                  </a:lnTo>
                  <a:lnTo>
                    <a:pt x="6637824" y="3863819"/>
                  </a:lnTo>
                  <a:lnTo>
                    <a:pt x="6729071" y="3772336"/>
                  </a:lnTo>
                  <a:close/>
                  <a:moveTo>
                    <a:pt x="5917138" y="3772336"/>
                  </a:moveTo>
                  <a:lnTo>
                    <a:pt x="5647895" y="4042275"/>
                  </a:lnTo>
                  <a:lnTo>
                    <a:pt x="5917326" y="4311013"/>
                  </a:lnTo>
                  <a:lnTo>
                    <a:pt x="6180052" y="4311013"/>
                  </a:lnTo>
                  <a:lnTo>
                    <a:pt x="5954528" y="4086071"/>
                  </a:lnTo>
                  <a:lnTo>
                    <a:pt x="5953471" y="4086071"/>
                  </a:lnTo>
                  <a:lnTo>
                    <a:pt x="5910849" y="4043447"/>
                  </a:lnTo>
                  <a:lnTo>
                    <a:pt x="5911320" y="4042975"/>
                  </a:lnTo>
                  <a:lnTo>
                    <a:pt x="5909641" y="4041299"/>
                  </a:lnTo>
                  <a:lnTo>
                    <a:pt x="5911038" y="4039902"/>
                  </a:lnTo>
                  <a:lnTo>
                    <a:pt x="6086421" y="3863819"/>
                  </a:lnTo>
                  <a:lnTo>
                    <a:pt x="6090013" y="3863819"/>
                  </a:lnTo>
                  <a:lnTo>
                    <a:pt x="6181261" y="3772336"/>
                  </a:lnTo>
                  <a:close/>
                  <a:moveTo>
                    <a:pt x="5369326" y="3772336"/>
                  </a:moveTo>
                  <a:lnTo>
                    <a:pt x="5098913" y="4043447"/>
                  </a:lnTo>
                  <a:lnTo>
                    <a:pt x="5140838" y="4085372"/>
                  </a:lnTo>
                  <a:lnTo>
                    <a:pt x="5140605" y="4085372"/>
                  </a:lnTo>
                  <a:lnTo>
                    <a:pt x="5368118" y="4311711"/>
                  </a:lnTo>
                  <a:lnTo>
                    <a:pt x="5632241" y="4311711"/>
                  </a:lnTo>
                  <a:lnTo>
                    <a:pt x="5405317" y="4085372"/>
                  </a:lnTo>
                  <a:lnTo>
                    <a:pt x="5404961" y="4085372"/>
                  </a:lnTo>
                  <a:lnTo>
                    <a:pt x="5363036" y="4043447"/>
                  </a:lnTo>
                  <a:lnTo>
                    <a:pt x="5363159" y="4043324"/>
                  </a:lnTo>
                  <a:lnTo>
                    <a:pt x="5361131" y="4041299"/>
                  </a:lnTo>
                  <a:lnTo>
                    <a:pt x="5538610" y="3863819"/>
                  </a:lnTo>
                  <a:lnTo>
                    <a:pt x="5542201" y="3863819"/>
                  </a:lnTo>
                  <a:lnTo>
                    <a:pt x="5633449" y="3772336"/>
                  </a:lnTo>
                  <a:close/>
                  <a:moveTo>
                    <a:pt x="4821872" y="3771639"/>
                  </a:moveTo>
                  <a:lnTo>
                    <a:pt x="4555828" y="4038375"/>
                  </a:lnTo>
                  <a:lnTo>
                    <a:pt x="4816942" y="4038375"/>
                  </a:lnTo>
                  <a:lnTo>
                    <a:pt x="4991497" y="3863819"/>
                  </a:lnTo>
                  <a:lnTo>
                    <a:pt x="4991595" y="3863819"/>
                  </a:lnTo>
                  <a:lnTo>
                    <a:pt x="5082144" y="3773035"/>
                  </a:lnTo>
                  <a:lnTo>
                    <a:pt x="4885799" y="3773035"/>
                  </a:lnTo>
                  <a:lnTo>
                    <a:pt x="4886497" y="3771639"/>
                  </a:lnTo>
                  <a:close/>
                  <a:moveTo>
                    <a:pt x="8111178" y="3770241"/>
                  </a:moveTo>
                  <a:lnTo>
                    <a:pt x="7841241" y="4040877"/>
                  </a:lnTo>
                  <a:lnTo>
                    <a:pt x="7973016" y="4171963"/>
                  </a:lnTo>
                  <a:lnTo>
                    <a:pt x="7973016" y="4172662"/>
                  </a:lnTo>
                  <a:lnTo>
                    <a:pt x="8110669" y="4309615"/>
                  </a:lnTo>
                  <a:lnTo>
                    <a:pt x="8374792" y="4309615"/>
                  </a:lnTo>
                  <a:lnTo>
                    <a:pt x="8150550" y="4085372"/>
                  </a:lnTo>
                  <a:lnTo>
                    <a:pt x="8149609" y="4085372"/>
                  </a:lnTo>
                  <a:lnTo>
                    <a:pt x="8104190" y="4039954"/>
                  </a:lnTo>
                  <a:lnTo>
                    <a:pt x="8104662" y="4039485"/>
                  </a:lnTo>
                  <a:lnTo>
                    <a:pt x="8104380" y="4039203"/>
                  </a:lnTo>
                  <a:lnTo>
                    <a:pt x="8279065" y="3863819"/>
                  </a:lnTo>
                  <a:lnTo>
                    <a:pt x="8281238" y="3863819"/>
                  </a:lnTo>
                  <a:lnTo>
                    <a:pt x="8375301" y="3770241"/>
                  </a:lnTo>
                  <a:close/>
                  <a:moveTo>
                    <a:pt x="8659688" y="3769542"/>
                  </a:moveTo>
                  <a:lnTo>
                    <a:pt x="8389748" y="4040179"/>
                  </a:lnTo>
                  <a:lnTo>
                    <a:pt x="8659179" y="4308916"/>
                  </a:lnTo>
                  <a:lnTo>
                    <a:pt x="8923303" y="4308916"/>
                  </a:lnTo>
                  <a:lnTo>
                    <a:pt x="8699182" y="4085372"/>
                  </a:lnTo>
                  <a:lnTo>
                    <a:pt x="8698817" y="4085372"/>
                  </a:lnTo>
                  <a:lnTo>
                    <a:pt x="8652701" y="4039255"/>
                  </a:lnTo>
                  <a:lnTo>
                    <a:pt x="8652823" y="4039133"/>
                  </a:lnTo>
                  <a:lnTo>
                    <a:pt x="8652192" y="4038504"/>
                  </a:lnTo>
                  <a:lnTo>
                    <a:pt x="8826876" y="3863819"/>
                  </a:lnTo>
                  <a:lnTo>
                    <a:pt x="8829045" y="3863819"/>
                  </a:lnTo>
                  <a:lnTo>
                    <a:pt x="8923812" y="3769542"/>
                  </a:lnTo>
                  <a:close/>
                  <a:moveTo>
                    <a:pt x="11674574" y="3769161"/>
                  </a:moveTo>
                  <a:lnTo>
                    <a:pt x="11404984" y="4039450"/>
                  </a:lnTo>
                  <a:lnTo>
                    <a:pt x="11674065" y="4307838"/>
                  </a:lnTo>
                  <a:lnTo>
                    <a:pt x="11937490" y="4307838"/>
                  </a:lnTo>
                  <a:lnTo>
                    <a:pt x="11712663" y="4083594"/>
                  </a:lnTo>
                  <a:lnTo>
                    <a:pt x="11712306" y="4083594"/>
                  </a:lnTo>
                  <a:lnTo>
                    <a:pt x="11668285" y="4039573"/>
                  </a:lnTo>
                  <a:lnTo>
                    <a:pt x="11668407" y="4039452"/>
                  </a:lnTo>
                  <a:lnTo>
                    <a:pt x="11667777" y="4038823"/>
                  </a:lnTo>
                  <a:lnTo>
                    <a:pt x="11668475" y="4038124"/>
                  </a:lnTo>
                  <a:lnTo>
                    <a:pt x="11667078" y="4036727"/>
                  </a:lnTo>
                  <a:lnTo>
                    <a:pt x="11842461" y="3860644"/>
                  </a:lnTo>
                  <a:lnTo>
                    <a:pt x="11847214" y="3860644"/>
                  </a:lnTo>
                  <a:lnTo>
                    <a:pt x="11852753" y="3855106"/>
                  </a:lnTo>
                  <a:lnTo>
                    <a:pt x="11938697" y="3769161"/>
                  </a:lnTo>
                  <a:close/>
                  <a:moveTo>
                    <a:pt x="11125365" y="3769161"/>
                  </a:moveTo>
                  <a:lnTo>
                    <a:pt x="10856471" y="4038751"/>
                  </a:lnTo>
                  <a:lnTo>
                    <a:pt x="11126254" y="4307838"/>
                  </a:lnTo>
                  <a:lnTo>
                    <a:pt x="11389678" y="4307838"/>
                  </a:lnTo>
                  <a:lnTo>
                    <a:pt x="11259713" y="4177872"/>
                  </a:lnTo>
                  <a:lnTo>
                    <a:pt x="11165435" y="4083594"/>
                  </a:lnTo>
                  <a:lnTo>
                    <a:pt x="11162398" y="4083594"/>
                  </a:lnTo>
                  <a:lnTo>
                    <a:pt x="11119076" y="4040272"/>
                  </a:lnTo>
                  <a:lnTo>
                    <a:pt x="11120592" y="4038752"/>
                  </a:lnTo>
                  <a:lnTo>
                    <a:pt x="11119266" y="4037426"/>
                  </a:lnTo>
                  <a:lnTo>
                    <a:pt x="11295348" y="3860644"/>
                  </a:lnTo>
                  <a:lnTo>
                    <a:pt x="11298241" y="3860644"/>
                  </a:lnTo>
                  <a:lnTo>
                    <a:pt x="11389488" y="3769161"/>
                  </a:lnTo>
                  <a:close/>
                  <a:moveTo>
                    <a:pt x="10577554" y="3769161"/>
                  </a:moveTo>
                  <a:lnTo>
                    <a:pt x="10308311" y="4039100"/>
                  </a:lnTo>
                  <a:lnTo>
                    <a:pt x="10577743" y="4307838"/>
                  </a:lnTo>
                  <a:lnTo>
                    <a:pt x="10840469" y="4307838"/>
                  </a:lnTo>
                  <a:lnTo>
                    <a:pt x="10614945" y="4082896"/>
                  </a:lnTo>
                  <a:lnTo>
                    <a:pt x="10613888" y="4082896"/>
                  </a:lnTo>
                  <a:lnTo>
                    <a:pt x="10571265" y="4040272"/>
                  </a:lnTo>
                  <a:lnTo>
                    <a:pt x="10571736" y="4039800"/>
                  </a:lnTo>
                  <a:lnTo>
                    <a:pt x="10570057" y="4038124"/>
                  </a:lnTo>
                  <a:lnTo>
                    <a:pt x="10571455" y="4036727"/>
                  </a:lnTo>
                  <a:lnTo>
                    <a:pt x="10746838" y="3860644"/>
                  </a:lnTo>
                  <a:lnTo>
                    <a:pt x="10750430" y="3860644"/>
                  </a:lnTo>
                  <a:lnTo>
                    <a:pt x="10841677" y="3769161"/>
                  </a:lnTo>
                  <a:close/>
                  <a:moveTo>
                    <a:pt x="10029742" y="3769161"/>
                  </a:moveTo>
                  <a:lnTo>
                    <a:pt x="9759330" y="4040272"/>
                  </a:lnTo>
                  <a:lnTo>
                    <a:pt x="9801255" y="4082197"/>
                  </a:lnTo>
                  <a:lnTo>
                    <a:pt x="9801022" y="4082197"/>
                  </a:lnTo>
                  <a:lnTo>
                    <a:pt x="10028534" y="4308536"/>
                  </a:lnTo>
                  <a:lnTo>
                    <a:pt x="10292658" y="4308536"/>
                  </a:lnTo>
                  <a:lnTo>
                    <a:pt x="10065734" y="4082197"/>
                  </a:lnTo>
                  <a:lnTo>
                    <a:pt x="10065378" y="4082197"/>
                  </a:lnTo>
                  <a:lnTo>
                    <a:pt x="10023453" y="4040272"/>
                  </a:lnTo>
                  <a:lnTo>
                    <a:pt x="10023576" y="4040149"/>
                  </a:lnTo>
                  <a:lnTo>
                    <a:pt x="10021547" y="4038124"/>
                  </a:lnTo>
                  <a:lnTo>
                    <a:pt x="10199027" y="3860644"/>
                  </a:lnTo>
                  <a:lnTo>
                    <a:pt x="10202618" y="3860644"/>
                  </a:lnTo>
                  <a:lnTo>
                    <a:pt x="10293865" y="3769161"/>
                  </a:lnTo>
                  <a:close/>
                  <a:moveTo>
                    <a:pt x="9207500" y="3768843"/>
                  </a:moveTo>
                  <a:lnTo>
                    <a:pt x="8937910" y="4039129"/>
                  </a:lnTo>
                  <a:lnTo>
                    <a:pt x="9070736" y="4171264"/>
                  </a:lnTo>
                  <a:lnTo>
                    <a:pt x="9207690" y="4308217"/>
                  </a:lnTo>
                  <a:lnTo>
                    <a:pt x="9468504" y="4308217"/>
                  </a:lnTo>
                  <a:lnTo>
                    <a:pt x="9325603" y="4165993"/>
                  </a:lnTo>
                  <a:lnTo>
                    <a:pt x="9325603" y="4162008"/>
                  </a:lnTo>
                  <a:lnTo>
                    <a:pt x="9248268" y="4084673"/>
                  </a:lnTo>
                  <a:lnTo>
                    <a:pt x="9248026" y="4084673"/>
                  </a:lnTo>
                  <a:lnTo>
                    <a:pt x="9201211" y="4038556"/>
                  </a:lnTo>
                  <a:lnTo>
                    <a:pt x="9201682" y="4038087"/>
                  </a:lnTo>
                  <a:lnTo>
                    <a:pt x="9201400" y="4037805"/>
                  </a:lnTo>
                  <a:lnTo>
                    <a:pt x="9202798" y="4036408"/>
                  </a:lnTo>
                  <a:lnTo>
                    <a:pt x="9320523" y="3918204"/>
                  </a:lnTo>
                  <a:lnTo>
                    <a:pt x="9320523" y="3917294"/>
                  </a:lnTo>
                  <a:lnTo>
                    <a:pt x="9468973" y="3768843"/>
                  </a:lnTo>
                  <a:close/>
                  <a:moveTo>
                    <a:pt x="9480395" y="3768464"/>
                  </a:moveTo>
                  <a:lnTo>
                    <a:pt x="9215934" y="4033613"/>
                  </a:lnTo>
                  <a:lnTo>
                    <a:pt x="9478102" y="4033613"/>
                  </a:lnTo>
                  <a:lnTo>
                    <a:pt x="9488582" y="4023132"/>
                  </a:lnTo>
                  <a:lnTo>
                    <a:pt x="9488582" y="4023976"/>
                  </a:lnTo>
                  <a:lnTo>
                    <a:pt x="9651914" y="3860644"/>
                  </a:lnTo>
                  <a:lnTo>
                    <a:pt x="9652012" y="3860644"/>
                  </a:lnTo>
                  <a:lnTo>
                    <a:pt x="9742561" y="3769860"/>
                  </a:lnTo>
                  <a:lnTo>
                    <a:pt x="9546215" y="3769860"/>
                  </a:lnTo>
                  <a:lnTo>
                    <a:pt x="9546914" y="3768464"/>
                  </a:lnTo>
                  <a:close/>
                  <a:moveTo>
                    <a:pt x="1264018" y="3501795"/>
                  </a:moveTo>
                  <a:lnTo>
                    <a:pt x="1535828" y="3771509"/>
                  </a:lnTo>
                  <a:lnTo>
                    <a:pt x="1266165" y="4041868"/>
                  </a:lnTo>
                  <a:lnTo>
                    <a:pt x="1527632" y="4041868"/>
                  </a:lnTo>
                  <a:lnTo>
                    <a:pt x="1700221" y="3868581"/>
                  </a:lnTo>
                  <a:lnTo>
                    <a:pt x="1702878" y="3868581"/>
                  </a:lnTo>
                  <a:lnTo>
                    <a:pt x="1799252" y="3772207"/>
                  </a:lnTo>
                  <a:lnTo>
                    <a:pt x="1665094" y="3638748"/>
                  </a:lnTo>
                  <a:lnTo>
                    <a:pt x="1528141" y="3501795"/>
                  </a:lnTo>
                  <a:close/>
                  <a:moveTo>
                    <a:pt x="715508" y="3501795"/>
                  </a:moveTo>
                  <a:lnTo>
                    <a:pt x="986618" y="3772207"/>
                  </a:lnTo>
                  <a:lnTo>
                    <a:pt x="716955" y="4042567"/>
                  </a:lnTo>
                  <a:lnTo>
                    <a:pt x="979122" y="4042567"/>
                  </a:lnTo>
                  <a:lnTo>
                    <a:pt x="1067862" y="3953129"/>
                  </a:lnTo>
                  <a:lnTo>
                    <a:pt x="1152410" y="3868581"/>
                  </a:lnTo>
                  <a:lnTo>
                    <a:pt x="1154616" y="3868581"/>
                  </a:lnTo>
                  <a:lnTo>
                    <a:pt x="1250742" y="3772207"/>
                  </a:lnTo>
                  <a:lnTo>
                    <a:pt x="979631" y="3501795"/>
                  </a:lnTo>
                  <a:close/>
                  <a:moveTo>
                    <a:pt x="165601" y="3501795"/>
                  </a:moveTo>
                  <a:lnTo>
                    <a:pt x="436711" y="3772207"/>
                  </a:lnTo>
                  <a:lnTo>
                    <a:pt x="438108" y="3772906"/>
                  </a:lnTo>
                  <a:lnTo>
                    <a:pt x="169094" y="4042619"/>
                  </a:lnTo>
                  <a:lnTo>
                    <a:pt x="365440" y="4042619"/>
                  </a:lnTo>
                  <a:lnTo>
                    <a:pt x="365116" y="4043266"/>
                  </a:lnTo>
                  <a:lnTo>
                    <a:pt x="430612" y="4043266"/>
                  </a:lnTo>
                  <a:lnTo>
                    <a:pt x="604598" y="3868581"/>
                  </a:lnTo>
                  <a:lnTo>
                    <a:pt x="606802" y="3868581"/>
                  </a:lnTo>
                  <a:lnTo>
                    <a:pt x="701533" y="3773605"/>
                  </a:lnTo>
                  <a:lnTo>
                    <a:pt x="430423" y="3503193"/>
                  </a:lnTo>
                  <a:lnTo>
                    <a:pt x="362644" y="3501795"/>
                  </a:lnTo>
                  <a:close/>
                  <a:moveTo>
                    <a:pt x="2361039" y="3501097"/>
                  </a:moveTo>
                  <a:lnTo>
                    <a:pt x="2631451" y="3770111"/>
                  </a:lnTo>
                  <a:lnTo>
                    <a:pt x="2628655" y="3772906"/>
                  </a:lnTo>
                  <a:lnTo>
                    <a:pt x="2538519" y="3863743"/>
                  </a:lnTo>
                  <a:lnTo>
                    <a:pt x="2361789" y="4040472"/>
                  </a:lnTo>
                  <a:lnTo>
                    <a:pt x="2624653" y="4040472"/>
                  </a:lnTo>
                  <a:lnTo>
                    <a:pt x="2795844" y="3868581"/>
                  </a:lnTo>
                  <a:lnTo>
                    <a:pt x="2797802" y="3868581"/>
                  </a:lnTo>
                  <a:lnTo>
                    <a:pt x="2895574" y="3770810"/>
                  </a:lnTo>
                  <a:lnTo>
                    <a:pt x="2625162" y="3501097"/>
                  </a:lnTo>
                  <a:close/>
                  <a:moveTo>
                    <a:pt x="1812528" y="3501097"/>
                  </a:moveTo>
                  <a:lnTo>
                    <a:pt x="1813926" y="3502494"/>
                  </a:lnTo>
                  <a:lnTo>
                    <a:pt x="2083639" y="3771509"/>
                  </a:lnTo>
                  <a:lnTo>
                    <a:pt x="1814673" y="4041170"/>
                  </a:lnTo>
                  <a:lnTo>
                    <a:pt x="2076143" y="4041170"/>
                  </a:lnTo>
                  <a:lnTo>
                    <a:pt x="2248033" y="3868581"/>
                  </a:lnTo>
                  <a:lnTo>
                    <a:pt x="2250940" y="3868581"/>
                  </a:lnTo>
                  <a:lnTo>
                    <a:pt x="2347762" y="3771509"/>
                  </a:lnTo>
                  <a:lnTo>
                    <a:pt x="2342173" y="3766618"/>
                  </a:lnTo>
                  <a:lnTo>
                    <a:pt x="2076652" y="3501097"/>
                  </a:lnTo>
                  <a:close/>
                  <a:moveTo>
                    <a:pt x="4005871" y="3499001"/>
                  </a:moveTo>
                  <a:lnTo>
                    <a:pt x="4277680" y="3768713"/>
                  </a:lnTo>
                  <a:lnTo>
                    <a:pt x="4008016" y="4039074"/>
                  </a:lnTo>
                  <a:lnTo>
                    <a:pt x="4270183" y="4039074"/>
                  </a:lnTo>
                  <a:lnTo>
                    <a:pt x="4359622" y="3949635"/>
                  </a:lnTo>
                  <a:lnTo>
                    <a:pt x="4440677" y="3868581"/>
                  </a:lnTo>
                  <a:lnTo>
                    <a:pt x="4441937" y="3868581"/>
                  </a:lnTo>
                  <a:lnTo>
                    <a:pt x="4541105" y="3769413"/>
                  </a:lnTo>
                  <a:lnTo>
                    <a:pt x="4406948" y="3635954"/>
                  </a:lnTo>
                  <a:lnTo>
                    <a:pt x="4269994" y="3499001"/>
                  </a:lnTo>
                  <a:close/>
                  <a:moveTo>
                    <a:pt x="4554381" y="3498302"/>
                  </a:moveTo>
                  <a:lnTo>
                    <a:pt x="4555778" y="3499699"/>
                  </a:lnTo>
                  <a:lnTo>
                    <a:pt x="4820723" y="3763951"/>
                  </a:lnTo>
                  <a:lnTo>
                    <a:pt x="5083541" y="3763951"/>
                  </a:lnTo>
                  <a:lnTo>
                    <a:pt x="4954274" y="3635384"/>
                  </a:lnTo>
                  <a:lnTo>
                    <a:pt x="4816513" y="3498302"/>
                  </a:lnTo>
                  <a:close/>
                  <a:moveTo>
                    <a:pt x="3721484" y="3498302"/>
                  </a:moveTo>
                  <a:lnTo>
                    <a:pt x="3457360" y="3499001"/>
                  </a:lnTo>
                  <a:lnTo>
                    <a:pt x="3728471" y="3769413"/>
                  </a:lnTo>
                  <a:lnTo>
                    <a:pt x="3458808" y="4039773"/>
                  </a:lnTo>
                  <a:lnTo>
                    <a:pt x="3721674" y="4039773"/>
                  </a:lnTo>
                  <a:lnTo>
                    <a:pt x="3892166" y="3867883"/>
                  </a:lnTo>
                  <a:lnTo>
                    <a:pt x="3893935" y="3867883"/>
                  </a:lnTo>
                  <a:lnTo>
                    <a:pt x="3992595" y="3768713"/>
                  </a:lnTo>
                  <a:close/>
                  <a:moveTo>
                    <a:pt x="5924124" y="3497033"/>
                  </a:moveTo>
                  <a:lnTo>
                    <a:pt x="6195934" y="3766747"/>
                  </a:lnTo>
                  <a:lnTo>
                    <a:pt x="5926271" y="4037106"/>
                  </a:lnTo>
                  <a:lnTo>
                    <a:pt x="6187739" y="4037106"/>
                  </a:lnTo>
                  <a:lnTo>
                    <a:pt x="6360328" y="3863819"/>
                  </a:lnTo>
                  <a:lnTo>
                    <a:pt x="6362985" y="3863819"/>
                  </a:lnTo>
                  <a:lnTo>
                    <a:pt x="6459359" y="3767445"/>
                  </a:lnTo>
                  <a:lnTo>
                    <a:pt x="6325200" y="3633986"/>
                  </a:lnTo>
                  <a:lnTo>
                    <a:pt x="6188247" y="3497033"/>
                  </a:lnTo>
                  <a:close/>
                  <a:moveTo>
                    <a:pt x="5375615" y="3497033"/>
                  </a:moveTo>
                  <a:lnTo>
                    <a:pt x="5646724" y="3767445"/>
                  </a:lnTo>
                  <a:lnTo>
                    <a:pt x="5377062" y="4037805"/>
                  </a:lnTo>
                  <a:lnTo>
                    <a:pt x="5639228" y="4037805"/>
                  </a:lnTo>
                  <a:lnTo>
                    <a:pt x="5727968" y="3948367"/>
                  </a:lnTo>
                  <a:lnTo>
                    <a:pt x="5812516" y="3863819"/>
                  </a:lnTo>
                  <a:lnTo>
                    <a:pt x="5814722" y="3863819"/>
                  </a:lnTo>
                  <a:lnTo>
                    <a:pt x="5910849" y="3767445"/>
                  </a:lnTo>
                  <a:lnTo>
                    <a:pt x="5639738" y="3497033"/>
                  </a:lnTo>
                  <a:close/>
                  <a:moveTo>
                    <a:pt x="4825707" y="3497033"/>
                  </a:moveTo>
                  <a:lnTo>
                    <a:pt x="5096817" y="3767445"/>
                  </a:lnTo>
                  <a:lnTo>
                    <a:pt x="5098215" y="3768144"/>
                  </a:lnTo>
                  <a:lnTo>
                    <a:pt x="4829200" y="4037857"/>
                  </a:lnTo>
                  <a:lnTo>
                    <a:pt x="5025547" y="4037857"/>
                  </a:lnTo>
                  <a:lnTo>
                    <a:pt x="5025222" y="4038504"/>
                  </a:lnTo>
                  <a:lnTo>
                    <a:pt x="5090718" y="4038504"/>
                  </a:lnTo>
                  <a:lnTo>
                    <a:pt x="5264704" y="3863819"/>
                  </a:lnTo>
                  <a:lnTo>
                    <a:pt x="5266909" y="3863819"/>
                  </a:lnTo>
                  <a:lnTo>
                    <a:pt x="5361639" y="3768843"/>
                  </a:lnTo>
                  <a:lnTo>
                    <a:pt x="5090530" y="3498431"/>
                  </a:lnTo>
                  <a:lnTo>
                    <a:pt x="5022750" y="3497033"/>
                  </a:lnTo>
                  <a:close/>
                  <a:moveTo>
                    <a:pt x="7021145" y="3496335"/>
                  </a:moveTo>
                  <a:lnTo>
                    <a:pt x="7291557" y="3765349"/>
                  </a:lnTo>
                  <a:lnTo>
                    <a:pt x="7288761" y="3768144"/>
                  </a:lnTo>
                  <a:lnTo>
                    <a:pt x="7198625" y="3858981"/>
                  </a:lnTo>
                  <a:lnTo>
                    <a:pt x="7021895" y="4035710"/>
                  </a:lnTo>
                  <a:lnTo>
                    <a:pt x="7284759" y="4035710"/>
                  </a:lnTo>
                  <a:lnTo>
                    <a:pt x="7455950" y="3863819"/>
                  </a:lnTo>
                  <a:lnTo>
                    <a:pt x="7457908" y="3863819"/>
                  </a:lnTo>
                  <a:lnTo>
                    <a:pt x="7555680" y="3766048"/>
                  </a:lnTo>
                  <a:lnTo>
                    <a:pt x="7285268" y="3496335"/>
                  </a:lnTo>
                  <a:close/>
                  <a:moveTo>
                    <a:pt x="6472634" y="3496335"/>
                  </a:moveTo>
                  <a:lnTo>
                    <a:pt x="6474032" y="3497732"/>
                  </a:lnTo>
                  <a:lnTo>
                    <a:pt x="6743745" y="3766747"/>
                  </a:lnTo>
                  <a:lnTo>
                    <a:pt x="6474780" y="4036408"/>
                  </a:lnTo>
                  <a:lnTo>
                    <a:pt x="6736249" y="4036408"/>
                  </a:lnTo>
                  <a:lnTo>
                    <a:pt x="6908140" y="3863819"/>
                  </a:lnTo>
                  <a:lnTo>
                    <a:pt x="6911046" y="3863819"/>
                  </a:lnTo>
                  <a:lnTo>
                    <a:pt x="7007868" y="3766747"/>
                  </a:lnTo>
                  <a:lnTo>
                    <a:pt x="7002279" y="3761856"/>
                  </a:lnTo>
                  <a:lnTo>
                    <a:pt x="6736759" y="3496335"/>
                  </a:lnTo>
                  <a:close/>
                  <a:moveTo>
                    <a:pt x="8665977" y="3494239"/>
                  </a:moveTo>
                  <a:lnTo>
                    <a:pt x="8937786" y="3763951"/>
                  </a:lnTo>
                  <a:lnTo>
                    <a:pt x="8668122" y="4034312"/>
                  </a:lnTo>
                  <a:lnTo>
                    <a:pt x="8930289" y="4034312"/>
                  </a:lnTo>
                  <a:lnTo>
                    <a:pt x="9019728" y="3944873"/>
                  </a:lnTo>
                  <a:lnTo>
                    <a:pt x="9100782" y="3863819"/>
                  </a:lnTo>
                  <a:lnTo>
                    <a:pt x="9102043" y="3863819"/>
                  </a:lnTo>
                  <a:lnTo>
                    <a:pt x="9201211" y="3764651"/>
                  </a:lnTo>
                  <a:lnTo>
                    <a:pt x="9067053" y="3631192"/>
                  </a:lnTo>
                  <a:lnTo>
                    <a:pt x="8930100" y="3494239"/>
                  </a:lnTo>
                  <a:close/>
                  <a:moveTo>
                    <a:pt x="10584541" y="3493858"/>
                  </a:moveTo>
                  <a:lnTo>
                    <a:pt x="10856351" y="3763572"/>
                  </a:lnTo>
                  <a:lnTo>
                    <a:pt x="10586688" y="4033931"/>
                  </a:lnTo>
                  <a:lnTo>
                    <a:pt x="10848155" y="4033931"/>
                  </a:lnTo>
                  <a:lnTo>
                    <a:pt x="11020744" y="3860644"/>
                  </a:lnTo>
                  <a:lnTo>
                    <a:pt x="11023401" y="3860644"/>
                  </a:lnTo>
                  <a:lnTo>
                    <a:pt x="11119775" y="3764270"/>
                  </a:lnTo>
                  <a:lnTo>
                    <a:pt x="10985617" y="3630811"/>
                  </a:lnTo>
                  <a:lnTo>
                    <a:pt x="10848664" y="3493858"/>
                  </a:lnTo>
                  <a:close/>
                  <a:moveTo>
                    <a:pt x="10036031" y="3493858"/>
                  </a:moveTo>
                  <a:lnTo>
                    <a:pt x="10307141" y="3764270"/>
                  </a:lnTo>
                  <a:lnTo>
                    <a:pt x="10037478" y="4034630"/>
                  </a:lnTo>
                  <a:lnTo>
                    <a:pt x="10299645" y="4034630"/>
                  </a:lnTo>
                  <a:lnTo>
                    <a:pt x="10388385" y="3945192"/>
                  </a:lnTo>
                  <a:lnTo>
                    <a:pt x="10472933" y="3860644"/>
                  </a:lnTo>
                  <a:lnTo>
                    <a:pt x="10475139" y="3860644"/>
                  </a:lnTo>
                  <a:lnTo>
                    <a:pt x="10571265" y="3764270"/>
                  </a:lnTo>
                  <a:lnTo>
                    <a:pt x="10300154" y="3493858"/>
                  </a:lnTo>
                  <a:close/>
                  <a:moveTo>
                    <a:pt x="9486124" y="3493858"/>
                  </a:moveTo>
                  <a:lnTo>
                    <a:pt x="9757234" y="3764270"/>
                  </a:lnTo>
                  <a:lnTo>
                    <a:pt x="9758631" y="3764969"/>
                  </a:lnTo>
                  <a:lnTo>
                    <a:pt x="9489617" y="4034682"/>
                  </a:lnTo>
                  <a:lnTo>
                    <a:pt x="9685963" y="4034682"/>
                  </a:lnTo>
                  <a:lnTo>
                    <a:pt x="9685639" y="4035329"/>
                  </a:lnTo>
                  <a:lnTo>
                    <a:pt x="9751135" y="4035329"/>
                  </a:lnTo>
                  <a:lnTo>
                    <a:pt x="9925121" y="3860644"/>
                  </a:lnTo>
                  <a:lnTo>
                    <a:pt x="9927325" y="3860644"/>
                  </a:lnTo>
                  <a:lnTo>
                    <a:pt x="10022056" y="3765668"/>
                  </a:lnTo>
                  <a:lnTo>
                    <a:pt x="9750946" y="3495256"/>
                  </a:lnTo>
                  <a:lnTo>
                    <a:pt x="9683167" y="3493858"/>
                  </a:lnTo>
                  <a:close/>
                  <a:moveTo>
                    <a:pt x="9214487" y="3493540"/>
                  </a:moveTo>
                  <a:lnTo>
                    <a:pt x="9215884" y="3494937"/>
                  </a:lnTo>
                  <a:lnTo>
                    <a:pt x="9482419" y="3760776"/>
                  </a:lnTo>
                  <a:lnTo>
                    <a:pt x="9743958" y="3760776"/>
                  </a:lnTo>
                  <a:lnTo>
                    <a:pt x="9614691" y="3632209"/>
                  </a:lnTo>
                  <a:lnTo>
                    <a:pt x="9475335" y="3493540"/>
                  </a:lnTo>
                  <a:close/>
                  <a:moveTo>
                    <a:pt x="8381590" y="3493540"/>
                  </a:moveTo>
                  <a:lnTo>
                    <a:pt x="8117466" y="3494239"/>
                  </a:lnTo>
                  <a:lnTo>
                    <a:pt x="8388577" y="3764651"/>
                  </a:lnTo>
                  <a:lnTo>
                    <a:pt x="8118914" y="4035011"/>
                  </a:lnTo>
                  <a:lnTo>
                    <a:pt x="8381780" y="4035011"/>
                  </a:lnTo>
                  <a:lnTo>
                    <a:pt x="8552272" y="3863121"/>
                  </a:lnTo>
                  <a:lnTo>
                    <a:pt x="8554041" y="3863121"/>
                  </a:lnTo>
                  <a:lnTo>
                    <a:pt x="8652701" y="3763951"/>
                  </a:lnTo>
                  <a:close/>
                  <a:moveTo>
                    <a:pt x="11133051" y="3493160"/>
                  </a:moveTo>
                  <a:lnTo>
                    <a:pt x="11134449" y="3494557"/>
                  </a:lnTo>
                  <a:lnTo>
                    <a:pt x="11404162" y="3763572"/>
                  </a:lnTo>
                  <a:lnTo>
                    <a:pt x="11135196" y="4033233"/>
                  </a:lnTo>
                  <a:lnTo>
                    <a:pt x="11396666" y="4033233"/>
                  </a:lnTo>
                  <a:lnTo>
                    <a:pt x="11568556" y="3860644"/>
                  </a:lnTo>
                  <a:lnTo>
                    <a:pt x="11571463" y="3860644"/>
                  </a:lnTo>
                  <a:lnTo>
                    <a:pt x="11668285" y="3763572"/>
                  </a:lnTo>
                  <a:lnTo>
                    <a:pt x="11662696" y="3758681"/>
                  </a:lnTo>
                  <a:lnTo>
                    <a:pt x="11397175" y="3493160"/>
                  </a:lnTo>
                  <a:close/>
                  <a:moveTo>
                    <a:pt x="707821" y="3228588"/>
                  </a:moveTo>
                  <a:lnTo>
                    <a:pt x="437409" y="3499699"/>
                  </a:lnTo>
                  <a:lnTo>
                    <a:pt x="570170" y="3631761"/>
                  </a:lnTo>
                  <a:lnTo>
                    <a:pt x="708520" y="3769413"/>
                  </a:lnTo>
                  <a:lnTo>
                    <a:pt x="972643" y="3769413"/>
                  </a:lnTo>
                  <a:lnTo>
                    <a:pt x="701533" y="3499001"/>
                  </a:lnTo>
                  <a:lnTo>
                    <a:pt x="971945" y="3228588"/>
                  </a:lnTo>
                  <a:close/>
                  <a:moveTo>
                    <a:pt x="1256332" y="3227890"/>
                  </a:moveTo>
                  <a:lnTo>
                    <a:pt x="985920" y="3499001"/>
                  </a:lnTo>
                  <a:lnTo>
                    <a:pt x="1257031" y="3769413"/>
                  </a:lnTo>
                  <a:lnTo>
                    <a:pt x="1521154" y="3768713"/>
                  </a:lnTo>
                  <a:lnTo>
                    <a:pt x="1250043" y="3498302"/>
                  </a:lnTo>
                  <a:lnTo>
                    <a:pt x="1434510" y="3313835"/>
                  </a:lnTo>
                  <a:lnTo>
                    <a:pt x="1520455" y="3227890"/>
                  </a:lnTo>
                  <a:close/>
                  <a:moveTo>
                    <a:pt x="1804143" y="3227192"/>
                  </a:moveTo>
                  <a:lnTo>
                    <a:pt x="1623869" y="3408165"/>
                  </a:lnTo>
                  <a:lnTo>
                    <a:pt x="1534430" y="3498302"/>
                  </a:lnTo>
                  <a:lnTo>
                    <a:pt x="1668588" y="3631761"/>
                  </a:lnTo>
                  <a:lnTo>
                    <a:pt x="1805541" y="3768713"/>
                  </a:lnTo>
                  <a:lnTo>
                    <a:pt x="2069664" y="3768015"/>
                  </a:lnTo>
                  <a:lnTo>
                    <a:pt x="1798553" y="3497603"/>
                  </a:lnTo>
                  <a:lnTo>
                    <a:pt x="1799951" y="3496206"/>
                  </a:lnTo>
                  <a:lnTo>
                    <a:pt x="2068266" y="3227192"/>
                  </a:lnTo>
                  <a:close/>
                  <a:moveTo>
                    <a:pt x="2353352" y="3226492"/>
                  </a:moveTo>
                  <a:lnTo>
                    <a:pt x="2082940" y="3497603"/>
                  </a:lnTo>
                  <a:lnTo>
                    <a:pt x="2354051" y="3768015"/>
                  </a:lnTo>
                  <a:lnTo>
                    <a:pt x="2618174" y="3768015"/>
                  </a:lnTo>
                  <a:lnTo>
                    <a:pt x="2347064" y="3497603"/>
                  </a:lnTo>
                  <a:lnTo>
                    <a:pt x="2617476" y="3226492"/>
                  </a:lnTo>
                  <a:close/>
                  <a:moveTo>
                    <a:pt x="3449674" y="3225095"/>
                  </a:moveTo>
                  <a:lnTo>
                    <a:pt x="3179262" y="3496206"/>
                  </a:lnTo>
                  <a:lnTo>
                    <a:pt x="3450373" y="3766618"/>
                  </a:lnTo>
                  <a:lnTo>
                    <a:pt x="3714496" y="3766618"/>
                  </a:lnTo>
                  <a:lnTo>
                    <a:pt x="3443385" y="3496206"/>
                  </a:lnTo>
                  <a:lnTo>
                    <a:pt x="3713797" y="3225095"/>
                  </a:lnTo>
                  <a:close/>
                  <a:moveTo>
                    <a:pt x="3998184" y="3224396"/>
                  </a:moveTo>
                  <a:lnTo>
                    <a:pt x="3727772" y="3495507"/>
                  </a:lnTo>
                  <a:lnTo>
                    <a:pt x="3998883" y="3765919"/>
                  </a:lnTo>
                  <a:lnTo>
                    <a:pt x="4263007" y="3765220"/>
                  </a:lnTo>
                  <a:lnTo>
                    <a:pt x="3991896" y="3494808"/>
                  </a:lnTo>
                  <a:lnTo>
                    <a:pt x="4176362" y="3310341"/>
                  </a:lnTo>
                  <a:lnTo>
                    <a:pt x="4177062" y="3310341"/>
                  </a:lnTo>
                  <a:lnTo>
                    <a:pt x="4262309" y="3224396"/>
                  </a:lnTo>
                  <a:close/>
                  <a:moveTo>
                    <a:pt x="5367927" y="3223826"/>
                  </a:moveTo>
                  <a:lnTo>
                    <a:pt x="5097515" y="3494937"/>
                  </a:lnTo>
                  <a:lnTo>
                    <a:pt x="5230276" y="3626999"/>
                  </a:lnTo>
                  <a:lnTo>
                    <a:pt x="5368626" y="3764651"/>
                  </a:lnTo>
                  <a:lnTo>
                    <a:pt x="5632749" y="3764651"/>
                  </a:lnTo>
                  <a:lnTo>
                    <a:pt x="5361639" y="3494239"/>
                  </a:lnTo>
                  <a:lnTo>
                    <a:pt x="5632051" y="3223826"/>
                  </a:lnTo>
                  <a:close/>
                  <a:moveTo>
                    <a:pt x="4546696" y="3223697"/>
                  </a:moveTo>
                  <a:lnTo>
                    <a:pt x="4366420" y="3404671"/>
                  </a:lnTo>
                  <a:lnTo>
                    <a:pt x="4365722" y="3404671"/>
                  </a:lnTo>
                  <a:lnTo>
                    <a:pt x="4276283" y="3494808"/>
                  </a:lnTo>
                  <a:lnTo>
                    <a:pt x="4410440" y="3628267"/>
                  </a:lnTo>
                  <a:lnTo>
                    <a:pt x="4547394" y="3765220"/>
                  </a:lnTo>
                  <a:lnTo>
                    <a:pt x="4809493" y="3765220"/>
                  </a:lnTo>
                  <a:lnTo>
                    <a:pt x="4660106" y="3616519"/>
                  </a:lnTo>
                  <a:lnTo>
                    <a:pt x="4660106" y="3614199"/>
                  </a:lnTo>
                  <a:lnTo>
                    <a:pt x="4540406" y="3494808"/>
                  </a:lnTo>
                  <a:lnTo>
                    <a:pt x="4542503" y="3493410"/>
                  </a:lnTo>
                  <a:lnTo>
                    <a:pt x="4660106" y="3374886"/>
                  </a:lnTo>
                  <a:lnTo>
                    <a:pt x="4660106" y="3371259"/>
                  </a:lnTo>
                  <a:lnTo>
                    <a:pt x="4808350" y="3223697"/>
                  </a:lnTo>
                  <a:close/>
                  <a:moveTo>
                    <a:pt x="5916438" y="3223128"/>
                  </a:moveTo>
                  <a:lnTo>
                    <a:pt x="5646026" y="3494239"/>
                  </a:lnTo>
                  <a:lnTo>
                    <a:pt x="5917138" y="3764651"/>
                  </a:lnTo>
                  <a:lnTo>
                    <a:pt x="6181261" y="3763951"/>
                  </a:lnTo>
                  <a:lnTo>
                    <a:pt x="5910149" y="3493540"/>
                  </a:lnTo>
                  <a:lnTo>
                    <a:pt x="6094616" y="3309073"/>
                  </a:lnTo>
                  <a:lnTo>
                    <a:pt x="6180561" y="3223128"/>
                  </a:lnTo>
                  <a:close/>
                  <a:moveTo>
                    <a:pt x="4821874" y="3223128"/>
                  </a:moveTo>
                  <a:lnTo>
                    <a:pt x="4554381" y="3491315"/>
                  </a:lnTo>
                  <a:lnTo>
                    <a:pt x="4815332" y="3491315"/>
                  </a:lnTo>
                  <a:lnTo>
                    <a:pt x="4996199" y="3309073"/>
                  </a:lnTo>
                  <a:lnTo>
                    <a:pt x="5082144" y="3223128"/>
                  </a:lnTo>
                  <a:close/>
                  <a:moveTo>
                    <a:pt x="6464250" y="3222430"/>
                  </a:moveTo>
                  <a:lnTo>
                    <a:pt x="6283976" y="3403403"/>
                  </a:lnTo>
                  <a:lnTo>
                    <a:pt x="6194536" y="3493540"/>
                  </a:lnTo>
                  <a:lnTo>
                    <a:pt x="6328695" y="3626999"/>
                  </a:lnTo>
                  <a:lnTo>
                    <a:pt x="6465647" y="3763951"/>
                  </a:lnTo>
                  <a:lnTo>
                    <a:pt x="6729770" y="3763253"/>
                  </a:lnTo>
                  <a:lnTo>
                    <a:pt x="6458659" y="3492841"/>
                  </a:lnTo>
                  <a:lnTo>
                    <a:pt x="6460057" y="3491444"/>
                  </a:lnTo>
                  <a:lnTo>
                    <a:pt x="6728373" y="3222430"/>
                  </a:lnTo>
                  <a:close/>
                  <a:moveTo>
                    <a:pt x="7013458" y="3221730"/>
                  </a:moveTo>
                  <a:lnTo>
                    <a:pt x="6743046" y="3492841"/>
                  </a:lnTo>
                  <a:lnTo>
                    <a:pt x="7014157" y="3763253"/>
                  </a:lnTo>
                  <a:lnTo>
                    <a:pt x="7278280" y="3763253"/>
                  </a:lnTo>
                  <a:lnTo>
                    <a:pt x="7007170" y="3492841"/>
                  </a:lnTo>
                  <a:lnTo>
                    <a:pt x="7277582" y="3221730"/>
                  </a:lnTo>
                  <a:close/>
                  <a:moveTo>
                    <a:pt x="10028344" y="3220651"/>
                  </a:moveTo>
                  <a:lnTo>
                    <a:pt x="9757932" y="3491762"/>
                  </a:lnTo>
                  <a:lnTo>
                    <a:pt x="9890693" y="3623824"/>
                  </a:lnTo>
                  <a:lnTo>
                    <a:pt x="10029043" y="3761476"/>
                  </a:lnTo>
                  <a:lnTo>
                    <a:pt x="10293166" y="3761476"/>
                  </a:lnTo>
                  <a:lnTo>
                    <a:pt x="10022056" y="3491064"/>
                  </a:lnTo>
                  <a:lnTo>
                    <a:pt x="10292468" y="3220651"/>
                  </a:lnTo>
                  <a:close/>
                  <a:moveTo>
                    <a:pt x="8109780" y="3220333"/>
                  </a:moveTo>
                  <a:lnTo>
                    <a:pt x="7839368" y="3491444"/>
                  </a:lnTo>
                  <a:lnTo>
                    <a:pt x="8110479" y="3761856"/>
                  </a:lnTo>
                  <a:lnTo>
                    <a:pt x="8374602" y="3761856"/>
                  </a:lnTo>
                  <a:lnTo>
                    <a:pt x="8103491" y="3491444"/>
                  </a:lnTo>
                  <a:lnTo>
                    <a:pt x="8373903" y="3220333"/>
                  </a:lnTo>
                  <a:close/>
                  <a:moveTo>
                    <a:pt x="10576855" y="3219953"/>
                  </a:moveTo>
                  <a:lnTo>
                    <a:pt x="10306443" y="3491064"/>
                  </a:lnTo>
                  <a:lnTo>
                    <a:pt x="10577554" y="3761476"/>
                  </a:lnTo>
                  <a:lnTo>
                    <a:pt x="10841677" y="3760776"/>
                  </a:lnTo>
                  <a:lnTo>
                    <a:pt x="10570566" y="3490365"/>
                  </a:lnTo>
                  <a:lnTo>
                    <a:pt x="10755033" y="3305898"/>
                  </a:lnTo>
                  <a:lnTo>
                    <a:pt x="10840978" y="3219953"/>
                  </a:lnTo>
                  <a:close/>
                  <a:moveTo>
                    <a:pt x="9480397" y="3219953"/>
                  </a:moveTo>
                  <a:lnTo>
                    <a:pt x="9214487" y="3486553"/>
                  </a:lnTo>
                  <a:lnTo>
                    <a:pt x="9477324" y="3486553"/>
                  </a:lnTo>
                  <a:lnTo>
                    <a:pt x="9656616" y="3305898"/>
                  </a:lnTo>
                  <a:lnTo>
                    <a:pt x="9742561" y="3219953"/>
                  </a:lnTo>
                  <a:close/>
                  <a:moveTo>
                    <a:pt x="8658290" y="3219635"/>
                  </a:moveTo>
                  <a:lnTo>
                    <a:pt x="8387878" y="3490745"/>
                  </a:lnTo>
                  <a:lnTo>
                    <a:pt x="8658989" y="3761157"/>
                  </a:lnTo>
                  <a:lnTo>
                    <a:pt x="8923113" y="3760458"/>
                  </a:lnTo>
                  <a:lnTo>
                    <a:pt x="8652002" y="3490046"/>
                  </a:lnTo>
                  <a:lnTo>
                    <a:pt x="8836468" y="3305579"/>
                  </a:lnTo>
                  <a:lnTo>
                    <a:pt x="8837168" y="3305579"/>
                  </a:lnTo>
                  <a:lnTo>
                    <a:pt x="8922414" y="3219635"/>
                  </a:lnTo>
                  <a:close/>
                  <a:moveTo>
                    <a:pt x="11124666" y="3219256"/>
                  </a:moveTo>
                  <a:lnTo>
                    <a:pt x="10944392" y="3400228"/>
                  </a:lnTo>
                  <a:lnTo>
                    <a:pt x="10854953" y="3490365"/>
                  </a:lnTo>
                  <a:lnTo>
                    <a:pt x="10989111" y="3623824"/>
                  </a:lnTo>
                  <a:lnTo>
                    <a:pt x="11126064" y="3760776"/>
                  </a:lnTo>
                  <a:lnTo>
                    <a:pt x="11390187" y="3760078"/>
                  </a:lnTo>
                  <a:lnTo>
                    <a:pt x="11119076" y="3489666"/>
                  </a:lnTo>
                  <a:lnTo>
                    <a:pt x="11120474" y="3488269"/>
                  </a:lnTo>
                  <a:lnTo>
                    <a:pt x="11388789" y="3219256"/>
                  </a:lnTo>
                  <a:close/>
                  <a:moveTo>
                    <a:pt x="9206801" y="3218935"/>
                  </a:moveTo>
                  <a:lnTo>
                    <a:pt x="9026526" y="3399909"/>
                  </a:lnTo>
                  <a:lnTo>
                    <a:pt x="9025828" y="3399909"/>
                  </a:lnTo>
                  <a:lnTo>
                    <a:pt x="8936388" y="3490046"/>
                  </a:lnTo>
                  <a:lnTo>
                    <a:pt x="9070546" y="3623505"/>
                  </a:lnTo>
                  <a:lnTo>
                    <a:pt x="9207500" y="3760458"/>
                  </a:lnTo>
                  <a:lnTo>
                    <a:pt x="9468315" y="3760458"/>
                  </a:lnTo>
                  <a:lnTo>
                    <a:pt x="9320523" y="3613344"/>
                  </a:lnTo>
                  <a:lnTo>
                    <a:pt x="9320523" y="3609748"/>
                  </a:lnTo>
                  <a:lnTo>
                    <a:pt x="9200512" y="3490046"/>
                  </a:lnTo>
                  <a:lnTo>
                    <a:pt x="9202609" y="3488648"/>
                  </a:lnTo>
                  <a:lnTo>
                    <a:pt x="9320523" y="3369810"/>
                  </a:lnTo>
                  <a:lnTo>
                    <a:pt x="9320523" y="3368084"/>
                  </a:lnTo>
                  <a:lnTo>
                    <a:pt x="9459449" y="3229795"/>
                  </a:lnTo>
                  <a:lnTo>
                    <a:pt x="9470225" y="3218935"/>
                  </a:lnTo>
                  <a:close/>
                  <a:moveTo>
                    <a:pt x="11673875" y="3218555"/>
                  </a:moveTo>
                  <a:lnTo>
                    <a:pt x="11403463" y="3489666"/>
                  </a:lnTo>
                  <a:lnTo>
                    <a:pt x="11674574" y="3760078"/>
                  </a:lnTo>
                  <a:lnTo>
                    <a:pt x="11938697" y="3760078"/>
                  </a:lnTo>
                  <a:lnTo>
                    <a:pt x="11667587" y="3489666"/>
                  </a:lnTo>
                  <a:lnTo>
                    <a:pt x="11937999" y="3218555"/>
                  </a:lnTo>
                  <a:close/>
                  <a:moveTo>
                    <a:pt x="1263319" y="2953984"/>
                  </a:moveTo>
                  <a:lnTo>
                    <a:pt x="1534430" y="3223697"/>
                  </a:lnTo>
                  <a:lnTo>
                    <a:pt x="1531636" y="3226492"/>
                  </a:lnTo>
                  <a:lnTo>
                    <a:pt x="1441498" y="3317328"/>
                  </a:lnTo>
                  <a:lnTo>
                    <a:pt x="1264018" y="3494808"/>
                  </a:lnTo>
                  <a:lnTo>
                    <a:pt x="1528141" y="3494808"/>
                  </a:lnTo>
                  <a:lnTo>
                    <a:pt x="1617580" y="3405369"/>
                  </a:lnTo>
                  <a:lnTo>
                    <a:pt x="1798553" y="3224396"/>
                  </a:lnTo>
                  <a:lnTo>
                    <a:pt x="1527442" y="2953984"/>
                  </a:lnTo>
                  <a:close/>
                  <a:moveTo>
                    <a:pt x="714809" y="2953984"/>
                  </a:moveTo>
                  <a:lnTo>
                    <a:pt x="843377" y="3082552"/>
                  </a:lnTo>
                  <a:lnTo>
                    <a:pt x="985221" y="3224396"/>
                  </a:lnTo>
                  <a:lnTo>
                    <a:pt x="714809" y="3495507"/>
                  </a:lnTo>
                  <a:lnTo>
                    <a:pt x="978932" y="3495507"/>
                  </a:lnTo>
                  <a:lnTo>
                    <a:pt x="1249344" y="3224396"/>
                  </a:lnTo>
                  <a:lnTo>
                    <a:pt x="1244453" y="3219505"/>
                  </a:lnTo>
                  <a:lnTo>
                    <a:pt x="978932" y="2953984"/>
                  </a:lnTo>
                  <a:close/>
                  <a:moveTo>
                    <a:pt x="164902" y="2953984"/>
                  </a:moveTo>
                  <a:lnTo>
                    <a:pt x="436013" y="3223697"/>
                  </a:lnTo>
                  <a:lnTo>
                    <a:pt x="433217" y="3226492"/>
                  </a:lnTo>
                  <a:lnTo>
                    <a:pt x="343079" y="3317328"/>
                  </a:lnTo>
                  <a:lnTo>
                    <a:pt x="165601" y="3494808"/>
                  </a:lnTo>
                  <a:lnTo>
                    <a:pt x="429724" y="3494808"/>
                  </a:lnTo>
                  <a:lnTo>
                    <a:pt x="519162" y="3405369"/>
                  </a:lnTo>
                  <a:lnTo>
                    <a:pt x="700136" y="3224396"/>
                  </a:lnTo>
                  <a:lnTo>
                    <a:pt x="429025" y="2953984"/>
                  </a:lnTo>
                  <a:close/>
                  <a:moveTo>
                    <a:pt x="2908151" y="2953285"/>
                  </a:moveTo>
                  <a:lnTo>
                    <a:pt x="3179262" y="3223697"/>
                  </a:lnTo>
                  <a:lnTo>
                    <a:pt x="2908850" y="3494808"/>
                  </a:lnTo>
                  <a:lnTo>
                    <a:pt x="3107292" y="3494808"/>
                  </a:lnTo>
                  <a:lnTo>
                    <a:pt x="3103798" y="3501795"/>
                  </a:lnTo>
                  <a:lnTo>
                    <a:pt x="2908850" y="3501795"/>
                  </a:lnTo>
                  <a:lnTo>
                    <a:pt x="3038815" y="3631761"/>
                  </a:lnTo>
                  <a:lnTo>
                    <a:pt x="3035322" y="3638748"/>
                  </a:lnTo>
                  <a:lnTo>
                    <a:pt x="2894875" y="3498302"/>
                  </a:lnTo>
                  <a:lnTo>
                    <a:pt x="3165287" y="3227192"/>
                  </a:lnTo>
                  <a:lnTo>
                    <a:pt x="2901164" y="3227192"/>
                  </a:lnTo>
                  <a:lnTo>
                    <a:pt x="2630752" y="3498302"/>
                  </a:lnTo>
                  <a:lnTo>
                    <a:pt x="2901863" y="3768713"/>
                  </a:lnTo>
                  <a:lnTo>
                    <a:pt x="2970339" y="3768713"/>
                  </a:lnTo>
                  <a:lnTo>
                    <a:pt x="2966846" y="3775701"/>
                  </a:lnTo>
                  <a:lnTo>
                    <a:pt x="2901863" y="3775701"/>
                  </a:lnTo>
                  <a:lnTo>
                    <a:pt x="2721588" y="3956675"/>
                  </a:lnTo>
                  <a:lnTo>
                    <a:pt x="2633317" y="4045637"/>
                  </a:lnTo>
                  <a:lnTo>
                    <a:pt x="2902751" y="4314377"/>
                  </a:lnTo>
                  <a:lnTo>
                    <a:pt x="3165477" y="4314377"/>
                  </a:lnTo>
                  <a:lnTo>
                    <a:pt x="3036210" y="4185111"/>
                  </a:lnTo>
                  <a:lnTo>
                    <a:pt x="3036909" y="4184412"/>
                  </a:lnTo>
                  <a:lnTo>
                    <a:pt x="2942163" y="4090134"/>
                  </a:lnTo>
                  <a:lnTo>
                    <a:pt x="2940992" y="4090134"/>
                  </a:lnTo>
                  <a:lnTo>
                    <a:pt x="2896273" y="4045415"/>
                  </a:lnTo>
                  <a:lnTo>
                    <a:pt x="2896745" y="4044942"/>
                  </a:lnTo>
                  <a:lnTo>
                    <a:pt x="2895764" y="4043965"/>
                  </a:lnTo>
                  <a:lnTo>
                    <a:pt x="3070448" y="3868581"/>
                  </a:lnTo>
                  <a:lnTo>
                    <a:pt x="3072651" y="3868581"/>
                  </a:lnTo>
                  <a:lnTo>
                    <a:pt x="3165986" y="3775003"/>
                  </a:lnTo>
                  <a:lnTo>
                    <a:pt x="2967543" y="3775003"/>
                  </a:lnTo>
                  <a:lnTo>
                    <a:pt x="2971038" y="3768015"/>
                  </a:lnTo>
                  <a:lnTo>
                    <a:pt x="3165986" y="3768015"/>
                  </a:lnTo>
                  <a:lnTo>
                    <a:pt x="3036021" y="3638050"/>
                  </a:lnTo>
                  <a:lnTo>
                    <a:pt x="3039514" y="3631063"/>
                  </a:lnTo>
                  <a:lnTo>
                    <a:pt x="3179961" y="3771509"/>
                  </a:lnTo>
                  <a:lnTo>
                    <a:pt x="2912388" y="4039773"/>
                  </a:lnTo>
                  <a:lnTo>
                    <a:pt x="3173163" y="4039773"/>
                  </a:lnTo>
                  <a:lnTo>
                    <a:pt x="3262601" y="3950334"/>
                  </a:lnTo>
                  <a:lnTo>
                    <a:pt x="3344354" y="3868581"/>
                  </a:lnTo>
                  <a:lnTo>
                    <a:pt x="3347262" y="3868581"/>
                  </a:lnTo>
                  <a:lnTo>
                    <a:pt x="3444084" y="3771509"/>
                  </a:lnTo>
                  <a:lnTo>
                    <a:pt x="3172973" y="3501795"/>
                  </a:lnTo>
                  <a:lnTo>
                    <a:pt x="3104497" y="3501795"/>
                  </a:lnTo>
                  <a:lnTo>
                    <a:pt x="3107990" y="3494808"/>
                  </a:lnTo>
                  <a:lnTo>
                    <a:pt x="3172973" y="3494808"/>
                  </a:lnTo>
                  <a:lnTo>
                    <a:pt x="3443385" y="3223697"/>
                  </a:lnTo>
                  <a:lnTo>
                    <a:pt x="3309227" y="3090238"/>
                  </a:lnTo>
                  <a:lnTo>
                    <a:pt x="3172275" y="2953285"/>
                  </a:lnTo>
                  <a:close/>
                  <a:moveTo>
                    <a:pt x="1811829" y="2952586"/>
                  </a:moveTo>
                  <a:lnTo>
                    <a:pt x="1941795" y="3082552"/>
                  </a:lnTo>
                  <a:lnTo>
                    <a:pt x="2082940" y="3222998"/>
                  </a:lnTo>
                  <a:lnTo>
                    <a:pt x="1812528" y="3494109"/>
                  </a:lnTo>
                  <a:lnTo>
                    <a:pt x="2076652" y="3494109"/>
                  </a:lnTo>
                  <a:lnTo>
                    <a:pt x="2347064" y="3222998"/>
                  </a:lnTo>
                  <a:lnTo>
                    <a:pt x="2075953" y="2952586"/>
                  </a:lnTo>
                  <a:close/>
                  <a:moveTo>
                    <a:pt x="2360340" y="2951889"/>
                  </a:moveTo>
                  <a:lnTo>
                    <a:pt x="2631451" y="3222301"/>
                  </a:lnTo>
                  <a:lnTo>
                    <a:pt x="2361039" y="3493410"/>
                  </a:lnTo>
                  <a:lnTo>
                    <a:pt x="2625162" y="3493410"/>
                  </a:lnTo>
                  <a:lnTo>
                    <a:pt x="2895574" y="3222301"/>
                  </a:lnTo>
                  <a:lnTo>
                    <a:pt x="2624463" y="2951889"/>
                  </a:lnTo>
                  <a:close/>
                  <a:moveTo>
                    <a:pt x="4005871" y="2951190"/>
                  </a:moveTo>
                  <a:lnTo>
                    <a:pt x="4275584" y="3220204"/>
                  </a:lnTo>
                  <a:lnTo>
                    <a:pt x="4272789" y="3222998"/>
                  </a:lnTo>
                  <a:lnTo>
                    <a:pt x="4182652" y="3313835"/>
                  </a:lnTo>
                  <a:lnTo>
                    <a:pt x="4181952" y="3313835"/>
                  </a:lnTo>
                  <a:lnTo>
                    <a:pt x="4005172" y="3491315"/>
                  </a:lnTo>
                  <a:lnTo>
                    <a:pt x="4269296" y="3491315"/>
                  </a:lnTo>
                  <a:lnTo>
                    <a:pt x="4358734" y="3401876"/>
                  </a:lnTo>
                  <a:lnTo>
                    <a:pt x="4359432" y="3401876"/>
                  </a:lnTo>
                  <a:lnTo>
                    <a:pt x="4541105" y="3221602"/>
                  </a:lnTo>
                  <a:lnTo>
                    <a:pt x="4269994" y="2951190"/>
                  </a:lnTo>
                  <a:close/>
                  <a:moveTo>
                    <a:pt x="3457360" y="2951190"/>
                  </a:moveTo>
                  <a:lnTo>
                    <a:pt x="3458059" y="2951889"/>
                  </a:lnTo>
                  <a:lnTo>
                    <a:pt x="3458758" y="2951889"/>
                  </a:lnTo>
                  <a:lnTo>
                    <a:pt x="3727772" y="3220903"/>
                  </a:lnTo>
                  <a:lnTo>
                    <a:pt x="3457360" y="3492014"/>
                  </a:lnTo>
                  <a:lnTo>
                    <a:pt x="3721484" y="3492014"/>
                  </a:lnTo>
                  <a:lnTo>
                    <a:pt x="3991896" y="3221602"/>
                  </a:lnTo>
                  <a:lnTo>
                    <a:pt x="3987005" y="3216011"/>
                  </a:lnTo>
                  <a:lnTo>
                    <a:pt x="3721484" y="2951190"/>
                  </a:lnTo>
                  <a:close/>
                  <a:moveTo>
                    <a:pt x="4554381" y="2949792"/>
                  </a:moveTo>
                  <a:lnTo>
                    <a:pt x="4684346" y="3079757"/>
                  </a:lnTo>
                  <a:lnTo>
                    <a:pt x="4820732" y="3216141"/>
                  </a:lnTo>
                  <a:lnTo>
                    <a:pt x="5082144" y="3216141"/>
                  </a:lnTo>
                  <a:lnTo>
                    <a:pt x="4815107" y="2949792"/>
                  </a:lnTo>
                  <a:close/>
                  <a:moveTo>
                    <a:pt x="5923425" y="2949222"/>
                  </a:moveTo>
                  <a:lnTo>
                    <a:pt x="6194536" y="3218935"/>
                  </a:lnTo>
                  <a:lnTo>
                    <a:pt x="6191742" y="3221730"/>
                  </a:lnTo>
                  <a:lnTo>
                    <a:pt x="6101604" y="3312566"/>
                  </a:lnTo>
                  <a:lnTo>
                    <a:pt x="5924124" y="3490046"/>
                  </a:lnTo>
                  <a:lnTo>
                    <a:pt x="6188247" y="3490046"/>
                  </a:lnTo>
                  <a:lnTo>
                    <a:pt x="6277687" y="3400607"/>
                  </a:lnTo>
                  <a:lnTo>
                    <a:pt x="6458659" y="3219635"/>
                  </a:lnTo>
                  <a:lnTo>
                    <a:pt x="6187548" y="2949222"/>
                  </a:lnTo>
                  <a:close/>
                  <a:moveTo>
                    <a:pt x="5374915" y="2949222"/>
                  </a:moveTo>
                  <a:lnTo>
                    <a:pt x="5503483" y="3077790"/>
                  </a:lnTo>
                  <a:lnTo>
                    <a:pt x="5645327" y="3219635"/>
                  </a:lnTo>
                  <a:lnTo>
                    <a:pt x="5374915" y="3490745"/>
                  </a:lnTo>
                  <a:lnTo>
                    <a:pt x="5639038" y="3490745"/>
                  </a:lnTo>
                  <a:lnTo>
                    <a:pt x="5909450" y="3219635"/>
                  </a:lnTo>
                  <a:lnTo>
                    <a:pt x="5904559" y="3214743"/>
                  </a:lnTo>
                  <a:lnTo>
                    <a:pt x="5639038" y="2949222"/>
                  </a:lnTo>
                  <a:close/>
                  <a:moveTo>
                    <a:pt x="4825009" y="2949222"/>
                  </a:moveTo>
                  <a:lnTo>
                    <a:pt x="5096119" y="3218935"/>
                  </a:lnTo>
                  <a:lnTo>
                    <a:pt x="5093323" y="3221730"/>
                  </a:lnTo>
                  <a:lnTo>
                    <a:pt x="5003186" y="3312566"/>
                  </a:lnTo>
                  <a:lnTo>
                    <a:pt x="4825707" y="3490046"/>
                  </a:lnTo>
                  <a:lnTo>
                    <a:pt x="5089830" y="3490046"/>
                  </a:lnTo>
                  <a:lnTo>
                    <a:pt x="5179268" y="3400607"/>
                  </a:lnTo>
                  <a:lnTo>
                    <a:pt x="5360242" y="3219635"/>
                  </a:lnTo>
                  <a:lnTo>
                    <a:pt x="5089132" y="2949222"/>
                  </a:lnTo>
                  <a:close/>
                  <a:moveTo>
                    <a:pt x="7568257" y="2948523"/>
                  </a:moveTo>
                  <a:lnTo>
                    <a:pt x="7839368" y="3218935"/>
                  </a:lnTo>
                  <a:lnTo>
                    <a:pt x="7568956" y="3490046"/>
                  </a:lnTo>
                  <a:lnTo>
                    <a:pt x="7767398" y="3490046"/>
                  </a:lnTo>
                  <a:lnTo>
                    <a:pt x="7763904" y="3497033"/>
                  </a:lnTo>
                  <a:lnTo>
                    <a:pt x="7568956" y="3497033"/>
                  </a:lnTo>
                  <a:lnTo>
                    <a:pt x="7698921" y="3626999"/>
                  </a:lnTo>
                  <a:lnTo>
                    <a:pt x="7695428" y="3633986"/>
                  </a:lnTo>
                  <a:lnTo>
                    <a:pt x="7554981" y="3493540"/>
                  </a:lnTo>
                  <a:lnTo>
                    <a:pt x="7825393" y="3222430"/>
                  </a:lnTo>
                  <a:lnTo>
                    <a:pt x="7561270" y="3222430"/>
                  </a:lnTo>
                  <a:lnTo>
                    <a:pt x="7290858" y="3493540"/>
                  </a:lnTo>
                  <a:lnTo>
                    <a:pt x="7561969" y="3763951"/>
                  </a:lnTo>
                  <a:lnTo>
                    <a:pt x="7630445" y="3763951"/>
                  </a:lnTo>
                  <a:lnTo>
                    <a:pt x="7626952" y="3770939"/>
                  </a:lnTo>
                  <a:lnTo>
                    <a:pt x="7561969" y="3770939"/>
                  </a:lnTo>
                  <a:lnTo>
                    <a:pt x="7381694" y="3951913"/>
                  </a:lnTo>
                  <a:lnTo>
                    <a:pt x="7293423" y="4040875"/>
                  </a:lnTo>
                  <a:lnTo>
                    <a:pt x="7562857" y="4309615"/>
                  </a:lnTo>
                  <a:lnTo>
                    <a:pt x="7825583" y="4309615"/>
                  </a:lnTo>
                  <a:lnTo>
                    <a:pt x="7696316" y="4180349"/>
                  </a:lnTo>
                  <a:lnTo>
                    <a:pt x="7697015" y="4179650"/>
                  </a:lnTo>
                  <a:lnTo>
                    <a:pt x="7602269" y="4085372"/>
                  </a:lnTo>
                  <a:lnTo>
                    <a:pt x="7601098" y="4085372"/>
                  </a:lnTo>
                  <a:lnTo>
                    <a:pt x="7556379" y="4040653"/>
                  </a:lnTo>
                  <a:lnTo>
                    <a:pt x="7556851" y="4040180"/>
                  </a:lnTo>
                  <a:lnTo>
                    <a:pt x="7555870" y="4039203"/>
                  </a:lnTo>
                  <a:lnTo>
                    <a:pt x="7730554" y="3863819"/>
                  </a:lnTo>
                  <a:lnTo>
                    <a:pt x="7732757" y="3863819"/>
                  </a:lnTo>
                  <a:lnTo>
                    <a:pt x="7826092" y="3770241"/>
                  </a:lnTo>
                  <a:lnTo>
                    <a:pt x="7627649" y="3770241"/>
                  </a:lnTo>
                  <a:lnTo>
                    <a:pt x="7631144" y="3763253"/>
                  </a:lnTo>
                  <a:lnTo>
                    <a:pt x="7826092" y="3763253"/>
                  </a:lnTo>
                  <a:lnTo>
                    <a:pt x="7696127" y="3633288"/>
                  </a:lnTo>
                  <a:lnTo>
                    <a:pt x="7699620" y="3626301"/>
                  </a:lnTo>
                  <a:lnTo>
                    <a:pt x="7840067" y="3766747"/>
                  </a:lnTo>
                  <a:lnTo>
                    <a:pt x="7572494" y="4035011"/>
                  </a:lnTo>
                  <a:lnTo>
                    <a:pt x="7833269" y="4035011"/>
                  </a:lnTo>
                  <a:lnTo>
                    <a:pt x="7922707" y="3945572"/>
                  </a:lnTo>
                  <a:lnTo>
                    <a:pt x="8004460" y="3863819"/>
                  </a:lnTo>
                  <a:lnTo>
                    <a:pt x="8007368" y="3863819"/>
                  </a:lnTo>
                  <a:lnTo>
                    <a:pt x="8104190" y="3766747"/>
                  </a:lnTo>
                  <a:lnTo>
                    <a:pt x="7833079" y="3497033"/>
                  </a:lnTo>
                  <a:lnTo>
                    <a:pt x="7764603" y="3497033"/>
                  </a:lnTo>
                  <a:lnTo>
                    <a:pt x="7768096" y="3490046"/>
                  </a:lnTo>
                  <a:lnTo>
                    <a:pt x="7833079" y="3490046"/>
                  </a:lnTo>
                  <a:lnTo>
                    <a:pt x="8103491" y="3218935"/>
                  </a:lnTo>
                  <a:lnTo>
                    <a:pt x="7969333" y="3085476"/>
                  </a:lnTo>
                  <a:lnTo>
                    <a:pt x="7832381" y="2948523"/>
                  </a:lnTo>
                  <a:close/>
                  <a:moveTo>
                    <a:pt x="6471935" y="2947824"/>
                  </a:moveTo>
                  <a:lnTo>
                    <a:pt x="6601902" y="3077790"/>
                  </a:lnTo>
                  <a:lnTo>
                    <a:pt x="6743046" y="3218236"/>
                  </a:lnTo>
                  <a:lnTo>
                    <a:pt x="6472634" y="3489347"/>
                  </a:lnTo>
                  <a:lnTo>
                    <a:pt x="6736759" y="3489347"/>
                  </a:lnTo>
                  <a:lnTo>
                    <a:pt x="7007170" y="3218236"/>
                  </a:lnTo>
                  <a:lnTo>
                    <a:pt x="6736059" y="2947824"/>
                  </a:lnTo>
                  <a:close/>
                  <a:moveTo>
                    <a:pt x="7020446" y="2947127"/>
                  </a:moveTo>
                  <a:lnTo>
                    <a:pt x="7291557" y="3217539"/>
                  </a:lnTo>
                  <a:lnTo>
                    <a:pt x="7021145" y="3488648"/>
                  </a:lnTo>
                  <a:lnTo>
                    <a:pt x="7285268" y="3488648"/>
                  </a:lnTo>
                  <a:lnTo>
                    <a:pt x="7555680" y="3217539"/>
                  </a:lnTo>
                  <a:lnTo>
                    <a:pt x="7284569" y="2947127"/>
                  </a:lnTo>
                  <a:close/>
                  <a:moveTo>
                    <a:pt x="8665977" y="2946428"/>
                  </a:moveTo>
                  <a:lnTo>
                    <a:pt x="8935690" y="3215442"/>
                  </a:lnTo>
                  <a:lnTo>
                    <a:pt x="8932895" y="3218236"/>
                  </a:lnTo>
                  <a:lnTo>
                    <a:pt x="8842758" y="3309073"/>
                  </a:lnTo>
                  <a:lnTo>
                    <a:pt x="8842058" y="3309073"/>
                  </a:lnTo>
                  <a:lnTo>
                    <a:pt x="8665278" y="3486553"/>
                  </a:lnTo>
                  <a:lnTo>
                    <a:pt x="8929401" y="3486553"/>
                  </a:lnTo>
                  <a:lnTo>
                    <a:pt x="9018840" y="3397114"/>
                  </a:lnTo>
                  <a:lnTo>
                    <a:pt x="9019538" y="3397114"/>
                  </a:lnTo>
                  <a:lnTo>
                    <a:pt x="9201211" y="3216840"/>
                  </a:lnTo>
                  <a:lnTo>
                    <a:pt x="8930100" y="2946428"/>
                  </a:lnTo>
                  <a:close/>
                  <a:moveTo>
                    <a:pt x="8117466" y="2946428"/>
                  </a:moveTo>
                  <a:lnTo>
                    <a:pt x="8118165" y="2947127"/>
                  </a:lnTo>
                  <a:lnTo>
                    <a:pt x="8118864" y="2947127"/>
                  </a:lnTo>
                  <a:lnTo>
                    <a:pt x="8387878" y="3216141"/>
                  </a:lnTo>
                  <a:lnTo>
                    <a:pt x="8117466" y="3487252"/>
                  </a:lnTo>
                  <a:lnTo>
                    <a:pt x="8381590" y="3487252"/>
                  </a:lnTo>
                  <a:lnTo>
                    <a:pt x="8652002" y="3216840"/>
                  </a:lnTo>
                  <a:lnTo>
                    <a:pt x="8647111" y="3211249"/>
                  </a:lnTo>
                  <a:lnTo>
                    <a:pt x="8381590" y="2946428"/>
                  </a:lnTo>
                  <a:close/>
                  <a:moveTo>
                    <a:pt x="10583842" y="2946047"/>
                  </a:moveTo>
                  <a:lnTo>
                    <a:pt x="10854953" y="3215760"/>
                  </a:lnTo>
                  <a:lnTo>
                    <a:pt x="10852159" y="3218555"/>
                  </a:lnTo>
                  <a:lnTo>
                    <a:pt x="10762021" y="3309391"/>
                  </a:lnTo>
                  <a:lnTo>
                    <a:pt x="10584541" y="3486871"/>
                  </a:lnTo>
                  <a:lnTo>
                    <a:pt x="10848664" y="3486871"/>
                  </a:lnTo>
                  <a:lnTo>
                    <a:pt x="10938103" y="3397432"/>
                  </a:lnTo>
                  <a:lnTo>
                    <a:pt x="11119076" y="3216459"/>
                  </a:lnTo>
                  <a:lnTo>
                    <a:pt x="10847965" y="2946047"/>
                  </a:lnTo>
                  <a:close/>
                  <a:moveTo>
                    <a:pt x="10035332" y="2946047"/>
                  </a:moveTo>
                  <a:lnTo>
                    <a:pt x="10163900" y="3074615"/>
                  </a:lnTo>
                  <a:lnTo>
                    <a:pt x="10305744" y="3216459"/>
                  </a:lnTo>
                  <a:lnTo>
                    <a:pt x="10035332" y="3487570"/>
                  </a:lnTo>
                  <a:lnTo>
                    <a:pt x="10299455" y="3487570"/>
                  </a:lnTo>
                  <a:lnTo>
                    <a:pt x="10569867" y="3216459"/>
                  </a:lnTo>
                  <a:lnTo>
                    <a:pt x="10564976" y="3211568"/>
                  </a:lnTo>
                  <a:lnTo>
                    <a:pt x="10299455" y="2946047"/>
                  </a:lnTo>
                  <a:close/>
                  <a:moveTo>
                    <a:pt x="9485425" y="2946047"/>
                  </a:moveTo>
                  <a:lnTo>
                    <a:pt x="9756536" y="3215760"/>
                  </a:lnTo>
                  <a:lnTo>
                    <a:pt x="9753740" y="3218555"/>
                  </a:lnTo>
                  <a:lnTo>
                    <a:pt x="9663602" y="3309391"/>
                  </a:lnTo>
                  <a:lnTo>
                    <a:pt x="9486124" y="3486871"/>
                  </a:lnTo>
                  <a:lnTo>
                    <a:pt x="9750247" y="3486871"/>
                  </a:lnTo>
                  <a:lnTo>
                    <a:pt x="9839685" y="3397432"/>
                  </a:lnTo>
                  <a:lnTo>
                    <a:pt x="10020659" y="3216459"/>
                  </a:lnTo>
                  <a:lnTo>
                    <a:pt x="9749548" y="2946047"/>
                  </a:lnTo>
                  <a:close/>
                  <a:moveTo>
                    <a:pt x="9214487" y="2945031"/>
                  </a:moveTo>
                  <a:lnTo>
                    <a:pt x="9344452" y="3074995"/>
                  </a:lnTo>
                  <a:lnTo>
                    <a:pt x="9482424" y="3212966"/>
                  </a:lnTo>
                  <a:lnTo>
                    <a:pt x="9742561" y="3212966"/>
                  </a:lnTo>
                  <a:lnTo>
                    <a:pt x="9473932" y="2945031"/>
                  </a:lnTo>
                  <a:close/>
                  <a:moveTo>
                    <a:pt x="11132352" y="2944649"/>
                  </a:moveTo>
                  <a:lnTo>
                    <a:pt x="11262318" y="3074615"/>
                  </a:lnTo>
                  <a:lnTo>
                    <a:pt x="11403463" y="3215061"/>
                  </a:lnTo>
                  <a:lnTo>
                    <a:pt x="11133051" y="3486172"/>
                  </a:lnTo>
                  <a:lnTo>
                    <a:pt x="11397175" y="3486172"/>
                  </a:lnTo>
                  <a:lnTo>
                    <a:pt x="11667587" y="3215061"/>
                  </a:lnTo>
                  <a:lnTo>
                    <a:pt x="11396476" y="2944649"/>
                  </a:lnTo>
                  <a:close/>
                  <a:moveTo>
                    <a:pt x="1255633" y="2679380"/>
                  </a:moveTo>
                  <a:lnTo>
                    <a:pt x="985221" y="2950491"/>
                  </a:lnTo>
                  <a:lnTo>
                    <a:pt x="1256332" y="3220903"/>
                  </a:lnTo>
                  <a:lnTo>
                    <a:pt x="1520455" y="3220903"/>
                  </a:lnTo>
                  <a:lnTo>
                    <a:pt x="1249344" y="2950491"/>
                  </a:lnTo>
                  <a:lnTo>
                    <a:pt x="1519757" y="2679380"/>
                  </a:lnTo>
                  <a:close/>
                  <a:moveTo>
                    <a:pt x="1804143" y="2678681"/>
                  </a:moveTo>
                  <a:lnTo>
                    <a:pt x="1533731" y="2949792"/>
                  </a:lnTo>
                  <a:lnTo>
                    <a:pt x="1805541" y="3220204"/>
                  </a:lnTo>
                  <a:lnTo>
                    <a:pt x="2068965" y="3220204"/>
                  </a:lnTo>
                  <a:lnTo>
                    <a:pt x="1938301" y="3090238"/>
                  </a:lnTo>
                  <a:lnTo>
                    <a:pt x="1797854" y="2949792"/>
                  </a:lnTo>
                  <a:lnTo>
                    <a:pt x="2068266" y="2678681"/>
                  </a:lnTo>
                  <a:close/>
                  <a:moveTo>
                    <a:pt x="705027" y="2678681"/>
                  </a:moveTo>
                  <a:lnTo>
                    <a:pt x="434615" y="2949792"/>
                  </a:lnTo>
                  <a:lnTo>
                    <a:pt x="705726" y="3220204"/>
                  </a:lnTo>
                  <a:lnTo>
                    <a:pt x="774202" y="3220204"/>
                  </a:lnTo>
                  <a:lnTo>
                    <a:pt x="773503" y="3221602"/>
                  </a:lnTo>
                  <a:lnTo>
                    <a:pt x="971247" y="3221602"/>
                  </a:lnTo>
                  <a:lnTo>
                    <a:pt x="839884" y="3090238"/>
                  </a:lnTo>
                  <a:lnTo>
                    <a:pt x="699437" y="2949792"/>
                  </a:lnTo>
                  <a:lnTo>
                    <a:pt x="968451" y="2680079"/>
                  </a:lnTo>
                  <a:lnTo>
                    <a:pt x="772105" y="2680079"/>
                  </a:lnTo>
                  <a:lnTo>
                    <a:pt x="772804" y="2678681"/>
                  </a:lnTo>
                  <a:close/>
                  <a:moveTo>
                    <a:pt x="2352653" y="2677982"/>
                  </a:moveTo>
                  <a:lnTo>
                    <a:pt x="2082241" y="2949093"/>
                  </a:lnTo>
                  <a:lnTo>
                    <a:pt x="2353352" y="3219505"/>
                  </a:lnTo>
                  <a:lnTo>
                    <a:pt x="2617476" y="3219505"/>
                  </a:lnTo>
                  <a:lnTo>
                    <a:pt x="2346365" y="2949093"/>
                  </a:lnTo>
                  <a:lnTo>
                    <a:pt x="2616777" y="2677982"/>
                  </a:lnTo>
                  <a:close/>
                  <a:moveTo>
                    <a:pt x="3998184" y="2675886"/>
                  </a:moveTo>
                  <a:lnTo>
                    <a:pt x="3727772" y="2946997"/>
                  </a:lnTo>
                  <a:lnTo>
                    <a:pt x="3998883" y="3217408"/>
                  </a:lnTo>
                  <a:lnTo>
                    <a:pt x="4263007" y="3217408"/>
                  </a:lnTo>
                  <a:lnTo>
                    <a:pt x="3991896" y="2946997"/>
                  </a:lnTo>
                  <a:lnTo>
                    <a:pt x="4262309" y="2675886"/>
                  </a:lnTo>
                  <a:close/>
                  <a:moveTo>
                    <a:pt x="4546696" y="2675187"/>
                  </a:moveTo>
                  <a:lnTo>
                    <a:pt x="4276283" y="2946297"/>
                  </a:lnTo>
                  <a:lnTo>
                    <a:pt x="4547394" y="3216709"/>
                  </a:lnTo>
                  <a:lnTo>
                    <a:pt x="4809087" y="3216709"/>
                  </a:lnTo>
                  <a:lnTo>
                    <a:pt x="4806841" y="3214743"/>
                  </a:lnTo>
                  <a:lnTo>
                    <a:pt x="4660106" y="3068707"/>
                  </a:lnTo>
                  <a:lnTo>
                    <a:pt x="4660106" y="3065999"/>
                  </a:lnTo>
                  <a:lnTo>
                    <a:pt x="4540406" y="2946297"/>
                  </a:lnTo>
                  <a:lnTo>
                    <a:pt x="4660106" y="2826288"/>
                  </a:lnTo>
                  <a:lnTo>
                    <a:pt x="4660106" y="2822050"/>
                  </a:lnTo>
                  <a:lnTo>
                    <a:pt x="4806970" y="2675187"/>
                  </a:lnTo>
                  <a:close/>
                  <a:moveTo>
                    <a:pt x="5915740" y="2674618"/>
                  </a:moveTo>
                  <a:lnTo>
                    <a:pt x="5645327" y="2945729"/>
                  </a:lnTo>
                  <a:lnTo>
                    <a:pt x="5916438" y="3216141"/>
                  </a:lnTo>
                  <a:lnTo>
                    <a:pt x="6180561" y="3216141"/>
                  </a:lnTo>
                  <a:lnTo>
                    <a:pt x="5909450" y="2945729"/>
                  </a:lnTo>
                  <a:lnTo>
                    <a:pt x="6179863" y="2674618"/>
                  </a:lnTo>
                  <a:close/>
                  <a:moveTo>
                    <a:pt x="4821179" y="2674618"/>
                  </a:moveTo>
                  <a:lnTo>
                    <a:pt x="4554381" y="2942106"/>
                  </a:lnTo>
                  <a:lnTo>
                    <a:pt x="4814648" y="2942106"/>
                  </a:lnTo>
                  <a:lnTo>
                    <a:pt x="5081446" y="2674618"/>
                  </a:lnTo>
                  <a:close/>
                  <a:moveTo>
                    <a:pt x="6464250" y="2673919"/>
                  </a:moveTo>
                  <a:lnTo>
                    <a:pt x="6193838" y="2945031"/>
                  </a:lnTo>
                  <a:lnTo>
                    <a:pt x="6465647" y="3215442"/>
                  </a:lnTo>
                  <a:lnTo>
                    <a:pt x="6729071" y="3215442"/>
                  </a:lnTo>
                  <a:lnTo>
                    <a:pt x="6598407" y="3085476"/>
                  </a:lnTo>
                  <a:lnTo>
                    <a:pt x="6457961" y="2945031"/>
                  </a:lnTo>
                  <a:lnTo>
                    <a:pt x="6728373" y="2673919"/>
                  </a:lnTo>
                  <a:close/>
                  <a:moveTo>
                    <a:pt x="5365133" y="2673919"/>
                  </a:moveTo>
                  <a:lnTo>
                    <a:pt x="5094721" y="2945031"/>
                  </a:lnTo>
                  <a:lnTo>
                    <a:pt x="5365832" y="3215442"/>
                  </a:lnTo>
                  <a:lnTo>
                    <a:pt x="5434309" y="3215442"/>
                  </a:lnTo>
                  <a:lnTo>
                    <a:pt x="5433609" y="3216840"/>
                  </a:lnTo>
                  <a:lnTo>
                    <a:pt x="5631353" y="3216840"/>
                  </a:lnTo>
                  <a:lnTo>
                    <a:pt x="5499990" y="3085476"/>
                  </a:lnTo>
                  <a:lnTo>
                    <a:pt x="5359544" y="2945031"/>
                  </a:lnTo>
                  <a:lnTo>
                    <a:pt x="5628558" y="2675317"/>
                  </a:lnTo>
                  <a:lnTo>
                    <a:pt x="5432211" y="2675317"/>
                  </a:lnTo>
                  <a:lnTo>
                    <a:pt x="5432910" y="2673919"/>
                  </a:lnTo>
                  <a:close/>
                  <a:moveTo>
                    <a:pt x="7012759" y="2673220"/>
                  </a:moveTo>
                  <a:lnTo>
                    <a:pt x="6742348" y="2944331"/>
                  </a:lnTo>
                  <a:lnTo>
                    <a:pt x="7013458" y="3214743"/>
                  </a:lnTo>
                  <a:lnTo>
                    <a:pt x="7277582" y="3214743"/>
                  </a:lnTo>
                  <a:lnTo>
                    <a:pt x="7006471" y="2944331"/>
                  </a:lnTo>
                  <a:lnTo>
                    <a:pt x="7276883" y="2673220"/>
                  </a:lnTo>
                  <a:close/>
                  <a:moveTo>
                    <a:pt x="10576156" y="2671443"/>
                  </a:moveTo>
                  <a:lnTo>
                    <a:pt x="10305744" y="2942554"/>
                  </a:lnTo>
                  <a:lnTo>
                    <a:pt x="10576855" y="3212966"/>
                  </a:lnTo>
                  <a:lnTo>
                    <a:pt x="10840978" y="3212966"/>
                  </a:lnTo>
                  <a:lnTo>
                    <a:pt x="10569867" y="2942554"/>
                  </a:lnTo>
                  <a:lnTo>
                    <a:pt x="10840280" y="2671443"/>
                  </a:lnTo>
                  <a:close/>
                  <a:moveTo>
                    <a:pt x="9479701" y="2671443"/>
                  </a:moveTo>
                  <a:lnTo>
                    <a:pt x="9214487" y="2937344"/>
                  </a:lnTo>
                  <a:lnTo>
                    <a:pt x="9476647" y="2937344"/>
                  </a:lnTo>
                  <a:lnTo>
                    <a:pt x="9741862" y="2671443"/>
                  </a:lnTo>
                  <a:close/>
                  <a:moveTo>
                    <a:pt x="8658290" y="2671124"/>
                  </a:moveTo>
                  <a:lnTo>
                    <a:pt x="8387878" y="2942235"/>
                  </a:lnTo>
                  <a:lnTo>
                    <a:pt x="8658989" y="3212646"/>
                  </a:lnTo>
                  <a:lnTo>
                    <a:pt x="8923113" y="3212646"/>
                  </a:lnTo>
                  <a:lnTo>
                    <a:pt x="8652002" y="2942235"/>
                  </a:lnTo>
                  <a:lnTo>
                    <a:pt x="8922414" y="2671124"/>
                  </a:lnTo>
                  <a:close/>
                  <a:moveTo>
                    <a:pt x="11124666" y="2670744"/>
                  </a:moveTo>
                  <a:lnTo>
                    <a:pt x="10854254" y="2941855"/>
                  </a:lnTo>
                  <a:lnTo>
                    <a:pt x="11126064" y="3212267"/>
                  </a:lnTo>
                  <a:lnTo>
                    <a:pt x="11389488" y="3212267"/>
                  </a:lnTo>
                  <a:lnTo>
                    <a:pt x="11258824" y="3082301"/>
                  </a:lnTo>
                  <a:lnTo>
                    <a:pt x="11118377" y="2941855"/>
                  </a:lnTo>
                  <a:lnTo>
                    <a:pt x="11388789" y="2670744"/>
                  </a:lnTo>
                  <a:close/>
                  <a:moveTo>
                    <a:pt x="10025550" y="2670744"/>
                  </a:moveTo>
                  <a:lnTo>
                    <a:pt x="9755138" y="2941855"/>
                  </a:lnTo>
                  <a:lnTo>
                    <a:pt x="10026249" y="3212267"/>
                  </a:lnTo>
                  <a:lnTo>
                    <a:pt x="10094725" y="3212267"/>
                  </a:lnTo>
                  <a:lnTo>
                    <a:pt x="10094026" y="3213665"/>
                  </a:lnTo>
                  <a:lnTo>
                    <a:pt x="10291770" y="3213665"/>
                  </a:lnTo>
                  <a:lnTo>
                    <a:pt x="10160407" y="3082301"/>
                  </a:lnTo>
                  <a:lnTo>
                    <a:pt x="10019960" y="2941855"/>
                  </a:lnTo>
                  <a:lnTo>
                    <a:pt x="10288974" y="2672142"/>
                  </a:lnTo>
                  <a:lnTo>
                    <a:pt x="10092628" y="2672142"/>
                  </a:lnTo>
                  <a:lnTo>
                    <a:pt x="10093327" y="2670744"/>
                  </a:lnTo>
                  <a:close/>
                  <a:moveTo>
                    <a:pt x="3517239" y="2670723"/>
                  </a:moveTo>
                  <a:lnTo>
                    <a:pt x="3513958" y="2677283"/>
                  </a:lnTo>
                  <a:lnTo>
                    <a:pt x="3448975" y="2677283"/>
                  </a:lnTo>
                  <a:lnTo>
                    <a:pt x="3268701" y="2858257"/>
                  </a:lnTo>
                  <a:lnTo>
                    <a:pt x="3179262" y="2947695"/>
                  </a:lnTo>
                  <a:lnTo>
                    <a:pt x="3312721" y="3081853"/>
                  </a:lnTo>
                  <a:lnTo>
                    <a:pt x="3451072" y="3215313"/>
                  </a:lnTo>
                  <a:lnTo>
                    <a:pt x="3715195" y="3215313"/>
                  </a:lnTo>
                  <a:lnTo>
                    <a:pt x="3444084" y="2944901"/>
                  </a:lnTo>
                  <a:lnTo>
                    <a:pt x="3445482" y="2943503"/>
                  </a:lnTo>
                  <a:lnTo>
                    <a:pt x="3713797" y="2674489"/>
                  </a:lnTo>
                  <a:lnTo>
                    <a:pt x="3515356" y="2674489"/>
                  </a:lnTo>
                  <a:close/>
                  <a:moveTo>
                    <a:pt x="9206801" y="2670425"/>
                  </a:moveTo>
                  <a:lnTo>
                    <a:pt x="8936388" y="2941535"/>
                  </a:lnTo>
                  <a:lnTo>
                    <a:pt x="9207500" y="3211947"/>
                  </a:lnTo>
                  <a:lnTo>
                    <a:pt x="9467691" y="3211947"/>
                  </a:lnTo>
                  <a:lnTo>
                    <a:pt x="9467258" y="3211568"/>
                  </a:lnTo>
                  <a:lnTo>
                    <a:pt x="9320523" y="3065532"/>
                  </a:lnTo>
                  <a:lnTo>
                    <a:pt x="9320523" y="3061548"/>
                  </a:lnTo>
                  <a:lnTo>
                    <a:pt x="9200512" y="2941535"/>
                  </a:lnTo>
                  <a:lnTo>
                    <a:pt x="9320523" y="2821214"/>
                  </a:lnTo>
                  <a:lnTo>
                    <a:pt x="9320523" y="2818876"/>
                  </a:lnTo>
                  <a:lnTo>
                    <a:pt x="9468974" y="2670425"/>
                  </a:lnTo>
                  <a:close/>
                  <a:moveTo>
                    <a:pt x="11673176" y="2670045"/>
                  </a:moveTo>
                  <a:lnTo>
                    <a:pt x="11402764" y="2941156"/>
                  </a:lnTo>
                  <a:lnTo>
                    <a:pt x="11673875" y="3211568"/>
                  </a:lnTo>
                  <a:lnTo>
                    <a:pt x="11937999" y="3211568"/>
                  </a:lnTo>
                  <a:lnTo>
                    <a:pt x="11666888" y="2941156"/>
                  </a:lnTo>
                  <a:lnTo>
                    <a:pt x="11937300" y="2670045"/>
                  </a:lnTo>
                  <a:close/>
                  <a:moveTo>
                    <a:pt x="8177520" y="2665610"/>
                  </a:moveTo>
                  <a:lnTo>
                    <a:pt x="8174064" y="2672521"/>
                  </a:lnTo>
                  <a:lnTo>
                    <a:pt x="8109081" y="2672521"/>
                  </a:lnTo>
                  <a:lnTo>
                    <a:pt x="7928807" y="2853496"/>
                  </a:lnTo>
                  <a:lnTo>
                    <a:pt x="7839368" y="2942933"/>
                  </a:lnTo>
                  <a:lnTo>
                    <a:pt x="7972827" y="3077091"/>
                  </a:lnTo>
                  <a:lnTo>
                    <a:pt x="8111178" y="3210551"/>
                  </a:lnTo>
                  <a:lnTo>
                    <a:pt x="8375301" y="3210551"/>
                  </a:lnTo>
                  <a:lnTo>
                    <a:pt x="8104190" y="2940139"/>
                  </a:lnTo>
                  <a:lnTo>
                    <a:pt x="8105588" y="2938741"/>
                  </a:lnTo>
                  <a:lnTo>
                    <a:pt x="8373903" y="2669727"/>
                  </a:lnTo>
                  <a:lnTo>
                    <a:pt x="8175462" y="2669727"/>
                  </a:lnTo>
                  <a:close/>
                  <a:moveTo>
                    <a:pt x="164203" y="2405474"/>
                  </a:moveTo>
                  <a:lnTo>
                    <a:pt x="435314" y="2675886"/>
                  </a:lnTo>
                  <a:lnTo>
                    <a:pt x="164902" y="2946997"/>
                  </a:lnTo>
                  <a:lnTo>
                    <a:pt x="429025" y="2946997"/>
                  </a:lnTo>
                  <a:lnTo>
                    <a:pt x="699437" y="2675886"/>
                  </a:lnTo>
                  <a:lnTo>
                    <a:pt x="428326" y="2405474"/>
                  </a:lnTo>
                  <a:close/>
                  <a:moveTo>
                    <a:pt x="1811131" y="2404775"/>
                  </a:moveTo>
                  <a:lnTo>
                    <a:pt x="2082940" y="2675187"/>
                  </a:lnTo>
                  <a:lnTo>
                    <a:pt x="1812528" y="2946297"/>
                  </a:lnTo>
                  <a:lnTo>
                    <a:pt x="2075953" y="2946297"/>
                  </a:lnTo>
                  <a:lnTo>
                    <a:pt x="2346365" y="2675187"/>
                  </a:lnTo>
                  <a:lnTo>
                    <a:pt x="2212208" y="2541728"/>
                  </a:lnTo>
                  <a:lnTo>
                    <a:pt x="2075254" y="2404775"/>
                  </a:lnTo>
                  <a:close/>
                  <a:moveTo>
                    <a:pt x="1262620" y="2404775"/>
                  </a:moveTo>
                  <a:lnTo>
                    <a:pt x="1533731" y="2675187"/>
                  </a:lnTo>
                  <a:lnTo>
                    <a:pt x="1263319" y="2946297"/>
                  </a:lnTo>
                  <a:lnTo>
                    <a:pt x="1527442" y="2946297"/>
                  </a:lnTo>
                  <a:lnTo>
                    <a:pt x="1797854" y="2675187"/>
                  </a:lnTo>
                  <a:lnTo>
                    <a:pt x="1526744" y="2404775"/>
                  </a:lnTo>
                  <a:close/>
                  <a:moveTo>
                    <a:pt x="2359641" y="2404076"/>
                  </a:moveTo>
                  <a:lnTo>
                    <a:pt x="2361039" y="2405474"/>
                  </a:lnTo>
                  <a:lnTo>
                    <a:pt x="2629354" y="2673790"/>
                  </a:lnTo>
                  <a:lnTo>
                    <a:pt x="2358942" y="2944901"/>
                  </a:lnTo>
                  <a:lnTo>
                    <a:pt x="2623065" y="2944901"/>
                  </a:lnTo>
                  <a:lnTo>
                    <a:pt x="2893477" y="2673790"/>
                  </a:lnTo>
                  <a:lnTo>
                    <a:pt x="2888586" y="2668899"/>
                  </a:lnTo>
                  <a:lnTo>
                    <a:pt x="2906055" y="2677283"/>
                  </a:lnTo>
                  <a:lnTo>
                    <a:pt x="2900465" y="2677283"/>
                  </a:lnTo>
                  <a:lnTo>
                    <a:pt x="2630053" y="2948394"/>
                  </a:lnTo>
                  <a:lnTo>
                    <a:pt x="2901164" y="3218806"/>
                  </a:lnTo>
                  <a:lnTo>
                    <a:pt x="3165287" y="3218806"/>
                  </a:lnTo>
                  <a:lnTo>
                    <a:pt x="2894875" y="2947695"/>
                  </a:lnTo>
                  <a:lnTo>
                    <a:pt x="3079343" y="2763229"/>
                  </a:lnTo>
                  <a:lnTo>
                    <a:pt x="3165287" y="2677283"/>
                  </a:lnTo>
                  <a:lnTo>
                    <a:pt x="2906754" y="2677283"/>
                  </a:lnTo>
                  <a:lnTo>
                    <a:pt x="2889285" y="2668899"/>
                  </a:lnTo>
                  <a:lnTo>
                    <a:pt x="2623764" y="2404076"/>
                  </a:lnTo>
                  <a:close/>
                  <a:moveTo>
                    <a:pt x="713412" y="2404076"/>
                  </a:moveTo>
                  <a:lnTo>
                    <a:pt x="844775" y="2535440"/>
                  </a:lnTo>
                  <a:lnTo>
                    <a:pt x="985221" y="2675886"/>
                  </a:lnTo>
                  <a:lnTo>
                    <a:pt x="716206" y="2945599"/>
                  </a:lnTo>
                  <a:lnTo>
                    <a:pt x="912552" y="2945599"/>
                  </a:lnTo>
                  <a:lnTo>
                    <a:pt x="911853" y="2946997"/>
                  </a:lnTo>
                  <a:lnTo>
                    <a:pt x="978932" y="2946997"/>
                  </a:lnTo>
                  <a:lnTo>
                    <a:pt x="1248646" y="2675886"/>
                  </a:lnTo>
                  <a:lnTo>
                    <a:pt x="1113090" y="2541029"/>
                  </a:lnTo>
                  <a:lnTo>
                    <a:pt x="1094923" y="2522863"/>
                  </a:lnTo>
                  <a:lnTo>
                    <a:pt x="977535" y="2406173"/>
                  </a:lnTo>
                  <a:lnTo>
                    <a:pt x="909058" y="2406173"/>
                  </a:lnTo>
                  <a:lnTo>
                    <a:pt x="909757" y="2404775"/>
                  </a:lnTo>
                  <a:close/>
                  <a:moveTo>
                    <a:pt x="2907452" y="2402679"/>
                  </a:moveTo>
                  <a:lnTo>
                    <a:pt x="3178563" y="2673091"/>
                  </a:lnTo>
                  <a:lnTo>
                    <a:pt x="3175769" y="2675886"/>
                  </a:lnTo>
                  <a:lnTo>
                    <a:pt x="3085631" y="2766722"/>
                  </a:lnTo>
                  <a:lnTo>
                    <a:pt x="2908151" y="2944202"/>
                  </a:lnTo>
                  <a:lnTo>
                    <a:pt x="3172275" y="2944202"/>
                  </a:lnTo>
                  <a:lnTo>
                    <a:pt x="3262412" y="2854763"/>
                  </a:lnTo>
                  <a:lnTo>
                    <a:pt x="3442687" y="2673091"/>
                  </a:lnTo>
                  <a:lnTo>
                    <a:pt x="3171576" y="2402679"/>
                  </a:lnTo>
                  <a:close/>
                  <a:moveTo>
                    <a:pt x="4004473" y="2401981"/>
                  </a:moveTo>
                  <a:lnTo>
                    <a:pt x="4275584" y="2671694"/>
                  </a:lnTo>
                  <a:lnTo>
                    <a:pt x="4005172" y="2942805"/>
                  </a:lnTo>
                  <a:lnTo>
                    <a:pt x="4269296" y="2942805"/>
                  </a:lnTo>
                  <a:lnTo>
                    <a:pt x="4539707" y="2672393"/>
                  </a:lnTo>
                  <a:lnTo>
                    <a:pt x="4268598" y="2401981"/>
                  </a:lnTo>
                  <a:close/>
                  <a:moveTo>
                    <a:pt x="4824309" y="2400713"/>
                  </a:moveTo>
                  <a:lnTo>
                    <a:pt x="5095421" y="2671124"/>
                  </a:lnTo>
                  <a:lnTo>
                    <a:pt x="4825009" y="2942235"/>
                  </a:lnTo>
                  <a:lnTo>
                    <a:pt x="5089132" y="2942235"/>
                  </a:lnTo>
                  <a:lnTo>
                    <a:pt x="5359544" y="2671124"/>
                  </a:lnTo>
                  <a:lnTo>
                    <a:pt x="5088432" y="2400713"/>
                  </a:lnTo>
                  <a:close/>
                  <a:moveTo>
                    <a:pt x="4553683" y="2400583"/>
                  </a:moveTo>
                  <a:lnTo>
                    <a:pt x="4821422" y="2667631"/>
                  </a:lnTo>
                  <a:lnTo>
                    <a:pt x="5082144" y="2667631"/>
                  </a:lnTo>
                  <a:lnTo>
                    <a:pt x="4814405" y="2400583"/>
                  </a:lnTo>
                  <a:close/>
                  <a:moveTo>
                    <a:pt x="6471238" y="2400013"/>
                  </a:moveTo>
                  <a:lnTo>
                    <a:pt x="6743046" y="2670425"/>
                  </a:lnTo>
                  <a:lnTo>
                    <a:pt x="6472634" y="2941535"/>
                  </a:lnTo>
                  <a:lnTo>
                    <a:pt x="6736059" y="2941535"/>
                  </a:lnTo>
                  <a:lnTo>
                    <a:pt x="7006471" y="2670425"/>
                  </a:lnTo>
                  <a:lnTo>
                    <a:pt x="6872314" y="2536966"/>
                  </a:lnTo>
                  <a:lnTo>
                    <a:pt x="6735361" y="2400013"/>
                  </a:lnTo>
                  <a:close/>
                  <a:moveTo>
                    <a:pt x="5922727" y="2400013"/>
                  </a:moveTo>
                  <a:lnTo>
                    <a:pt x="6193838" y="2670425"/>
                  </a:lnTo>
                  <a:lnTo>
                    <a:pt x="5923425" y="2941535"/>
                  </a:lnTo>
                  <a:lnTo>
                    <a:pt x="6187548" y="2941535"/>
                  </a:lnTo>
                  <a:lnTo>
                    <a:pt x="6457961" y="2670425"/>
                  </a:lnTo>
                  <a:lnTo>
                    <a:pt x="6186850" y="2400013"/>
                  </a:lnTo>
                  <a:close/>
                  <a:moveTo>
                    <a:pt x="7019748" y="2399314"/>
                  </a:moveTo>
                  <a:lnTo>
                    <a:pt x="7021145" y="2400713"/>
                  </a:lnTo>
                  <a:lnTo>
                    <a:pt x="7289460" y="2669028"/>
                  </a:lnTo>
                  <a:lnTo>
                    <a:pt x="7019048" y="2940139"/>
                  </a:lnTo>
                  <a:lnTo>
                    <a:pt x="7283171" y="2940139"/>
                  </a:lnTo>
                  <a:lnTo>
                    <a:pt x="7553583" y="2669028"/>
                  </a:lnTo>
                  <a:lnTo>
                    <a:pt x="7548692" y="2664137"/>
                  </a:lnTo>
                  <a:lnTo>
                    <a:pt x="7566161" y="2672521"/>
                  </a:lnTo>
                  <a:lnTo>
                    <a:pt x="7560571" y="2672521"/>
                  </a:lnTo>
                  <a:lnTo>
                    <a:pt x="7290159" y="2943632"/>
                  </a:lnTo>
                  <a:lnTo>
                    <a:pt x="7561270" y="3214044"/>
                  </a:lnTo>
                  <a:lnTo>
                    <a:pt x="7825393" y="3214044"/>
                  </a:lnTo>
                  <a:lnTo>
                    <a:pt x="7554981" y="2942933"/>
                  </a:lnTo>
                  <a:lnTo>
                    <a:pt x="7739449" y="2758467"/>
                  </a:lnTo>
                  <a:lnTo>
                    <a:pt x="7825393" y="2672521"/>
                  </a:lnTo>
                  <a:lnTo>
                    <a:pt x="7566860" y="2672521"/>
                  </a:lnTo>
                  <a:lnTo>
                    <a:pt x="7549391" y="2664137"/>
                  </a:lnTo>
                  <a:lnTo>
                    <a:pt x="7283870" y="2399314"/>
                  </a:lnTo>
                  <a:close/>
                  <a:moveTo>
                    <a:pt x="5373519" y="2399314"/>
                  </a:moveTo>
                  <a:lnTo>
                    <a:pt x="5504881" y="2530678"/>
                  </a:lnTo>
                  <a:lnTo>
                    <a:pt x="5645327" y="2671124"/>
                  </a:lnTo>
                  <a:lnTo>
                    <a:pt x="5376313" y="2940837"/>
                  </a:lnTo>
                  <a:lnTo>
                    <a:pt x="5572659" y="2940837"/>
                  </a:lnTo>
                  <a:lnTo>
                    <a:pt x="5571959" y="2942235"/>
                  </a:lnTo>
                  <a:lnTo>
                    <a:pt x="5639038" y="2942235"/>
                  </a:lnTo>
                  <a:lnTo>
                    <a:pt x="5908752" y="2671124"/>
                  </a:lnTo>
                  <a:lnTo>
                    <a:pt x="5773197" y="2536267"/>
                  </a:lnTo>
                  <a:lnTo>
                    <a:pt x="5755029" y="2518101"/>
                  </a:lnTo>
                  <a:lnTo>
                    <a:pt x="5637642" y="2401411"/>
                  </a:lnTo>
                  <a:lnTo>
                    <a:pt x="5569164" y="2401411"/>
                  </a:lnTo>
                  <a:lnTo>
                    <a:pt x="5569864" y="2400013"/>
                  </a:lnTo>
                  <a:close/>
                  <a:moveTo>
                    <a:pt x="7567558" y="2397917"/>
                  </a:moveTo>
                  <a:lnTo>
                    <a:pt x="7838669" y="2668329"/>
                  </a:lnTo>
                  <a:lnTo>
                    <a:pt x="7835875" y="2671124"/>
                  </a:lnTo>
                  <a:lnTo>
                    <a:pt x="7745737" y="2761960"/>
                  </a:lnTo>
                  <a:lnTo>
                    <a:pt x="7568257" y="2939440"/>
                  </a:lnTo>
                  <a:lnTo>
                    <a:pt x="7832381" y="2939440"/>
                  </a:lnTo>
                  <a:lnTo>
                    <a:pt x="7922518" y="2850001"/>
                  </a:lnTo>
                  <a:lnTo>
                    <a:pt x="8102793" y="2668329"/>
                  </a:lnTo>
                  <a:lnTo>
                    <a:pt x="7831682" y="2397917"/>
                  </a:lnTo>
                  <a:close/>
                  <a:moveTo>
                    <a:pt x="9484726" y="2397537"/>
                  </a:moveTo>
                  <a:lnTo>
                    <a:pt x="9755837" y="2667949"/>
                  </a:lnTo>
                  <a:lnTo>
                    <a:pt x="9485425" y="2939060"/>
                  </a:lnTo>
                  <a:lnTo>
                    <a:pt x="9749548" y="2939060"/>
                  </a:lnTo>
                  <a:lnTo>
                    <a:pt x="10019960" y="2667949"/>
                  </a:lnTo>
                  <a:lnTo>
                    <a:pt x="9748849" y="2397537"/>
                  </a:lnTo>
                  <a:close/>
                  <a:moveTo>
                    <a:pt x="8664579" y="2397219"/>
                  </a:moveTo>
                  <a:lnTo>
                    <a:pt x="8935690" y="2666932"/>
                  </a:lnTo>
                  <a:lnTo>
                    <a:pt x="8665278" y="2938043"/>
                  </a:lnTo>
                  <a:lnTo>
                    <a:pt x="8929401" y="2938043"/>
                  </a:lnTo>
                  <a:lnTo>
                    <a:pt x="9199813" y="2667631"/>
                  </a:lnTo>
                  <a:lnTo>
                    <a:pt x="8928703" y="2397219"/>
                  </a:lnTo>
                  <a:close/>
                  <a:moveTo>
                    <a:pt x="11131654" y="2396838"/>
                  </a:moveTo>
                  <a:lnTo>
                    <a:pt x="11403463" y="2667250"/>
                  </a:lnTo>
                  <a:lnTo>
                    <a:pt x="11133051" y="2938360"/>
                  </a:lnTo>
                  <a:lnTo>
                    <a:pt x="11396476" y="2938360"/>
                  </a:lnTo>
                  <a:lnTo>
                    <a:pt x="11666888" y="2667250"/>
                  </a:lnTo>
                  <a:lnTo>
                    <a:pt x="11532731" y="2533791"/>
                  </a:lnTo>
                  <a:lnTo>
                    <a:pt x="11395777" y="2396838"/>
                  </a:lnTo>
                  <a:close/>
                  <a:moveTo>
                    <a:pt x="10583143" y="2396838"/>
                  </a:moveTo>
                  <a:lnTo>
                    <a:pt x="10854254" y="2667250"/>
                  </a:lnTo>
                  <a:lnTo>
                    <a:pt x="10583842" y="2938360"/>
                  </a:lnTo>
                  <a:lnTo>
                    <a:pt x="10847965" y="2938360"/>
                  </a:lnTo>
                  <a:lnTo>
                    <a:pt x="11118377" y="2667250"/>
                  </a:lnTo>
                  <a:lnTo>
                    <a:pt x="10847267" y="2396838"/>
                  </a:lnTo>
                  <a:close/>
                  <a:moveTo>
                    <a:pt x="10033935" y="2396139"/>
                  </a:moveTo>
                  <a:lnTo>
                    <a:pt x="10165298" y="2527503"/>
                  </a:lnTo>
                  <a:lnTo>
                    <a:pt x="10305744" y="2667949"/>
                  </a:lnTo>
                  <a:lnTo>
                    <a:pt x="10036729" y="2937662"/>
                  </a:lnTo>
                  <a:lnTo>
                    <a:pt x="10233075" y="2937662"/>
                  </a:lnTo>
                  <a:lnTo>
                    <a:pt x="10232376" y="2939060"/>
                  </a:lnTo>
                  <a:lnTo>
                    <a:pt x="10299455" y="2939060"/>
                  </a:lnTo>
                  <a:lnTo>
                    <a:pt x="10569169" y="2667949"/>
                  </a:lnTo>
                  <a:lnTo>
                    <a:pt x="10433613" y="2533092"/>
                  </a:lnTo>
                  <a:lnTo>
                    <a:pt x="10415446" y="2514926"/>
                  </a:lnTo>
                  <a:lnTo>
                    <a:pt x="10298058" y="2398236"/>
                  </a:lnTo>
                  <a:lnTo>
                    <a:pt x="10229581" y="2398236"/>
                  </a:lnTo>
                  <a:lnTo>
                    <a:pt x="10230280" y="2396838"/>
                  </a:lnTo>
                  <a:close/>
                  <a:moveTo>
                    <a:pt x="9213788" y="2395821"/>
                  </a:moveTo>
                  <a:lnTo>
                    <a:pt x="9483119" y="2664456"/>
                  </a:lnTo>
                  <a:lnTo>
                    <a:pt x="9742561" y="2664456"/>
                  </a:lnTo>
                  <a:lnTo>
                    <a:pt x="9473232" y="2395821"/>
                  </a:lnTo>
                  <a:close/>
                  <a:moveTo>
                    <a:pt x="1255633" y="2130870"/>
                  </a:moveTo>
                  <a:lnTo>
                    <a:pt x="985221" y="2401981"/>
                  </a:lnTo>
                  <a:lnTo>
                    <a:pt x="1117282" y="2534042"/>
                  </a:lnTo>
                  <a:lnTo>
                    <a:pt x="1255633" y="2672393"/>
                  </a:lnTo>
                  <a:lnTo>
                    <a:pt x="1519757" y="2672393"/>
                  </a:lnTo>
                  <a:lnTo>
                    <a:pt x="1248646" y="2401981"/>
                  </a:lnTo>
                  <a:lnTo>
                    <a:pt x="1519757" y="2130870"/>
                  </a:lnTo>
                  <a:close/>
                  <a:moveTo>
                    <a:pt x="2351955" y="2130171"/>
                  </a:moveTo>
                  <a:lnTo>
                    <a:pt x="2171680" y="2311144"/>
                  </a:lnTo>
                  <a:lnTo>
                    <a:pt x="2170981" y="2311144"/>
                  </a:lnTo>
                  <a:lnTo>
                    <a:pt x="2081543" y="2400583"/>
                  </a:lnTo>
                  <a:lnTo>
                    <a:pt x="2215701" y="2534741"/>
                  </a:lnTo>
                  <a:lnTo>
                    <a:pt x="2352653" y="2670995"/>
                  </a:lnTo>
                  <a:lnTo>
                    <a:pt x="2616078" y="2670995"/>
                  </a:lnTo>
                  <a:lnTo>
                    <a:pt x="2344968" y="2400583"/>
                  </a:lnTo>
                  <a:lnTo>
                    <a:pt x="2346365" y="2399185"/>
                  </a:lnTo>
                  <a:lnTo>
                    <a:pt x="2347064" y="2399185"/>
                  </a:lnTo>
                  <a:lnTo>
                    <a:pt x="2615379" y="2130171"/>
                  </a:lnTo>
                  <a:close/>
                  <a:moveTo>
                    <a:pt x="1803445" y="2130171"/>
                  </a:moveTo>
                  <a:lnTo>
                    <a:pt x="1533032" y="2401282"/>
                  </a:lnTo>
                  <a:lnTo>
                    <a:pt x="1803445" y="2670995"/>
                  </a:lnTo>
                  <a:lnTo>
                    <a:pt x="2067568" y="2670995"/>
                  </a:lnTo>
                  <a:lnTo>
                    <a:pt x="1796458" y="2400583"/>
                  </a:lnTo>
                  <a:lnTo>
                    <a:pt x="1980924" y="2216115"/>
                  </a:lnTo>
                  <a:lnTo>
                    <a:pt x="1981623" y="2216115"/>
                  </a:lnTo>
                  <a:lnTo>
                    <a:pt x="2067568" y="2130171"/>
                  </a:lnTo>
                  <a:close/>
                  <a:moveTo>
                    <a:pt x="2900465" y="2129472"/>
                  </a:moveTo>
                  <a:lnTo>
                    <a:pt x="2630053" y="2400583"/>
                  </a:lnTo>
                  <a:lnTo>
                    <a:pt x="2901164" y="2670995"/>
                  </a:lnTo>
                  <a:lnTo>
                    <a:pt x="3165287" y="2670995"/>
                  </a:lnTo>
                  <a:lnTo>
                    <a:pt x="2894176" y="2400583"/>
                  </a:lnTo>
                  <a:lnTo>
                    <a:pt x="3164588" y="2129472"/>
                  </a:lnTo>
                  <a:close/>
                  <a:moveTo>
                    <a:pt x="3997486" y="2128074"/>
                  </a:moveTo>
                  <a:lnTo>
                    <a:pt x="3727074" y="2399185"/>
                  </a:lnTo>
                  <a:lnTo>
                    <a:pt x="3998184" y="2669597"/>
                  </a:lnTo>
                  <a:lnTo>
                    <a:pt x="4262309" y="2669597"/>
                  </a:lnTo>
                  <a:lnTo>
                    <a:pt x="3991197" y="2399185"/>
                  </a:lnTo>
                  <a:lnTo>
                    <a:pt x="4261609" y="2128074"/>
                  </a:lnTo>
                  <a:close/>
                  <a:moveTo>
                    <a:pt x="4545996" y="2127376"/>
                  </a:moveTo>
                  <a:lnTo>
                    <a:pt x="4275584" y="2398486"/>
                  </a:lnTo>
                  <a:lnTo>
                    <a:pt x="4545996" y="2668200"/>
                  </a:lnTo>
                  <a:lnTo>
                    <a:pt x="4808096" y="2668200"/>
                  </a:lnTo>
                  <a:lnTo>
                    <a:pt x="4660106" y="2520896"/>
                  </a:lnTo>
                  <a:lnTo>
                    <a:pt x="4660106" y="2518573"/>
                  </a:lnTo>
                  <a:lnTo>
                    <a:pt x="4539009" y="2397788"/>
                  </a:lnTo>
                  <a:lnTo>
                    <a:pt x="4660106" y="2276691"/>
                  </a:lnTo>
                  <a:lnTo>
                    <a:pt x="4660106" y="2272842"/>
                  </a:lnTo>
                  <a:lnTo>
                    <a:pt x="4805573" y="2127376"/>
                  </a:lnTo>
                  <a:close/>
                  <a:moveTo>
                    <a:pt x="5915740" y="2126108"/>
                  </a:moveTo>
                  <a:lnTo>
                    <a:pt x="5645327" y="2397219"/>
                  </a:lnTo>
                  <a:lnTo>
                    <a:pt x="5777388" y="2529280"/>
                  </a:lnTo>
                  <a:lnTo>
                    <a:pt x="5915740" y="2667631"/>
                  </a:lnTo>
                  <a:lnTo>
                    <a:pt x="6179863" y="2667631"/>
                  </a:lnTo>
                  <a:lnTo>
                    <a:pt x="5908752" y="2397219"/>
                  </a:lnTo>
                  <a:lnTo>
                    <a:pt x="6179863" y="2126108"/>
                  </a:lnTo>
                  <a:close/>
                  <a:moveTo>
                    <a:pt x="4821171" y="2126108"/>
                  </a:moveTo>
                  <a:lnTo>
                    <a:pt x="4731163" y="2216814"/>
                  </a:lnTo>
                  <a:lnTo>
                    <a:pt x="4553683" y="2394294"/>
                  </a:lnTo>
                  <a:lnTo>
                    <a:pt x="4813944" y="2394294"/>
                  </a:lnTo>
                  <a:lnTo>
                    <a:pt x="5080746" y="2126108"/>
                  </a:lnTo>
                  <a:close/>
                  <a:moveTo>
                    <a:pt x="7012061" y="2125409"/>
                  </a:moveTo>
                  <a:lnTo>
                    <a:pt x="6831786" y="2306383"/>
                  </a:lnTo>
                  <a:lnTo>
                    <a:pt x="6831088" y="2306383"/>
                  </a:lnTo>
                  <a:lnTo>
                    <a:pt x="6741650" y="2395821"/>
                  </a:lnTo>
                  <a:lnTo>
                    <a:pt x="6875807" y="2529979"/>
                  </a:lnTo>
                  <a:lnTo>
                    <a:pt x="7012759" y="2666233"/>
                  </a:lnTo>
                  <a:lnTo>
                    <a:pt x="7276184" y="2666233"/>
                  </a:lnTo>
                  <a:lnTo>
                    <a:pt x="7005075" y="2395821"/>
                  </a:lnTo>
                  <a:lnTo>
                    <a:pt x="7006471" y="2394423"/>
                  </a:lnTo>
                  <a:lnTo>
                    <a:pt x="7007170" y="2394423"/>
                  </a:lnTo>
                  <a:lnTo>
                    <a:pt x="7275485" y="2125409"/>
                  </a:lnTo>
                  <a:close/>
                  <a:moveTo>
                    <a:pt x="6463552" y="2125409"/>
                  </a:moveTo>
                  <a:lnTo>
                    <a:pt x="6193138" y="2396520"/>
                  </a:lnTo>
                  <a:lnTo>
                    <a:pt x="6463552" y="2666233"/>
                  </a:lnTo>
                  <a:lnTo>
                    <a:pt x="6727675" y="2666233"/>
                  </a:lnTo>
                  <a:lnTo>
                    <a:pt x="6456565" y="2395821"/>
                  </a:lnTo>
                  <a:lnTo>
                    <a:pt x="6641030" y="2211353"/>
                  </a:lnTo>
                  <a:lnTo>
                    <a:pt x="6641730" y="2211353"/>
                  </a:lnTo>
                  <a:lnTo>
                    <a:pt x="6727675" y="2125409"/>
                  </a:lnTo>
                  <a:close/>
                  <a:moveTo>
                    <a:pt x="7560571" y="2124710"/>
                  </a:moveTo>
                  <a:lnTo>
                    <a:pt x="7290159" y="2395821"/>
                  </a:lnTo>
                  <a:lnTo>
                    <a:pt x="7561270" y="2666233"/>
                  </a:lnTo>
                  <a:lnTo>
                    <a:pt x="7825393" y="2666233"/>
                  </a:lnTo>
                  <a:lnTo>
                    <a:pt x="7554282" y="2395821"/>
                  </a:lnTo>
                  <a:lnTo>
                    <a:pt x="7824694" y="2124710"/>
                  </a:lnTo>
                  <a:close/>
                  <a:moveTo>
                    <a:pt x="8657592" y="2123312"/>
                  </a:moveTo>
                  <a:lnTo>
                    <a:pt x="8387180" y="2394423"/>
                  </a:lnTo>
                  <a:lnTo>
                    <a:pt x="8658290" y="2664835"/>
                  </a:lnTo>
                  <a:lnTo>
                    <a:pt x="8922414" y="2664835"/>
                  </a:lnTo>
                  <a:lnTo>
                    <a:pt x="8651303" y="2394423"/>
                  </a:lnTo>
                  <a:lnTo>
                    <a:pt x="8921715" y="2123312"/>
                  </a:lnTo>
                  <a:close/>
                  <a:moveTo>
                    <a:pt x="10576156" y="2122933"/>
                  </a:moveTo>
                  <a:lnTo>
                    <a:pt x="10305744" y="2394044"/>
                  </a:lnTo>
                  <a:lnTo>
                    <a:pt x="10437805" y="2526105"/>
                  </a:lnTo>
                  <a:lnTo>
                    <a:pt x="10576156" y="2664456"/>
                  </a:lnTo>
                  <a:lnTo>
                    <a:pt x="10840280" y="2664456"/>
                  </a:lnTo>
                  <a:lnTo>
                    <a:pt x="10569169" y="2394044"/>
                  </a:lnTo>
                  <a:lnTo>
                    <a:pt x="10840280" y="2122933"/>
                  </a:lnTo>
                  <a:close/>
                  <a:moveTo>
                    <a:pt x="9479702" y="2122933"/>
                  </a:moveTo>
                  <a:lnTo>
                    <a:pt x="9391268" y="2212052"/>
                  </a:lnTo>
                  <a:lnTo>
                    <a:pt x="9213788" y="2389532"/>
                  </a:lnTo>
                  <a:lnTo>
                    <a:pt x="9475939" y="2389532"/>
                  </a:lnTo>
                  <a:lnTo>
                    <a:pt x="9741163" y="2122933"/>
                  </a:lnTo>
                  <a:close/>
                  <a:moveTo>
                    <a:pt x="9206102" y="2122614"/>
                  </a:moveTo>
                  <a:lnTo>
                    <a:pt x="8935690" y="2393724"/>
                  </a:lnTo>
                  <a:lnTo>
                    <a:pt x="9206102" y="2663438"/>
                  </a:lnTo>
                  <a:lnTo>
                    <a:pt x="9466918" y="2663438"/>
                  </a:lnTo>
                  <a:lnTo>
                    <a:pt x="9320523" y="2517721"/>
                  </a:lnTo>
                  <a:lnTo>
                    <a:pt x="9320523" y="2514122"/>
                  </a:lnTo>
                  <a:lnTo>
                    <a:pt x="9199115" y="2393026"/>
                  </a:lnTo>
                  <a:lnTo>
                    <a:pt x="9320523" y="2271618"/>
                  </a:lnTo>
                  <a:lnTo>
                    <a:pt x="9320523" y="2269668"/>
                  </a:lnTo>
                  <a:lnTo>
                    <a:pt x="9467576" y="2122614"/>
                  </a:lnTo>
                  <a:close/>
                  <a:moveTo>
                    <a:pt x="11672478" y="2122234"/>
                  </a:moveTo>
                  <a:lnTo>
                    <a:pt x="11492203" y="2303207"/>
                  </a:lnTo>
                  <a:lnTo>
                    <a:pt x="11491504" y="2303207"/>
                  </a:lnTo>
                  <a:lnTo>
                    <a:pt x="11402066" y="2392646"/>
                  </a:lnTo>
                  <a:lnTo>
                    <a:pt x="11536224" y="2526804"/>
                  </a:lnTo>
                  <a:lnTo>
                    <a:pt x="11673176" y="2663058"/>
                  </a:lnTo>
                  <a:lnTo>
                    <a:pt x="11936601" y="2663058"/>
                  </a:lnTo>
                  <a:lnTo>
                    <a:pt x="11665491" y="2392646"/>
                  </a:lnTo>
                  <a:lnTo>
                    <a:pt x="11666888" y="2391248"/>
                  </a:lnTo>
                  <a:lnTo>
                    <a:pt x="11667587" y="2391248"/>
                  </a:lnTo>
                  <a:lnTo>
                    <a:pt x="11935902" y="2122234"/>
                  </a:lnTo>
                  <a:close/>
                  <a:moveTo>
                    <a:pt x="11123968" y="2122234"/>
                  </a:moveTo>
                  <a:lnTo>
                    <a:pt x="10853555" y="2393345"/>
                  </a:lnTo>
                  <a:lnTo>
                    <a:pt x="11123968" y="2663058"/>
                  </a:lnTo>
                  <a:lnTo>
                    <a:pt x="11388091" y="2663058"/>
                  </a:lnTo>
                  <a:lnTo>
                    <a:pt x="11116981" y="2392646"/>
                  </a:lnTo>
                  <a:lnTo>
                    <a:pt x="11301447" y="2208178"/>
                  </a:lnTo>
                  <a:lnTo>
                    <a:pt x="11302146" y="2208178"/>
                  </a:lnTo>
                  <a:lnTo>
                    <a:pt x="11388091" y="2122234"/>
                  </a:lnTo>
                  <a:close/>
                  <a:moveTo>
                    <a:pt x="1261921" y="1856964"/>
                  </a:moveTo>
                  <a:lnTo>
                    <a:pt x="1262620" y="1857662"/>
                  </a:lnTo>
                  <a:lnTo>
                    <a:pt x="1263319" y="1857662"/>
                  </a:lnTo>
                  <a:lnTo>
                    <a:pt x="1532333" y="2126677"/>
                  </a:lnTo>
                  <a:lnTo>
                    <a:pt x="1261921" y="2397788"/>
                  </a:lnTo>
                  <a:lnTo>
                    <a:pt x="1526046" y="2397788"/>
                  </a:lnTo>
                  <a:lnTo>
                    <a:pt x="1796458" y="2126677"/>
                  </a:lnTo>
                  <a:lnTo>
                    <a:pt x="1791566" y="2121786"/>
                  </a:lnTo>
                  <a:lnTo>
                    <a:pt x="1526046" y="1856964"/>
                  </a:lnTo>
                  <a:close/>
                  <a:moveTo>
                    <a:pt x="164203" y="1856964"/>
                  </a:moveTo>
                  <a:lnTo>
                    <a:pt x="165601" y="1858361"/>
                  </a:lnTo>
                  <a:lnTo>
                    <a:pt x="434615" y="2127376"/>
                  </a:lnTo>
                  <a:lnTo>
                    <a:pt x="164203" y="2397089"/>
                  </a:lnTo>
                  <a:lnTo>
                    <a:pt x="428326" y="2397089"/>
                  </a:lnTo>
                  <a:lnTo>
                    <a:pt x="698738" y="2125979"/>
                  </a:lnTo>
                  <a:lnTo>
                    <a:pt x="695191" y="2122430"/>
                  </a:lnTo>
                  <a:lnTo>
                    <a:pt x="709860" y="2129472"/>
                  </a:lnTo>
                  <a:lnTo>
                    <a:pt x="705726" y="2129472"/>
                  </a:lnTo>
                  <a:lnTo>
                    <a:pt x="435314" y="2400583"/>
                  </a:lnTo>
                  <a:lnTo>
                    <a:pt x="706425" y="2670995"/>
                  </a:lnTo>
                  <a:lnTo>
                    <a:pt x="970548" y="2670995"/>
                  </a:lnTo>
                  <a:lnTo>
                    <a:pt x="699437" y="2400583"/>
                  </a:lnTo>
                  <a:lnTo>
                    <a:pt x="883903" y="2216115"/>
                  </a:lnTo>
                  <a:lnTo>
                    <a:pt x="969849" y="2130171"/>
                  </a:lnTo>
                  <a:lnTo>
                    <a:pt x="711316" y="2130171"/>
                  </a:lnTo>
                  <a:lnTo>
                    <a:pt x="709860" y="2129472"/>
                  </a:lnTo>
                  <a:lnTo>
                    <a:pt x="711316" y="2129472"/>
                  </a:lnTo>
                  <a:lnTo>
                    <a:pt x="693847" y="2121087"/>
                  </a:lnTo>
                  <a:lnTo>
                    <a:pt x="695191" y="2122430"/>
                  </a:lnTo>
                  <a:lnTo>
                    <a:pt x="693847" y="2121786"/>
                  </a:lnTo>
                  <a:lnTo>
                    <a:pt x="428326" y="1856964"/>
                  </a:lnTo>
                  <a:close/>
                  <a:moveTo>
                    <a:pt x="712014" y="1856265"/>
                  </a:moveTo>
                  <a:lnTo>
                    <a:pt x="983125" y="2125979"/>
                  </a:lnTo>
                  <a:lnTo>
                    <a:pt x="980330" y="2128773"/>
                  </a:lnTo>
                  <a:lnTo>
                    <a:pt x="890192" y="2219610"/>
                  </a:lnTo>
                  <a:lnTo>
                    <a:pt x="712713" y="2397089"/>
                  </a:lnTo>
                  <a:lnTo>
                    <a:pt x="976837" y="2397089"/>
                  </a:lnTo>
                  <a:lnTo>
                    <a:pt x="1066275" y="2307651"/>
                  </a:lnTo>
                  <a:lnTo>
                    <a:pt x="1247249" y="2126677"/>
                  </a:lnTo>
                  <a:lnTo>
                    <a:pt x="1114488" y="1994616"/>
                  </a:lnTo>
                  <a:lnTo>
                    <a:pt x="976138" y="1856265"/>
                  </a:lnTo>
                  <a:close/>
                  <a:moveTo>
                    <a:pt x="2359641" y="1855567"/>
                  </a:moveTo>
                  <a:lnTo>
                    <a:pt x="2489606" y="1985532"/>
                  </a:lnTo>
                  <a:lnTo>
                    <a:pt x="2630053" y="2125979"/>
                  </a:lnTo>
                  <a:lnTo>
                    <a:pt x="2359641" y="2397089"/>
                  </a:lnTo>
                  <a:lnTo>
                    <a:pt x="2623764" y="2397089"/>
                  </a:lnTo>
                  <a:lnTo>
                    <a:pt x="2894176" y="2125979"/>
                  </a:lnTo>
                  <a:lnTo>
                    <a:pt x="2623065" y="1855567"/>
                  </a:lnTo>
                  <a:close/>
                  <a:moveTo>
                    <a:pt x="1810432" y="1855567"/>
                  </a:moveTo>
                  <a:lnTo>
                    <a:pt x="2081543" y="2125979"/>
                  </a:lnTo>
                  <a:lnTo>
                    <a:pt x="2078748" y="2128773"/>
                  </a:lnTo>
                  <a:lnTo>
                    <a:pt x="1988611" y="2219610"/>
                  </a:lnTo>
                  <a:lnTo>
                    <a:pt x="1987912" y="2219610"/>
                  </a:lnTo>
                  <a:lnTo>
                    <a:pt x="1811131" y="2397089"/>
                  </a:lnTo>
                  <a:lnTo>
                    <a:pt x="2074555" y="2396391"/>
                  </a:lnTo>
                  <a:lnTo>
                    <a:pt x="2163994" y="2306952"/>
                  </a:lnTo>
                  <a:lnTo>
                    <a:pt x="2164693" y="2306952"/>
                  </a:lnTo>
                  <a:lnTo>
                    <a:pt x="2345666" y="2125979"/>
                  </a:lnTo>
                  <a:lnTo>
                    <a:pt x="2074555" y="1855567"/>
                  </a:lnTo>
                  <a:close/>
                  <a:moveTo>
                    <a:pt x="2907452" y="1854868"/>
                  </a:moveTo>
                  <a:lnTo>
                    <a:pt x="3178563" y="2125280"/>
                  </a:lnTo>
                  <a:lnTo>
                    <a:pt x="2908151" y="2396391"/>
                  </a:lnTo>
                  <a:lnTo>
                    <a:pt x="3172275" y="2396391"/>
                  </a:lnTo>
                  <a:lnTo>
                    <a:pt x="3442687" y="2125280"/>
                  </a:lnTo>
                  <a:lnTo>
                    <a:pt x="3171576" y="1854868"/>
                  </a:lnTo>
                  <a:close/>
                  <a:moveTo>
                    <a:pt x="4552984" y="1852771"/>
                  </a:moveTo>
                  <a:lnTo>
                    <a:pt x="4820022" y="2119120"/>
                  </a:lnTo>
                  <a:lnTo>
                    <a:pt x="5080746" y="2119120"/>
                  </a:lnTo>
                  <a:lnTo>
                    <a:pt x="4813709" y="1852771"/>
                  </a:lnTo>
                  <a:close/>
                  <a:moveTo>
                    <a:pt x="4004473" y="1852771"/>
                  </a:moveTo>
                  <a:lnTo>
                    <a:pt x="4005871" y="1854169"/>
                  </a:lnTo>
                  <a:lnTo>
                    <a:pt x="4274885" y="2123183"/>
                  </a:lnTo>
                  <a:lnTo>
                    <a:pt x="4004473" y="2394294"/>
                  </a:lnTo>
                  <a:lnTo>
                    <a:pt x="4268598" y="2394294"/>
                  </a:lnTo>
                  <a:lnTo>
                    <a:pt x="4539009" y="2123183"/>
                  </a:lnTo>
                  <a:lnTo>
                    <a:pt x="4534118" y="2118292"/>
                  </a:lnTo>
                  <a:lnTo>
                    <a:pt x="4268598" y="1852771"/>
                  </a:lnTo>
                  <a:close/>
                  <a:moveTo>
                    <a:pt x="5922027" y="1852202"/>
                  </a:moveTo>
                  <a:lnTo>
                    <a:pt x="5922727" y="1852900"/>
                  </a:lnTo>
                  <a:lnTo>
                    <a:pt x="5923425" y="1852900"/>
                  </a:lnTo>
                  <a:lnTo>
                    <a:pt x="6192439" y="2121915"/>
                  </a:lnTo>
                  <a:lnTo>
                    <a:pt x="5922027" y="2393026"/>
                  </a:lnTo>
                  <a:lnTo>
                    <a:pt x="6186152" y="2393026"/>
                  </a:lnTo>
                  <a:lnTo>
                    <a:pt x="6456565" y="2121915"/>
                  </a:lnTo>
                  <a:lnTo>
                    <a:pt x="6451672" y="2117024"/>
                  </a:lnTo>
                  <a:lnTo>
                    <a:pt x="6186152" y="1852202"/>
                  </a:lnTo>
                  <a:close/>
                  <a:moveTo>
                    <a:pt x="4824309" y="1852202"/>
                  </a:moveTo>
                  <a:lnTo>
                    <a:pt x="4825707" y="1853599"/>
                  </a:lnTo>
                  <a:lnTo>
                    <a:pt x="5094721" y="2122614"/>
                  </a:lnTo>
                  <a:lnTo>
                    <a:pt x="4824309" y="2392327"/>
                  </a:lnTo>
                  <a:lnTo>
                    <a:pt x="5088432" y="2392327"/>
                  </a:lnTo>
                  <a:lnTo>
                    <a:pt x="5358844" y="2121217"/>
                  </a:lnTo>
                  <a:lnTo>
                    <a:pt x="5355297" y="2117668"/>
                  </a:lnTo>
                  <a:lnTo>
                    <a:pt x="5369967" y="2124710"/>
                  </a:lnTo>
                  <a:lnTo>
                    <a:pt x="5365832" y="2124710"/>
                  </a:lnTo>
                  <a:lnTo>
                    <a:pt x="5095421" y="2395821"/>
                  </a:lnTo>
                  <a:lnTo>
                    <a:pt x="5366532" y="2666233"/>
                  </a:lnTo>
                  <a:lnTo>
                    <a:pt x="5630655" y="2666233"/>
                  </a:lnTo>
                  <a:lnTo>
                    <a:pt x="5359544" y="2395821"/>
                  </a:lnTo>
                  <a:lnTo>
                    <a:pt x="5544009" y="2211353"/>
                  </a:lnTo>
                  <a:lnTo>
                    <a:pt x="5629955" y="2125409"/>
                  </a:lnTo>
                  <a:lnTo>
                    <a:pt x="5371422" y="2125409"/>
                  </a:lnTo>
                  <a:lnTo>
                    <a:pt x="5369967" y="2124710"/>
                  </a:lnTo>
                  <a:lnTo>
                    <a:pt x="5371422" y="2124710"/>
                  </a:lnTo>
                  <a:lnTo>
                    <a:pt x="5353953" y="2116325"/>
                  </a:lnTo>
                  <a:lnTo>
                    <a:pt x="5355297" y="2117668"/>
                  </a:lnTo>
                  <a:lnTo>
                    <a:pt x="5353953" y="2117024"/>
                  </a:lnTo>
                  <a:lnTo>
                    <a:pt x="5088432" y="1852202"/>
                  </a:lnTo>
                  <a:close/>
                  <a:moveTo>
                    <a:pt x="5372120" y="1851503"/>
                  </a:moveTo>
                  <a:lnTo>
                    <a:pt x="5643231" y="2121217"/>
                  </a:lnTo>
                  <a:lnTo>
                    <a:pt x="5640436" y="2124011"/>
                  </a:lnTo>
                  <a:lnTo>
                    <a:pt x="5550298" y="2214848"/>
                  </a:lnTo>
                  <a:lnTo>
                    <a:pt x="5372819" y="2392327"/>
                  </a:lnTo>
                  <a:lnTo>
                    <a:pt x="5636944" y="2392327"/>
                  </a:lnTo>
                  <a:lnTo>
                    <a:pt x="5726382" y="2302889"/>
                  </a:lnTo>
                  <a:lnTo>
                    <a:pt x="5907355" y="2121915"/>
                  </a:lnTo>
                  <a:lnTo>
                    <a:pt x="5774594" y="1989854"/>
                  </a:lnTo>
                  <a:lnTo>
                    <a:pt x="5636244" y="1851503"/>
                  </a:lnTo>
                  <a:close/>
                  <a:moveTo>
                    <a:pt x="7019748" y="1850805"/>
                  </a:moveTo>
                  <a:lnTo>
                    <a:pt x="7149712" y="1980770"/>
                  </a:lnTo>
                  <a:lnTo>
                    <a:pt x="7290159" y="2121217"/>
                  </a:lnTo>
                  <a:lnTo>
                    <a:pt x="7019748" y="2392327"/>
                  </a:lnTo>
                  <a:lnTo>
                    <a:pt x="7283870" y="2392327"/>
                  </a:lnTo>
                  <a:lnTo>
                    <a:pt x="7554282" y="2121217"/>
                  </a:lnTo>
                  <a:lnTo>
                    <a:pt x="7283171" y="1850805"/>
                  </a:lnTo>
                  <a:close/>
                  <a:moveTo>
                    <a:pt x="6470538" y="1850805"/>
                  </a:moveTo>
                  <a:lnTo>
                    <a:pt x="6741650" y="2121217"/>
                  </a:lnTo>
                  <a:lnTo>
                    <a:pt x="6738854" y="2124011"/>
                  </a:lnTo>
                  <a:lnTo>
                    <a:pt x="6648717" y="2214848"/>
                  </a:lnTo>
                  <a:lnTo>
                    <a:pt x="6648019" y="2214848"/>
                  </a:lnTo>
                  <a:lnTo>
                    <a:pt x="6471238" y="2392327"/>
                  </a:lnTo>
                  <a:lnTo>
                    <a:pt x="6734661" y="2391629"/>
                  </a:lnTo>
                  <a:lnTo>
                    <a:pt x="6824100" y="2302190"/>
                  </a:lnTo>
                  <a:lnTo>
                    <a:pt x="6824799" y="2302190"/>
                  </a:lnTo>
                  <a:lnTo>
                    <a:pt x="7005773" y="2121217"/>
                  </a:lnTo>
                  <a:lnTo>
                    <a:pt x="6734661" y="1850805"/>
                  </a:lnTo>
                  <a:close/>
                  <a:moveTo>
                    <a:pt x="7567558" y="1850106"/>
                  </a:moveTo>
                  <a:lnTo>
                    <a:pt x="7838669" y="2120518"/>
                  </a:lnTo>
                  <a:lnTo>
                    <a:pt x="7568257" y="2391629"/>
                  </a:lnTo>
                  <a:lnTo>
                    <a:pt x="7832381" y="2391629"/>
                  </a:lnTo>
                  <a:lnTo>
                    <a:pt x="8102793" y="2120518"/>
                  </a:lnTo>
                  <a:lnTo>
                    <a:pt x="7831682" y="1850106"/>
                  </a:lnTo>
                  <a:close/>
                  <a:moveTo>
                    <a:pt x="10582444" y="1849027"/>
                  </a:moveTo>
                  <a:lnTo>
                    <a:pt x="10583143" y="1849725"/>
                  </a:lnTo>
                  <a:lnTo>
                    <a:pt x="10583842" y="1849725"/>
                  </a:lnTo>
                  <a:lnTo>
                    <a:pt x="10852856" y="2118740"/>
                  </a:lnTo>
                  <a:lnTo>
                    <a:pt x="10582444" y="2389851"/>
                  </a:lnTo>
                  <a:lnTo>
                    <a:pt x="10846569" y="2389851"/>
                  </a:lnTo>
                  <a:lnTo>
                    <a:pt x="11116981" y="2118740"/>
                  </a:lnTo>
                  <a:lnTo>
                    <a:pt x="11112089" y="2113849"/>
                  </a:lnTo>
                  <a:lnTo>
                    <a:pt x="10846569" y="1849027"/>
                  </a:lnTo>
                  <a:close/>
                  <a:moveTo>
                    <a:pt x="9484726" y="1849027"/>
                  </a:moveTo>
                  <a:lnTo>
                    <a:pt x="9486124" y="1850424"/>
                  </a:lnTo>
                  <a:lnTo>
                    <a:pt x="9755138" y="2119439"/>
                  </a:lnTo>
                  <a:lnTo>
                    <a:pt x="9484726" y="2389152"/>
                  </a:lnTo>
                  <a:lnTo>
                    <a:pt x="9748849" y="2389152"/>
                  </a:lnTo>
                  <a:lnTo>
                    <a:pt x="10019261" y="2118042"/>
                  </a:lnTo>
                  <a:lnTo>
                    <a:pt x="10015714" y="2114494"/>
                  </a:lnTo>
                  <a:lnTo>
                    <a:pt x="10030383" y="2121535"/>
                  </a:lnTo>
                  <a:lnTo>
                    <a:pt x="10026249" y="2121535"/>
                  </a:lnTo>
                  <a:lnTo>
                    <a:pt x="9755837" y="2392646"/>
                  </a:lnTo>
                  <a:lnTo>
                    <a:pt x="10026948" y="2663058"/>
                  </a:lnTo>
                  <a:lnTo>
                    <a:pt x="10291071" y="2663058"/>
                  </a:lnTo>
                  <a:lnTo>
                    <a:pt x="10019960" y="2392646"/>
                  </a:lnTo>
                  <a:lnTo>
                    <a:pt x="10204426" y="2208178"/>
                  </a:lnTo>
                  <a:lnTo>
                    <a:pt x="10290372" y="2122234"/>
                  </a:lnTo>
                  <a:lnTo>
                    <a:pt x="10031839" y="2122234"/>
                  </a:lnTo>
                  <a:lnTo>
                    <a:pt x="10030383" y="2121535"/>
                  </a:lnTo>
                  <a:lnTo>
                    <a:pt x="10031839" y="2121535"/>
                  </a:lnTo>
                  <a:lnTo>
                    <a:pt x="10014370" y="2113150"/>
                  </a:lnTo>
                  <a:lnTo>
                    <a:pt x="10015714" y="2114494"/>
                  </a:lnTo>
                  <a:lnTo>
                    <a:pt x="10014370" y="2113849"/>
                  </a:lnTo>
                  <a:lnTo>
                    <a:pt x="9748849" y="1849027"/>
                  </a:lnTo>
                  <a:close/>
                  <a:moveTo>
                    <a:pt x="10032537" y="1848328"/>
                  </a:moveTo>
                  <a:lnTo>
                    <a:pt x="10303648" y="2118042"/>
                  </a:lnTo>
                  <a:lnTo>
                    <a:pt x="10300853" y="2120836"/>
                  </a:lnTo>
                  <a:lnTo>
                    <a:pt x="10210715" y="2211673"/>
                  </a:lnTo>
                  <a:lnTo>
                    <a:pt x="10033236" y="2389152"/>
                  </a:lnTo>
                  <a:lnTo>
                    <a:pt x="10297360" y="2389152"/>
                  </a:lnTo>
                  <a:lnTo>
                    <a:pt x="10386798" y="2299714"/>
                  </a:lnTo>
                  <a:lnTo>
                    <a:pt x="10567772" y="2118740"/>
                  </a:lnTo>
                  <a:lnTo>
                    <a:pt x="10435011" y="1986679"/>
                  </a:lnTo>
                  <a:lnTo>
                    <a:pt x="10296661" y="1848328"/>
                  </a:lnTo>
                  <a:close/>
                  <a:moveTo>
                    <a:pt x="9213090" y="1848009"/>
                  </a:moveTo>
                  <a:lnTo>
                    <a:pt x="9481718" y="2115945"/>
                  </a:lnTo>
                  <a:lnTo>
                    <a:pt x="9741163" y="2115945"/>
                  </a:lnTo>
                  <a:lnTo>
                    <a:pt x="9472534" y="1848009"/>
                  </a:lnTo>
                  <a:close/>
                  <a:moveTo>
                    <a:pt x="8664579" y="1848009"/>
                  </a:moveTo>
                  <a:lnTo>
                    <a:pt x="8665977" y="1849407"/>
                  </a:lnTo>
                  <a:lnTo>
                    <a:pt x="8934991" y="2118421"/>
                  </a:lnTo>
                  <a:lnTo>
                    <a:pt x="8664579" y="2389532"/>
                  </a:lnTo>
                  <a:lnTo>
                    <a:pt x="8928703" y="2389532"/>
                  </a:lnTo>
                  <a:lnTo>
                    <a:pt x="9199115" y="2118421"/>
                  </a:lnTo>
                  <a:lnTo>
                    <a:pt x="9194224" y="2113530"/>
                  </a:lnTo>
                  <a:lnTo>
                    <a:pt x="8928703" y="1848009"/>
                  </a:lnTo>
                  <a:close/>
                  <a:moveTo>
                    <a:pt x="11130955" y="1847630"/>
                  </a:moveTo>
                  <a:lnTo>
                    <a:pt x="11402066" y="2118042"/>
                  </a:lnTo>
                  <a:lnTo>
                    <a:pt x="11399271" y="2120836"/>
                  </a:lnTo>
                  <a:lnTo>
                    <a:pt x="11309134" y="2211673"/>
                  </a:lnTo>
                  <a:lnTo>
                    <a:pt x="11308435" y="2211673"/>
                  </a:lnTo>
                  <a:lnTo>
                    <a:pt x="11131654" y="2389152"/>
                  </a:lnTo>
                  <a:lnTo>
                    <a:pt x="11395078" y="2388455"/>
                  </a:lnTo>
                  <a:lnTo>
                    <a:pt x="11484517" y="2299015"/>
                  </a:lnTo>
                  <a:lnTo>
                    <a:pt x="11485216" y="2299015"/>
                  </a:lnTo>
                  <a:lnTo>
                    <a:pt x="11666189" y="2118042"/>
                  </a:lnTo>
                  <a:lnTo>
                    <a:pt x="11395078" y="1847630"/>
                  </a:lnTo>
                  <a:close/>
                  <a:moveTo>
                    <a:pt x="705027" y="1582359"/>
                  </a:moveTo>
                  <a:lnTo>
                    <a:pt x="434615" y="1853470"/>
                  </a:lnTo>
                  <a:lnTo>
                    <a:pt x="705726" y="2123882"/>
                  </a:lnTo>
                  <a:lnTo>
                    <a:pt x="969849" y="2123882"/>
                  </a:lnTo>
                  <a:lnTo>
                    <a:pt x="698738" y="1853470"/>
                  </a:lnTo>
                  <a:lnTo>
                    <a:pt x="969150" y="1582359"/>
                  </a:lnTo>
                  <a:close/>
                  <a:moveTo>
                    <a:pt x="1802746" y="1581660"/>
                  </a:moveTo>
                  <a:lnTo>
                    <a:pt x="1532333" y="1852771"/>
                  </a:lnTo>
                  <a:lnTo>
                    <a:pt x="1803445" y="2123183"/>
                  </a:lnTo>
                  <a:lnTo>
                    <a:pt x="2067568" y="2123183"/>
                  </a:lnTo>
                  <a:lnTo>
                    <a:pt x="1796458" y="1852771"/>
                  </a:lnTo>
                  <a:lnTo>
                    <a:pt x="2066870" y="1581660"/>
                  </a:lnTo>
                  <a:close/>
                  <a:moveTo>
                    <a:pt x="1252838" y="1581660"/>
                  </a:moveTo>
                  <a:lnTo>
                    <a:pt x="983125" y="1852771"/>
                  </a:lnTo>
                  <a:lnTo>
                    <a:pt x="1183663" y="2053309"/>
                  </a:lnTo>
                  <a:lnTo>
                    <a:pt x="1254236" y="2123183"/>
                  </a:lnTo>
                  <a:lnTo>
                    <a:pt x="1322712" y="2123183"/>
                  </a:lnTo>
                  <a:lnTo>
                    <a:pt x="1322014" y="2124581"/>
                  </a:lnTo>
                  <a:lnTo>
                    <a:pt x="1519058" y="2124581"/>
                  </a:lnTo>
                  <a:lnTo>
                    <a:pt x="1247947" y="1854169"/>
                  </a:lnTo>
                  <a:lnTo>
                    <a:pt x="1248646" y="1853470"/>
                  </a:lnTo>
                  <a:lnTo>
                    <a:pt x="1246550" y="1852771"/>
                  </a:lnTo>
                  <a:lnTo>
                    <a:pt x="1516962" y="1581660"/>
                  </a:lnTo>
                  <a:close/>
                  <a:moveTo>
                    <a:pt x="2899766" y="1580961"/>
                  </a:moveTo>
                  <a:lnTo>
                    <a:pt x="2629354" y="1852072"/>
                  </a:lnTo>
                  <a:lnTo>
                    <a:pt x="2900465" y="2122484"/>
                  </a:lnTo>
                  <a:lnTo>
                    <a:pt x="3164588" y="2122484"/>
                  </a:lnTo>
                  <a:lnTo>
                    <a:pt x="2893477" y="1852072"/>
                  </a:lnTo>
                  <a:lnTo>
                    <a:pt x="3163889" y="1580961"/>
                  </a:lnTo>
                  <a:close/>
                  <a:moveTo>
                    <a:pt x="2351257" y="1580961"/>
                  </a:moveTo>
                  <a:lnTo>
                    <a:pt x="2080844" y="1852072"/>
                  </a:lnTo>
                  <a:lnTo>
                    <a:pt x="2351955" y="2122484"/>
                  </a:lnTo>
                  <a:lnTo>
                    <a:pt x="2615379" y="2122484"/>
                  </a:lnTo>
                  <a:lnTo>
                    <a:pt x="2485414" y="1992519"/>
                  </a:lnTo>
                  <a:lnTo>
                    <a:pt x="2344968" y="1852072"/>
                  </a:lnTo>
                  <a:lnTo>
                    <a:pt x="2615379" y="1580961"/>
                  </a:lnTo>
                  <a:close/>
                  <a:moveTo>
                    <a:pt x="3448276" y="1580263"/>
                  </a:moveTo>
                  <a:lnTo>
                    <a:pt x="3177864" y="1851373"/>
                  </a:lnTo>
                  <a:lnTo>
                    <a:pt x="3448975" y="2121087"/>
                  </a:lnTo>
                  <a:lnTo>
                    <a:pt x="3713099" y="2121087"/>
                  </a:lnTo>
                  <a:lnTo>
                    <a:pt x="3441988" y="1850676"/>
                  </a:lnTo>
                  <a:lnTo>
                    <a:pt x="3626455" y="1666208"/>
                  </a:lnTo>
                  <a:lnTo>
                    <a:pt x="3712400" y="1580263"/>
                  </a:lnTo>
                  <a:close/>
                  <a:moveTo>
                    <a:pt x="4545297" y="1578866"/>
                  </a:moveTo>
                  <a:lnTo>
                    <a:pt x="4274885" y="1849977"/>
                  </a:lnTo>
                  <a:lnTo>
                    <a:pt x="4545996" y="2119690"/>
                  </a:lnTo>
                  <a:lnTo>
                    <a:pt x="4807395" y="2119690"/>
                  </a:lnTo>
                  <a:lnTo>
                    <a:pt x="4676176" y="1989155"/>
                  </a:lnTo>
                  <a:lnTo>
                    <a:pt x="4660106" y="1973084"/>
                  </a:lnTo>
                  <a:lnTo>
                    <a:pt x="4660106" y="1970063"/>
                  </a:lnTo>
                  <a:lnTo>
                    <a:pt x="4539009" y="1849278"/>
                  </a:lnTo>
                  <a:lnTo>
                    <a:pt x="4660106" y="1728181"/>
                  </a:lnTo>
                  <a:lnTo>
                    <a:pt x="4660106" y="1724332"/>
                  </a:lnTo>
                  <a:lnTo>
                    <a:pt x="4805571" y="1578866"/>
                  </a:lnTo>
                  <a:close/>
                  <a:moveTo>
                    <a:pt x="4819782" y="1578296"/>
                  </a:moveTo>
                  <a:lnTo>
                    <a:pt x="4552984" y="1845784"/>
                  </a:lnTo>
                  <a:lnTo>
                    <a:pt x="4813254" y="1845784"/>
                  </a:lnTo>
                  <a:lnTo>
                    <a:pt x="5080048" y="1578296"/>
                  </a:lnTo>
                  <a:close/>
                  <a:moveTo>
                    <a:pt x="5365133" y="1577597"/>
                  </a:moveTo>
                  <a:lnTo>
                    <a:pt x="5094721" y="1848708"/>
                  </a:lnTo>
                  <a:lnTo>
                    <a:pt x="5365832" y="2119120"/>
                  </a:lnTo>
                  <a:lnTo>
                    <a:pt x="5629955" y="2119120"/>
                  </a:lnTo>
                  <a:lnTo>
                    <a:pt x="5358844" y="1848708"/>
                  </a:lnTo>
                  <a:lnTo>
                    <a:pt x="5629256" y="1577597"/>
                  </a:lnTo>
                  <a:close/>
                  <a:moveTo>
                    <a:pt x="6462852" y="1576898"/>
                  </a:moveTo>
                  <a:lnTo>
                    <a:pt x="6192439" y="1848009"/>
                  </a:lnTo>
                  <a:lnTo>
                    <a:pt x="6463552" y="2118421"/>
                  </a:lnTo>
                  <a:lnTo>
                    <a:pt x="6727675" y="2118421"/>
                  </a:lnTo>
                  <a:lnTo>
                    <a:pt x="6456565" y="1848009"/>
                  </a:lnTo>
                  <a:lnTo>
                    <a:pt x="6726977" y="1576898"/>
                  </a:lnTo>
                  <a:close/>
                  <a:moveTo>
                    <a:pt x="5912945" y="1576898"/>
                  </a:moveTo>
                  <a:lnTo>
                    <a:pt x="5643231" y="1848009"/>
                  </a:lnTo>
                  <a:lnTo>
                    <a:pt x="5843769" y="2048547"/>
                  </a:lnTo>
                  <a:lnTo>
                    <a:pt x="5914342" y="2118421"/>
                  </a:lnTo>
                  <a:lnTo>
                    <a:pt x="5982819" y="2118421"/>
                  </a:lnTo>
                  <a:lnTo>
                    <a:pt x="5982120" y="2119819"/>
                  </a:lnTo>
                  <a:lnTo>
                    <a:pt x="6179165" y="2119819"/>
                  </a:lnTo>
                  <a:lnTo>
                    <a:pt x="5908054" y="1849407"/>
                  </a:lnTo>
                  <a:lnTo>
                    <a:pt x="5908752" y="1848708"/>
                  </a:lnTo>
                  <a:lnTo>
                    <a:pt x="5906656" y="1848009"/>
                  </a:lnTo>
                  <a:lnTo>
                    <a:pt x="6177068" y="1576898"/>
                  </a:lnTo>
                  <a:close/>
                  <a:moveTo>
                    <a:pt x="7559872" y="1576199"/>
                  </a:moveTo>
                  <a:lnTo>
                    <a:pt x="7289460" y="1847310"/>
                  </a:lnTo>
                  <a:lnTo>
                    <a:pt x="7560571" y="2117722"/>
                  </a:lnTo>
                  <a:lnTo>
                    <a:pt x="7824694" y="2117722"/>
                  </a:lnTo>
                  <a:lnTo>
                    <a:pt x="7553583" y="1847310"/>
                  </a:lnTo>
                  <a:lnTo>
                    <a:pt x="7823995" y="1576199"/>
                  </a:lnTo>
                  <a:close/>
                  <a:moveTo>
                    <a:pt x="7011363" y="1576199"/>
                  </a:moveTo>
                  <a:lnTo>
                    <a:pt x="6740950" y="1847310"/>
                  </a:lnTo>
                  <a:lnTo>
                    <a:pt x="7012061" y="2117722"/>
                  </a:lnTo>
                  <a:lnTo>
                    <a:pt x="7275485" y="2117722"/>
                  </a:lnTo>
                  <a:lnTo>
                    <a:pt x="7145521" y="1987757"/>
                  </a:lnTo>
                  <a:lnTo>
                    <a:pt x="7005075" y="1847310"/>
                  </a:lnTo>
                  <a:lnTo>
                    <a:pt x="7275485" y="1576199"/>
                  </a:lnTo>
                  <a:close/>
                  <a:moveTo>
                    <a:pt x="8108382" y="1575501"/>
                  </a:moveTo>
                  <a:lnTo>
                    <a:pt x="7837970" y="1846611"/>
                  </a:lnTo>
                  <a:lnTo>
                    <a:pt x="8109081" y="2116325"/>
                  </a:lnTo>
                  <a:lnTo>
                    <a:pt x="8373205" y="2116325"/>
                  </a:lnTo>
                  <a:lnTo>
                    <a:pt x="8102094" y="1845914"/>
                  </a:lnTo>
                  <a:lnTo>
                    <a:pt x="8286561" y="1661446"/>
                  </a:lnTo>
                  <a:lnTo>
                    <a:pt x="8372506" y="1575501"/>
                  </a:lnTo>
                  <a:close/>
                  <a:moveTo>
                    <a:pt x="9478306" y="1575121"/>
                  </a:moveTo>
                  <a:lnTo>
                    <a:pt x="9213090" y="1841022"/>
                  </a:lnTo>
                  <a:lnTo>
                    <a:pt x="9475254" y="1841022"/>
                  </a:lnTo>
                  <a:lnTo>
                    <a:pt x="9740464" y="1575121"/>
                  </a:lnTo>
                  <a:close/>
                  <a:moveTo>
                    <a:pt x="10025550" y="1574422"/>
                  </a:moveTo>
                  <a:lnTo>
                    <a:pt x="9755138" y="1845533"/>
                  </a:lnTo>
                  <a:lnTo>
                    <a:pt x="10026249" y="2115945"/>
                  </a:lnTo>
                  <a:lnTo>
                    <a:pt x="10290372" y="2115945"/>
                  </a:lnTo>
                  <a:lnTo>
                    <a:pt x="10019261" y="1845533"/>
                  </a:lnTo>
                  <a:lnTo>
                    <a:pt x="10289673" y="1574422"/>
                  </a:lnTo>
                  <a:close/>
                  <a:moveTo>
                    <a:pt x="9205403" y="1574104"/>
                  </a:moveTo>
                  <a:lnTo>
                    <a:pt x="8934991" y="1845215"/>
                  </a:lnTo>
                  <a:lnTo>
                    <a:pt x="9206102" y="2114928"/>
                  </a:lnTo>
                  <a:lnTo>
                    <a:pt x="9466216" y="2114928"/>
                  </a:lnTo>
                  <a:lnTo>
                    <a:pt x="9336593" y="1985980"/>
                  </a:lnTo>
                  <a:lnTo>
                    <a:pt x="9320523" y="1969909"/>
                  </a:lnTo>
                  <a:lnTo>
                    <a:pt x="9320523" y="1965612"/>
                  </a:lnTo>
                  <a:lnTo>
                    <a:pt x="9199115" y="1844516"/>
                  </a:lnTo>
                  <a:lnTo>
                    <a:pt x="9320523" y="1723108"/>
                  </a:lnTo>
                  <a:lnTo>
                    <a:pt x="9320523" y="1721157"/>
                  </a:lnTo>
                  <a:lnTo>
                    <a:pt x="9467575" y="1574104"/>
                  </a:lnTo>
                  <a:close/>
                  <a:moveTo>
                    <a:pt x="11123269" y="1573723"/>
                  </a:moveTo>
                  <a:lnTo>
                    <a:pt x="10852856" y="1844834"/>
                  </a:lnTo>
                  <a:lnTo>
                    <a:pt x="11123968" y="2115246"/>
                  </a:lnTo>
                  <a:lnTo>
                    <a:pt x="11388091" y="2115246"/>
                  </a:lnTo>
                  <a:lnTo>
                    <a:pt x="11116981" y="1844834"/>
                  </a:lnTo>
                  <a:lnTo>
                    <a:pt x="11387393" y="1573723"/>
                  </a:lnTo>
                  <a:close/>
                  <a:moveTo>
                    <a:pt x="10573361" y="1573723"/>
                  </a:moveTo>
                  <a:lnTo>
                    <a:pt x="10303648" y="1844834"/>
                  </a:lnTo>
                  <a:lnTo>
                    <a:pt x="10504186" y="2045372"/>
                  </a:lnTo>
                  <a:lnTo>
                    <a:pt x="10574759" y="2115246"/>
                  </a:lnTo>
                  <a:lnTo>
                    <a:pt x="10643235" y="2115246"/>
                  </a:lnTo>
                  <a:lnTo>
                    <a:pt x="10642537" y="2116644"/>
                  </a:lnTo>
                  <a:lnTo>
                    <a:pt x="10839581" y="2116644"/>
                  </a:lnTo>
                  <a:lnTo>
                    <a:pt x="10568470" y="1846232"/>
                  </a:lnTo>
                  <a:lnTo>
                    <a:pt x="10569169" y="1845533"/>
                  </a:lnTo>
                  <a:lnTo>
                    <a:pt x="10567073" y="1844834"/>
                  </a:lnTo>
                  <a:lnTo>
                    <a:pt x="10837485" y="1573723"/>
                  </a:lnTo>
                  <a:close/>
                  <a:moveTo>
                    <a:pt x="11671780" y="1573024"/>
                  </a:moveTo>
                  <a:lnTo>
                    <a:pt x="11401367" y="1844135"/>
                  </a:lnTo>
                  <a:lnTo>
                    <a:pt x="11672478" y="2114547"/>
                  </a:lnTo>
                  <a:lnTo>
                    <a:pt x="11935902" y="2114547"/>
                  </a:lnTo>
                  <a:lnTo>
                    <a:pt x="11805937" y="1984582"/>
                  </a:lnTo>
                  <a:lnTo>
                    <a:pt x="11665491" y="1844135"/>
                  </a:lnTo>
                  <a:lnTo>
                    <a:pt x="11935902" y="1573024"/>
                  </a:lnTo>
                  <a:close/>
                  <a:moveTo>
                    <a:pt x="164203" y="1308454"/>
                  </a:moveTo>
                  <a:lnTo>
                    <a:pt x="294168" y="1438419"/>
                  </a:lnTo>
                  <a:lnTo>
                    <a:pt x="434615" y="1578866"/>
                  </a:lnTo>
                  <a:lnTo>
                    <a:pt x="164203" y="1849977"/>
                  </a:lnTo>
                  <a:lnTo>
                    <a:pt x="428326" y="1849977"/>
                  </a:lnTo>
                  <a:lnTo>
                    <a:pt x="698738" y="1578866"/>
                  </a:lnTo>
                  <a:lnTo>
                    <a:pt x="427627" y="1308454"/>
                  </a:lnTo>
                  <a:close/>
                  <a:moveTo>
                    <a:pt x="1809733" y="1307755"/>
                  </a:moveTo>
                  <a:lnTo>
                    <a:pt x="2080844" y="1578167"/>
                  </a:lnTo>
                  <a:lnTo>
                    <a:pt x="1810432" y="1848579"/>
                  </a:lnTo>
                  <a:lnTo>
                    <a:pt x="2074555" y="1848579"/>
                  </a:lnTo>
                  <a:lnTo>
                    <a:pt x="2344968" y="1578167"/>
                  </a:lnTo>
                  <a:lnTo>
                    <a:pt x="2073856" y="1307755"/>
                  </a:lnTo>
                  <a:close/>
                  <a:moveTo>
                    <a:pt x="712014" y="1307755"/>
                  </a:moveTo>
                  <a:lnTo>
                    <a:pt x="983125" y="1578167"/>
                  </a:lnTo>
                  <a:lnTo>
                    <a:pt x="712713" y="1849278"/>
                  </a:lnTo>
                  <a:lnTo>
                    <a:pt x="976837" y="1849278"/>
                  </a:lnTo>
                  <a:lnTo>
                    <a:pt x="1247249" y="1578167"/>
                  </a:lnTo>
                  <a:lnTo>
                    <a:pt x="976138" y="1307755"/>
                  </a:lnTo>
                  <a:close/>
                  <a:moveTo>
                    <a:pt x="2358243" y="1307056"/>
                  </a:moveTo>
                  <a:lnTo>
                    <a:pt x="2629354" y="1577468"/>
                  </a:lnTo>
                  <a:lnTo>
                    <a:pt x="2359641" y="1848579"/>
                  </a:lnTo>
                  <a:lnTo>
                    <a:pt x="2623065" y="1848579"/>
                  </a:lnTo>
                  <a:lnTo>
                    <a:pt x="2893477" y="1577468"/>
                  </a:lnTo>
                  <a:lnTo>
                    <a:pt x="2759320" y="1444009"/>
                  </a:lnTo>
                  <a:lnTo>
                    <a:pt x="2622367" y="1307056"/>
                  </a:lnTo>
                  <a:close/>
                  <a:moveTo>
                    <a:pt x="2906754" y="1306358"/>
                  </a:moveTo>
                  <a:lnTo>
                    <a:pt x="2908151" y="1307755"/>
                  </a:lnTo>
                  <a:lnTo>
                    <a:pt x="3177864" y="1576769"/>
                  </a:lnTo>
                  <a:lnTo>
                    <a:pt x="2907452" y="1847181"/>
                  </a:lnTo>
                  <a:lnTo>
                    <a:pt x="3171576" y="1847181"/>
                  </a:lnTo>
                  <a:lnTo>
                    <a:pt x="3441988" y="1576769"/>
                  </a:lnTo>
                  <a:lnTo>
                    <a:pt x="3436398" y="1571878"/>
                  </a:lnTo>
                  <a:lnTo>
                    <a:pt x="3170877" y="1306358"/>
                  </a:lnTo>
                  <a:close/>
                  <a:moveTo>
                    <a:pt x="1525347" y="1306358"/>
                  </a:moveTo>
                  <a:lnTo>
                    <a:pt x="1523949" y="1307056"/>
                  </a:lnTo>
                  <a:lnTo>
                    <a:pt x="1259826" y="1307056"/>
                  </a:lnTo>
                  <a:lnTo>
                    <a:pt x="1530937" y="1577468"/>
                  </a:lnTo>
                  <a:lnTo>
                    <a:pt x="1526744" y="1581660"/>
                  </a:lnTo>
                  <a:lnTo>
                    <a:pt x="1532333" y="1578866"/>
                  </a:lnTo>
                  <a:lnTo>
                    <a:pt x="1261921" y="1849977"/>
                  </a:lnTo>
                  <a:lnTo>
                    <a:pt x="1526046" y="1849977"/>
                  </a:lnTo>
                  <a:lnTo>
                    <a:pt x="1796458" y="1578866"/>
                  </a:lnTo>
                  <a:lnTo>
                    <a:pt x="1525347" y="1308454"/>
                  </a:lnTo>
                  <a:close/>
                  <a:moveTo>
                    <a:pt x="3454565" y="1305659"/>
                  </a:moveTo>
                  <a:lnTo>
                    <a:pt x="3725676" y="1576071"/>
                  </a:lnTo>
                  <a:lnTo>
                    <a:pt x="3722882" y="1578866"/>
                  </a:lnTo>
                  <a:lnTo>
                    <a:pt x="3632744" y="1669701"/>
                  </a:lnTo>
                  <a:lnTo>
                    <a:pt x="3455264" y="1846482"/>
                  </a:lnTo>
                  <a:lnTo>
                    <a:pt x="3719387" y="1846482"/>
                  </a:lnTo>
                  <a:lnTo>
                    <a:pt x="3808826" y="1757044"/>
                  </a:lnTo>
                  <a:lnTo>
                    <a:pt x="3989799" y="1576071"/>
                  </a:lnTo>
                  <a:lnTo>
                    <a:pt x="3718688" y="1305659"/>
                  </a:lnTo>
                  <a:close/>
                  <a:moveTo>
                    <a:pt x="4813703" y="1304267"/>
                  </a:moveTo>
                  <a:lnTo>
                    <a:pt x="4551587" y="1304960"/>
                  </a:lnTo>
                  <a:lnTo>
                    <a:pt x="4819301" y="1570610"/>
                  </a:lnTo>
                  <a:lnTo>
                    <a:pt x="5080048" y="1570610"/>
                  </a:lnTo>
                  <a:lnTo>
                    <a:pt x="4950082" y="1440645"/>
                  </a:lnTo>
                  <a:close/>
                  <a:moveTo>
                    <a:pt x="4824309" y="1303692"/>
                  </a:moveTo>
                  <a:lnTo>
                    <a:pt x="4954274" y="1433657"/>
                  </a:lnTo>
                  <a:lnTo>
                    <a:pt x="5094721" y="1574104"/>
                  </a:lnTo>
                  <a:lnTo>
                    <a:pt x="4824309" y="1845215"/>
                  </a:lnTo>
                  <a:lnTo>
                    <a:pt x="5088432" y="1845215"/>
                  </a:lnTo>
                  <a:lnTo>
                    <a:pt x="5358844" y="1574104"/>
                  </a:lnTo>
                  <a:lnTo>
                    <a:pt x="5087733" y="1303692"/>
                  </a:lnTo>
                  <a:close/>
                  <a:moveTo>
                    <a:pt x="6469839" y="1302993"/>
                  </a:moveTo>
                  <a:lnTo>
                    <a:pt x="6740950" y="1573405"/>
                  </a:lnTo>
                  <a:lnTo>
                    <a:pt x="6470538" y="1843817"/>
                  </a:lnTo>
                  <a:lnTo>
                    <a:pt x="6734661" y="1843817"/>
                  </a:lnTo>
                  <a:lnTo>
                    <a:pt x="7005075" y="1573405"/>
                  </a:lnTo>
                  <a:lnTo>
                    <a:pt x="6733962" y="1302993"/>
                  </a:lnTo>
                  <a:close/>
                  <a:moveTo>
                    <a:pt x="5372120" y="1302993"/>
                  </a:moveTo>
                  <a:lnTo>
                    <a:pt x="5643231" y="1573405"/>
                  </a:lnTo>
                  <a:lnTo>
                    <a:pt x="5372819" y="1844516"/>
                  </a:lnTo>
                  <a:lnTo>
                    <a:pt x="5636944" y="1844516"/>
                  </a:lnTo>
                  <a:lnTo>
                    <a:pt x="5907355" y="1573405"/>
                  </a:lnTo>
                  <a:lnTo>
                    <a:pt x="5636244" y="1302993"/>
                  </a:lnTo>
                  <a:close/>
                  <a:moveTo>
                    <a:pt x="7018349" y="1302294"/>
                  </a:moveTo>
                  <a:lnTo>
                    <a:pt x="7289460" y="1572706"/>
                  </a:lnTo>
                  <a:lnTo>
                    <a:pt x="7019748" y="1843817"/>
                  </a:lnTo>
                  <a:lnTo>
                    <a:pt x="7283171" y="1843817"/>
                  </a:lnTo>
                  <a:lnTo>
                    <a:pt x="7553583" y="1572706"/>
                  </a:lnTo>
                  <a:lnTo>
                    <a:pt x="7419426" y="1439247"/>
                  </a:lnTo>
                  <a:lnTo>
                    <a:pt x="7282473" y="1302294"/>
                  </a:lnTo>
                  <a:close/>
                  <a:moveTo>
                    <a:pt x="7566860" y="1301596"/>
                  </a:moveTo>
                  <a:lnTo>
                    <a:pt x="7568257" y="1302993"/>
                  </a:lnTo>
                  <a:lnTo>
                    <a:pt x="7837970" y="1572007"/>
                  </a:lnTo>
                  <a:lnTo>
                    <a:pt x="7567558" y="1842419"/>
                  </a:lnTo>
                  <a:lnTo>
                    <a:pt x="7831682" y="1842419"/>
                  </a:lnTo>
                  <a:lnTo>
                    <a:pt x="8102094" y="1572007"/>
                  </a:lnTo>
                  <a:lnTo>
                    <a:pt x="8096504" y="1567116"/>
                  </a:lnTo>
                  <a:lnTo>
                    <a:pt x="7830983" y="1301596"/>
                  </a:lnTo>
                  <a:close/>
                  <a:moveTo>
                    <a:pt x="6185454" y="1301596"/>
                  </a:moveTo>
                  <a:lnTo>
                    <a:pt x="6184056" y="1302294"/>
                  </a:lnTo>
                  <a:lnTo>
                    <a:pt x="5919933" y="1302294"/>
                  </a:lnTo>
                  <a:lnTo>
                    <a:pt x="6191043" y="1572706"/>
                  </a:lnTo>
                  <a:lnTo>
                    <a:pt x="6186850" y="1576898"/>
                  </a:lnTo>
                  <a:lnTo>
                    <a:pt x="6192439" y="1574104"/>
                  </a:lnTo>
                  <a:lnTo>
                    <a:pt x="5922027" y="1845215"/>
                  </a:lnTo>
                  <a:lnTo>
                    <a:pt x="6186152" y="1845215"/>
                  </a:lnTo>
                  <a:lnTo>
                    <a:pt x="6456565" y="1574104"/>
                  </a:lnTo>
                  <a:lnTo>
                    <a:pt x="6185454" y="1303692"/>
                  </a:lnTo>
                  <a:close/>
                  <a:moveTo>
                    <a:pt x="8114671" y="1300897"/>
                  </a:moveTo>
                  <a:lnTo>
                    <a:pt x="8385782" y="1571309"/>
                  </a:lnTo>
                  <a:lnTo>
                    <a:pt x="8382988" y="1574104"/>
                  </a:lnTo>
                  <a:lnTo>
                    <a:pt x="8292850" y="1664939"/>
                  </a:lnTo>
                  <a:lnTo>
                    <a:pt x="8115370" y="1841720"/>
                  </a:lnTo>
                  <a:lnTo>
                    <a:pt x="8379493" y="1841720"/>
                  </a:lnTo>
                  <a:lnTo>
                    <a:pt x="8468932" y="1752282"/>
                  </a:lnTo>
                  <a:lnTo>
                    <a:pt x="8649905" y="1571309"/>
                  </a:lnTo>
                  <a:lnTo>
                    <a:pt x="8378794" y="1300897"/>
                  </a:lnTo>
                  <a:close/>
                  <a:moveTo>
                    <a:pt x="9484726" y="1300517"/>
                  </a:moveTo>
                  <a:lnTo>
                    <a:pt x="9614691" y="1430482"/>
                  </a:lnTo>
                  <a:lnTo>
                    <a:pt x="9755138" y="1570929"/>
                  </a:lnTo>
                  <a:lnTo>
                    <a:pt x="9484726" y="1842040"/>
                  </a:lnTo>
                  <a:lnTo>
                    <a:pt x="9748849" y="1842040"/>
                  </a:lnTo>
                  <a:lnTo>
                    <a:pt x="10019261" y="1570929"/>
                  </a:lnTo>
                  <a:lnTo>
                    <a:pt x="9748150" y="1300517"/>
                  </a:lnTo>
                  <a:close/>
                  <a:moveTo>
                    <a:pt x="11130256" y="1299818"/>
                  </a:moveTo>
                  <a:lnTo>
                    <a:pt x="11401367" y="1570230"/>
                  </a:lnTo>
                  <a:lnTo>
                    <a:pt x="11130955" y="1840642"/>
                  </a:lnTo>
                  <a:lnTo>
                    <a:pt x="11395078" y="1840642"/>
                  </a:lnTo>
                  <a:lnTo>
                    <a:pt x="11665491" y="1570230"/>
                  </a:lnTo>
                  <a:lnTo>
                    <a:pt x="11394379" y="1299818"/>
                  </a:lnTo>
                  <a:close/>
                  <a:moveTo>
                    <a:pt x="10032537" y="1299818"/>
                  </a:moveTo>
                  <a:lnTo>
                    <a:pt x="10303648" y="1570230"/>
                  </a:lnTo>
                  <a:lnTo>
                    <a:pt x="10033236" y="1841341"/>
                  </a:lnTo>
                  <a:lnTo>
                    <a:pt x="10297360" y="1841341"/>
                  </a:lnTo>
                  <a:lnTo>
                    <a:pt x="10567772" y="1570230"/>
                  </a:lnTo>
                  <a:lnTo>
                    <a:pt x="10296661" y="1299818"/>
                  </a:lnTo>
                  <a:close/>
                  <a:moveTo>
                    <a:pt x="9472537" y="1299508"/>
                  </a:moveTo>
                  <a:lnTo>
                    <a:pt x="9211692" y="1300198"/>
                  </a:lnTo>
                  <a:lnTo>
                    <a:pt x="9481007" y="1567435"/>
                  </a:lnTo>
                  <a:lnTo>
                    <a:pt x="9740464" y="1567435"/>
                  </a:lnTo>
                  <a:lnTo>
                    <a:pt x="9610499" y="1437470"/>
                  </a:lnTo>
                  <a:close/>
                  <a:moveTo>
                    <a:pt x="10845870" y="1298421"/>
                  </a:moveTo>
                  <a:lnTo>
                    <a:pt x="10844472" y="1299119"/>
                  </a:lnTo>
                  <a:lnTo>
                    <a:pt x="10580349" y="1299119"/>
                  </a:lnTo>
                  <a:lnTo>
                    <a:pt x="10851460" y="1569531"/>
                  </a:lnTo>
                  <a:lnTo>
                    <a:pt x="10847267" y="1573723"/>
                  </a:lnTo>
                  <a:lnTo>
                    <a:pt x="10852856" y="1570929"/>
                  </a:lnTo>
                  <a:lnTo>
                    <a:pt x="10582444" y="1842040"/>
                  </a:lnTo>
                  <a:lnTo>
                    <a:pt x="10846569" y="1842040"/>
                  </a:lnTo>
                  <a:lnTo>
                    <a:pt x="11116981" y="1570929"/>
                  </a:lnTo>
                  <a:lnTo>
                    <a:pt x="10845870" y="1300517"/>
                  </a:lnTo>
                  <a:close/>
                  <a:moveTo>
                    <a:pt x="1802048" y="1033150"/>
                  </a:moveTo>
                  <a:lnTo>
                    <a:pt x="1531636" y="1304261"/>
                  </a:lnTo>
                  <a:lnTo>
                    <a:pt x="1802746" y="1574673"/>
                  </a:lnTo>
                  <a:lnTo>
                    <a:pt x="2066870" y="1574673"/>
                  </a:lnTo>
                  <a:lnTo>
                    <a:pt x="1795759" y="1304261"/>
                  </a:lnTo>
                  <a:lnTo>
                    <a:pt x="2066171" y="1033150"/>
                  </a:lnTo>
                  <a:close/>
                  <a:moveTo>
                    <a:pt x="704328" y="1033150"/>
                  </a:moveTo>
                  <a:lnTo>
                    <a:pt x="433916" y="1304261"/>
                  </a:lnTo>
                  <a:lnTo>
                    <a:pt x="705027" y="1574673"/>
                  </a:lnTo>
                  <a:lnTo>
                    <a:pt x="969150" y="1574673"/>
                  </a:lnTo>
                  <a:lnTo>
                    <a:pt x="698039" y="1304261"/>
                  </a:lnTo>
                  <a:lnTo>
                    <a:pt x="967752" y="1033150"/>
                  </a:lnTo>
                  <a:close/>
                  <a:moveTo>
                    <a:pt x="2899067" y="1032451"/>
                  </a:moveTo>
                  <a:lnTo>
                    <a:pt x="2718793" y="1212727"/>
                  </a:lnTo>
                  <a:lnTo>
                    <a:pt x="2629354" y="1302864"/>
                  </a:lnTo>
                  <a:lnTo>
                    <a:pt x="2763512" y="1436323"/>
                  </a:lnTo>
                  <a:lnTo>
                    <a:pt x="2900465" y="1573275"/>
                  </a:lnTo>
                  <a:lnTo>
                    <a:pt x="3164588" y="1573275"/>
                  </a:lnTo>
                  <a:lnTo>
                    <a:pt x="2893477" y="1302864"/>
                  </a:lnTo>
                  <a:lnTo>
                    <a:pt x="2894875" y="1301467"/>
                  </a:lnTo>
                  <a:lnTo>
                    <a:pt x="3163191" y="1032451"/>
                  </a:lnTo>
                  <a:close/>
                  <a:moveTo>
                    <a:pt x="2350558" y="1032451"/>
                  </a:moveTo>
                  <a:lnTo>
                    <a:pt x="2080145" y="1303562"/>
                  </a:lnTo>
                  <a:lnTo>
                    <a:pt x="2351257" y="1573974"/>
                  </a:lnTo>
                  <a:lnTo>
                    <a:pt x="2615379" y="1573974"/>
                  </a:lnTo>
                  <a:lnTo>
                    <a:pt x="2344269" y="1303562"/>
                  </a:lnTo>
                  <a:lnTo>
                    <a:pt x="2528736" y="1119096"/>
                  </a:lnTo>
                  <a:lnTo>
                    <a:pt x="2614681" y="1033150"/>
                  </a:lnTo>
                  <a:lnTo>
                    <a:pt x="2356148" y="1033150"/>
                  </a:lnTo>
                  <a:close/>
                  <a:moveTo>
                    <a:pt x="1252838" y="1032451"/>
                  </a:moveTo>
                  <a:lnTo>
                    <a:pt x="982426" y="1303562"/>
                  </a:lnTo>
                  <a:lnTo>
                    <a:pt x="1253537" y="1573974"/>
                  </a:lnTo>
                  <a:lnTo>
                    <a:pt x="1517660" y="1573974"/>
                  </a:lnTo>
                  <a:lnTo>
                    <a:pt x="1246550" y="1303562"/>
                  </a:lnTo>
                  <a:lnTo>
                    <a:pt x="1431017" y="1119096"/>
                  </a:lnTo>
                  <a:lnTo>
                    <a:pt x="1516962" y="1032451"/>
                  </a:lnTo>
                  <a:close/>
                  <a:moveTo>
                    <a:pt x="3447578" y="1031753"/>
                  </a:moveTo>
                  <a:lnTo>
                    <a:pt x="3177166" y="1302864"/>
                  </a:lnTo>
                  <a:lnTo>
                    <a:pt x="3448276" y="1573275"/>
                  </a:lnTo>
                  <a:lnTo>
                    <a:pt x="3712400" y="1573275"/>
                  </a:lnTo>
                  <a:lnTo>
                    <a:pt x="3441289" y="1302864"/>
                  </a:lnTo>
                  <a:lnTo>
                    <a:pt x="3711701" y="1031753"/>
                  </a:lnTo>
                  <a:close/>
                  <a:moveTo>
                    <a:pt x="4544599" y="1030356"/>
                  </a:moveTo>
                  <a:lnTo>
                    <a:pt x="4274187" y="1301467"/>
                  </a:lnTo>
                  <a:lnTo>
                    <a:pt x="4545297" y="1571878"/>
                  </a:lnTo>
                  <a:lnTo>
                    <a:pt x="4806712" y="1571878"/>
                  </a:lnTo>
                  <a:lnTo>
                    <a:pt x="4660106" y="1425273"/>
                  </a:lnTo>
                  <a:lnTo>
                    <a:pt x="4660106" y="1422949"/>
                  </a:lnTo>
                  <a:lnTo>
                    <a:pt x="4538310" y="1301467"/>
                  </a:lnTo>
                  <a:lnTo>
                    <a:pt x="4660106" y="1179209"/>
                  </a:lnTo>
                  <a:lnTo>
                    <a:pt x="4660106" y="1175123"/>
                  </a:lnTo>
                  <a:lnTo>
                    <a:pt x="4804873" y="1030356"/>
                  </a:lnTo>
                  <a:close/>
                  <a:moveTo>
                    <a:pt x="3995389" y="1030356"/>
                  </a:moveTo>
                  <a:lnTo>
                    <a:pt x="3724977" y="1301467"/>
                  </a:lnTo>
                  <a:lnTo>
                    <a:pt x="3996088" y="1571878"/>
                  </a:lnTo>
                  <a:lnTo>
                    <a:pt x="4064564" y="1571878"/>
                  </a:lnTo>
                  <a:lnTo>
                    <a:pt x="4061071" y="1578866"/>
                  </a:lnTo>
                  <a:lnTo>
                    <a:pt x="3996088" y="1578866"/>
                  </a:lnTo>
                  <a:lnTo>
                    <a:pt x="3815814" y="1759839"/>
                  </a:lnTo>
                  <a:lnTo>
                    <a:pt x="3726375" y="1849977"/>
                  </a:lnTo>
                  <a:lnTo>
                    <a:pt x="3859834" y="1983435"/>
                  </a:lnTo>
                  <a:lnTo>
                    <a:pt x="3857039" y="1989025"/>
                  </a:lnTo>
                  <a:lnTo>
                    <a:pt x="3857739" y="1989722"/>
                  </a:lnTo>
                  <a:lnTo>
                    <a:pt x="3857039" y="1991122"/>
                  </a:lnTo>
                  <a:lnTo>
                    <a:pt x="3720086" y="1854169"/>
                  </a:lnTo>
                  <a:lnTo>
                    <a:pt x="3455963" y="1854169"/>
                  </a:lnTo>
                  <a:lnTo>
                    <a:pt x="3727074" y="2124581"/>
                  </a:lnTo>
                  <a:lnTo>
                    <a:pt x="3456662" y="2395692"/>
                  </a:lnTo>
                  <a:lnTo>
                    <a:pt x="3654754" y="2395692"/>
                  </a:lnTo>
                  <a:lnTo>
                    <a:pt x="3652309" y="2400583"/>
                  </a:lnTo>
                  <a:lnTo>
                    <a:pt x="3652658" y="2400583"/>
                  </a:lnTo>
                  <a:lnTo>
                    <a:pt x="3651610" y="2402679"/>
                  </a:lnTo>
                  <a:lnTo>
                    <a:pt x="3456662" y="2402679"/>
                  </a:lnTo>
                  <a:lnTo>
                    <a:pt x="3586394" y="2532412"/>
                  </a:lnTo>
                  <a:lnTo>
                    <a:pt x="3583832" y="2537535"/>
                  </a:lnTo>
                  <a:lnTo>
                    <a:pt x="3584065" y="2537768"/>
                  </a:lnTo>
                  <a:lnTo>
                    <a:pt x="3583133" y="2539632"/>
                  </a:lnTo>
                  <a:lnTo>
                    <a:pt x="3442687" y="2399185"/>
                  </a:lnTo>
                  <a:lnTo>
                    <a:pt x="3713099" y="2128074"/>
                  </a:lnTo>
                  <a:lnTo>
                    <a:pt x="3448975" y="2128074"/>
                  </a:lnTo>
                  <a:lnTo>
                    <a:pt x="3178563" y="2399185"/>
                  </a:lnTo>
                  <a:lnTo>
                    <a:pt x="3448975" y="2670296"/>
                  </a:lnTo>
                  <a:lnTo>
                    <a:pt x="3517452" y="2670296"/>
                  </a:lnTo>
                  <a:lnTo>
                    <a:pt x="3518849" y="2667501"/>
                  </a:lnTo>
                  <a:lnTo>
                    <a:pt x="3713797" y="2667501"/>
                  </a:lnTo>
                  <a:lnTo>
                    <a:pt x="3584065" y="2537768"/>
                  </a:lnTo>
                  <a:lnTo>
                    <a:pt x="3586627" y="2532645"/>
                  </a:lnTo>
                  <a:lnTo>
                    <a:pt x="3586394" y="2532412"/>
                  </a:lnTo>
                  <a:lnTo>
                    <a:pt x="3587326" y="2530548"/>
                  </a:lnTo>
                  <a:lnTo>
                    <a:pt x="3727772" y="2670995"/>
                  </a:lnTo>
                  <a:lnTo>
                    <a:pt x="3457360" y="2942106"/>
                  </a:lnTo>
                  <a:lnTo>
                    <a:pt x="3721484" y="2942106"/>
                  </a:lnTo>
                  <a:lnTo>
                    <a:pt x="3991896" y="2670995"/>
                  </a:lnTo>
                  <a:lnTo>
                    <a:pt x="3720785" y="2400583"/>
                  </a:lnTo>
                  <a:lnTo>
                    <a:pt x="3652658" y="2400583"/>
                  </a:lnTo>
                  <a:lnTo>
                    <a:pt x="3655103" y="2395692"/>
                  </a:lnTo>
                  <a:lnTo>
                    <a:pt x="3654754" y="2395692"/>
                  </a:lnTo>
                  <a:lnTo>
                    <a:pt x="3655802" y="2393595"/>
                  </a:lnTo>
                  <a:lnTo>
                    <a:pt x="3720785" y="2393595"/>
                  </a:lnTo>
                  <a:lnTo>
                    <a:pt x="3991197" y="2122484"/>
                  </a:lnTo>
                  <a:lnTo>
                    <a:pt x="3857739" y="1989722"/>
                  </a:lnTo>
                  <a:lnTo>
                    <a:pt x="3860533" y="1984134"/>
                  </a:lnTo>
                  <a:lnTo>
                    <a:pt x="3859834" y="1983435"/>
                  </a:lnTo>
                  <a:lnTo>
                    <a:pt x="3860533" y="1982038"/>
                  </a:lnTo>
                  <a:lnTo>
                    <a:pt x="3997486" y="2118991"/>
                  </a:lnTo>
                  <a:lnTo>
                    <a:pt x="4261609" y="2118991"/>
                  </a:lnTo>
                  <a:lnTo>
                    <a:pt x="3990498" y="1848579"/>
                  </a:lnTo>
                  <a:lnTo>
                    <a:pt x="3991896" y="1847181"/>
                  </a:lnTo>
                  <a:lnTo>
                    <a:pt x="4260212" y="1578167"/>
                  </a:lnTo>
                  <a:lnTo>
                    <a:pt x="4061770" y="1578167"/>
                  </a:lnTo>
                  <a:lnTo>
                    <a:pt x="4065263" y="1571180"/>
                  </a:lnTo>
                  <a:lnTo>
                    <a:pt x="4260212" y="1571180"/>
                  </a:lnTo>
                  <a:lnTo>
                    <a:pt x="4130246" y="1441215"/>
                  </a:lnTo>
                  <a:lnTo>
                    <a:pt x="4133739" y="1434227"/>
                  </a:lnTo>
                  <a:lnTo>
                    <a:pt x="4274187" y="1574673"/>
                  </a:lnTo>
                  <a:lnTo>
                    <a:pt x="4003774" y="1845784"/>
                  </a:lnTo>
                  <a:lnTo>
                    <a:pt x="4267898" y="1845784"/>
                  </a:lnTo>
                  <a:lnTo>
                    <a:pt x="4538310" y="1574673"/>
                  </a:lnTo>
                  <a:lnTo>
                    <a:pt x="4267200" y="1304960"/>
                  </a:lnTo>
                  <a:lnTo>
                    <a:pt x="4198724" y="1304960"/>
                  </a:lnTo>
                  <a:lnTo>
                    <a:pt x="4003774" y="1304960"/>
                  </a:lnTo>
                  <a:lnTo>
                    <a:pt x="4133040" y="1434926"/>
                  </a:lnTo>
                  <a:lnTo>
                    <a:pt x="4129547" y="1441912"/>
                  </a:lnTo>
                  <a:lnTo>
                    <a:pt x="3989100" y="1301467"/>
                  </a:lnTo>
                  <a:lnTo>
                    <a:pt x="4259512" y="1030356"/>
                  </a:lnTo>
                  <a:close/>
                  <a:moveTo>
                    <a:pt x="4819080" y="1029786"/>
                  </a:moveTo>
                  <a:lnTo>
                    <a:pt x="4551587" y="1297972"/>
                  </a:lnTo>
                  <a:lnTo>
                    <a:pt x="4811861" y="1297972"/>
                  </a:lnTo>
                  <a:lnTo>
                    <a:pt x="5080048" y="1029786"/>
                  </a:lnTo>
                  <a:close/>
                  <a:moveTo>
                    <a:pt x="6462154" y="1028388"/>
                  </a:moveTo>
                  <a:lnTo>
                    <a:pt x="6191742" y="1299499"/>
                  </a:lnTo>
                  <a:lnTo>
                    <a:pt x="6462852" y="1569911"/>
                  </a:lnTo>
                  <a:lnTo>
                    <a:pt x="6726977" y="1569911"/>
                  </a:lnTo>
                  <a:lnTo>
                    <a:pt x="6455865" y="1299499"/>
                  </a:lnTo>
                  <a:lnTo>
                    <a:pt x="6726277" y="1028388"/>
                  </a:lnTo>
                  <a:close/>
                  <a:moveTo>
                    <a:pt x="5364435" y="1028388"/>
                  </a:moveTo>
                  <a:lnTo>
                    <a:pt x="5094022" y="1299499"/>
                  </a:lnTo>
                  <a:lnTo>
                    <a:pt x="5365133" y="1569911"/>
                  </a:lnTo>
                  <a:lnTo>
                    <a:pt x="5629256" y="1569911"/>
                  </a:lnTo>
                  <a:lnTo>
                    <a:pt x="5358145" y="1299499"/>
                  </a:lnTo>
                  <a:lnTo>
                    <a:pt x="5627858" y="1028388"/>
                  </a:lnTo>
                  <a:close/>
                  <a:moveTo>
                    <a:pt x="7559173" y="1027689"/>
                  </a:moveTo>
                  <a:lnTo>
                    <a:pt x="7378899" y="1207965"/>
                  </a:lnTo>
                  <a:lnTo>
                    <a:pt x="7289460" y="1298102"/>
                  </a:lnTo>
                  <a:lnTo>
                    <a:pt x="7423618" y="1431561"/>
                  </a:lnTo>
                  <a:lnTo>
                    <a:pt x="7560571" y="1568513"/>
                  </a:lnTo>
                  <a:lnTo>
                    <a:pt x="7824694" y="1568513"/>
                  </a:lnTo>
                  <a:lnTo>
                    <a:pt x="7553583" y="1298102"/>
                  </a:lnTo>
                  <a:lnTo>
                    <a:pt x="7554981" y="1296705"/>
                  </a:lnTo>
                  <a:lnTo>
                    <a:pt x="7823297" y="1027689"/>
                  </a:lnTo>
                  <a:close/>
                  <a:moveTo>
                    <a:pt x="7010664" y="1027689"/>
                  </a:moveTo>
                  <a:lnTo>
                    <a:pt x="6740251" y="1298800"/>
                  </a:lnTo>
                  <a:lnTo>
                    <a:pt x="7011363" y="1569212"/>
                  </a:lnTo>
                  <a:lnTo>
                    <a:pt x="7275485" y="1569212"/>
                  </a:lnTo>
                  <a:lnTo>
                    <a:pt x="7004375" y="1298800"/>
                  </a:lnTo>
                  <a:lnTo>
                    <a:pt x="7188842" y="1114334"/>
                  </a:lnTo>
                  <a:lnTo>
                    <a:pt x="7274787" y="1028388"/>
                  </a:lnTo>
                  <a:lnTo>
                    <a:pt x="7016254" y="1028388"/>
                  </a:lnTo>
                  <a:close/>
                  <a:moveTo>
                    <a:pt x="5912945" y="1027689"/>
                  </a:moveTo>
                  <a:lnTo>
                    <a:pt x="5642533" y="1298800"/>
                  </a:lnTo>
                  <a:lnTo>
                    <a:pt x="5913643" y="1569212"/>
                  </a:lnTo>
                  <a:lnTo>
                    <a:pt x="6177766" y="1569212"/>
                  </a:lnTo>
                  <a:lnTo>
                    <a:pt x="5906656" y="1298800"/>
                  </a:lnTo>
                  <a:lnTo>
                    <a:pt x="6091123" y="1114334"/>
                  </a:lnTo>
                  <a:lnTo>
                    <a:pt x="6177068" y="1027689"/>
                  </a:lnTo>
                  <a:close/>
                  <a:moveTo>
                    <a:pt x="8107684" y="1026991"/>
                  </a:moveTo>
                  <a:lnTo>
                    <a:pt x="7837272" y="1298102"/>
                  </a:lnTo>
                  <a:lnTo>
                    <a:pt x="8108382" y="1568513"/>
                  </a:lnTo>
                  <a:lnTo>
                    <a:pt x="8372506" y="1568513"/>
                  </a:lnTo>
                  <a:lnTo>
                    <a:pt x="8101395" y="1298102"/>
                  </a:lnTo>
                  <a:lnTo>
                    <a:pt x="8371807" y="1026991"/>
                  </a:lnTo>
                  <a:close/>
                  <a:moveTo>
                    <a:pt x="9477604" y="1026611"/>
                  </a:moveTo>
                  <a:lnTo>
                    <a:pt x="9211692" y="1293210"/>
                  </a:lnTo>
                  <a:lnTo>
                    <a:pt x="9473865" y="1293210"/>
                  </a:lnTo>
                  <a:lnTo>
                    <a:pt x="9740464" y="1026611"/>
                  </a:lnTo>
                  <a:close/>
                  <a:moveTo>
                    <a:pt x="9204704" y="1025594"/>
                  </a:moveTo>
                  <a:lnTo>
                    <a:pt x="8934292" y="1296705"/>
                  </a:lnTo>
                  <a:lnTo>
                    <a:pt x="9205403" y="1567116"/>
                  </a:lnTo>
                  <a:lnTo>
                    <a:pt x="9465541" y="1567116"/>
                  </a:lnTo>
                  <a:lnTo>
                    <a:pt x="9320523" y="1422098"/>
                  </a:lnTo>
                  <a:lnTo>
                    <a:pt x="9320523" y="1418497"/>
                  </a:lnTo>
                  <a:lnTo>
                    <a:pt x="9198416" y="1296705"/>
                  </a:lnTo>
                  <a:lnTo>
                    <a:pt x="9320523" y="1174135"/>
                  </a:lnTo>
                  <a:lnTo>
                    <a:pt x="9320523" y="1171948"/>
                  </a:lnTo>
                  <a:lnTo>
                    <a:pt x="9466877" y="1025594"/>
                  </a:lnTo>
                  <a:close/>
                  <a:moveTo>
                    <a:pt x="8655495" y="1025594"/>
                  </a:moveTo>
                  <a:lnTo>
                    <a:pt x="8385083" y="1296705"/>
                  </a:lnTo>
                  <a:lnTo>
                    <a:pt x="8656194" y="1567116"/>
                  </a:lnTo>
                  <a:lnTo>
                    <a:pt x="8724670" y="1567116"/>
                  </a:lnTo>
                  <a:lnTo>
                    <a:pt x="8721177" y="1574104"/>
                  </a:lnTo>
                  <a:lnTo>
                    <a:pt x="8656194" y="1574104"/>
                  </a:lnTo>
                  <a:lnTo>
                    <a:pt x="8475920" y="1755077"/>
                  </a:lnTo>
                  <a:lnTo>
                    <a:pt x="8386481" y="1845215"/>
                  </a:lnTo>
                  <a:lnTo>
                    <a:pt x="8519940" y="1978673"/>
                  </a:lnTo>
                  <a:lnTo>
                    <a:pt x="8517145" y="1984263"/>
                  </a:lnTo>
                  <a:lnTo>
                    <a:pt x="8517845" y="1984960"/>
                  </a:lnTo>
                  <a:lnTo>
                    <a:pt x="8517145" y="1986360"/>
                  </a:lnTo>
                  <a:lnTo>
                    <a:pt x="8380192" y="1849407"/>
                  </a:lnTo>
                  <a:lnTo>
                    <a:pt x="8116069" y="1849407"/>
                  </a:lnTo>
                  <a:lnTo>
                    <a:pt x="8387180" y="2119819"/>
                  </a:lnTo>
                  <a:lnTo>
                    <a:pt x="8116768" y="2390930"/>
                  </a:lnTo>
                  <a:lnTo>
                    <a:pt x="8314860" y="2390930"/>
                  </a:lnTo>
                  <a:lnTo>
                    <a:pt x="8312415" y="2395821"/>
                  </a:lnTo>
                  <a:lnTo>
                    <a:pt x="8312764" y="2395821"/>
                  </a:lnTo>
                  <a:lnTo>
                    <a:pt x="8311716" y="2397917"/>
                  </a:lnTo>
                  <a:lnTo>
                    <a:pt x="8116768" y="2397917"/>
                  </a:lnTo>
                  <a:lnTo>
                    <a:pt x="8246500" y="2527650"/>
                  </a:lnTo>
                  <a:lnTo>
                    <a:pt x="8243938" y="2532773"/>
                  </a:lnTo>
                  <a:lnTo>
                    <a:pt x="8244171" y="2533006"/>
                  </a:lnTo>
                  <a:lnTo>
                    <a:pt x="8243239" y="2534870"/>
                  </a:lnTo>
                  <a:lnTo>
                    <a:pt x="8102793" y="2394423"/>
                  </a:lnTo>
                  <a:lnTo>
                    <a:pt x="8373205" y="2123312"/>
                  </a:lnTo>
                  <a:lnTo>
                    <a:pt x="8109081" y="2123312"/>
                  </a:lnTo>
                  <a:lnTo>
                    <a:pt x="7838669" y="2394423"/>
                  </a:lnTo>
                  <a:lnTo>
                    <a:pt x="8109081" y="2665534"/>
                  </a:lnTo>
                  <a:lnTo>
                    <a:pt x="8177558" y="2665534"/>
                  </a:lnTo>
                  <a:lnTo>
                    <a:pt x="8178955" y="2662739"/>
                  </a:lnTo>
                  <a:lnTo>
                    <a:pt x="8373903" y="2662739"/>
                  </a:lnTo>
                  <a:lnTo>
                    <a:pt x="8244171" y="2533006"/>
                  </a:lnTo>
                  <a:lnTo>
                    <a:pt x="8246733" y="2527883"/>
                  </a:lnTo>
                  <a:lnTo>
                    <a:pt x="8246500" y="2527650"/>
                  </a:lnTo>
                  <a:lnTo>
                    <a:pt x="8247432" y="2525786"/>
                  </a:lnTo>
                  <a:lnTo>
                    <a:pt x="8387878" y="2666233"/>
                  </a:lnTo>
                  <a:lnTo>
                    <a:pt x="8117466" y="2937344"/>
                  </a:lnTo>
                  <a:lnTo>
                    <a:pt x="8381590" y="2937344"/>
                  </a:lnTo>
                  <a:lnTo>
                    <a:pt x="8652002" y="2666233"/>
                  </a:lnTo>
                  <a:lnTo>
                    <a:pt x="8380891" y="2395821"/>
                  </a:lnTo>
                  <a:lnTo>
                    <a:pt x="8312764" y="2395821"/>
                  </a:lnTo>
                  <a:lnTo>
                    <a:pt x="8315209" y="2390930"/>
                  </a:lnTo>
                  <a:lnTo>
                    <a:pt x="8314860" y="2390930"/>
                  </a:lnTo>
                  <a:lnTo>
                    <a:pt x="8315908" y="2388833"/>
                  </a:lnTo>
                  <a:lnTo>
                    <a:pt x="8380891" y="2388833"/>
                  </a:lnTo>
                  <a:lnTo>
                    <a:pt x="8651303" y="2117722"/>
                  </a:lnTo>
                  <a:lnTo>
                    <a:pt x="8517845" y="1984960"/>
                  </a:lnTo>
                  <a:lnTo>
                    <a:pt x="8520639" y="1979372"/>
                  </a:lnTo>
                  <a:lnTo>
                    <a:pt x="8519940" y="1978673"/>
                  </a:lnTo>
                  <a:lnTo>
                    <a:pt x="8520639" y="1977276"/>
                  </a:lnTo>
                  <a:lnTo>
                    <a:pt x="8657592" y="2114230"/>
                  </a:lnTo>
                  <a:lnTo>
                    <a:pt x="8921715" y="2114230"/>
                  </a:lnTo>
                  <a:lnTo>
                    <a:pt x="8650604" y="1843817"/>
                  </a:lnTo>
                  <a:lnTo>
                    <a:pt x="8652002" y="1842419"/>
                  </a:lnTo>
                  <a:lnTo>
                    <a:pt x="8920317" y="1573405"/>
                  </a:lnTo>
                  <a:lnTo>
                    <a:pt x="8721876" y="1573405"/>
                  </a:lnTo>
                  <a:lnTo>
                    <a:pt x="8725369" y="1566418"/>
                  </a:lnTo>
                  <a:lnTo>
                    <a:pt x="8920317" y="1566418"/>
                  </a:lnTo>
                  <a:lnTo>
                    <a:pt x="8790352" y="1436453"/>
                  </a:lnTo>
                  <a:lnTo>
                    <a:pt x="8793845" y="1429465"/>
                  </a:lnTo>
                  <a:lnTo>
                    <a:pt x="8934292" y="1569911"/>
                  </a:lnTo>
                  <a:lnTo>
                    <a:pt x="8663880" y="1841022"/>
                  </a:lnTo>
                  <a:lnTo>
                    <a:pt x="8928004" y="1841022"/>
                  </a:lnTo>
                  <a:lnTo>
                    <a:pt x="9198416" y="1569911"/>
                  </a:lnTo>
                  <a:lnTo>
                    <a:pt x="8927305" y="1300198"/>
                  </a:lnTo>
                  <a:lnTo>
                    <a:pt x="8858829" y="1300198"/>
                  </a:lnTo>
                  <a:lnTo>
                    <a:pt x="8663880" y="1300198"/>
                  </a:lnTo>
                  <a:lnTo>
                    <a:pt x="8793146" y="1430164"/>
                  </a:lnTo>
                  <a:lnTo>
                    <a:pt x="8789653" y="1437150"/>
                  </a:lnTo>
                  <a:lnTo>
                    <a:pt x="8649206" y="1296705"/>
                  </a:lnTo>
                  <a:lnTo>
                    <a:pt x="8919618" y="1025594"/>
                  </a:lnTo>
                  <a:close/>
                  <a:moveTo>
                    <a:pt x="11122571" y="1025213"/>
                  </a:moveTo>
                  <a:lnTo>
                    <a:pt x="10852159" y="1296324"/>
                  </a:lnTo>
                  <a:lnTo>
                    <a:pt x="11123269" y="1566736"/>
                  </a:lnTo>
                  <a:lnTo>
                    <a:pt x="11387393" y="1566736"/>
                  </a:lnTo>
                  <a:lnTo>
                    <a:pt x="11116282" y="1296324"/>
                  </a:lnTo>
                  <a:lnTo>
                    <a:pt x="11386694" y="1025213"/>
                  </a:lnTo>
                  <a:close/>
                  <a:moveTo>
                    <a:pt x="10024851" y="1025213"/>
                  </a:moveTo>
                  <a:lnTo>
                    <a:pt x="9754439" y="1296324"/>
                  </a:lnTo>
                  <a:lnTo>
                    <a:pt x="10025550" y="1566736"/>
                  </a:lnTo>
                  <a:lnTo>
                    <a:pt x="10289673" y="1566736"/>
                  </a:lnTo>
                  <a:lnTo>
                    <a:pt x="10018562" y="1296324"/>
                  </a:lnTo>
                  <a:lnTo>
                    <a:pt x="10288275" y="1025213"/>
                  </a:lnTo>
                  <a:close/>
                  <a:moveTo>
                    <a:pt x="11671081" y="1024514"/>
                  </a:moveTo>
                  <a:lnTo>
                    <a:pt x="11400668" y="1295625"/>
                  </a:lnTo>
                  <a:lnTo>
                    <a:pt x="11671780" y="1566037"/>
                  </a:lnTo>
                  <a:lnTo>
                    <a:pt x="11935902" y="1566037"/>
                  </a:lnTo>
                  <a:lnTo>
                    <a:pt x="11664792" y="1295625"/>
                  </a:lnTo>
                  <a:lnTo>
                    <a:pt x="11849259" y="1111159"/>
                  </a:lnTo>
                  <a:lnTo>
                    <a:pt x="11935204" y="1025213"/>
                  </a:lnTo>
                  <a:lnTo>
                    <a:pt x="11676671" y="1025213"/>
                  </a:lnTo>
                  <a:close/>
                  <a:moveTo>
                    <a:pt x="10573361" y="1024514"/>
                  </a:moveTo>
                  <a:lnTo>
                    <a:pt x="10302949" y="1295625"/>
                  </a:lnTo>
                  <a:lnTo>
                    <a:pt x="10574060" y="1566037"/>
                  </a:lnTo>
                  <a:lnTo>
                    <a:pt x="10838183" y="1566037"/>
                  </a:lnTo>
                  <a:lnTo>
                    <a:pt x="10567073" y="1295625"/>
                  </a:lnTo>
                  <a:lnTo>
                    <a:pt x="10751540" y="1111159"/>
                  </a:lnTo>
                  <a:lnTo>
                    <a:pt x="10837485" y="1024514"/>
                  </a:lnTo>
                  <a:close/>
                  <a:moveTo>
                    <a:pt x="162805" y="759944"/>
                  </a:moveTo>
                  <a:lnTo>
                    <a:pt x="433916" y="1030356"/>
                  </a:lnTo>
                  <a:lnTo>
                    <a:pt x="164203" y="1301467"/>
                  </a:lnTo>
                  <a:lnTo>
                    <a:pt x="427627" y="1301467"/>
                  </a:lnTo>
                  <a:lnTo>
                    <a:pt x="698039" y="1030356"/>
                  </a:lnTo>
                  <a:lnTo>
                    <a:pt x="563881" y="896896"/>
                  </a:lnTo>
                  <a:lnTo>
                    <a:pt x="426928" y="759944"/>
                  </a:lnTo>
                  <a:close/>
                  <a:moveTo>
                    <a:pt x="1809035" y="759245"/>
                  </a:moveTo>
                  <a:lnTo>
                    <a:pt x="1937603" y="887813"/>
                  </a:lnTo>
                  <a:lnTo>
                    <a:pt x="2079447" y="1029657"/>
                  </a:lnTo>
                  <a:lnTo>
                    <a:pt x="1809035" y="1300768"/>
                  </a:lnTo>
                  <a:lnTo>
                    <a:pt x="2073158" y="1300768"/>
                  </a:lnTo>
                  <a:lnTo>
                    <a:pt x="2343570" y="1029657"/>
                  </a:lnTo>
                  <a:lnTo>
                    <a:pt x="2338678" y="1024766"/>
                  </a:lnTo>
                  <a:lnTo>
                    <a:pt x="2073158" y="759245"/>
                  </a:lnTo>
                  <a:close/>
                  <a:moveTo>
                    <a:pt x="2357544" y="758546"/>
                  </a:moveTo>
                  <a:lnTo>
                    <a:pt x="2628655" y="1028259"/>
                  </a:lnTo>
                  <a:lnTo>
                    <a:pt x="2625861" y="1031055"/>
                  </a:lnTo>
                  <a:lnTo>
                    <a:pt x="2535723" y="1121890"/>
                  </a:lnTo>
                  <a:lnTo>
                    <a:pt x="2358243" y="1299370"/>
                  </a:lnTo>
                  <a:lnTo>
                    <a:pt x="2622367" y="1299370"/>
                  </a:lnTo>
                  <a:lnTo>
                    <a:pt x="2711805" y="1209931"/>
                  </a:lnTo>
                  <a:lnTo>
                    <a:pt x="2892779" y="1028958"/>
                  </a:lnTo>
                  <a:lnTo>
                    <a:pt x="2621668" y="758546"/>
                  </a:lnTo>
                  <a:close/>
                  <a:moveTo>
                    <a:pt x="1259127" y="758546"/>
                  </a:moveTo>
                  <a:lnTo>
                    <a:pt x="1530238" y="1028259"/>
                  </a:lnTo>
                  <a:lnTo>
                    <a:pt x="1527442" y="1031055"/>
                  </a:lnTo>
                  <a:lnTo>
                    <a:pt x="1437306" y="1121890"/>
                  </a:lnTo>
                  <a:lnTo>
                    <a:pt x="1259826" y="1299370"/>
                  </a:lnTo>
                  <a:lnTo>
                    <a:pt x="1523949" y="1299370"/>
                  </a:lnTo>
                  <a:lnTo>
                    <a:pt x="1613388" y="1209931"/>
                  </a:lnTo>
                  <a:lnTo>
                    <a:pt x="1794361" y="1028958"/>
                  </a:lnTo>
                  <a:lnTo>
                    <a:pt x="1523250" y="758546"/>
                  </a:lnTo>
                  <a:close/>
                  <a:moveTo>
                    <a:pt x="710617" y="758546"/>
                  </a:moveTo>
                  <a:lnTo>
                    <a:pt x="712014" y="759944"/>
                  </a:lnTo>
                  <a:lnTo>
                    <a:pt x="981727" y="1028958"/>
                  </a:lnTo>
                  <a:lnTo>
                    <a:pt x="711316" y="1300069"/>
                  </a:lnTo>
                  <a:lnTo>
                    <a:pt x="975439" y="1300069"/>
                  </a:lnTo>
                  <a:lnTo>
                    <a:pt x="1245851" y="1028958"/>
                  </a:lnTo>
                  <a:lnTo>
                    <a:pt x="1240261" y="1024067"/>
                  </a:lnTo>
                  <a:lnTo>
                    <a:pt x="974740" y="758546"/>
                  </a:lnTo>
                  <a:close/>
                  <a:moveTo>
                    <a:pt x="2906055" y="757847"/>
                  </a:moveTo>
                  <a:lnTo>
                    <a:pt x="3036720" y="887114"/>
                  </a:lnTo>
                  <a:lnTo>
                    <a:pt x="3177166" y="1027560"/>
                  </a:lnTo>
                  <a:lnTo>
                    <a:pt x="2906754" y="1298671"/>
                  </a:lnTo>
                  <a:lnTo>
                    <a:pt x="3170877" y="1298671"/>
                  </a:lnTo>
                  <a:lnTo>
                    <a:pt x="3441289" y="1028259"/>
                  </a:lnTo>
                  <a:lnTo>
                    <a:pt x="3170178" y="757847"/>
                  </a:lnTo>
                  <a:close/>
                  <a:moveTo>
                    <a:pt x="3454565" y="757148"/>
                  </a:moveTo>
                  <a:lnTo>
                    <a:pt x="3725676" y="1027560"/>
                  </a:lnTo>
                  <a:lnTo>
                    <a:pt x="3455264" y="1298671"/>
                  </a:lnTo>
                  <a:lnTo>
                    <a:pt x="3719387" y="1298671"/>
                  </a:lnTo>
                  <a:lnTo>
                    <a:pt x="3989799" y="1027560"/>
                  </a:lnTo>
                  <a:lnTo>
                    <a:pt x="3718688" y="757148"/>
                  </a:lnTo>
                  <a:close/>
                  <a:moveTo>
                    <a:pt x="4003075" y="756449"/>
                  </a:moveTo>
                  <a:lnTo>
                    <a:pt x="4274187" y="1026861"/>
                  </a:lnTo>
                  <a:lnTo>
                    <a:pt x="4003774" y="1297972"/>
                  </a:lnTo>
                  <a:lnTo>
                    <a:pt x="4202216" y="1297972"/>
                  </a:lnTo>
                  <a:lnTo>
                    <a:pt x="4267200" y="1297972"/>
                  </a:lnTo>
                  <a:lnTo>
                    <a:pt x="4538310" y="1026861"/>
                  </a:lnTo>
                  <a:lnTo>
                    <a:pt x="4404151" y="893403"/>
                  </a:lnTo>
                  <a:lnTo>
                    <a:pt x="4267200" y="756449"/>
                  </a:lnTo>
                  <a:close/>
                  <a:moveTo>
                    <a:pt x="4550188" y="755751"/>
                  </a:moveTo>
                  <a:lnTo>
                    <a:pt x="4817225" y="1022099"/>
                  </a:lnTo>
                  <a:lnTo>
                    <a:pt x="5080048" y="1022099"/>
                  </a:lnTo>
                  <a:lnTo>
                    <a:pt x="4813011" y="755751"/>
                  </a:lnTo>
                  <a:close/>
                  <a:moveTo>
                    <a:pt x="4823396" y="755182"/>
                  </a:moveTo>
                  <a:lnTo>
                    <a:pt x="4823396" y="755666"/>
                  </a:lnTo>
                  <a:lnTo>
                    <a:pt x="5094022" y="1025594"/>
                  </a:lnTo>
                  <a:lnTo>
                    <a:pt x="4824309" y="1296705"/>
                  </a:lnTo>
                  <a:lnTo>
                    <a:pt x="5087733" y="1296705"/>
                  </a:lnTo>
                  <a:lnTo>
                    <a:pt x="5358145" y="1025594"/>
                  </a:lnTo>
                  <a:lnTo>
                    <a:pt x="5223987" y="892134"/>
                  </a:lnTo>
                  <a:lnTo>
                    <a:pt x="5087035" y="755182"/>
                  </a:lnTo>
                  <a:close/>
                  <a:moveTo>
                    <a:pt x="6469141" y="754483"/>
                  </a:moveTo>
                  <a:lnTo>
                    <a:pt x="6597709" y="883051"/>
                  </a:lnTo>
                  <a:lnTo>
                    <a:pt x="6739554" y="1024895"/>
                  </a:lnTo>
                  <a:lnTo>
                    <a:pt x="6469141" y="1296006"/>
                  </a:lnTo>
                  <a:lnTo>
                    <a:pt x="6733264" y="1296006"/>
                  </a:lnTo>
                  <a:lnTo>
                    <a:pt x="7003677" y="1024895"/>
                  </a:lnTo>
                  <a:lnTo>
                    <a:pt x="6998784" y="1020004"/>
                  </a:lnTo>
                  <a:lnTo>
                    <a:pt x="6733264" y="754483"/>
                  </a:lnTo>
                  <a:close/>
                  <a:moveTo>
                    <a:pt x="7017651" y="753784"/>
                  </a:moveTo>
                  <a:lnTo>
                    <a:pt x="7288761" y="1023497"/>
                  </a:lnTo>
                  <a:lnTo>
                    <a:pt x="7285967" y="1026293"/>
                  </a:lnTo>
                  <a:lnTo>
                    <a:pt x="7195829" y="1117128"/>
                  </a:lnTo>
                  <a:lnTo>
                    <a:pt x="7018349" y="1294608"/>
                  </a:lnTo>
                  <a:lnTo>
                    <a:pt x="7282473" y="1294608"/>
                  </a:lnTo>
                  <a:lnTo>
                    <a:pt x="7371911" y="1205169"/>
                  </a:lnTo>
                  <a:lnTo>
                    <a:pt x="7552885" y="1024196"/>
                  </a:lnTo>
                  <a:lnTo>
                    <a:pt x="7281774" y="753784"/>
                  </a:lnTo>
                  <a:close/>
                  <a:moveTo>
                    <a:pt x="5919233" y="753784"/>
                  </a:moveTo>
                  <a:lnTo>
                    <a:pt x="6190345" y="1023497"/>
                  </a:lnTo>
                  <a:lnTo>
                    <a:pt x="6187548" y="1026293"/>
                  </a:lnTo>
                  <a:lnTo>
                    <a:pt x="6097412" y="1117128"/>
                  </a:lnTo>
                  <a:lnTo>
                    <a:pt x="5919933" y="1294608"/>
                  </a:lnTo>
                  <a:lnTo>
                    <a:pt x="6184056" y="1294608"/>
                  </a:lnTo>
                  <a:lnTo>
                    <a:pt x="6273494" y="1205169"/>
                  </a:lnTo>
                  <a:lnTo>
                    <a:pt x="6454468" y="1024196"/>
                  </a:lnTo>
                  <a:lnTo>
                    <a:pt x="6183356" y="753784"/>
                  </a:lnTo>
                  <a:close/>
                  <a:moveTo>
                    <a:pt x="5370723" y="753784"/>
                  </a:moveTo>
                  <a:lnTo>
                    <a:pt x="5372120" y="755182"/>
                  </a:lnTo>
                  <a:lnTo>
                    <a:pt x="5641833" y="1024196"/>
                  </a:lnTo>
                  <a:lnTo>
                    <a:pt x="5371422" y="1295307"/>
                  </a:lnTo>
                  <a:lnTo>
                    <a:pt x="5635545" y="1295307"/>
                  </a:lnTo>
                  <a:lnTo>
                    <a:pt x="5905958" y="1024196"/>
                  </a:lnTo>
                  <a:lnTo>
                    <a:pt x="5900367" y="1019305"/>
                  </a:lnTo>
                  <a:lnTo>
                    <a:pt x="5634846" y="753784"/>
                  </a:lnTo>
                  <a:close/>
                  <a:moveTo>
                    <a:pt x="7566161" y="753085"/>
                  </a:moveTo>
                  <a:lnTo>
                    <a:pt x="7696826" y="882352"/>
                  </a:lnTo>
                  <a:lnTo>
                    <a:pt x="7837272" y="1022798"/>
                  </a:lnTo>
                  <a:lnTo>
                    <a:pt x="7566860" y="1293909"/>
                  </a:lnTo>
                  <a:lnTo>
                    <a:pt x="7830983" y="1293909"/>
                  </a:lnTo>
                  <a:lnTo>
                    <a:pt x="8101395" y="1023497"/>
                  </a:lnTo>
                  <a:lnTo>
                    <a:pt x="7830284" y="753085"/>
                  </a:lnTo>
                  <a:close/>
                  <a:moveTo>
                    <a:pt x="8114671" y="752386"/>
                  </a:moveTo>
                  <a:lnTo>
                    <a:pt x="8385782" y="1022798"/>
                  </a:lnTo>
                  <a:lnTo>
                    <a:pt x="8115370" y="1293909"/>
                  </a:lnTo>
                  <a:lnTo>
                    <a:pt x="8379493" y="1293909"/>
                  </a:lnTo>
                  <a:lnTo>
                    <a:pt x="8649905" y="1022798"/>
                  </a:lnTo>
                  <a:lnTo>
                    <a:pt x="8378794" y="752386"/>
                  </a:lnTo>
                  <a:close/>
                  <a:moveTo>
                    <a:pt x="9483502" y="752007"/>
                  </a:moveTo>
                  <a:lnTo>
                    <a:pt x="9483502" y="752181"/>
                  </a:lnTo>
                  <a:lnTo>
                    <a:pt x="9754439" y="1022419"/>
                  </a:lnTo>
                  <a:lnTo>
                    <a:pt x="9484726" y="1293530"/>
                  </a:lnTo>
                  <a:lnTo>
                    <a:pt x="9748150" y="1293530"/>
                  </a:lnTo>
                  <a:lnTo>
                    <a:pt x="10018562" y="1022419"/>
                  </a:lnTo>
                  <a:lnTo>
                    <a:pt x="9884404" y="888959"/>
                  </a:lnTo>
                  <a:lnTo>
                    <a:pt x="9747451" y="752007"/>
                  </a:lnTo>
                  <a:close/>
                  <a:moveTo>
                    <a:pt x="8663181" y="751687"/>
                  </a:moveTo>
                  <a:lnTo>
                    <a:pt x="8934292" y="1022099"/>
                  </a:lnTo>
                  <a:lnTo>
                    <a:pt x="8663880" y="1293210"/>
                  </a:lnTo>
                  <a:lnTo>
                    <a:pt x="8862322" y="1293210"/>
                  </a:lnTo>
                  <a:lnTo>
                    <a:pt x="8927305" y="1293210"/>
                  </a:lnTo>
                  <a:lnTo>
                    <a:pt x="9198416" y="1022099"/>
                  </a:lnTo>
                  <a:lnTo>
                    <a:pt x="9064257" y="888641"/>
                  </a:lnTo>
                  <a:lnTo>
                    <a:pt x="8927305" y="751687"/>
                  </a:lnTo>
                  <a:close/>
                  <a:moveTo>
                    <a:pt x="11129558" y="751308"/>
                  </a:moveTo>
                  <a:lnTo>
                    <a:pt x="11258126" y="879876"/>
                  </a:lnTo>
                  <a:lnTo>
                    <a:pt x="11399970" y="1021720"/>
                  </a:lnTo>
                  <a:lnTo>
                    <a:pt x="11129558" y="1292831"/>
                  </a:lnTo>
                  <a:lnTo>
                    <a:pt x="11393681" y="1292831"/>
                  </a:lnTo>
                  <a:lnTo>
                    <a:pt x="11664093" y="1021720"/>
                  </a:lnTo>
                  <a:lnTo>
                    <a:pt x="11659201" y="1016829"/>
                  </a:lnTo>
                  <a:lnTo>
                    <a:pt x="11393681" y="751308"/>
                  </a:lnTo>
                  <a:close/>
                  <a:moveTo>
                    <a:pt x="9210294" y="750989"/>
                  </a:moveTo>
                  <a:lnTo>
                    <a:pt x="9478921" y="1018924"/>
                  </a:lnTo>
                  <a:lnTo>
                    <a:pt x="9740464" y="1018924"/>
                  </a:lnTo>
                  <a:lnTo>
                    <a:pt x="9471836" y="750989"/>
                  </a:lnTo>
                  <a:close/>
                  <a:moveTo>
                    <a:pt x="10579650" y="750609"/>
                  </a:moveTo>
                  <a:lnTo>
                    <a:pt x="10850761" y="1020322"/>
                  </a:lnTo>
                  <a:lnTo>
                    <a:pt x="10847965" y="1023118"/>
                  </a:lnTo>
                  <a:lnTo>
                    <a:pt x="10757829" y="1113953"/>
                  </a:lnTo>
                  <a:lnTo>
                    <a:pt x="10580349" y="1291433"/>
                  </a:lnTo>
                  <a:lnTo>
                    <a:pt x="10844472" y="1291433"/>
                  </a:lnTo>
                  <a:lnTo>
                    <a:pt x="10933911" y="1201994"/>
                  </a:lnTo>
                  <a:lnTo>
                    <a:pt x="11114884" y="1021021"/>
                  </a:lnTo>
                  <a:lnTo>
                    <a:pt x="10843773" y="750609"/>
                  </a:lnTo>
                  <a:close/>
                  <a:moveTo>
                    <a:pt x="10031140" y="750609"/>
                  </a:moveTo>
                  <a:lnTo>
                    <a:pt x="10032537" y="752007"/>
                  </a:lnTo>
                  <a:lnTo>
                    <a:pt x="10302250" y="1021021"/>
                  </a:lnTo>
                  <a:lnTo>
                    <a:pt x="10031839" y="1292132"/>
                  </a:lnTo>
                  <a:lnTo>
                    <a:pt x="10295962" y="1292132"/>
                  </a:lnTo>
                  <a:lnTo>
                    <a:pt x="10566374" y="1021021"/>
                  </a:lnTo>
                  <a:lnTo>
                    <a:pt x="10560784" y="1016130"/>
                  </a:lnTo>
                  <a:lnTo>
                    <a:pt x="10295263" y="750609"/>
                  </a:lnTo>
                  <a:close/>
                  <a:moveTo>
                    <a:pt x="702930" y="484641"/>
                  </a:moveTo>
                  <a:lnTo>
                    <a:pt x="522656" y="665614"/>
                  </a:lnTo>
                  <a:lnTo>
                    <a:pt x="433217" y="755751"/>
                  </a:lnTo>
                  <a:lnTo>
                    <a:pt x="567375" y="889210"/>
                  </a:lnTo>
                  <a:lnTo>
                    <a:pt x="704328" y="1026164"/>
                  </a:lnTo>
                  <a:lnTo>
                    <a:pt x="968451" y="1026164"/>
                  </a:lnTo>
                  <a:lnTo>
                    <a:pt x="697340" y="755751"/>
                  </a:lnTo>
                  <a:lnTo>
                    <a:pt x="698738" y="754354"/>
                  </a:lnTo>
                  <a:lnTo>
                    <a:pt x="967054" y="484641"/>
                  </a:lnTo>
                  <a:close/>
                  <a:moveTo>
                    <a:pt x="1252140" y="483942"/>
                  </a:moveTo>
                  <a:lnTo>
                    <a:pt x="981727" y="755053"/>
                  </a:lnTo>
                  <a:lnTo>
                    <a:pt x="1252838" y="1025465"/>
                  </a:lnTo>
                  <a:lnTo>
                    <a:pt x="1516962" y="1025465"/>
                  </a:lnTo>
                  <a:lnTo>
                    <a:pt x="1245851" y="755053"/>
                  </a:lnTo>
                  <a:lnTo>
                    <a:pt x="1516263" y="483942"/>
                  </a:lnTo>
                  <a:close/>
                  <a:moveTo>
                    <a:pt x="2899067" y="483243"/>
                  </a:moveTo>
                  <a:lnTo>
                    <a:pt x="2628655" y="754354"/>
                  </a:lnTo>
                  <a:lnTo>
                    <a:pt x="2899766" y="1024766"/>
                  </a:lnTo>
                  <a:lnTo>
                    <a:pt x="3163191" y="1024766"/>
                  </a:lnTo>
                  <a:lnTo>
                    <a:pt x="3032527" y="894800"/>
                  </a:lnTo>
                  <a:lnTo>
                    <a:pt x="2892081" y="754354"/>
                  </a:lnTo>
                  <a:lnTo>
                    <a:pt x="3163191" y="483243"/>
                  </a:lnTo>
                  <a:close/>
                  <a:moveTo>
                    <a:pt x="1799951" y="483243"/>
                  </a:moveTo>
                  <a:lnTo>
                    <a:pt x="1529539" y="754354"/>
                  </a:lnTo>
                  <a:lnTo>
                    <a:pt x="1800650" y="1024766"/>
                  </a:lnTo>
                  <a:lnTo>
                    <a:pt x="1802048" y="1026164"/>
                  </a:lnTo>
                  <a:lnTo>
                    <a:pt x="2066171" y="1026164"/>
                  </a:lnTo>
                  <a:lnTo>
                    <a:pt x="1934808" y="894800"/>
                  </a:lnTo>
                  <a:lnTo>
                    <a:pt x="1797155" y="757148"/>
                  </a:lnTo>
                  <a:lnTo>
                    <a:pt x="2066171" y="483243"/>
                  </a:lnTo>
                  <a:close/>
                  <a:moveTo>
                    <a:pt x="3446879" y="482544"/>
                  </a:moveTo>
                  <a:lnTo>
                    <a:pt x="3176467" y="753655"/>
                  </a:lnTo>
                  <a:lnTo>
                    <a:pt x="3447578" y="1024067"/>
                  </a:lnTo>
                  <a:lnTo>
                    <a:pt x="3711701" y="1024067"/>
                  </a:lnTo>
                  <a:lnTo>
                    <a:pt x="3440590" y="753655"/>
                  </a:lnTo>
                  <a:lnTo>
                    <a:pt x="3625057" y="569188"/>
                  </a:lnTo>
                  <a:lnTo>
                    <a:pt x="3709605" y="482544"/>
                  </a:lnTo>
                  <a:close/>
                  <a:moveTo>
                    <a:pt x="3995389" y="481845"/>
                  </a:moveTo>
                  <a:lnTo>
                    <a:pt x="3724977" y="752956"/>
                  </a:lnTo>
                  <a:lnTo>
                    <a:pt x="3996088" y="1023368"/>
                  </a:lnTo>
                  <a:lnTo>
                    <a:pt x="4260212" y="1023368"/>
                  </a:lnTo>
                  <a:lnTo>
                    <a:pt x="3989100" y="752956"/>
                  </a:lnTo>
                  <a:lnTo>
                    <a:pt x="3990498" y="751558"/>
                  </a:lnTo>
                  <a:lnTo>
                    <a:pt x="3989799" y="751558"/>
                  </a:lnTo>
                  <a:lnTo>
                    <a:pt x="4258116" y="482544"/>
                  </a:lnTo>
                  <a:lnTo>
                    <a:pt x="3999582" y="482544"/>
                  </a:lnTo>
                  <a:lnTo>
                    <a:pt x="4000979" y="481845"/>
                  </a:lnTo>
                  <a:close/>
                  <a:moveTo>
                    <a:pt x="4818383" y="481275"/>
                  </a:moveTo>
                  <a:lnTo>
                    <a:pt x="4550887" y="749462"/>
                  </a:lnTo>
                  <a:lnTo>
                    <a:pt x="4811162" y="749462"/>
                  </a:lnTo>
                  <a:lnTo>
                    <a:pt x="4993404" y="567221"/>
                  </a:lnTo>
                  <a:lnTo>
                    <a:pt x="5079348" y="481275"/>
                  </a:lnTo>
                  <a:close/>
                  <a:moveTo>
                    <a:pt x="4543201" y="481146"/>
                  </a:moveTo>
                  <a:lnTo>
                    <a:pt x="4362227" y="662120"/>
                  </a:lnTo>
                  <a:lnTo>
                    <a:pt x="4362927" y="662819"/>
                  </a:lnTo>
                  <a:lnTo>
                    <a:pt x="4273487" y="752956"/>
                  </a:lnTo>
                  <a:lnTo>
                    <a:pt x="4407646" y="886416"/>
                  </a:lnTo>
                  <a:lnTo>
                    <a:pt x="4543899" y="1022669"/>
                  </a:lnTo>
                  <a:lnTo>
                    <a:pt x="4805312" y="1022669"/>
                  </a:lnTo>
                  <a:lnTo>
                    <a:pt x="4660106" y="877461"/>
                  </a:lnTo>
                  <a:lnTo>
                    <a:pt x="4660106" y="875133"/>
                  </a:lnTo>
                  <a:lnTo>
                    <a:pt x="4536912" y="752257"/>
                  </a:lnTo>
                  <a:lnTo>
                    <a:pt x="4660106" y="628745"/>
                  </a:lnTo>
                  <a:lnTo>
                    <a:pt x="4660106" y="625913"/>
                  </a:lnTo>
                  <a:lnTo>
                    <a:pt x="4804193" y="481146"/>
                  </a:lnTo>
                  <a:close/>
                  <a:moveTo>
                    <a:pt x="2616078" y="481146"/>
                  </a:moveTo>
                  <a:lnTo>
                    <a:pt x="2349859" y="483942"/>
                  </a:lnTo>
                  <a:lnTo>
                    <a:pt x="2079447" y="755053"/>
                  </a:lnTo>
                  <a:lnTo>
                    <a:pt x="2350558" y="1025465"/>
                  </a:lnTo>
                  <a:lnTo>
                    <a:pt x="2614681" y="1025465"/>
                  </a:lnTo>
                  <a:lnTo>
                    <a:pt x="2343570" y="755053"/>
                  </a:lnTo>
                  <a:close/>
                  <a:moveTo>
                    <a:pt x="5363036" y="479879"/>
                  </a:moveTo>
                  <a:lnTo>
                    <a:pt x="5182762" y="660852"/>
                  </a:lnTo>
                  <a:lnTo>
                    <a:pt x="5093323" y="750989"/>
                  </a:lnTo>
                  <a:lnTo>
                    <a:pt x="5227481" y="884448"/>
                  </a:lnTo>
                  <a:lnTo>
                    <a:pt x="5364435" y="1021402"/>
                  </a:lnTo>
                  <a:lnTo>
                    <a:pt x="5628558" y="1021402"/>
                  </a:lnTo>
                  <a:lnTo>
                    <a:pt x="5357446" y="750989"/>
                  </a:lnTo>
                  <a:lnTo>
                    <a:pt x="5358844" y="749592"/>
                  </a:lnTo>
                  <a:lnTo>
                    <a:pt x="5627160" y="479879"/>
                  </a:lnTo>
                  <a:close/>
                  <a:moveTo>
                    <a:pt x="5912246" y="479180"/>
                  </a:moveTo>
                  <a:lnTo>
                    <a:pt x="5641833" y="750291"/>
                  </a:lnTo>
                  <a:lnTo>
                    <a:pt x="5912945" y="1020703"/>
                  </a:lnTo>
                  <a:lnTo>
                    <a:pt x="6177068" y="1020703"/>
                  </a:lnTo>
                  <a:lnTo>
                    <a:pt x="5905958" y="750291"/>
                  </a:lnTo>
                  <a:lnTo>
                    <a:pt x="6176369" y="479180"/>
                  </a:lnTo>
                  <a:close/>
                  <a:moveTo>
                    <a:pt x="7559173" y="478481"/>
                  </a:moveTo>
                  <a:lnTo>
                    <a:pt x="7288761" y="749592"/>
                  </a:lnTo>
                  <a:lnTo>
                    <a:pt x="7559872" y="1020004"/>
                  </a:lnTo>
                  <a:lnTo>
                    <a:pt x="7823297" y="1020004"/>
                  </a:lnTo>
                  <a:lnTo>
                    <a:pt x="7692633" y="890038"/>
                  </a:lnTo>
                  <a:lnTo>
                    <a:pt x="7552187" y="749592"/>
                  </a:lnTo>
                  <a:lnTo>
                    <a:pt x="7823297" y="478481"/>
                  </a:lnTo>
                  <a:close/>
                  <a:moveTo>
                    <a:pt x="6460057" y="478481"/>
                  </a:moveTo>
                  <a:lnTo>
                    <a:pt x="6189645" y="749592"/>
                  </a:lnTo>
                  <a:lnTo>
                    <a:pt x="6460756" y="1020004"/>
                  </a:lnTo>
                  <a:lnTo>
                    <a:pt x="6462154" y="1021402"/>
                  </a:lnTo>
                  <a:lnTo>
                    <a:pt x="6726277" y="1021402"/>
                  </a:lnTo>
                  <a:lnTo>
                    <a:pt x="6594914" y="890038"/>
                  </a:lnTo>
                  <a:lnTo>
                    <a:pt x="6457261" y="752386"/>
                  </a:lnTo>
                  <a:lnTo>
                    <a:pt x="6726277" y="478481"/>
                  </a:lnTo>
                  <a:close/>
                  <a:moveTo>
                    <a:pt x="9476907" y="478100"/>
                  </a:moveTo>
                  <a:lnTo>
                    <a:pt x="9210993" y="744700"/>
                  </a:lnTo>
                  <a:lnTo>
                    <a:pt x="9473165" y="744700"/>
                  </a:lnTo>
                  <a:lnTo>
                    <a:pt x="9653821" y="564046"/>
                  </a:lnTo>
                  <a:lnTo>
                    <a:pt x="9739765" y="478100"/>
                  </a:lnTo>
                  <a:close/>
                  <a:moveTo>
                    <a:pt x="8106985" y="477782"/>
                  </a:moveTo>
                  <a:lnTo>
                    <a:pt x="7836573" y="748893"/>
                  </a:lnTo>
                  <a:lnTo>
                    <a:pt x="8107684" y="1019305"/>
                  </a:lnTo>
                  <a:lnTo>
                    <a:pt x="8371807" y="1019305"/>
                  </a:lnTo>
                  <a:lnTo>
                    <a:pt x="8100696" y="748893"/>
                  </a:lnTo>
                  <a:lnTo>
                    <a:pt x="8285163" y="564426"/>
                  </a:lnTo>
                  <a:lnTo>
                    <a:pt x="8369711" y="477782"/>
                  </a:lnTo>
                  <a:close/>
                  <a:moveTo>
                    <a:pt x="8655495" y="477083"/>
                  </a:moveTo>
                  <a:lnTo>
                    <a:pt x="8385083" y="748194"/>
                  </a:lnTo>
                  <a:lnTo>
                    <a:pt x="8656194" y="1018606"/>
                  </a:lnTo>
                  <a:lnTo>
                    <a:pt x="8920317" y="1018606"/>
                  </a:lnTo>
                  <a:lnTo>
                    <a:pt x="8649206" y="748194"/>
                  </a:lnTo>
                  <a:lnTo>
                    <a:pt x="8650604" y="746796"/>
                  </a:lnTo>
                  <a:lnTo>
                    <a:pt x="8649905" y="746796"/>
                  </a:lnTo>
                  <a:lnTo>
                    <a:pt x="8918222" y="477782"/>
                  </a:lnTo>
                  <a:lnTo>
                    <a:pt x="8659688" y="477782"/>
                  </a:lnTo>
                  <a:lnTo>
                    <a:pt x="8661085" y="477083"/>
                  </a:lnTo>
                  <a:close/>
                  <a:moveTo>
                    <a:pt x="10023453" y="476704"/>
                  </a:moveTo>
                  <a:lnTo>
                    <a:pt x="9843179" y="657677"/>
                  </a:lnTo>
                  <a:lnTo>
                    <a:pt x="9753740" y="747814"/>
                  </a:lnTo>
                  <a:lnTo>
                    <a:pt x="9887898" y="881273"/>
                  </a:lnTo>
                  <a:lnTo>
                    <a:pt x="10024851" y="1018227"/>
                  </a:lnTo>
                  <a:lnTo>
                    <a:pt x="10288974" y="1018227"/>
                  </a:lnTo>
                  <a:lnTo>
                    <a:pt x="10017863" y="747814"/>
                  </a:lnTo>
                  <a:lnTo>
                    <a:pt x="10019261" y="746417"/>
                  </a:lnTo>
                  <a:lnTo>
                    <a:pt x="10287577" y="476704"/>
                  </a:lnTo>
                  <a:close/>
                  <a:moveTo>
                    <a:pt x="9203307" y="476384"/>
                  </a:moveTo>
                  <a:lnTo>
                    <a:pt x="9022333" y="657358"/>
                  </a:lnTo>
                  <a:lnTo>
                    <a:pt x="9023032" y="658057"/>
                  </a:lnTo>
                  <a:lnTo>
                    <a:pt x="8933593" y="748194"/>
                  </a:lnTo>
                  <a:lnTo>
                    <a:pt x="9067752" y="881654"/>
                  </a:lnTo>
                  <a:lnTo>
                    <a:pt x="9204005" y="1017907"/>
                  </a:lnTo>
                  <a:lnTo>
                    <a:pt x="9464142" y="1017907"/>
                  </a:lnTo>
                  <a:lnTo>
                    <a:pt x="9320523" y="874286"/>
                  </a:lnTo>
                  <a:lnTo>
                    <a:pt x="9320523" y="870682"/>
                  </a:lnTo>
                  <a:lnTo>
                    <a:pt x="9197018" y="747495"/>
                  </a:lnTo>
                  <a:lnTo>
                    <a:pt x="9320523" y="623671"/>
                  </a:lnTo>
                  <a:lnTo>
                    <a:pt x="9320523" y="622738"/>
                  </a:lnTo>
                  <a:lnTo>
                    <a:pt x="9466190" y="476384"/>
                  </a:lnTo>
                  <a:close/>
                  <a:moveTo>
                    <a:pt x="7276184" y="476384"/>
                  </a:moveTo>
                  <a:lnTo>
                    <a:pt x="7009966" y="479180"/>
                  </a:lnTo>
                  <a:lnTo>
                    <a:pt x="6739554" y="750291"/>
                  </a:lnTo>
                  <a:lnTo>
                    <a:pt x="7010664" y="1020703"/>
                  </a:lnTo>
                  <a:lnTo>
                    <a:pt x="7274787" y="1020703"/>
                  </a:lnTo>
                  <a:lnTo>
                    <a:pt x="7003677" y="750291"/>
                  </a:lnTo>
                  <a:close/>
                  <a:moveTo>
                    <a:pt x="10572663" y="476005"/>
                  </a:moveTo>
                  <a:lnTo>
                    <a:pt x="10302250" y="747116"/>
                  </a:lnTo>
                  <a:lnTo>
                    <a:pt x="10573361" y="1017528"/>
                  </a:lnTo>
                  <a:lnTo>
                    <a:pt x="10837485" y="1017528"/>
                  </a:lnTo>
                  <a:lnTo>
                    <a:pt x="10566374" y="747116"/>
                  </a:lnTo>
                  <a:lnTo>
                    <a:pt x="10836786" y="476005"/>
                  </a:lnTo>
                  <a:close/>
                  <a:moveTo>
                    <a:pt x="11120474" y="475306"/>
                  </a:moveTo>
                  <a:lnTo>
                    <a:pt x="10850062" y="746417"/>
                  </a:lnTo>
                  <a:lnTo>
                    <a:pt x="11121173" y="1016829"/>
                  </a:lnTo>
                  <a:lnTo>
                    <a:pt x="11122571" y="1018227"/>
                  </a:lnTo>
                  <a:lnTo>
                    <a:pt x="11386694" y="1018227"/>
                  </a:lnTo>
                  <a:lnTo>
                    <a:pt x="11255331" y="886863"/>
                  </a:lnTo>
                  <a:lnTo>
                    <a:pt x="11117678" y="749211"/>
                  </a:lnTo>
                  <a:lnTo>
                    <a:pt x="11386694" y="475306"/>
                  </a:lnTo>
                  <a:close/>
                  <a:moveTo>
                    <a:pt x="11936601" y="473209"/>
                  </a:moveTo>
                  <a:lnTo>
                    <a:pt x="11670382" y="476005"/>
                  </a:lnTo>
                  <a:lnTo>
                    <a:pt x="11399970" y="747116"/>
                  </a:lnTo>
                  <a:lnTo>
                    <a:pt x="11671081" y="1017528"/>
                  </a:lnTo>
                  <a:lnTo>
                    <a:pt x="11935204" y="1017528"/>
                  </a:lnTo>
                  <a:lnTo>
                    <a:pt x="11664093" y="747116"/>
                  </a:lnTo>
                  <a:close/>
                  <a:moveTo>
                    <a:pt x="161407" y="211433"/>
                  </a:moveTo>
                  <a:lnTo>
                    <a:pt x="432518" y="481845"/>
                  </a:lnTo>
                  <a:lnTo>
                    <a:pt x="429724" y="484641"/>
                  </a:lnTo>
                  <a:lnTo>
                    <a:pt x="339586" y="575476"/>
                  </a:lnTo>
                  <a:lnTo>
                    <a:pt x="162106" y="752257"/>
                  </a:lnTo>
                  <a:lnTo>
                    <a:pt x="426230" y="752257"/>
                  </a:lnTo>
                  <a:lnTo>
                    <a:pt x="515668" y="662819"/>
                  </a:lnTo>
                  <a:lnTo>
                    <a:pt x="696642" y="481845"/>
                  </a:lnTo>
                  <a:lnTo>
                    <a:pt x="425531" y="211433"/>
                  </a:lnTo>
                  <a:close/>
                  <a:moveTo>
                    <a:pt x="710617" y="210735"/>
                  </a:moveTo>
                  <a:lnTo>
                    <a:pt x="840582" y="340700"/>
                  </a:lnTo>
                  <a:lnTo>
                    <a:pt x="981029" y="480448"/>
                  </a:lnTo>
                  <a:lnTo>
                    <a:pt x="710617" y="751558"/>
                  </a:lnTo>
                  <a:lnTo>
                    <a:pt x="974740" y="751558"/>
                  </a:lnTo>
                  <a:lnTo>
                    <a:pt x="1245851" y="481146"/>
                  </a:lnTo>
                  <a:lnTo>
                    <a:pt x="974740" y="210735"/>
                  </a:lnTo>
                  <a:close/>
                  <a:moveTo>
                    <a:pt x="2906055" y="210036"/>
                  </a:moveTo>
                  <a:lnTo>
                    <a:pt x="3035322" y="337905"/>
                  </a:lnTo>
                  <a:lnTo>
                    <a:pt x="3035322" y="338604"/>
                  </a:lnTo>
                  <a:lnTo>
                    <a:pt x="3177166" y="480448"/>
                  </a:lnTo>
                  <a:lnTo>
                    <a:pt x="2906754" y="751558"/>
                  </a:lnTo>
                  <a:lnTo>
                    <a:pt x="3170178" y="751558"/>
                  </a:lnTo>
                  <a:lnTo>
                    <a:pt x="3440590" y="480448"/>
                  </a:lnTo>
                  <a:lnTo>
                    <a:pt x="3435000" y="474858"/>
                  </a:lnTo>
                  <a:lnTo>
                    <a:pt x="3434301" y="474858"/>
                  </a:lnTo>
                  <a:lnTo>
                    <a:pt x="3168781" y="210036"/>
                  </a:lnTo>
                  <a:close/>
                  <a:moveTo>
                    <a:pt x="1808336" y="210036"/>
                  </a:moveTo>
                  <a:lnTo>
                    <a:pt x="1810426" y="212824"/>
                  </a:lnTo>
                  <a:lnTo>
                    <a:pt x="1809733" y="212132"/>
                  </a:lnTo>
                  <a:lnTo>
                    <a:pt x="1810432" y="212831"/>
                  </a:lnTo>
                  <a:lnTo>
                    <a:pt x="1810426" y="212824"/>
                  </a:lnTo>
                  <a:lnTo>
                    <a:pt x="2068965" y="470666"/>
                  </a:lnTo>
                  <a:lnTo>
                    <a:pt x="2078748" y="479749"/>
                  </a:lnTo>
                  <a:lnTo>
                    <a:pt x="2080844" y="481845"/>
                  </a:lnTo>
                  <a:lnTo>
                    <a:pt x="1816022" y="751558"/>
                  </a:lnTo>
                  <a:lnTo>
                    <a:pt x="2075254" y="752257"/>
                  </a:lnTo>
                  <a:lnTo>
                    <a:pt x="2344968" y="481845"/>
                  </a:lnTo>
                  <a:lnTo>
                    <a:pt x="2209412" y="346988"/>
                  </a:lnTo>
                  <a:lnTo>
                    <a:pt x="2192643" y="330219"/>
                  </a:lnTo>
                  <a:lnTo>
                    <a:pt x="2073158" y="211433"/>
                  </a:lnTo>
                  <a:lnTo>
                    <a:pt x="2068965" y="210036"/>
                  </a:lnTo>
                  <a:close/>
                  <a:moveTo>
                    <a:pt x="1258428" y="210036"/>
                  </a:moveTo>
                  <a:lnTo>
                    <a:pt x="1529539" y="480448"/>
                  </a:lnTo>
                  <a:lnTo>
                    <a:pt x="1259127" y="751558"/>
                  </a:lnTo>
                  <a:lnTo>
                    <a:pt x="1523250" y="751558"/>
                  </a:lnTo>
                  <a:lnTo>
                    <a:pt x="1793662" y="480448"/>
                  </a:lnTo>
                  <a:lnTo>
                    <a:pt x="1522551" y="210036"/>
                  </a:lnTo>
                  <a:close/>
                  <a:moveTo>
                    <a:pt x="2621668" y="208638"/>
                  </a:moveTo>
                  <a:lnTo>
                    <a:pt x="2358243" y="209337"/>
                  </a:lnTo>
                  <a:lnTo>
                    <a:pt x="2627259" y="477653"/>
                  </a:lnTo>
                  <a:lnTo>
                    <a:pt x="2626560" y="478352"/>
                  </a:lnTo>
                  <a:lnTo>
                    <a:pt x="2627957" y="479749"/>
                  </a:lnTo>
                  <a:lnTo>
                    <a:pt x="2357544" y="750860"/>
                  </a:lnTo>
                  <a:lnTo>
                    <a:pt x="2621668" y="750860"/>
                  </a:lnTo>
                  <a:lnTo>
                    <a:pt x="2711805" y="660723"/>
                  </a:lnTo>
                  <a:lnTo>
                    <a:pt x="2891382" y="477653"/>
                  </a:lnTo>
                  <a:close/>
                  <a:moveTo>
                    <a:pt x="4550188" y="207940"/>
                  </a:moveTo>
                  <a:lnTo>
                    <a:pt x="4817219" y="474283"/>
                  </a:lnTo>
                  <a:lnTo>
                    <a:pt x="5079348" y="473590"/>
                  </a:lnTo>
                  <a:lnTo>
                    <a:pt x="4813011" y="207940"/>
                  </a:lnTo>
                  <a:close/>
                  <a:moveTo>
                    <a:pt x="4001678" y="207940"/>
                  </a:moveTo>
                  <a:lnTo>
                    <a:pt x="4131644" y="337206"/>
                  </a:lnTo>
                  <a:lnTo>
                    <a:pt x="4272090" y="477653"/>
                  </a:lnTo>
                  <a:lnTo>
                    <a:pt x="4179158" y="571284"/>
                  </a:lnTo>
                  <a:lnTo>
                    <a:pt x="4179856" y="571983"/>
                  </a:lnTo>
                  <a:lnTo>
                    <a:pt x="4003075" y="749462"/>
                  </a:lnTo>
                  <a:lnTo>
                    <a:pt x="4265801" y="749462"/>
                  </a:lnTo>
                  <a:lnTo>
                    <a:pt x="4536213" y="478352"/>
                  </a:lnTo>
                  <a:lnTo>
                    <a:pt x="4265103" y="207940"/>
                  </a:lnTo>
                  <a:close/>
                  <a:moveTo>
                    <a:pt x="3453167" y="207940"/>
                  </a:moveTo>
                  <a:lnTo>
                    <a:pt x="3724278" y="478352"/>
                  </a:lnTo>
                  <a:lnTo>
                    <a:pt x="3724977" y="479050"/>
                  </a:lnTo>
                  <a:lnTo>
                    <a:pt x="3454565" y="750161"/>
                  </a:lnTo>
                  <a:lnTo>
                    <a:pt x="3718688" y="750161"/>
                  </a:lnTo>
                  <a:lnTo>
                    <a:pt x="3808127" y="660024"/>
                  </a:lnTo>
                  <a:lnTo>
                    <a:pt x="3807428" y="660024"/>
                  </a:lnTo>
                  <a:lnTo>
                    <a:pt x="3988403" y="479050"/>
                  </a:lnTo>
                  <a:lnTo>
                    <a:pt x="3983511" y="473460"/>
                  </a:lnTo>
                  <a:lnTo>
                    <a:pt x="3717291" y="207940"/>
                  </a:lnTo>
                  <a:close/>
                  <a:moveTo>
                    <a:pt x="4823396" y="206671"/>
                  </a:moveTo>
                  <a:lnTo>
                    <a:pt x="4823396" y="208549"/>
                  </a:lnTo>
                  <a:lnTo>
                    <a:pt x="5092624" y="477083"/>
                  </a:lnTo>
                  <a:lnTo>
                    <a:pt x="5089830" y="479879"/>
                  </a:lnTo>
                  <a:lnTo>
                    <a:pt x="4999692" y="570714"/>
                  </a:lnTo>
                  <a:lnTo>
                    <a:pt x="4823396" y="746316"/>
                  </a:lnTo>
                  <a:lnTo>
                    <a:pt x="4823396" y="747495"/>
                  </a:lnTo>
                  <a:lnTo>
                    <a:pt x="5086337" y="747495"/>
                  </a:lnTo>
                  <a:lnTo>
                    <a:pt x="5175775" y="658057"/>
                  </a:lnTo>
                  <a:lnTo>
                    <a:pt x="5356748" y="477083"/>
                  </a:lnTo>
                  <a:lnTo>
                    <a:pt x="5085637" y="206671"/>
                  </a:lnTo>
                  <a:close/>
                  <a:moveTo>
                    <a:pt x="5370723" y="205973"/>
                  </a:moveTo>
                  <a:lnTo>
                    <a:pt x="5500688" y="335938"/>
                  </a:lnTo>
                  <a:lnTo>
                    <a:pt x="5641135" y="475686"/>
                  </a:lnTo>
                  <a:lnTo>
                    <a:pt x="5370723" y="746796"/>
                  </a:lnTo>
                  <a:lnTo>
                    <a:pt x="5634846" y="746796"/>
                  </a:lnTo>
                  <a:lnTo>
                    <a:pt x="5905958" y="476384"/>
                  </a:lnTo>
                  <a:lnTo>
                    <a:pt x="5634846" y="205973"/>
                  </a:lnTo>
                  <a:close/>
                  <a:moveTo>
                    <a:pt x="7566161" y="205274"/>
                  </a:moveTo>
                  <a:lnTo>
                    <a:pt x="7695428" y="333143"/>
                  </a:lnTo>
                  <a:lnTo>
                    <a:pt x="7695428" y="333842"/>
                  </a:lnTo>
                  <a:lnTo>
                    <a:pt x="7837272" y="475686"/>
                  </a:lnTo>
                  <a:lnTo>
                    <a:pt x="7566860" y="746796"/>
                  </a:lnTo>
                  <a:lnTo>
                    <a:pt x="7830284" y="746796"/>
                  </a:lnTo>
                  <a:lnTo>
                    <a:pt x="8100696" y="475686"/>
                  </a:lnTo>
                  <a:lnTo>
                    <a:pt x="8095106" y="470096"/>
                  </a:lnTo>
                  <a:lnTo>
                    <a:pt x="8094407" y="470096"/>
                  </a:lnTo>
                  <a:lnTo>
                    <a:pt x="7828887" y="205274"/>
                  </a:lnTo>
                  <a:close/>
                  <a:moveTo>
                    <a:pt x="6468443" y="205274"/>
                  </a:moveTo>
                  <a:lnTo>
                    <a:pt x="6470532" y="208062"/>
                  </a:lnTo>
                  <a:lnTo>
                    <a:pt x="6469839" y="207370"/>
                  </a:lnTo>
                  <a:lnTo>
                    <a:pt x="6470538" y="208069"/>
                  </a:lnTo>
                  <a:lnTo>
                    <a:pt x="6470532" y="208062"/>
                  </a:lnTo>
                  <a:lnTo>
                    <a:pt x="6729071" y="465904"/>
                  </a:lnTo>
                  <a:lnTo>
                    <a:pt x="6738854" y="474987"/>
                  </a:lnTo>
                  <a:lnTo>
                    <a:pt x="6740950" y="477083"/>
                  </a:lnTo>
                  <a:lnTo>
                    <a:pt x="6476128" y="746796"/>
                  </a:lnTo>
                  <a:lnTo>
                    <a:pt x="6735361" y="747495"/>
                  </a:lnTo>
                  <a:lnTo>
                    <a:pt x="7005075" y="477083"/>
                  </a:lnTo>
                  <a:lnTo>
                    <a:pt x="6869518" y="342226"/>
                  </a:lnTo>
                  <a:lnTo>
                    <a:pt x="6852749" y="325457"/>
                  </a:lnTo>
                  <a:lnTo>
                    <a:pt x="6733264" y="206671"/>
                  </a:lnTo>
                  <a:lnTo>
                    <a:pt x="6729071" y="205274"/>
                  </a:lnTo>
                  <a:close/>
                  <a:moveTo>
                    <a:pt x="5918534" y="205274"/>
                  </a:moveTo>
                  <a:lnTo>
                    <a:pt x="6189645" y="475686"/>
                  </a:lnTo>
                  <a:lnTo>
                    <a:pt x="5919233" y="746796"/>
                  </a:lnTo>
                  <a:lnTo>
                    <a:pt x="6183356" y="746796"/>
                  </a:lnTo>
                  <a:lnTo>
                    <a:pt x="6453768" y="475686"/>
                  </a:lnTo>
                  <a:lnTo>
                    <a:pt x="6182657" y="205274"/>
                  </a:lnTo>
                  <a:close/>
                  <a:moveTo>
                    <a:pt x="7281774" y="203876"/>
                  </a:moveTo>
                  <a:lnTo>
                    <a:pt x="7018349" y="204575"/>
                  </a:lnTo>
                  <a:lnTo>
                    <a:pt x="7287365" y="472891"/>
                  </a:lnTo>
                  <a:lnTo>
                    <a:pt x="7286666" y="473590"/>
                  </a:lnTo>
                  <a:lnTo>
                    <a:pt x="7288063" y="474987"/>
                  </a:lnTo>
                  <a:lnTo>
                    <a:pt x="7017651" y="746098"/>
                  </a:lnTo>
                  <a:lnTo>
                    <a:pt x="7281774" y="746098"/>
                  </a:lnTo>
                  <a:lnTo>
                    <a:pt x="7371911" y="655961"/>
                  </a:lnTo>
                  <a:lnTo>
                    <a:pt x="7551488" y="472891"/>
                  </a:lnTo>
                  <a:close/>
                  <a:moveTo>
                    <a:pt x="9483502" y="203496"/>
                  </a:moveTo>
                  <a:lnTo>
                    <a:pt x="9483502" y="205064"/>
                  </a:lnTo>
                  <a:lnTo>
                    <a:pt x="9753041" y="473908"/>
                  </a:lnTo>
                  <a:lnTo>
                    <a:pt x="9750247" y="476704"/>
                  </a:lnTo>
                  <a:lnTo>
                    <a:pt x="9660109" y="567539"/>
                  </a:lnTo>
                  <a:lnTo>
                    <a:pt x="9483502" y="743451"/>
                  </a:lnTo>
                  <a:lnTo>
                    <a:pt x="9483502" y="744320"/>
                  </a:lnTo>
                  <a:lnTo>
                    <a:pt x="9746753" y="744320"/>
                  </a:lnTo>
                  <a:lnTo>
                    <a:pt x="9836191" y="654882"/>
                  </a:lnTo>
                  <a:lnTo>
                    <a:pt x="10017165" y="473908"/>
                  </a:lnTo>
                  <a:lnTo>
                    <a:pt x="9746054" y="203496"/>
                  </a:lnTo>
                  <a:close/>
                  <a:moveTo>
                    <a:pt x="9210294" y="203178"/>
                  </a:moveTo>
                  <a:lnTo>
                    <a:pt x="9478913" y="471105"/>
                  </a:lnTo>
                  <a:lnTo>
                    <a:pt x="9739765" y="470415"/>
                  </a:lnTo>
                  <a:lnTo>
                    <a:pt x="9471837" y="203178"/>
                  </a:lnTo>
                  <a:close/>
                  <a:moveTo>
                    <a:pt x="8661784" y="203178"/>
                  </a:moveTo>
                  <a:lnTo>
                    <a:pt x="8791750" y="332444"/>
                  </a:lnTo>
                  <a:lnTo>
                    <a:pt x="8932196" y="472891"/>
                  </a:lnTo>
                  <a:lnTo>
                    <a:pt x="8839264" y="566522"/>
                  </a:lnTo>
                  <a:lnTo>
                    <a:pt x="8839962" y="567221"/>
                  </a:lnTo>
                  <a:lnTo>
                    <a:pt x="8663181" y="744700"/>
                  </a:lnTo>
                  <a:lnTo>
                    <a:pt x="8925907" y="744700"/>
                  </a:lnTo>
                  <a:lnTo>
                    <a:pt x="9196319" y="473590"/>
                  </a:lnTo>
                  <a:lnTo>
                    <a:pt x="8925208" y="203178"/>
                  </a:lnTo>
                  <a:close/>
                  <a:moveTo>
                    <a:pt x="8113273" y="203178"/>
                  </a:moveTo>
                  <a:lnTo>
                    <a:pt x="8384384" y="473590"/>
                  </a:lnTo>
                  <a:lnTo>
                    <a:pt x="8385083" y="474288"/>
                  </a:lnTo>
                  <a:lnTo>
                    <a:pt x="8114671" y="745399"/>
                  </a:lnTo>
                  <a:lnTo>
                    <a:pt x="8378794" y="745399"/>
                  </a:lnTo>
                  <a:lnTo>
                    <a:pt x="8468233" y="655262"/>
                  </a:lnTo>
                  <a:lnTo>
                    <a:pt x="8467534" y="655262"/>
                  </a:lnTo>
                  <a:lnTo>
                    <a:pt x="8648509" y="474288"/>
                  </a:lnTo>
                  <a:lnTo>
                    <a:pt x="8643617" y="468698"/>
                  </a:lnTo>
                  <a:lnTo>
                    <a:pt x="8377397" y="203178"/>
                  </a:lnTo>
                  <a:close/>
                  <a:moveTo>
                    <a:pt x="10031140" y="202798"/>
                  </a:moveTo>
                  <a:lnTo>
                    <a:pt x="10161105" y="332763"/>
                  </a:lnTo>
                  <a:lnTo>
                    <a:pt x="10301552" y="472511"/>
                  </a:lnTo>
                  <a:lnTo>
                    <a:pt x="10031140" y="743621"/>
                  </a:lnTo>
                  <a:lnTo>
                    <a:pt x="10295263" y="743621"/>
                  </a:lnTo>
                  <a:lnTo>
                    <a:pt x="10566374" y="473209"/>
                  </a:lnTo>
                  <a:lnTo>
                    <a:pt x="10295263" y="202798"/>
                  </a:lnTo>
                  <a:close/>
                  <a:moveTo>
                    <a:pt x="11128859" y="202099"/>
                  </a:moveTo>
                  <a:lnTo>
                    <a:pt x="11130949" y="204887"/>
                  </a:lnTo>
                  <a:lnTo>
                    <a:pt x="11130256" y="204195"/>
                  </a:lnTo>
                  <a:lnTo>
                    <a:pt x="11130955" y="204894"/>
                  </a:lnTo>
                  <a:lnTo>
                    <a:pt x="11130949" y="204887"/>
                  </a:lnTo>
                  <a:lnTo>
                    <a:pt x="11389488" y="462729"/>
                  </a:lnTo>
                  <a:lnTo>
                    <a:pt x="11399271" y="471812"/>
                  </a:lnTo>
                  <a:lnTo>
                    <a:pt x="11401367" y="473908"/>
                  </a:lnTo>
                  <a:lnTo>
                    <a:pt x="11136545" y="743621"/>
                  </a:lnTo>
                  <a:lnTo>
                    <a:pt x="11395777" y="744320"/>
                  </a:lnTo>
                  <a:lnTo>
                    <a:pt x="11665491" y="473908"/>
                  </a:lnTo>
                  <a:lnTo>
                    <a:pt x="11529935" y="339051"/>
                  </a:lnTo>
                  <a:lnTo>
                    <a:pt x="11513166" y="322282"/>
                  </a:lnTo>
                  <a:lnTo>
                    <a:pt x="11393681" y="203496"/>
                  </a:lnTo>
                  <a:lnTo>
                    <a:pt x="11389488" y="202099"/>
                  </a:lnTo>
                  <a:close/>
                  <a:moveTo>
                    <a:pt x="10578951" y="202099"/>
                  </a:moveTo>
                  <a:lnTo>
                    <a:pt x="10850062" y="472511"/>
                  </a:lnTo>
                  <a:lnTo>
                    <a:pt x="10579650" y="743621"/>
                  </a:lnTo>
                  <a:lnTo>
                    <a:pt x="10843773" y="743621"/>
                  </a:lnTo>
                  <a:lnTo>
                    <a:pt x="11114185" y="472511"/>
                  </a:lnTo>
                  <a:lnTo>
                    <a:pt x="10843074" y="202099"/>
                  </a:lnTo>
                  <a:close/>
                  <a:moveTo>
                    <a:pt x="73183" y="7937"/>
                  </a:moveTo>
                  <a:lnTo>
                    <a:pt x="84011" y="7937"/>
                  </a:lnTo>
                  <a:lnTo>
                    <a:pt x="0" y="91948"/>
                  </a:lnTo>
                  <a:lnTo>
                    <a:pt x="0" y="81467"/>
                  </a:lnTo>
                  <a:close/>
                  <a:moveTo>
                    <a:pt x="9393706" y="0"/>
                  </a:moveTo>
                  <a:lnTo>
                    <a:pt x="9404534" y="0"/>
                  </a:lnTo>
                  <a:lnTo>
                    <a:pt x="9401359" y="3175"/>
                  </a:lnTo>
                  <a:lnTo>
                    <a:pt x="9401912" y="3175"/>
                  </a:lnTo>
                  <a:lnTo>
                    <a:pt x="9209595" y="195492"/>
                  </a:lnTo>
                  <a:lnTo>
                    <a:pt x="9473165" y="195492"/>
                  </a:lnTo>
                  <a:lnTo>
                    <a:pt x="9668657" y="0"/>
                  </a:lnTo>
                  <a:lnTo>
                    <a:pt x="9679138" y="0"/>
                  </a:lnTo>
                  <a:lnTo>
                    <a:pt x="9483502" y="195636"/>
                  </a:lnTo>
                  <a:lnTo>
                    <a:pt x="9483502" y="196191"/>
                  </a:lnTo>
                  <a:lnTo>
                    <a:pt x="9483184" y="196509"/>
                  </a:lnTo>
                  <a:lnTo>
                    <a:pt x="9746753" y="196509"/>
                  </a:lnTo>
                  <a:lnTo>
                    <a:pt x="9942755" y="0"/>
                  </a:lnTo>
                  <a:lnTo>
                    <a:pt x="9952529" y="0"/>
                  </a:lnTo>
                  <a:lnTo>
                    <a:pt x="9753041" y="200003"/>
                  </a:lnTo>
                  <a:lnTo>
                    <a:pt x="10024851" y="470415"/>
                  </a:lnTo>
                  <a:lnTo>
                    <a:pt x="10288275" y="470415"/>
                  </a:lnTo>
                  <a:lnTo>
                    <a:pt x="10157612" y="340449"/>
                  </a:lnTo>
                  <a:lnTo>
                    <a:pt x="10017165" y="200003"/>
                  </a:lnTo>
                  <a:lnTo>
                    <a:pt x="10216652" y="0"/>
                  </a:lnTo>
                  <a:lnTo>
                    <a:pt x="10227841" y="0"/>
                  </a:lnTo>
                  <a:lnTo>
                    <a:pt x="10031839" y="196509"/>
                  </a:lnTo>
                  <a:lnTo>
                    <a:pt x="10295263" y="196509"/>
                  </a:lnTo>
                  <a:lnTo>
                    <a:pt x="10491265" y="0"/>
                  </a:lnTo>
                  <a:lnTo>
                    <a:pt x="10500342" y="0"/>
                  </a:lnTo>
                  <a:lnTo>
                    <a:pt x="10301552" y="199304"/>
                  </a:lnTo>
                  <a:lnTo>
                    <a:pt x="10572663" y="469716"/>
                  </a:lnTo>
                  <a:lnTo>
                    <a:pt x="10836786" y="469716"/>
                  </a:lnTo>
                  <a:lnTo>
                    <a:pt x="10565675" y="199304"/>
                  </a:lnTo>
                  <a:lnTo>
                    <a:pt x="10764465" y="0"/>
                  </a:lnTo>
                  <a:lnTo>
                    <a:pt x="10773933" y="0"/>
                  </a:lnTo>
                  <a:lnTo>
                    <a:pt x="10757130" y="16933"/>
                  </a:lnTo>
                  <a:lnTo>
                    <a:pt x="10756431" y="16933"/>
                  </a:lnTo>
                  <a:lnTo>
                    <a:pt x="10578951" y="195111"/>
                  </a:lnTo>
                  <a:lnTo>
                    <a:pt x="10843074" y="195111"/>
                  </a:lnTo>
                  <a:lnTo>
                    <a:pt x="11038186" y="0"/>
                  </a:lnTo>
                  <a:lnTo>
                    <a:pt x="11048947" y="0"/>
                  </a:lnTo>
                  <a:lnTo>
                    <a:pt x="10940899" y="108468"/>
                  </a:lnTo>
                  <a:lnTo>
                    <a:pt x="10940200" y="108468"/>
                  </a:lnTo>
                  <a:lnTo>
                    <a:pt x="10850062" y="198605"/>
                  </a:lnTo>
                  <a:lnTo>
                    <a:pt x="11120474" y="469716"/>
                  </a:lnTo>
                  <a:lnTo>
                    <a:pt x="11384597" y="469716"/>
                  </a:lnTo>
                  <a:lnTo>
                    <a:pt x="11113487" y="199304"/>
                  </a:lnTo>
                  <a:lnTo>
                    <a:pt x="11297954" y="14837"/>
                  </a:lnTo>
                  <a:lnTo>
                    <a:pt x="11298653" y="14837"/>
                  </a:lnTo>
                  <a:lnTo>
                    <a:pt x="11313370" y="0"/>
                  </a:lnTo>
                  <a:lnTo>
                    <a:pt x="11322770" y="0"/>
                  </a:lnTo>
                  <a:lnTo>
                    <a:pt x="11128859" y="194412"/>
                  </a:lnTo>
                  <a:lnTo>
                    <a:pt x="11392284" y="194412"/>
                  </a:lnTo>
                  <a:lnTo>
                    <a:pt x="11586696" y="0"/>
                  </a:lnTo>
                  <a:lnTo>
                    <a:pt x="11598062" y="0"/>
                  </a:lnTo>
                  <a:lnTo>
                    <a:pt x="11399271" y="199304"/>
                  </a:lnTo>
                  <a:lnTo>
                    <a:pt x="11668984" y="468319"/>
                  </a:lnTo>
                  <a:lnTo>
                    <a:pt x="11932409" y="468319"/>
                  </a:lnTo>
                  <a:lnTo>
                    <a:pt x="11663395" y="199304"/>
                  </a:lnTo>
                  <a:lnTo>
                    <a:pt x="11664093" y="198605"/>
                  </a:lnTo>
                  <a:lnTo>
                    <a:pt x="11662696" y="197208"/>
                  </a:lnTo>
                  <a:lnTo>
                    <a:pt x="11859391" y="0"/>
                  </a:lnTo>
                  <a:lnTo>
                    <a:pt x="11872675" y="0"/>
                  </a:lnTo>
                  <a:lnTo>
                    <a:pt x="11678766" y="194412"/>
                  </a:lnTo>
                  <a:lnTo>
                    <a:pt x="11940794" y="194412"/>
                  </a:lnTo>
                  <a:lnTo>
                    <a:pt x="12134704" y="0"/>
                  </a:lnTo>
                  <a:lnTo>
                    <a:pt x="12146063" y="0"/>
                  </a:lnTo>
                  <a:lnTo>
                    <a:pt x="11949178" y="197906"/>
                  </a:lnTo>
                  <a:lnTo>
                    <a:pt x="12192001" y="440101"/>
                  </a:lnTo>
                  <a:lnTo>
                    <a:pt x="12192001" y="449864"/>
                  </a:lnTo>
                  <a:lnTo>
                    <a:pt x="11942191" y="200701"/>
                  </a:lnTo>
                  <a:lnTo>
                    <a:pt x="11678766" y="201400"/>
                  </a:lnTo>
                  <a:lnTo>
                    <a:pt x="11947782" y="469716"/>
                  </a:lnTo>
                  <a:lnTo>
                    <a:pt x="11947083" y="470415"/>
                  </a:lnTo>
                  <a:lnTo>
                    <a:pt x="11948480" y="471812"/>
                  </a:lnTo>
                  <a:lnTo>
                    <a:pt x="11678067" y="742923"/>
                  </a:lnTo>
                  <a:lnTo>
                    <a:pt x="11942191" y="742923"/>
                  </a:lnTo>
                  <a:lnTo>
                    <a:pt x="12032328" y="652786"/>
                  </a:lnTo>
                  <a:lnTo>
                    <a:pt x="12192001" y="490007"/>
                  </a:lnTo>
                  <a:lnTo>
                    <a:pt x="12192001" y="502966"/>
                  </a:lnTo>
                  <a:lnTo>
                    <a:pt x="11949178" y="746417"/>
                  </a:lnTo>
                  <a:lnTo>
                    <a:pt x="12192001" y="988614"/>
                  </a:lnTo>
                  <a:lnTo>
                    <a:pt x="12192001" y="999775"/>
                  </a:lnTo>
                  <a:lnTo>
                    <a:pt x="11942191" y="750609"/>
                  </a:lnTo>
                  <a:lnTo>
                    <a:pt x="11678067" y="750609"/>
                  </a:lnTo>
                  <a:lnTo>
                    <a:pt x="11949178" y="1020322"/>
                  </a:lnTo>
                  <a:lnTo>
                    <a:pt x="11946384" y="1023118"/>
                  </a:lnTo>
                  <a:lnTo>
                    <a:pt x="11856246" y="1113953"/>
                  </a:lnTo>
                  <a:lnTo>
                    <a:pt x="11678766" y="1291433"/>
                  </a:lnTo>
                  <a:lnTo>
                    <a:pt x="11942890" y="1291433"/>
                  </a:lnTo>
                  <a:lnTo>
                    <a:pt x="12032328" y="1201994"/>
                  </a:lnTo>
                  <a:lnTo>
                    <a:pt x="12192001" y="1042322"/>
                  </a:lnTo>
                  <a:lnTo>
                    <a:pt x="12192001" y="1052103"/>
                  </a:lnTo>
                  <a:lnTo>
                    <a:pt x="12039316" y="1204790"/>
                  </a:lnTo>
                  <a:lnTo>
                    <a:pt x="11949877" y="1294927"/>
                  </a:lnTo>
                  <a:lnTo>
                    <a:pt x="12084035" y="1428386"/>
                  </a:lnTo>
                  <a:lnTo>
                    <a:pt x="12192001" y="1536351"/>
                  </a:lnTo>
                  <a:lnTo>
                    <a:pt x="12192001" y="1547647"/>
                  </a:lnTo>
                  <a:lnTo>
                    <a:pt x="12079843" y="1436072"/>
                  </a:lnTo>
                  <a:lnTo>
                    <a:pt x="11942890" y="1299119"/>
                  </a:lnTo>
                  <a:lnTo>
                    <a:pt x="11678766" y="1299119"/>
                  </a:lnTo>
                  <a:lnTo>
                    <a:pt x="11949877" y="1569531"/>
                  </a:lnTo>
                  <a:lnTo>
                    <a:pt x="11680164" y="1840642"/>
                  </a:lnTo>
                  <a:lnTo>
                    <a:pt x="11943588" y="1840642"/>
                  </a:lnTo>
                  <a:lnTo>
                    <a:pt x="12192001" y="1591587"/>
                  </a:lnTo>
                  <a:lnTo>
                    <a:pt x="12192001" y="1601385"/>
                  </a:lnTo>
                  <a:lnTo>
                    <a:pt x="11949877" y="1844135"/>
                  </a:lnTo>
                  <a:lnTo>
                    <a:pt x="12192001" y="2085635"/>
                  </a:lnTo>
                  <a:lnTo>
                    <a:pt x="12192001" y="2095403"/>
                  </a:lnTo>
                  <a:lnTo>
                    <a:pt x="11943588" y="1847630"/>
                  </a:lnTo>
                  <a:lnTo>
                    <a:pt x="11680164" y="1847630"/>
                  </a:lnTo>
                  <a:lnTo>
                    <a:pt x="11810129" y="1977595"/>
                  </a:lnTo>
                  <a:lnTo>
                    <a:pt x="11950576" y="2118042"/>
                  </a:lnTo>
                  <a:lnTo>
                    <a:pt x="11680164" y="2389152"/>
                  </a:lnTo>
                  <a:lnTo>
                    <a:pt x="11944287" y="2389152"/>
                  </a:lnTo>
                  <a:lnTo>
                    <a:pt x="12192001" y="2140799"/>
                  </a:lnTo>
                  <a:lnTo>
                    <a:pt x="12192001" y="2150597"/>
                  </a:lnTo>
                  <a:lnTo>
                    <a:pt x="11950576" y="2392646"/>
                  </a:lnTo>
                  <a:lnTo>
                    <a:pt x="12192001" y="2633449"/>
                  </a:lnTo>
                  <a:lnTo>
                    <a:pt x="12192001" y="2643202"/>
                  </a:lnTo>
                  <a:lnTo>
                    <a:pt x="11944287" y="2396139"/>
                  </a:lnTo>
                  <a:lnTo>
                    <a:pt x="11680164" y="2396139"/>
                  </a:lnTo>
                  <a:lnTo>
                    <a:pt x="11681562" y="2397537"/>
                  </a:lnTo>
                  <a:lnTo>
                    <a:pt x="11949877" y="2665853"/>
                  </a:lnTo>
                  <a:lnTo>
                    <a:pt x="11679465" y="2936964"/>
                  </a:lnTo>
                  <a:lnTo>
                    <a:pt x="11943588" y="2936964"/>
                  </a:lnTo>
                  <a:lnTo>
                    <a:pt x="12192001" y="2687909"/>
                  </a:lnTo>
                  <a:lnTo>
                    <a:pt x="12192001" y="2698409"/>
                  </a:lnTo>
                  <a:lnTo>
                    <a:pt x="11950576" y="2940457"/>
                  </a:lnTo>
                  <a:lnTo>
                    <a:pt x="12192001" y="3181261"/>
                  </a:lnTo>
                  <a:lnTo>
                    <a:pt x="12192001" y="3190330"/>
                  </a:lnTo>
                  <a:lnTo>
                    <a:pt x="11944986" y="2943952"/>
                  </a:lnTo>
                  <a:lnTo>
                    <a:pt x="11680863" y="2943952"/>
                  </a:lnTo>
                  <a:lnTo>
                    <a:pt x="11951974" y="3214364"/>
                  </a:lnTo>
                  <a:lnTo>
                    <a:pt x="11681562" y="3485473"/>
                  </a:lnTo>
                  <a:lnTo>
                    <a:pt x="11945685" y="3485473"/>
                  </a:lnTo>
                  <a:lnTo>
                    <a:pt x="12192001" y="3238522"/>
                  </a:lnTo>
                  <a:lnTo>
                    <a:pt x="12192001" y="3249019"/>
                  </a:lnTo>
                  <a:lnTo>
                    <a:pt x="11951275" y="3490365"/>
                  </a:lnTo>
                  <a:lnTo>
                    <a:pt x="12192001" y="3730470"/>
                  </a:lnTo>
                  <a:lnTo>
                    <a:pt x="12192001" y="3738839"/>
                  </a:lnTo>
                  <a:lnTo>
                    <a:pt x="11945685" y="3493160"/>
                  </a:lnTo>
                  <a:lnTo>
                    <a:pt x="11681562" y="3493160"/>
                  </a:lnTo>
                  <a:lnTo>
                    <a:pt x="11951974" y="3762174"/>
                  </a:lnTo>
                  <a:lnTo>
                    <a:pt x="11949178" y="3764969"/>
                  </a:lnTo>
                  <a:lnTo>
                    <a:pt x="11859042" y="3855806"/>
                  </a:lnTo>
                  <a:lnTo>
                    <a:pt x="11682312" y="4032535"/>
                  </a:lnTo>
                  <a:lnTo>
                    <a:pt x="11945176" y="4032535"/>
                  </a:lnTo>
                  <a:lnTo>
                    <a:pt x="12116367" y="3860644"/>
                  </a:lnTo>
                  <a:lnTo>
                    <a:pt x="12118325" y="3860644"/>
                  </a:lnTo>
                  <a:lnTo>
                    <a:pt x="12192001" y="3786969"/>
                  </a:lnTo>
                  <a:lnTo>
                    <a:pt x="12192001" y="3798267"/>
                  </a:lnTo>
                  <a:lnTo>
                    <a:pt x="12042111" y="3948738"/>
                  </a:lnTo>
                  <a:lnTo>
                    <a:pt x="11953840" y="4037700"/>
                  </a:lnTo>
                  <a:lnTo>
                    <a:pt x="12192001" y="4275248"/>
                  </a:lnTo>
                  <a:lnTo>
                    <a:pt x="12192001" y="4286404"/>
                  </a:lnTo>
                  <a:lnTo>
                    <a:pt x="11988663" y="4083594"/>
                  </a:lnTo>
                  <a:lnTo>
                    <a:pt x="11986910" y="4083594"/>
                  </a:lnTo>
                  <a:lnTo>
                    <a:pt x="11946384" y="4043068"/>
                  </a:lnTo>
                  <a:lnTo>
                    <a:pt x="11683900" y="4043068"/>
                  </a:lnTo>
                  <a:lnTo>
                    <a:pt x="11951465" y="4310632"/>
                  </a:lnTo>
                  <a:lnTo>
                    <a:pt x="11952862" y="4312030"/>
                  </a:lnTo>
                  <a:lnTo>
                    <a:pt x="11683847" y="4581743"/>
                  </a:lnTo>
                  <a:lnTo>
                    <a:pt x="11945875" y="4581743"/>
                  </a:lnTo>
                  <a:lnTo>
                    <a:pt x="12192001" y="4334979"/>
                  </a:lnTo>
                  <a:lnTo>
                    <a:pt x="12192001" y="4346260"/>
                  </a:lnTo>
                  <a:lnTo>
                    <a:pt x="11954259" y="4585237"/>
                  </a:lnTo>
                  <a:lnTo>
                    <a:pt x="12192001" y="4822363"/>
                  </a:lnTo>
                  <a:lnTo>
                    <a:pt x="12192001" y="4832127"/>
                  </a:lnTo>
                  <a:lnTo>
                    <a:pt x="11947272" y="4588031"/>
                  </a:lnTo>
                  <a:lnTo>
                    <a:pt x="11683847" y="4588730"/>
                  </a:lnTo>
                  <a:lnTo>
                    <a:pt x="11952862" y="4857047"/>
                  </a:lnTo>
                  <a:lnTo>
                    <a:pt x="11952164" y="4857746"/>
                  </a:lnTo>
                  <a:lnTo>
                    <a:pt x="11953561" y="4859142"/>
                  </a:lnTo>
                  <a:lnTo>
                    <a:pt x="11683148" y="5130253"/>
                  </a:lnTo>
                  <a:lnTo>
                    <a:pt x="11947272" y="5130253"/>
                  </a:lnTo>
                  <a:lnTo>
                    <a:pt x="12037409" y="5040116"/>
                  </a:lnTo>
                  <a:lnTo>
                    <a:pt x="12192001" y="4882518"/>
                  </a:lnTo>
                  <a:lnTo>
                    <a:pt x="12192001" y="4895391"/>
                  </a:lnTo>
                  <a:lnTo>
                    <a:pt x="11954259" y="5133747"/>
                  </a:lnTo>
                  <a:lnTo>
                    <a:pt x="12192001" y="5370876"/>
                  </a:lnTo>
                  <a:lnTo>
                    <a:pt x="12192001" y="5382038"/>
                  </a:lnTo>
                  <a:lnTo>
                    <a:pt x="11947272" y="5137939"/>
                  </a:lnTo>
                  <a:lnTo>
                    <a:pt x="11683148" y="5137939"/>
                  </a:lnTo>
                  <a:lnTo>
                    <a:pt x="11954259" y="5407653"/>
                  </a:lnTo>
                  <a:lnTo>
                    <a:pt x="11951465" y="5410448"/>
                  </a:lnTo>
                  <a:lnTo>
                    <a:pt x="11861327" y="5501283"/>
                  </a:lnTo>
                  <a:lnTo>
                    <a:pt x="11683847" y="5678763"/>
                  </a:lnTo>
                  <a:lnTo>
                    <a:pt x="11947970" y="5678763"/>
                  </a:lnTo>
                  <a:lnTo>
                    <a:pt x="12037409" y="5589325"/>
                  </a:lnTo>
                  <a:lnTo>
                    <a:pt x="12192001" y="5434732"/>
                  </a:lnTo>
                  <a:lnTo>
                    <a:pt x="12192001" y="5444515"/>
                  </a:lnTo>
                  <a:lnTo>
                    <a:pt x="12044397" y="5592120"/>
                  </a:lnTo>
                  <a:lnTo>
                    <a:pt x="11954958" y="5682258"/>
                  </a:lnTo>
                  <a:lnTo>
                    <a:pt x="12089116" y="5815716"/>
                  </a:lnTo>
                  <a:lnTo>
                    <a:pt x="12192001" y="5918601"/>
                  </a:lnTo>
                  <a:lnTo>
                    <a:pt x="12192001" y="5929923"/>
                  </a:lnTo>
                  <a:lnTo>
                    <a:pt x="12084924" y="5823402"/>
                  </a:lnTo>
                  <a:lnTo>
                    <a:pt x="11947970" y="5686450"/>
                  </a:lnTo>
                  <a:lnTo>
                    <a:pt x="11683847" y="5686450"/>
                  </a:lnTo>
                  <a:lnTo>
                    <a:pt x="11954958" y="5956862"/>
                  </a:lnTo>
                  <a:lnTo>
                    <a:pt x="11685245" y="6227973"/>
                  </a:lnTo>
                  <a:lnTo>
                    <a:pt x="11948669" y="6227973"/>
                  </a:lnTo>
                  <a:lnTo>
                    <a:pt x="12192001" y="5984012"/>
                  </a:lnTo>
                  <a:lnTo>
                    <a:pt x="12192001" y="5993810"/>
                  </a:lnTo>
                  <a:lnTo>
                    <a:pt x="11954958" y="6231466"/>
                  </a:lnTo>
                  <a:lnTo>
                    <a:pt x="12192001" y="6467898"/>
                  </a:lnTo>
                  <a:lnTo>
                    <a:pt x="12192001" y="6477665"/>
                  </a:lnTo>
                  <a:lnTo>
                    <a:pt x="11948669" y="6234960"/>
                  </a:lnTo>
                  <a:lnTo>
                    <a:pt x="11685245" y="6234960"/>
                  </a:lnTo>
                  <a:lnTo>
                    <a:pt x="11815210" y="6364925"/>
                  </a:lnTo>
                  <a:lnTo>
                    <a:pt x="11955657" y="6505372"/>
                  </a:lnTo>
                  <a:lnTo>
                    <a:pt x="11945954" y="6515100"/>
                  </a:lnTo>
                  <a:lnTo>
                    <a:pt x="11935461" y="6515100"/>
                  </a:lnTo>
                  <a:lnTo>
                    <a:pt x="11940983" y="6509564"/>
                  </a:lnTo>
                  <a:lnTo>
                    <a:pt x="11677558" y="6509564"/>
                  </a:lnTo>
                  <a:lnTo>
                    <a:pt x="11672044" y="6515100"/>
                  </a:lnTo>
                  <a:lnTo>
                    <a:pt x="11661542" y="6515100"/>
                  </a:lnTo>
                  <a:lnTo>
                    <a:pt x="11671270" y="6505372"/>
                  </a:lnTo>
                  <a:lnTo>
                    <a:pt x="11400159" y="6234960"/>
                  </a:lnTo>
                  <a:lnTo>
                    <a:pt x="11136036" y="6234960"/>
                  </a:lnTo>
                  <a:lnTo>
                    <a:pt x="11407146" y="6505372"/>
                  </a:lnTo>
                  <a:lnTo>
                    <a:pt x="11404352" y="6508166"/>
                  </a:lnTo>
                  <a:lnTo>
                    <a:pt x="11397471" y="6515100"/>
                  </a:lnTo>
                  <a:lnTo>
                    <a:pt x="11387635" y="6515100"/>
                  </a:lnTo>
                  <a:lnTo>
                    <a:pt x="11393171" y="6509564"/>
                  </a:lnTo>
                  <a:lnTo>
                    <a:pt x="11129049" y="6509564"/>
                  </a:lnTo>
                  <a:lnTo>
                    <a:pt x="11123527" y="6515100"/>
                  </a:lnTo>
                  <a:lnTo>
                    <a:pt x="11113055" y="6515100"/>
                  </a:lnTo>
                  <a:lnTo>
                    <a:pt x="11122062" y="6506071"/>
                  </a:lnTo>
                  <a:lnTo>
                    <a:pt x="11117170" y="6501179"/>
                  </a:lnTo>
                  <a:lnTo>
                    <a:pt x="10851650" y="6236358"/>
                  </a:lnTo>
                  <a:lnTo>
                    <a:pt x="10587525" y="6236358"/>
                  </a:lnTo>
                  <a:lnTo>
                    <a:pt x="10588224" y="6237056"/>
                  </a:lnTo>
                  <a:lnTo>
                    <a:pt x="10588923" y="6237056"/>
                  </a:lnTo>
                  <a:lnTo>
                    <a:pt x="10857937" y="6506071"/>
                  </a:lnTo>
                  <a:lnTo>
                    <a:pt x="10848931" y="6515100"/>
                  </a:lnTo>
                  <a:lnTo>
                    <a:pt x="10840523" y="6515100"/>
                  </a:lnTo>
                  <a:lnTo>
                    <a:pt x="10845361" y="6510263"/>
                  </a:lnTo>
                  <a:lnTo>
                    <a:pt x="10581237" y="6510263"/>
                  </a:lnTo>
                  <a:lnTo>
                    <a:pt x="10576412" y="6515100"/>
                  </a:lnTo>
                  <a:lnTo>
                    <a:pt x="10563823" y="6515100"/>
                  </a:lnTo>
                  <a:lnTo>
                    <a:pt x="10572852" y="6506071"/>
                  </a:lnTo>
                  <a:lnTo>
                    <a:pt x="10440092" y="6374009"/>
                  </a:lnTo>
                  <a:lnTo>
                    <a:pt x="10301742" y="6235659"/>
                  </a:lnTo>
                  <a:lnTo>
                    <a:pt x="10037618" y="6235659"/>
                  </a:lnTo>
                  <a:lnTo>
                    <a:pt x="10308729" y="6505372"/>
                  </a:lnTo>
                  <a:lnTo>
                    <a:pt x="10305934" y="6508166"/>
                  </a:lnTo>
                  <a:lnTo>
                    <a:pt x="10299053" y="6515100"/>
                  </a:lnTo>
                  <a:lnTo>
                    <a:pt x="10289917" y="6515100"/>
                  </a:lnTo>
                  <a:lnTo>
                    <a:pt x="10295453" y="6509564"/>
                  </a:lnTo>
                  <a:lnTo>
                    <a:pt x="10036919" y="6509564"/>
                  </a:lnTo>
                  <a:lnTo>
                    <a:pt x="10035464" y="6508865"/>
                  </a:lnTo>
                  <a:lnTo>
                    <a:pt x="10036919" y="6508865"/>
                  </a:lnTo>
                  <a:lnTo>
                    <a:pt x="10019451" y="6500480"/>
                  </a:lnTo>
                  <a:lnTo>
                    <a:pt x="10020794" y="6501824"/>
                  </a:lnTo>
                  <a:lnTo>
                    <a:pt x="10019451" y="6501179"/>
                  </a:lnTo>
                  <a:lnTo>
                    <a:pt x="9753930" y="6236358"/>
                  </a:lnTo>
                  <a:lnTo>
                    <a:pt x="9489807" y="6236358"/>
                  </a:lnTo>
                  <a:lnTo>
                    <a:pt x="9491204" y="6237754"/>
                  </a:lnTo>
                  <a:lnTo>
                    <a:pt x="9760219" y="6506770"/>
                  </a:lnTo>
                  <a:lnTo>
                    <a:pt x="9751867" y="6515100"/>
                  </a:lnTo>
                  <a:lnTo>
                    <a:pt x="9741431" y="6515100"/>
                  </a:lnTo>
                  <a:lnTo>
                    <a:pt x="9746244" y="6510263"/>
                  </a:lnTo>
                  <a:lnTo>
                    <a:pt x="9484783" y="6510263"/>
                  </a:lnTo>
                  <a:lnTo>
                    <a:pt x="9476833" y="6518275"/>
                  </a:lnTo>
                  <a:lnTo>
                    <a:pt x="9466908" y="6518275"/>
                  </a:lnTo>
                  <a:lnTo>
                    <a:pt x="9470109" y="6515100"/>
                  </a:lnTo>
                  <a:lnTo>
                    <a:pt x="9467501" y="6515100"/>
                  </a:lnTo>
                  <a:lnTo>
                    <a:pt x="9472657" y="6509945"/>
                  </a:lnTo>
                  <a:lnTo>
                    <a:pt x="9211183" y="6509945"/>
                  </a:lnTo>
                  <a:lnTo>
                    <a:pt x="9202874" y="6518275"/>
                  </a:lnTo>
                  <a:lnTo>
                    <a:pt x="9191704" y="6518275"/>
                  </a:lnTo>
                  <a:lnTo>
                    <a:pt x="9204195" y="6505752"/>
                  </a:lnTo>
                  <a:lnTo>
                    <a:pt x="9199304" y="6500861"/>
                  </a:lnTo>
                  <a:lnTo>
                    <a:pt x="8933783" y="6235340"/>
                  </a:lnTo>
                  <a:lnTo>
                    <a:pt x="8669660" y="6235340"/>
                  </a:lnTo>
                  <a:lnTo>
                    <a:pt x="8671058" y="6236737"/>
                  </a:lnTo>
                  <a:lnTo>
                    <a:pt x="8940072" y="6505752"/>
                  </a:lnTo>
                  <a:lnTo>
                    <a:pt x="8927581" y="6518275"/>
                  </a:lnTo>
                  <a:lnTo>
                    <a:pt x="8919183" y="6518275"/>
                  </a:lnTo>
                  <a:lnTo>
                    <a:pt x="8926796" y="6510643"/>
                  </a:lnTo>
                  <a:lnTo>
                    <a:pt x="8662672" y="6510643"/>
                  </a:lnTo>
                  <a:lnTo>
                    <a:pt x="8655060" y="6518275"/>
                  </a:lnTo>
                  <a:lnTo>
                    <a:pt x="8643195" y="6518275"/>
                  </a:lnTo>
                  <a:lnTo>
                    <a:pt x="8656384" y="6505053"/>
                  </a:lnTo>
                  <a:lnTo>
                    <a:pt x="8522925" y="6372290"/>
                  </a:lnTo>
                  <a:lnTo>
                    <a:pt x="8525720" y="6366702"/>
                  </a:lnTo>
                  <a:lnTo>
                    <a:pt x="8525021" y="6366004"/>
                  </a:lnTo>
                  <a:lnTo>
                    <a:pt x="8525720" y="6364607"/>
                  </a:lnTo>
                  <a:lnTo>
                    <a:pt x="8662672" y="6501560"/>
                  </a:lnTo>
                  <a:lnTo>
                    <a:pt x="8926796" y="6501560"/>
                  </a:lnTo>
                  <a:lnTo>
                    <a:pt x="8655685" y="6231148"/>
                  </a:lnTo>
                  <a:lnTo>
                    <a:pt x="8657083" y="6229750"/>
                  </a:lnTo>
                  <a:lnTo>
                    <a:pt x="8925398" y="5960736"/>
                  </a:lnTo>
                  <a:lnTo>
                    <a:pt x="8726957" y="5960736"/>
                  </a:lnTo>
                  <a:lnTo>
                    <a:pt x="8730450" y="5953748"/>
                  </a:lnTo>
                  <a:lnTo>
                    <a:pt x="8925398" y="5953748"/>
                  </a:lnTo>
                  <a:lnTo>
                    <a:pt x="8795433" y="5823783"/>
                  </a:lnTo>
                  <a:lnTo>
                    <a:pt x="8798926" y="5816795"/>
                  </a:lnTo>
                  <a:lnTo>
                    <a:pt x="8939373" y="5957241"/>
                  </a:lnTo>
                  <a:lnTo>
                    <a:pt x="8668961" y="6228352"/>
                  </a:lnTo>
                  <a:lnTo>
                    <a:pt x="8933085" y="6228352"/>
                  </a:lnTo>
                  <a:lnTo>
                    <a:pt x="9203497" y="5957241"/>
                  </a:lnTo>
                  <a:lnTo>
                    <a:pt x="8932386" y="5687528"/>
                  </a:lnTo>
                  <a:lnTo>
                    <a:pt x="8863909" y="5687528"/>
                  </a:lnTo>
                  <a:lnTo>
                    <a:pt x="8668961" y="5687528"/>
                  </a:lnTo>
                  <a:lnTo>
                    <a:pt x="8798227" y="5817494"/>
                  </a:lnTo>
                  <a:lnTo>
                    <a:pt x="8794734" y="5824481"/>
                  </a:lnTo>
                  <a:lnTo>
                    <a:pt x="8654287" y="5684035"/>
                  </a:lnTo>
                  <a:lnTo>
                    <a:pt x="8924699" y="5412924"/>
                  </a:lnTo>
                  <a:lnTo>
                    <a:pt x="8660576" y="5412924"/>
                  </a:lnTo>
                  <a:lnTo>
                    <a:pt x="8390164" y="5684035"/>
                  </a:lnTo>
                  <a:lnTo>
                    <a:pt x="8661275" y="5954447"/>
                  </a:lnTo>
                  <a:lnTo>
                    <a:pt x="8729751" y="5954447"/>
                  </a:lnTo>
                  <a:lnTo>
                    <a:pt x="8726258" y="5961434"/>
                  </a:lnTo>
                  <a:lnTo>
                    <a:pt x="8661275" y="5961434"/>
                  </a:lnTo>
                  <a:lnTo>
                    <a:pt x="8481000" y="6142408"/>
                  </a:lnTo>
                  <a:lnTo>
                    <a:pt x="8391562" y="6232545"/>
                  </a:lnTo>
                  <a:lnTo>
                    <a:pt x="8525021" y="6366004"/>
                  </a:lnTo>
                  <a:lnTo>
                    <a:pt x="8522226" y="6371593"/>
                  </a:lnTo>
                  <a:lnTo>
                    <a:pt x="8522925" y="6372290"/>
                  </a:lnTo>
                  <a:lnTo>
                    <a:pt x="8522226" y="6373690"/>
                  </a:lnTo>
                  <a:lnTo>
                    <a:pt x="8385273" y="6236737"/>
                  </a:lnTo>
                  <a:lnTo>
                    <a:pt x="8121150" y="6236737"/>
                  </a:lnTo>
                  <a:lnTo>
                    <a:pt x="8392260" y="6507149"/>
                  </a:lnTo>
                  <a:lnTo>
                    <a:pt x="8381163" y="6518275"/>
                  </a:lnTo>
                  <a:lnTo>
                    <a:pt x="8370672" y="6518275"/>
                  </a:lnTo>
                  <a:lnTo>
                    <a:pt x="8378285" y="6510643"/>
                  </a:lnTo>
                  <a:lnTo>
                    <a:pt x="8114162" y="6510643"/>
                  </a:lnTo>
                  <a:lnTo>
                    <a:pt x="8106549" y="6518275"/>
                  </a:lnTo>
                  <a:lnTo>
                    <a:pt x="8097473" y="6518275"/>
                  </a:lnTo>
                  <a:lnTo>
                    <a:pt x="8107873" y="6507848"/>
                  </a:lnTo>
                  <a:lnTo>
                    <a:pt x="7836763" y="6237436"/>
                  </a:lnTo>
                  <a:lnTo>
                    <a:pt x="7572639" y="6237436"/>
                  </a:lnTo>
                  <a:lnTo>
                    <a:pt x="7843750" y="6507848"/>
                  </a:lnTo>
                  <a:lnTo>
                    <a:pt x="7833350" y="6518275"/>
                  </a:lnTo>
                  <a:lnTo>
                    <a:pt x="7823556" y="6518275"/>
                  </a:lnTo>
                  <a:lnTo>
                    <a:pt x="7829775" y="6512040"/>
                  </a:lnTo>
                  <a:lnTo>
                    <a:pt x="7565652" y="6512040"/>
                  </a:lnTo>
                  <a:lnTo>
                    <a:pt x="7559433" y="6518275"/>
                  </a:lnTo>
                  <a:lnTo>
                    <a:pt x="7549660" y="6518275"/>
                  </a:lnTo>
                  <a:lnTo>
                    <a:pt x="7559363" y="6508547"/>
                  </a:lnTo>
                  <a:lnTo>
                    <a:pt x="7288252" y="6238135"/>
                  </a:lnTo>
                  <a:lnTo>
                    <a:pt x="7024828" y="6238135"/>
                  </a:lnTo>
                  <a:lnTo>
                    <a:pt x="7154793" y="6368100"/>
                  </a:lnTo>
                  <a:lnTo>
                    <a:pt x="7295240" y="6508547"/>
                  </a:lnTo>
                  <a:lnTo>
                    <a:pt x="7285537" y="6518275"/>
                  </a:lnTo>
                  <a:lnTo>
                    <a:pt x="7275044" y="6518275"/>
                  </a:lnTo>
                  <a:lnTo>
                    <a:pt x="7280566" y="6512739"/>
                  </a:lnTo>
                  <a:lnTo>
                    <a:pt x="7017141" y="6512739"/>
                  </a:lnTo>
                  <a:lnTo>
                    <a:pt x="7011627" y="6518275"/>
                  </a:lnTo>
                  <a:lnTo>
                    <a:pt x="7001125" y="6518275"/>
                  </a:lnTo>
                  <a:lnTo>
                    <a:pt x="7010853" y="6508547"/>
                  </a:lnTo>
                  <a:lnTo>
                    <a:pt x="6739742" y="6238135"/>
                  </a:lnTo>
                  <a:lnTo>
                    <a:pt x="6475619" y="6238135"/>
                  </a:lnTo>
                  <a:lnTo>
                    <a:pt x="6746729" y="6508547"/>
                  </a:lnTo>
                  <a:lnTo>
                    <a:pt x="6743935" y="6511341"/>
                  </a:lnTo>
                  <a:lnTo>
                    <a:pt x="6737054" y="6518275"/>
                  </a:lnTo>
                  <a:lnTo>
                    <a:pt x="6727219" y="6518275"/>
                  </a:lnTo>
                  <a:lnTo>
                    <a:pt x="6732754" y="6512739"/>
                  </a:lnTo>
                  <a:lnTo>
                    <a:pt x="6468632" y="6512739"/>
                  </a:lnTo>
                  <a:lnTo>
                    <a:pt x="6463111" y="6518275"/>
                  </a:lnTo>
                  <a:lnTo>
                    <a:pt x="6452638" y="6518275"/>
                  </a:lnTo>
                  <a:lnTo>
                    <a:pt x="6461645" y="6509246"/>
                  </a:lnTo>
                  <a:lnTo>
                    <a:pt x="6456753" y="6504354"/>
                  </a:lnTo>
                  <a:lnTo>
                    <a:pt x="6191234" y="6239533"/>
                  </a:lnTo>
                  <a:lnTo>
                    <a:pt x="5927108" y="6239533"/>
                  </a:lnTo>
                  <a:lnTo>
                    <a:pt x="5927807" y="6240231"/>
                  </a:lnTo>
                  <a:lnTo>
                    <a:pt x="5928507" y="6240231"/>
                  </a:lnTo>
                  <a:lnTo>
                    <a:pt x="6197521" y="6509246"/>
                  </a:lnTo>
                  <a:lnTo>
                    <a:pt x="6188514" y="6518275"/>
                  </a:lnTo>
                  <a:lnTo>
                    <a:pt x="6180107" y="6518275"/>
                  </a:lnTo>
                  <a:lnTo>
                    <a:pt x="6184944" y="6513438"/>
                  </a:lnTo>
                  <a:lnTo>
                    <a:pt x="5920821" y="6513438"/>
                  </a:lnTo>
                  <a:lnTo>
                    <a:pt x="5915996" y="6518275"/>
                  </a:lnTo>
                  <a:lnTo>
                    <a:pt x="5903406" y="6518275"/>
                  </a:lnTo>
                  <a:lnTo>
                    <a:pt x="5912435" y="6509246"/>
                  </a:lnTo>
                  <a:lnTo>
                    <a:pt x="5779675" y="6377184"/>
                  </a:lnTo>
                  <a:lnTo>
                    <a:pt x="5641325" y="6238834"/>
                  </a:lnTo>
                  <a:lnTo>
                    <a:pt x="5377202" y="6238834"/>
                  </a:lnTo>
                  <a:lnTo>
                    <a:pt x="5648312" y="6508547"/>
                  </a:lnTo>
                  <a:lnTo>
                    <a:pt x="5645518" y="6511341"/>
                  </a:lnTo>
                  <a:lnTo>
                    <a:pt x="5638636" y="6518275"/>
                  </a:lnTo>
                  <a:lnTo>
                    <a:pt x="5629500" y="6518275"/>
                  </a:lnTo>
                  <a:lnTo>
                    <a:pt x="5635036" y="6512739"/>
                  </a:lnTo>
                  <a:lnTo>
                    <a:pt x="5376502" y="6512739"/>
                  </a:lnTo>
                  <a:lnTo>
                    <a:pt x="5375047" y="6512040"/>
                  </a:lnTo>
                  <a:lnTo>
                    <a:pt x="5376502" y="6512040"/>
                  </a:lnTo>
                  <a:lnTo>
                    <a:pt x="5359034" y="6503655"/>
                  </a:lnTo>
                  <a:lnTo>
                    <a:pt x="5360377" y="6504999"/>
                  </a:lnTo>
                  <a:lnTo>
                    <a:pt x="5359034" y="6504354"/>
                  </a:lnTo>
                  <a:lnTo>
                    <a:pt x="5093513" y="6239533"/>
                  </a:lnTo>
                  <a:lnTo>
                    <a:pt x="4829390" y="6239533"/>
                  </a:lnTo>
                  <a:lnTo>
                    <a:pt x="4830788" y="6240929"/>
                  </a:lnTo>
                  <a:lnTo>
                    <a:pt x="5099802" y="6509945"/>
                  </a:lnTo>
                  <a:lnTo>
                    <a:pt x="5091450" y="6518275"/>
                  </a:lnTo>
                  <a:lnTo>
                    <a:pt x="5081014" y="6518275"/>
                  </a:lnTo>
                  <a:lnTo>
                    <a:pt x="5085827" y="6513438"/>
                  </a:lnTo>
                  <a:lnTo>
                    <a:pt x="4826252" y="6513438"/>
                  </a:lnTo>
                  <a:lnTo>
                    <a:pt x="4816727" y="6523037"/>
                  </a:lnTo>
                  <a:lnTo>
                    <a:pt x="4806802" y="6523037"/>
                  </a:lnTo>
                  <a:lnTo>
                    <a:pt x="4811603" y="6518275"/>
                  </a:lnTo>
                  <a:lnTo>
                    <a:pt x="4807085" y="6518275"/>
                  </a:lnTo>
                  <a:lnTo>
                    <a:pt x="4810652" y="6514707"/>
                  </a:lnTo>
                  <a:lnTo>
                    <a:pt x="4551077" y="6514707"/>
                  </a:lnTo>
                  <a:lnTo>
                    <a:pt x="4542768" y="6523037"/>
                  </a:lnTo>
                  <a:lnTo>
                    <a:pt x="4531598" y="6523037"/>
                  </a:lnTo>
                  <a:lnTo>
                    <a:pt x="4544090" y="6510514"/>
                  </a:lnTo>
                  <a:lnTo>
                    <a:pt x="4539199" y="6505623"/>
                  </a:lnTo>
                  <a:lnTo>
                    <a:pt x="4273677" y="6240102"/>
                  </a:lnTo>
                  <a:lnTo>
                    <a:pt x="4009554" y="6240102"/>
                  </a:lnTo>
                  <a:lnTo>
                    <a:pt x="4010952" y="6241499"/>
                  </a:lnTo>
                  <a:lnTo>
                    <a:pt x="4279967" y="6510514"/>
                  </a:lnTo>
                  <a:lnTo>
                    <a:pt x="4267475" y="6523037"/>
                  </a:lnTo>
                  <a:lnTo>
                    <a:pt x="4259077" y="6523037"/>
                  </a:lnTo>
                  <a:lnTo>
                    <a:pt x="4266690" y="6515405"/>
                  </a:lnTo>
                  <a:lnTo>
                    <a:pt x="4002566" y="6515405"/>
                  </a:lnTo>
                  <a:lnTo>
                    <a:pt x="3994954" y="6523037"/>
                  </a:lnTo>
                  <a:lnTo>
                    <a:pt x="3983089" y="6523037"/>
                  </a:lnTo>
                  <a:lnTo>
                    <a:pt x="3996278" y="6509815"/>
                  </a:lnTo>
                  <a:lnTo>
                    <a:pt x="3862819" y="6377052"/>
                  </a:lnTo>
                  <a:lnTo>
                    <a:pt x="3865614" y="6371464"/>
                  </a:lnTo>
                  <a:lnTo>
                    <a:pt x="3864915" y="6370766"/>
                  </a:lnTo>
                  <a:lnTo>
                    <a:pt x="3865614" y="6369369"/>
                  </a:lnTo>
                  <a:lnTo>
                    <a:pt x="4002566" y="6506322"/>
                  </a:lnTo>
                  <a:lnTo>
                    <a:pt x="4266690" y="6506322"/>
                  </a:lnTo>
                  <a:lnTo>
                    <a:pt x="3995579" y="6235910"/>
                  </a:lnTo>
                  <a:lnTo>
                    <a:pt x="3996977" y="6234512"/>
                  </a:lnTo>
                  <a:lnTo>
                    <a:pt x="4265292" y="5965498"/>
                  </a:lnTo>
                  <a:lnTo>
                    <a:pt x="4066851" y="5965498"/>
                  </a:lnTo>
                  <a:lnTo>
                    <a:pt x="4070344" y="5958510"/>
                  </a:lnTo>
                  <a:lnTo>
                    <a:pt x="4265292" y="5958510"/>
                  </a:lnTo>
                  <a:lnTo>
                    <a:pt x="4135327" y="5828545"/>
                  </a:lnTo>
                  <a:lnTo>
                    <a:pt x="4138820" y="5821557"/>
                  </a:lnTo>
                  <a:lnTo>
                    <a:pt x="4279267" y="5962003"/>
                  </a:lnTo>
                  <a:lnTo>
                    <a:pt x="4008855" y="6233114"/>
                  </a:lnTo>
                  <a:lnTo>
                    <a:pt x="4272979" y="6233114"/>
                  </a:lnTo>
                  <a:lnTo>
                    <a:pt x="4543392" y="5962003"/>
                  </a:lnTo>
                  <a:lnTo>
                    <a:pt x="4272281" y="5692290"/>
                  </a:lnTo>
                  <a:lnTo>
                    <a:pt x="4203803" y="5692290"/>
                  </a:lnTo>
                  <a:lnTo>
                    <a:pt x="4008855" y="5692290"/>
                  </a:lnTo>
                  <a:lnTo>
                    <a:pt x="4138121" y="5822256"/>
                  </a:lnTo>
                  <a:lnTo>
                    <a:pt x="4134628" y="5829243"/>
                  </a:lnTo>
                  <a:lnTo>
                    <a:pt x="3994181" y="5688797"/>
                  </a:lnTo>
                  <a:lnTo>
                    <a:pt x="4264593" y="5417686"/>
                  </a:lnTo>
                  <a:lnTo>
                    <a:pt x="4000470" y="5417686"/>
                  </a:lnTo>
                  <a:lnTo>
                    <a:pt x="3730058" y="5688797"/>
                  </a:lnTo>
                  <a:lnTo>
                    <a:pt x="4001169" y="5959209"/>
                  </a:lnTo>
                  <a:lnTo>
                    <a:pt x="4069645" y="5959209"/>
                  </a:lnTo>
                  <a:lnTo>
                    <a:pt x="4066152" y="5966196"/>
                  </a:lnTo>
                  <a:lnTo>
                    <a:pt x="4001169" y="5966196"/>
                  </a:lnTo>
                  <a:lnTo>
                    <a:pt x="3820894" y="6147170"/>
                  </a:lnTo>
                  <a:lnTo>
                    <a:pt x="3731456" y="6237307"/>
                  </a:lnTo>
                  <a:lnTo>
                    <a:pt x="3864915" y="6370766"/>
                  </a:lnTo>
                  <a:lnTo>
                    <a:pt x="3862120" y="6376355"/>
                  </a:lnTo>
                  <a:lnTo>
                    <a:pt x="3862819" y="6377052"/>
                  </a:lnTo>
                  <a:lnTo>
                    <a:pt x="3862120" y="6378452"/>
                  </a:lnTo>
                  <a:lnTo>
                    <a:pt x="3725167" y="6241499"/>
                  </a:lnTo>
                  <a:lnTo>
                    <a:pt x="3461044" y="6241499"/>
                  </a:lnTo>
                  <a:lnTo>
                    <a:pt x="3732154" y="6511911"/>
                  </a:lnTo>
                  <a:lnTo>
                    <a:pt x="3721057" y="6523037"/>
                  </a:lnTo>
                  <a:lnTo>
                    <a:pt x="3710566" y="6523037"/>
                  </a:lnTo>
                  <a:lnTo>
                    <a:pt x="3718179" y="6515405"/>
                  </a:lnTo>
                  <a:lnTo>
                    <a:pt x="3454056" y="6515405"/>
                  </a:lnTo>
                  <a:lnTo>
                    <a:pt x="3446443" y="6523037"/>
                  </a:lnTo>
                  <a:lnTo>
                    <a:pt x="3437367" y="6523037"/>
                  </a:lnTo>
                  <a:lnTo>
                    <a:pt x="3447767" y="6512610"/>
                  </a:lnTo>
                  <a:lnTo>
                    <a:pt x="3176657" y="6242198"/>
                  </a:lnTo>
                  <a:lnTo>
                    <a:pt x="2912533" y="6242198"/>
                  </a:lnTo>
                  <a:lnTo>
                    <a:pt x="3183644" y="6512610"/>
                  </a:lnTo>
                  <a:lnTo>
                    <a:pt x="3173244" y="6523037"/>
                  </a:lnTo>
                  <a:lnTo>
                    <a:pt x="3163450" y="6523037"/>
                  </a:lnTo>
                  <a:lnTo>
                    <a:pt x="3169669" y="6516802"/>
                  </a:lnTo>
                  <a:lnTo>
                    <a:pt x="2905546" y="6516802"/>
                  </a:lnTo>
                  <a:lnTo>
                    <a:pt x="2899327" y="6523037"/>
                  </a:lnTo>
                  <a:lnTo>
                    <a:pt x="2889554" y="6523037"/>
                  </a:lnTo>
                  <a:lnTo>
                    <a:pt x="2899257" y="6513309"/>
                  </a:lnTo>
                  <a:lnTo>
                    <a:pt x="2628146" y="6242897"/>
                  </a:lnTo>
                  <a:lnTo>
                    <a:pt x="2364722" y="6242897"/>
                  </a:lnTo>
                  <a:lnTo>
                    <a:pt x="2494687" y="6372862"/>
                  </a:lnTo>
                  <a:lnTo>
                    <a:pt x="2635134" y="6513309"/>
                  </a:lnTo>
                  <a:lnTo>
                    <a:pt x="2625431" y="6523037"/>
                  </a:lnTo>
                  <a:lnTo>
                    <a:pt x="2614938" y="6523037"/>
                  </a:lnTo>
                  <a:lnTo>
                    <a:pt x="2620460" y="6517501"/>
                  </a:lnTo>
                  <a:lnTo>
                    <a:pt x="2357035" y="6517501"/>
                  </a:lnTo>
                  <a:lnTo>
                    <a:pt x="2351521" y="6523037"/>
                  </a:lnTo>
                  <a:lnTo>
                    <a:pt x="2341019" y="6523037"/>
                  </a:lnTo>
                  <a:lnTo>
                    <a:pt x="2350747" y="6513309"/>
                  </a:lnTo>
                  <a:lnTo>
                    <a:pt x="2079636" y="6242897"/>
                  </a:lnTo>
                  <a:lnTo>
                    <a:pt x="1815513" y="6242897"/>
                  </a:lnTo>
                  <a:lnTo>
                    <a:pt x="2086623" y="6513309"/>
                  </a:lnTo>
                  <a:lnTo>
                    <a:pt x="2083829" y="6516103"/>
                  </a:lnTo>
                  <a:lnTo>
                    <a:pt x="2076948" y="6523037"/>
                  </a:lnTo>
                  <a:lnTo>
                    <a:pt x="2067112" y="6523037"/>
                  </a:lnTo>
                  <a:lnTo>
                    <a:pt x="2072648" y="6517501"/>
                  </a:lnTo>
                  <a:lnTo>
                    <a:pt x="1808526" y="6517501"/>
                  </a:lnTo>
                  <a:lnTo>
                    <a:pt x="1803004" y="6523037"/>
                  </a:lnTo>
                  <a:lnTo>
                    <a:pt x="1792532" y="6523037"/>
                  </a:lnTo>
                  <a:lnTo>
                    <a:pt x="1801539" y="6514008"/>
                  </a:lnTo>
                  <a:lnTo>
                    <a:pt x="1796647" y="6509116"/>
                  </a:lnTo>
                  <a:lnTo>
                    <a:pt x="1531127" y="6244295"/>
                  </a:lnTo>
                  <a:lnTo>
                    <a:pt x="1267002" y="6244295"/>
                  </a:lnTo>
                  <a:lnTo>
                    <a:pt x="1267701" y="6244993"/>
                  </a:lnTo>
                  <a:lnTo>
                    <a:pt x="1268400" y="6244993"/>
                  </a:lnTo>
                  <a:lnTo>
                    <a:pt x="1537414" y="6514008"/>
                  </a:lnTo>
                  <a:lnTo>
                    <a:pt x="1528408" y="6523037"/>
                  </a:lnTo>
                  <a:lnTo>
                    <a:pt x="1520000" y="6523037"/>
                  </a:lnTo>
                  <a:lnTo>
                    <a:pt x="1524838" y="6518200"/>
                  </a:lnTo>
                  <a:lnTo>
                    <a:pt x="1260714" y="6518200"/>
                  </a:lnTo>
                  <a:lnTo>
                    <a:pt x="1255889" y="6523037"/>
                  </a:lnTo>
                  <a:lnTo>
                    <a:pt x="1243300" y="6523037"/>
                  </a:lnTo>
                  <a:lnTo>
                    <a:pt x="1252329" y="6514008"/>
                  </a:lnTo>
                  <a:lnTo>
                    <a:pt x="1119569" y="6381946"/>
                  </a:lnTo>
                  <a:lnTo>
                    <a:pt x="981219" y="6243596"/>
                  </a:lnTo>
                  <a:lnTo>
                    <a:pt x="717095" y="6243596"/>
                  </a:lnTo>
                  <a:lnTo>
                    <a:pt x="988206" y="6513309"/>
                  </a:lnTo>
                  <a:lnTo>
                    <a:pt x="985411" y="6516103"/>
                  </a:lnTo>
                  <a:lnTo>
                    <a:pt x="978530" y="6523037"/>
                  </a:lnTo>
                  <a:lnTo>
                    <a:pt x="969394" y="6523037"/>
                  </a:lnTo>
                  <a:lnTo>
                    <a:pt x="974930" y="6517501"/>
                  </a:lnTo>
                  <a:lnTo>
                    <a:pt x="716396" y="6517501"/>
                  </a:lnTo>
                  <a:lnTo>
                    <a:pt x="714941" y="6516802"/>
                  </a:lnTo>
                  <a:lnTo>
                    <a:pt x="716396" y="6516802"/>
                  </a:lnTo>
                  <a:lnTo>
                    <a:pt x="698928" y="6508417"/>
                  </a:lnTo>
                  <a:lnTo>
                    <a:pt x="700271" y="6509761"/>
                  </a:lnTo>
                  <a:lnTo>
                    <a:pt x="698928" y="6509116"/>
                  </a:lnTo>
                  <a:lnTo>
                    <a:pt x="433407" y="6244295"/>
                  </a:lnTo>
                  <a:lnTo>
                    <a:pt x="169284" y="6244295"/>
                  </a:lnTo>
                  <a:lnTo>
                    <a:pt x="170681" y="6245691"/>
                  </a:lnTo>
                  <a:lnTo>
                    <a:pt x="439696" y="6514707"/>
                  </a:lnTo>
                  <a:lnTo>
                    <a:pt x="431344" y="6523037"/>
                  </a:lnTo>
                  <a:lnTo>
                    <a:pt x="420908" y="6523037"/>
                  </a:lnTo>
                  <a:lnTo>
                    <a:pt x="425721" y="6518200"/>
                  </a:lnTo>
                  <a:lnTo>
                    <a:pt x="161597" y="6518200"/>
                  </a:lnTo>
                  <a:lnTo>
                    <a:pt x="156781" y="6523037"/>
                  </a:lnTo>
                  <a:lnTo>
                    <a:pt x="146978" y="6523037"/>
                  </a:lnTo>
                  <a:lnTo>
                    <a:pt x="155309" y="6514707"/>
                  </a:lnTo>
                  <a:lnTo>
                    <a:pt x="21150" y="6381247"/>
                  </a:lnTo>
                  <a:lnTo>
                    <a:pt x="5080" y="6365176"/>
                  </a:lnTo>
                  <a:lnTo>
                    <a:pt x="5080" y="6355394"/>
                  </a:lnTo>
                  <a:lnTo>
                    <a:pt x="24645" y="6374959"/>
                  </a:lnTo>
                  <a:lnTo>
                    <a:pt x="161597" y="6511212"/>
                  </a:lnTo>
                  <a:lnTo>
                    <a:pt x="425721" y="6511212"/>
                  </a:lnTo>
                  <a:lnTo>
                    <a:pt x="154610" y="6240800"/>
                  </a:lnTo>
                  <a:lnTo>
                    <a:pt x="156008" y="6239403"/>
                  </a:lnTo>
                  <a:lnTo>
                    <a:pt x="156706" y="6239403"/>
                  </a:lnTo>
                  <a:lnTo>
                    <a:pt x="425022" y="5970389"/>
                  </a:lnTo>
                  <a:lnTo>
                    <a:pt x="161597" y="5970389"/>
                  </a:lnTo>
                  <a:lnTo>
                    <a:pt x="5080" y="6126906"/>
                  </a:lnTo>
                  <a:lnTo>
                    <a:pt x="5080" y="6116425"/>
                  </a:lnTo>
                  <a:lnTo>
                    <a:pt x="154610" y="5966894"/>
                  </a:lnTo>
                  <a:lnTo>
                    <a:pt x="5080" y="5817364"/>
                  </a:lnTo>
                  <a:lnTo>
                    <a:pt x="5080" y="5806884"/>
                  </a:lnTo>
                  <a:lnTo>
                    <a:pt x="161597" y="5962702"/>
                  </a:lnTo>
                  <a:lnTo>
                    <a:pt x="425022" y="5962702"/>
                  </a:lnTo>
                  <a:lnTo>
                    <a:pt x="295057" y="5832737"/>
                  </a:lnTo>
                  <a:lnTo>
                    <a:pt x="154610" y="5692290"/>
                  </a:lnTo>
                  <a:lnTo>
                    <a:pt x="425022" y="5421878"/>
                  </a:lnTo>
                  <a:lnTo>
                    <a:pt x="160898" y="5421878"/>
                  </a:lnTo>
                  <a:lnTo>
                    <a:pt x="5080" y="5577697"/>
                  </a:lnTo>
                  <a:lnTo>
                    <a:pt x="5080" y="5567216"/>
                  </a:lnTo>
                  <a:lnTo>
                    <a:pt x="153911" y="5418385"/>
                  </a:lnTo>
                  <a:lnTo>
                    <a:pt x="5080" y="5269553"/>
                  </a:lnTo>
                  <a:lnTo>
                    <a:pt x="5080" y="5259072"/>
                  </a:lnTo>
                  <a:lnTo>
                    <a:pt x="160898" y="5414192"/>
                  </a:lnTo>
                  <a:lnTo>
                    <a:pt x="425022" y="5414192"/>
                  </a:lnTo>
                  <a:lnTo>
                    <a:pt x="153911" y="5143780"/>
                  </a:lnTo>
                  <a:lnTo>
                    <a:pt x="338378" y="4959313"/>
                  </a:lnTo>
                  <a:lnTo>
                    <a:pt x="424323" y="4873368"/>
                  </a:lnTo>
                  <a:lnTo>
                    <a:pt x="160200" y="4873368"/>
                  </a:lnTo>
                  <a:lnTo>
                    <a:pt x="5080" y="5028489"/>
                  </a:lnTo>
                  <a:lnTo>
                    <a:pt x="5080" y="5018007"/>
                  </a:lnTo>
                  <a:lnTo>
                    <a:pt x="153212" y="4869176"/>
                  </a:lnTo>
                  <a:lnTo>
                    <a:pt x="148321" y="4864285"/>
                  </a:lnTo>
                  <a:lnTo>
                    <a:pt x="5080" y="4721741"/>
                  </a:lnTo>
                  <a:lnTo>
                    <a:pt x="5080" y="4711960"/>
                  </a:lnTo>
                  <a:lnTo>
                    <a:pt x="160200" y="4866380"/>
                  </a:lnTo>
                  <a:lnTo>
                    <a:pt x="424323" y="4865683"/>
                  </a:lnTo>
                  <a:lnTo>
                    <a:pt x="153212" y="4595271"/>
                  </a:lnTo>
                  <a:lnTo>
                    <a:pt x="423624" y="4324859"/>
                  </a:lnTo>
                  <a:lnTo>
                    <a:pt x="159501" y="4324859"/>
                  </a:lnTo>
                  <a:lnTo>
                    <a:pt x="5080" y="4479279"/>
                  </a:lnTo>
                  <a:lnTo>
                    <a:pt x="5080" y="4468799"/>
                  </a:lnTo>
                  <a:lnTo>
                    <a:pt x="152513" y="4320665"/>
                  </a:lnTo>
                  <a:lnTo>
                    <a:pt x="5080" y="4173930"/>
                  </a:lnTo>
                  <a:lnTo>
                    <a:pt x="5080" y="4163449"/>
                  </a:lnTo>
                  <a:lnTo>
                    <a:pt x="159501" y="4317172"/>
                  </a:lnTo>
                  <a:lnTo>
                    <a:pt x="423624" y="4317172"/>
                  </a:lnTo>
                  <a:lnTo>
                    <a:pt x="152513" y="4047459"/>
                  </a:lnTo>
                  <a:lnTo>
                    <a:pt x="331391" y="3868581"/>
                  </a:lnTo>
                  <a:lnTo>
                    <a:pt x="331489" y="3868581"/>
                  </a:lnTo>
                  <a:lnTo>
                    <a:pt x="422038" y="3777797"/>
                  </a:lnTo>
                  <a:lnTo>
                    <a:pt x="225692" y="3777797"/>
                  </a:lnTo>
                  <a:lnTo>
                    <a:pt x="226391" y="3776401"/>
                  </a:lnTo>
                  <a:lnTo>
                    <a:pt x="158613" y="3776401"/>
                  </a:lnTo>
                  <a:lnTo>
                    <a:pt x="0" y="3935012"/>
                  </a:lnTo>
                  <a:lnTo>
                    <a:pt x="0" y="3925231"/>
                  </a:lnTo>
                  <a:lnTo>
                    <a:pt x="152324" y="3772906"/>
                  </a:lnTo>
                  <a:lnTo>
                    <a:pt x="0" y="3621281"/>
                  </a:lnTo>
                  <a:lnTo>
                    <a:pt x="0" y="3610800"/>
                  </a:lnTo>
                  <a:lnTo>
                    <a:pt x="159312" y="3768713"/>
                  </a:lnTo>
                  <a:lnTo>
                    <a:pt x="423435" y="3768713"/>
                  </a:lnTo>
                  <a:lnTo>
                    <a:pt x="294168" y="3640146"/>
                  </a:lnTo>
                  <a:lnTo>
                    <a:pt x="152324" y="3499001"/>
                  </a:lnTo>
                  <a:lnTo>
                    <a:pt x="336093" y="3313835"/>
                  </a:lnTo>
                  <a:lnTo>
                    <a:pt x="422038" y="3227890"/>
                  </a:lnTo>
                  <a:lnTo>
                    <a:pt x="157914" y="3227890"/>
                  </a:lnTo>
                  <a:lnTo>
                    <a:pt x="0" y="3386503"/>
                  </a:lnTo>
                  <a:lnTo>
                    <a:pt x="0" y="3376021"/>
                  </a:lnTo>
                  <a:lnTo>
                    <a:pt x="152324" y="3224396"/>
                  </a:lnTo>
                  <a:lnTo>
                    <a:pt x="146735" y="3219505"/>
                  </a:lnTo>
                  <a:lnTo>
                    <a:pt x="0" y="3073469"/>
                  </a:lnTo>
                  <a:lnTo>
                    <a:pt x="0" y="3062989"/>
                  </a:lnTo>
                  <a:lnTo>
                    <a:pt x="157914" y="3220903"/>
                  </a:lnTo>
                  <a:lnTo>
                    <a:pt x="422038" y="3220903"/>
                  </a:lnTo>
                  <a:lnTo>
                    <a:pt x="150927" y="2950491"/>
                  </a:lnTo>
                  <a:lnTo>
                    <a:pt x="421339" y="2679380"/>
                  </a:lnTo>
                  <a:lnTo>
                    <a:pt x="157215" y="2679380"/>
                  </a:lnTo>
                  <a:lnTo>
                    <a:pt x="0" y="2837294"/>
                  </a:lnTo>
                  <a:lnTo>
                    <a:pt x="0" y="2826812"/>
                  </a:lnTo>
                  <a:lnTo>
                    <a:pt x="150927" y="2675886"/>
                  </a:lnTo>
                  <a:lnTo>
                    <a:pt x="0" y="2525658"/>
                  </a:lnTo>
                  <a:lnTo>
                    <a:pt x="0" y="2515876"/>
                  </a:lnTo>
                  <a:lnTo>
                    <a:pt x="157914" y="2672393"/>
                  </a:lnTo>
                  <a:lnTo>
                    <a:pt x="422038" y="2672393"/>
                  </a:lnTo>
                  <a:lnTo>
                    <a:pt x="150927" y="2401981"/>
                  </a:lnTo>
                  <a:lnTo>
                    <a:pt x="420640" y="2130870"/>
                  </a:lnTo>
                  <a:lnTo>
                    <a:pt x="156517" y="2130870"/>
                  </a:lnTo>
                  <a:lnTo>
                    <a:pt x="0" y="2288085"/>
                  </a:lnTo>
                  <a:lnTo>
                    <a:pt x="0" y="2277604"/>
                  </a:lnTo>
                  <a:lnTo>
                    <a:pt x="150228" y="2127376"/>
                  </a:lnTo>
                  <a:lnTo>
                    <a:pt x="16070" y="1993917"/>
                  </a:lnTo>
                  <a:lnTo>
                    <a:pt x="0" y="1977846"/>
                  </a:lnTo>
                  <a:lnTo>
                    <a:pt x="0" y="1968064"/>
                  </a:lnTo>
                  <a:lnTo>
                    <a:pt x="19564" y="1987628"/>
                  </a:lnTo>
                  <a:lnTo>
                    <a:pt x="156517" y="2123882"/>
                  </a:lnTo>
                  <a:lnTo>
                    <a:pt x="420640" y="2123882"/>
                  </a:lnTo>
                  <a:lnTo>
                    <a:pt x="149529" y="1853470"/>
                  </a:lnTo>
                  <a:lnTo>
                    <a:pt x="150927" y="1852072"/>
                  </a:lnTo>
                  <a:lnTo>
                    <a:pt x="151626" y="1852072"/>
                  </a:lnTo>
                  <a:lnTo>
                    <a:pt x="419941" y="1583058"/>
                  </a:lnTo>
                  <a:lnTo>
                    <a:pt x="156517" y="1583058"/>
                  </a:lnTo>
                  <a:lnTo>
                    <a:pt x="0" y="1739574"/>
                  </a:lnTo>
                  <a:lnTo>
                    <a:pt x="0" y="1729094"/>
                  </a:lnTo>
                  <a:lnTo>
                    <a:pt x="149529" y="1579564"/>
                  </a:lnTo>
                  <a:lnTo>
                    <a:pt x="0" y="1430035"/>
                  </a:lnTo>
                  <a:lnTo>
                    <a:pt x="0" y="1419554"/>
                  </a:lnTo>
                  <a:lnTo>
                    <a:pt x="156517" y="1575372"/>
                  </a:lnTo>
                  <a:lnTo>
                    <a:pt x="419941" y="1575372"/>
                  </a:lnTo>
                  <a:lnTo>
                    <a:pt x="289976" y="1445407"/>
                  </a:lnTo>
                  <a:lnTo>
                    <a:pt x="149529" y="1304960"/>
                  </a:lnTo>
                  <a:lnTo>
                    <a:pt x="419941" y="1034548"/>
                  </a:lnTo>
                  <a:lnTo>
                    <a:pt x="155818" y="1034548"/>
                  </a:lnTo>
                  <a:lnTo>
                    <a:pt x="0" y="1190365"/>
                  </a:lnTo>
                  <a:lnTo>
                    <a:pt x="0" y="1179885"/>
                  </a:lnTo>
                  <a:lnTo>
                    <a:pt x="148830" y="1031055"/>
                  </a:lnTo>
                  <a:lnTo>
                    <a:pt x="0" y="882223"/>
                  </a:lnTo>
                  <a:lnTo>
                    <a:pt x="0" y="871743"/>
                  </a:lnTo>
                  <a:lnTo>
                    <a:pt x="155818" y="1026861"/>
                  </a:lnTo>
                  <a:lnTo>
                    <a:pt x="419941" y="1026861"/>
                  </a:lnTo>
                  <a:lnTo>
                    <a:pt x="148830" y="756449"/>
                  </a:lnTo>
                  <a:lnTo>
                    <a:pt x="333298" y="571983"/>
                  </a:lnTo>
                  <a:lnTo>
                    <a:pt x="419242" y="486037"/>
                  </a:lnTo>
                  <a:lnTo>
                    <a:pt x="155119" y="486037"/>
                  </a:lnTo>
                  <a:lnTo>
                    <a:pt x="0" y="641157"/>
                  </a:lnTo>
                  <a:lnTo>
                    <a:pt x="0" y="630675"/>
                  </a:lnTo>
                  <a:lnTo>
                    <a:pt x="148131" y="481845"/>
                  </a:lnTo>
                  <a:lnTo>
                    <a:pt x="143240" y="476954"/>
                  </a:lnTo>
                  <a:lnTo>
                    <a:pt x="0" y="334412"/>
                  </a:lnTo>
                  <a:lnTo>
                    <a:pt x="0" y="324630"/>
                  </a:lnTo>
                  <a:lnTo>
                    <a:pt x="155119" y="479050"/>
                  </a:lnTo>
                  <a:lnTo>
                    <a:pt x="419242" y="478352"/>
                  </a:lnTo>
                  <a:lnTo>
                    <a:pt x="148131" y="207940"/>
                  </a:lnTo>
                  <a:lnTo>
                    <a:pt x="348134" y="7937"/>
                  </a:lnTo>
                  <a:lnTo>
                    <a:pt x="358615" y="7937"/>
                  </a:lnTo>
                  <a:lnTo>
                    <a:pt x="162106" y="204446"/>
                  </a:lnTo>
                  <a:lnTo>
                    <a:pt x="426230" y="204446"/>
                  </a:lnTo>
                  <a:lnTo>
                    <a:pt x="622232" y="7937"/>
                  </a:lnTo>
                  <a:lnTo>
                    <a:pt x="632006" y="7937"/>
                  </a:lnTo>
                  <a:lnTo>
                    <a:pt x="432518" y="207940"/>
                  </a:lnTo>
                  <a:lnTo>
                    <a:pt x="704328" y="478352"/>
                  </a:lnTo>
                  <a:lnTo>
                    <a:pt x="967752" y="478352"/>
                  </a:lnTo>
                  <a:lnTo>
                    <a:pt x="837089" y="348386"/>
                  </a:lnTo>
                  <a:lnTo>
                    <a:pt x="696642" y="207940"/>
                  </a:lnTo>
                  <a:lnTo>
                    <a:pt x="896129" y="7937"/>
                  </a:lnTo>
                  <a:lnTo>
                    <a:pt x="907318" y="7937"/>
                  </a:lnTo>
                  <a:lnTo>
                    <a:pt x="711316" y="204446"/>
                  </a:lnTo>
                  <a:lnTo>
                    <a:pt x="974740" y="204446"/>
                  </a:lnTo>
                  <a:lnTo>
                    <a:pt x="1170742" y="7937"/>
                  </a:lnTo>
                  <a:lnTo>
                    <a:pt x="1179819" y="7937"/>
                  </a:lnTo>
                  <a:lnTo>
                    <a:pt x="981029" y="207241"/>
                  </a:lnTo>
                  <a:lnTo>
                    <a:pt x="1252140" y="477653"/>
                  </a:lnTo>
                  <a:lnTo>
                    <a:pt x="1516263" y="477653"/>
                  </a:lnTo>
                  <a:lnTo>
                    <a:pt x="1245152" y="207241"/>
                  </a:lnTo>
                  <a:lnTo>
                    <a:pt x="1443942" y="7937"/>
                  </a:lnTo>
                  <a:lnTo>
                    <a:pt x="1453410" y="7937"/>
                  </a:lnTo>
                  <a:lnTo>
                    <a:pt x="1436607" y="24870"/>
                  </a:lnTo>
                  <a:lnTo>
                    <a:pt x="1435908" y="24870"/>
                  </a:lnTo>
                  <a:lnTo>
                    <a:pt x="1258428" y="203048"/>
                  </a:lnTo>
                  <a:lnTo>
                    <a:pt x="1522551" y="203048"/>
                  </a:lnTo>
                  <a:lnTo>
                    <a:pt x="1717663" y="7937"/>
                  </a:lnTo>
                  <a:lnTo>
                    <a:pt x="1728424" y="7937"/>
                  </a:lnTo>
                  <a:lnTo>
                    <a:pt x="1620376" y="116405"/>
                  </a:lnTo>
                  <a:lnTo>
                    <a:pt x="1619677" y="116405"/>
                  </a:lnTo>
                  <a:lnTo>
                    <a:pt x="1529539" y="206542"/>
                  </a:lnTo>
                  <a:lnTo>
                    <a:pt x="1799951" y="477653"/>
                  </a:lnTo>
                  <a:lnTo>
                    <a:pt x="2064074" y="477653"/>
                  </a:lnTo>
                  <a:lnTo>
                    <a:pt x="1792964" y="207241"/>
                  </a:lnTo>
                  <a:lnTo>
                    <a:pt x="1977431" y="22774"/>
                  </a:lnTo>
                  <a:lnTo>
                    <a:pt x="1978130" y="22774"/>
                  </a:lnTo>
                  <a:lnTo>
                    <a:pt x="1992847" y="7937"/>
                  </a:lnTo>
                  <a:lnTo>
                    <a:pt x="2002247" y="7937"/>
                  </a:lnTo>
                  <a:lnTo>
                    <a:pt x="1808336" y="202349"/>
                  </a:lnTo>
                  <a:lnTo>
                    <a:pt x="2071761" y="202349"/>
                  </a:lnTo>
                  <a:lnTo>
                    <a:pt x="2266173" y="7937"/>
                  </a:lnTo>
                  <a:lnTo>
                    <a:pt x="2277539" y="7937"/>
                  </a:lnTo>
                  <a:lnTo>
                    <a:pt x="2078748" y="207241"/>
                  </a:lnTo>
                  <a:lnTo>
                    <a:pt x="2348461" y="476256"/>
                  </a:lnTo>
                  <a:lnTo>
                    <a:pt x="2611886" y="476256"/>
                  </a:lnTo>
                  <a:lnTo>
                    <a:pt x="2342872" y="207241"/>
                  </a:lnTo>
                  <a:lnTo>
                    <a:pt x="2343570" y="206542"/>
                  </a:lnTo>
                  <a:lnTo>
                    <a:pt x="2342173" y="205145"/>
                  </a:lnTo>
                  <a:lnTo>
                    <a:pt x="2538868" y="7937"/>
                  </a:lnTo>
                  <a:lnTo>
                    <a:pt x="2552152" y="7937"/>
                  </a:lnTo>
                  <a:lnTo>
                    <a:pt x="2358243" y="202349"/>
                  </a:lnTo>
                  <a:lnTo>
                    <a:pt x="2620271" y="202349"/>
                  </a:lnTo>
                  <a:lnTo>
                    <a:pt x="2814181" y="7937"/>
                  </a:lnTo>
                  <a:lnTo>
                    <a:pt x="2825540" y="7937"/>
                  </a:lnTo>
                  <a:lnTo>
                    <a:pt x="2628655" y="205843"/>
                  </a:lnTo>
                  <a:lnTo>
                    <a:pt x="2898368" y="474858"/>
                  </a:lnTo>
                  <a:lnTo>
                    <a:pt x="3163191" y="476256"/>
                  </a:lnTo>
                  <a:lnTo>
                    <a:pt x="2892081" y="205843"/>
                  </a:lnTo>
                  <a:lnTo>
                    <a:pt x="2890683" y="204446"/>
                  </a:lnTo>
                  <a:lnTo>
                    <a:pt x="3086683" y="7937"/>
                  </a:lnTo>
                  <a:lnTo>
                    <a:pt x="3097556" y="7937"/>
                  </a:lnTo>
                  <a:lnTo>
                    <a:pt x="3082137" y="23473"/>
                  </a:lnTo>
                  <a:lnTo>
                    <a:pt x="3082836" y="24172"/>
                  </a:lnTo>
                  <a:lnTo>
                    <a:pt x="2906754" y="200254"/>
                  </a:lnTo>
                  <a:lnTo>
                    <a:pt x="3103099" y="200254"/>
                  </a:lnTo>
                  <a:lnTo>
                    <a:pt x="3102401" y="201651"/>
                  </a:lnTo>
                  <a:lnTo>
                    <a:pt x="3168083" y="201651"/>
                  </a:lnTo>
                  <a:lnTo>
                    <a:pt x="3361298" y="7937"/>
                  </a:lnTo>
                  <a:lnTo>
                    <a:pt x="3371863" y="7937"/>
                  </a:lnTo>
                  <a:lnTo>
                    <a:pt x="3264508" y="115706"/>
                  </a:lnTo>
                  <a:lnTo>
                    <a:pt x="3265906" y="116405"/>
                  </a:lnTo>
                  <a:lnTo>
                    <a:pt x="3176467" y="205843"/>
                  </a:lnTo>
                  <a:lnTo>
                    <a:pt x="3446879" y="475557"/>
                  </a:lnTo>
                  <a:lnTo>
                    <a:pt x="3710303" y="475557"/>
                  </a:lnTo>
                  <a:lnTo>
                    <a:pt x="3439891" y="205843"/>
                  </a:lnTo>
                  <a:lnTo>
                    <a:pt x="3439193" y="205145"/>
                  </a:lnTo>
                  <a:lnTo>
                    <a:pt x="3635893" y="7937"/>
                  </a:lnTo>
                  <a:lnTo>
                    <a:pt x="3646183" y="7937"/>
                  </a:lnTo>
                  <a:lnTo>
                    <a:pt x="3453167" y="200953"/>
                  </a:lnTo>
                  <a:lnTo>
                    <a:pt x="3717291" y="200953"/>
                  </a:lnTo>
                  <a:lnTo>
                    <a:pt x="3910306" y="7937"/>
                  </a:lnTo>
                  <a:lnTo>
                    <a:pt x="3919582" y="7937"/>
                  </a:lnTo>
                  <a:lnTo>
                    <a:pt x="3723579" y="204446"/>
                  </a:lnTo>
                  <a:lnTo>
                    <a:pt x="3994690" y="474858"/>
                  </a:lnTo>
                  <a:lnTo>
                    <a:pt x="4258116" y="474858"/>
                  </a:lnTo>
                  <a:lnTo>
                    <a:pt x="4128150" y="344893"/>
                  </a:lnTo>
                  <a:lnTo>
                    <a:pt x="3987703" y="204446"/>
                  </a:lnTo>
                  <a:lnTo>
                    <a:pt x="4183705" y="7937"/>
                  </a:lnTo>
                  <a:lnTo>
                    <a:pt x="4194197" y="7937"/>
                  </a:lnTo>
                  <a:lnTo>
                    <a:pt x="4002377" y="200254"/>
                  </a:lnTo>
                  <a:lnTo>
                    <a:pt x="4265801" y="200254"/>
                  </a:lnTo>
                  <a:lnTo>
                    <a:pt x="4457622" y="7937"/>
                  </a:lnTo>
                  <a:lnTo>
                    <a:pt x="4467396" y="7937"/>
                  </a:lnTo>
                  <a:lnTo>
                    <a:pt x="4272090" y="203747"/>
                  </a:lnTo>
                  <a:lnTo>
                    <a:pt x="4543201" y="474159"/>
                  </a:lnTo>
                  <a:lnTo>
                    <a:pt x="4805314" y="474159"/>
                  </a:lnTo>
                  <a:lnTo>
                    <a:pt x="4803346" y="472192"/>
                  </a:lnTo>
                  <a:lnTo>
                    <a:pt x="4660106" y="329650"/>
                  </a:lnTo>
                  <a:lnTo>
                    <a:pt x="4660106" y="327321"/>
                  </a:lnTo>
                  <a:lnTo>
                    <a:pt x="4536213" y="203747"/>
                  </a:lnTo>
                  <a:lnTo>
                    <a:pt x="4660106" y="79534"/>
                  </a:lnTo>
                  <a:lnTo>
                    <a:pt x="4660106" y="76705"/>
                  </a:lnTo>
                  <a:lnTo>
                    <a:pt x="4733289" y="3175"/>
                  </a:lnTo>
                  <a:lnTo>
                    <a:pt x="4744118" y="3175"/>
                  </a:lnTo>
                  <a:lnTo>
                    <a:pt x="4739355" y="7937"/>
                  </a:lnTo>
                  <a:lnTo>
                    <a:pt x="4741807" y="7937"/>
                  </a:lnTo>
                  <a:lnTo>
                    <a:pt x="4549490" y="200254"/>
                  </a:lnTo>
                  <a:lnTo>
                    <a:pt x="4811162" y="200254"/>
                  </a:lnTo>
                  <a:lnTo>
                    <a:pt x="5008241" y="3175"/>
                  </a:lnTo>
                  <a:lnTo>
                    <a:pt x="5018721" y="3175"/>
                  </a:lnTo>
                  <a:lnTo>
                    <a:pt x="4823396" y="198500"/>
                  </a:lnTo>
                  <a:lnTo>
                    <a:pt x="4823396" y="199684"/>
                  </a:lnTo>
                  <a:lnTo>
                    <a:pt x="5086337" y="199684"/>
                  </a:lnTo>
                  <a:lnTo>
                    <a:pt x="5282338" y="3175"/>
                  </a:lnTo>
                  <a:lnTo>
                    <a:pt x="5292112" y="3175"/>
                  </a:lnTo>
                  <a:lnTo>
                    <a:pt x="5092624" y="203178"/>
                  </a:lnTo>
                  <a:lnTo>
                    <a:pt x="5364435" y="473590"/>
                  </a:lnTo>
                  <a:lnTo>
                    <a:pt x="5627858" y="473590"/>
                  </a:lnTo>
                  <a:lnTo>
                    <a:pt x="5497196" y="343624"/>
                  </a:lnTo>
                  <a:lnTo>
                    <a:pt x="5356748" y="203178"/>
                  </a:lnTo>
                  <a:lnTo>
                    <a:pt x="5556235" y="3175"/>
                  </a:lnTo>
                  <a:lnTo>
                    <a:pt x="5567425" y="3175"/>
                  </a:lnTo>
                  <a:lnTo>
                    <a:pt x="5371422" y="199684"/>
                  </a:lnTo>
                  <a:lnTo>
                    <a:pt x="5634846" y="199684"/>
                  </a:lnTo>
                  <a:lnTo>
                    <a:pt x="5830848" y="3175"/>
                  </a:lnTo>
                  <a:lnTo>
                    <a:pt x="5839925" y="3175"/>
                  </a:lnTo>
                  <a:lnTo>
                    <a:pt x="5641135" y="202479"/>
                  </a:lnTo>
                  <a:lnTo>
                    <a:pt x="5912246" y="472891"/>
                  </a:lnTo>
                  <a:lnTo>
                    <a:pt x="6176369" y="472891"/>
                  </a:lnTo>
                  <a:lnTo>
                    <a:pt x="5905258" y="202479"/>
                  </a:lnTo>
                  <a:lnTo>
                    <a:pt x="6104048" y="3175"/>
                  </a:lnTo>
                  <a:lnTo>
                    <a:pt x="6113517" y="3175"/>
                  </a:lnTo>
                  <a:lnTo>
                    <a:pt x="6096713" y="20108"/>
                  </a:lnTo>
                  <a:lnTo>
                    <a:pt x="6096014" y="20108"/>
                  </a:lnTo>
                  <a:lnTo>
                    <a:pt x="5918534" y="198286"/>
                  </a:lnTo>
                  <a:lnTo>
                    <a:pt x="6182657" y="198286"/>
                  </a:lnTo>
                  <a:lnTo>
                    <a:pt x="6377769" y="3175"/>
                  </a:lnTo>
                  <a:lnTo>
                    <a:pt x="6388531" y="3175"/>
                  </a:lnTo>
                  <a:lnTo>
                    <a:pt x="6280482" y="111643"/>
                  </a:lnTo>
                  <a:lnTo>
                    <a:pt x="6279783" y="111643"/>
                  </a:lnTo>
                  <a:lnTo>
                    <a:pt x="6189645" y="201780"/>
                  </a:lnTo>
                  <a:lnTo>
                    <a:pt x="6460057" y="472891"/>
                  </a:lnTo>
                  <a:lnTo>
                    <a:pt x="6724180" y="472891"/>
                  </a:lnTo>
                  <a:lnTo>
                    <a:pt x="6453070" y="202479"/>
                  </a:lnTo>
                  <a:lnTo>
                    <a:pt x="6637537" y="18012"/>
                  </a:lnTo>
                  <a:lnTo>
                    <a:pt x="6638236" y="18012"/>
                  </a:lnTo>
                  <a:lnTo>
                    <a:pt x="6652953" y="3175"/>
                  </a:lnTo>
                  <a:lnTo>
                    <a:pt x="6662353" y="3175"/>
                  </a:lnTo>
                  <a:lnTo>
                    <a:pt x="6468443" y="197587"/>
                  </a:lnTo>
                  <a:lnTo>
                    <a:pt x="6731868" y="197587"/>
                  </a:lnTo>
                  <a:lnTo>
                    <a:pt x="6926279" y="3175"/>
                  </a:lnTo>
                  <a:lnTo>
                    <a:pt x="6937645" y="3175"/>
                  </a:lnTo>
                  <a:lnTo>
                    <a:pt x="6738854" y="202479"/>
                  </a:lnTo>
                  <a:lnTo>
                    <a:pt x="7008567" y="471494"/>
                  </a:lnTo>
                  <a:lnTo>
                    <a:pt x="7271992" y="471494"/>
                  </a:lnTo>
                  <a:lnTo>
                    <a:pt x="7002979" y="202479"/>
                  </a:lnTo>
                  <a:lnTo>
                    <a:pt x="7003677" y="201780"/>
                  </a:lnTo>
                  <a:lnTo>
                    <a:pt x="7002279" y="200383"/>
                  </a:lnTo>
                  <a:lnTo>
                    <a:pt x="7198974" y="3175"/>
                  </a:lnTo>
                  <a:lnTo>
                    <a:pt x="7212258" y="3175"/>
                  </a:lnTo>
                  <a:lnTo>
                    <a:pt x="7018349" y="197587"/>
                  </a:lnTo>
                  <a:lnTo>
                    <a:pt x="7280377" y="197587"/>
                  </a:lnTo>
                  <a:lnTo>
                    <a:pt x="7474287" y="3175"/>
                  </a:lnTo>
                  <a:lnTo>
                    <a:pt x="7485646" y="3175"/>
                  </a:lnTo>
                  <a:lnTo>
                    <a:pt x="7288761" y="201081"/>
                  </a:lnTo>
                  <a:lnTo>
                    <a:pt x="7558474" y="470096"/>
                  </a:lnTo>
                  <a:lnTo>
                    <a:pt x="7823297" y="471494"/>
                  </a:lnTo>
                  <a:lnTo>
                    <a:pt x="7552187" y="201081"/>
                  </a:lnTo>
                  <a:lnTo>
                    <a:pt x="7550789" y="199684"/>
                  </a:lnTo>
                  <a:lnTo>
                    <a:pt x="7746789" y="3175"/>
                  </a:lnTo>
                  <a:lnTo>
                    <a:pt x="7757662" y="3175"/>
                  </a:lnTo>
                  <a:lnTo>
                    <a:pt x="7742243" y="18711"/>
                  </a:lnTo>
                  <a:lnTo>
                    <a:pt x="7742942" y="19410"/>
                  </a:lnTo>
                  <a:lnTo>
                    <a:pt x="7566860" y="195492"/>
                  </a:lnTo>
                  <a:lnTo>
                    <a:pt x="7763205" y="195492"/>
                  </a:lnTo>
                  <a:lnTo>
                    <a:pt x="7762507" y="196889"/>
                  </a:lnTo>
                  <a:lnTo>
                    <a:pt x="7828189" y="196889"/>
                  </a:lnTo>
                  <a:lnTo>
                    <a:pt x="8021404" y="3175"/>
                  </a:lnTo>
                  <a:lnTo>
                    <a:pt x="8031969" y="3175"/>
                  </a:lnTo>
                  <a:lnTo>
                    <a:pt x="7924614" y="110944"/>
                  </a:lnTo>
                  <a:lnTo>
                    <a:pt x="7926012" y="111643"/>
                  </a:lnTo>
                  <a:lnTo>
                    <a:pt x="7836573" y="201081"/>
                  </a:lnTo>
                  <a:lnTo>
                    <a:pt x="8106985" y="470795"/>
                  </a:lnTo>
                  <a:lnTo>
                    <a:pt x="8370409" y="470795"/>
                  </a:lnTo>
                  <a:lnTo>
                    <a:pt x="8099997" y="201081"/>
                  </a:lnTo>
                  <a:lnTo>
                    <a:pt x="8099299" y="200383"/>
                  </a:lnTo>
                  <a:lnTo>
                    <a:pt x="8295999" y="3175"/>
                  </a:lnTo>
                  <a:lnTo>
                    <a:pt x="8306289" y="3175"/>
                  </a:lnTo>
                  <a:lnTo>
                    <a:pt x="8113273" y="196191"/>
                  </a:lnTo>
                  <a:lnTo>
                    <a:pt x="8377397" y="196191"/>
                  </a:lnTo>
                  <a:lnTo>
                    <a:pt x="8570412" y="3175"/>
                  </a:lnTo>
                  <a:lnTo>
                    <a:pt x="8579688" y="3175"/>
                  </a:lnTo>
                  <a:lnTo>
                    <a:pt x="8383685" y="199684"/>
                  </a:lnTo>
                  <a:lnTo>
                    <a:pt x="8654796" y="470096"/>
                  </a:lnTo>
                  <a:lnTo>
                    <a:pt x="8918222" y="470096"/>
                  </a:lnTo>
                  <a:lnTo>
                    <a:pt x="8788256" y="340131"/>
                  </a:lnTo>
                  <a:lnTo>
                    <a:pt x="8647809" y="199684"/>
                  </a:lnTo>
                  <a:lnTo>
                    <a:pt x="8843811" y="3175"/>
                  </a:lnTo>
                  <a:lnTo>
                    <a:pt x="8854303" y="3175"/>
                  </a:lnTo>
                  <a:lnTo>
                    <a:pt x="8662483" y="195492"/>
                  </a:lnTo>
                  <a:lnTo>
                    <a:pt x="8925907" y="195492"/>
                  </a:lnTo>
                  <a:lnTo>
                    <a:pt x="9117728" y="3175"/>
                  </a:lnTo>
                  <a:lnTo>
                    <a:pt x="9127502" y="3175"/>
                  </a:lnTo>
                  <a:lnTo>
                    <a:pt x="8932196" y="198985"/>
                  </a:lnTo>
                  <a:lnTo>
                    <a:pt x="9203307" y="469397"/>
                  </a:lnTo>
                  <a:lnTo>
                    <a:pt x="9464143" y="469397"/>
                  </a:lnTo>
                  <a:lnTo>
                    <a:pt x="9463763" y="469017"/>
                  </a:lnTo>
                  <a:lnTo>
                    <a:pt x="9320523" y="326475"/>
                  </a:lnTo>
                  <a:lnTo>
                    <a:pt x="9320523" y="322869"/>
                  </a:lnTo>
                  <a:lnTo>
                    <a:pt x="9196319" y="198985"/>
                  </a:lnTo>
                  <a:lnTo>
                    <a:pt x="9320523" y="74460"/>
                  </a:lnTo>
                  <a:lnTo>
                    <a:pt x="9320523" y="7353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8" name="Rectangle 7">
              <a:extLst>
                <a:ext uri="{FF2B5EF4-FFF2-40B4-BE49-F238E27FC236}">
                  <a16:creationId xmlns:a16="http://schemas.microsoft.com/office/drawing/2014/main" id="{76040F1C-0A9C-4AF8-802F-A871A191E178}"/>
                </a:ext>
              </a:extLst>
            </p:cNvPr>
            <p:cNvSpPr/>
            <p:nvPr/>
          </p:nvSpPr>
          <p:spPr>
            <a:xfrm rot="16200000">
              <a:off x="3248888" y="-3342392"/>
              <a:ext cx="5684747" cy="12201256"/>
            </a:xfrm>
            <a:prstGeom prst="rect">
              <a:avLst/>
            </a:prstGeom>
            <a:gradFill flip="none" rotWithShape="1">
              <a:gsLst>
                <a:gs pos="7000">
                  <a:schemeClr val="bg1"/>
                </a:gs>
                <a:gs pos="100000">
                  <a:schemeClr val="bg1">
                    <a:shade val="100000"/>
                    <a:satMod val="115000"/>
                    <a:alpha val="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rgbClr val="FF0000"/>
                  </a:solidFill>
                </a:rPr>
                <a:t> </a:t>
              </a:r>
            </a:p>
          </p:txBody>
        </p:sp>
      </p:grpSp>
      <p:sp>
        <p:nvSpPr>
          <p:cNvPr id="9" name="Rectangle 8">
            <a:extLst>
              <a:ext uri="{FF2B5EF4-FFF2-40B4-BE49-F238E27FC236}">
                <a16:creationId xmlns:a16="http://schemas.microsoft.com/office/drawing/2014/main" id="{E4624E1C-3E69-42D0-A648-EDCC39BF6A81}"/>
              </a:ext>
            </a:extLst>
          </p:cNvPr>
          <p:cNvSpPr/>
          <p:nvPr/>
        </p:nvSpPr>
        <p:spPr bwMode="white">
          <a:xfrm>
            <a:off x="-9366" y="-99378"/>
            <a:ext cx="12201367" cy="13815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3" name="Rectangle 2" hidden="1">
            <a:extLst>
              <a:ext uri="{FF2B5EF4-FFF2-40B4-BE49-F238E27FC236}">
                <a16:creationId xmlns:a16="http://schemas.microsoft.com/office/drawing/2014/main" id="{EB495991-1E07-4639-8B3E-0877E9367090}"/>
              </a:ext>
            </a:extLst>
          </p:cNvPr>
          <p:cNvSpPr/>
          <p:nvPr>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a:xfrm>
            <a:off x="457201" y="-99379"/>
            <a:ext cx="8946033" cy="1381571"/>
          </a:xfrm>
        </p:spPr>
        <p:txBody>
          <a:bodyPr vert="horz" anchor="ctr" anchorCtr="0"/>
          <a:lstStyle>
            <a:lvl1pPr>
              <a:defRPr sz="3200">
                <a:solidFill>
                  <a:schemeClr val="bg1"/>
                </a:solidFill>
              </a:defRPr>
            </a:lvl1pPr>
          </a:lstStyle>
          <a:p>
            <a:r>
              <a:rPr lang="en-US" dirty="0"/>
              <a:t>Click to edit Master title style</a:t>
            </a:r>
          </a:p>
        </p:txBody>
      </p:sp>
      <p:sp>
        <p:nvSpPr>
          <p:cNvPr id="15" name="Rectangle 14" hidden="1">
            <a:extLst>
              <a:ext uri="{FF2B5EF4-FFF2-40B4-BE49-F238E27FC236}">
                <a16:creationId xmlns:a16="http://schemas.microsoft.com/office/drawing/2014/main" id="{6BEFB06B-0CF5-4D94-8633-7B4DA2DCECBD}"/>
              </a:ext>
            </a:extLst>
          </p:cNvPr>
          <p:cNvSpPr/>
          <p:nvPr userDrawn="1">
            <p:custDataLst>
              <p:tags r:id="rId3"/>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Tree>
    <p:extLst>
      <p:ext uri="{BB962C8B-B14F-4D97-AF65-F5344CB8AC3E}">
        <p14:creationId xmlns:p14="http://schemas.microsoft.com/office/powerpoint/2010/main" val="416552432"/>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1_Practice Area Master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p:custDataLst>
              <p:tags r:id="rId1"/>
            </p:custDataLst>
            <p:extLst>
              <p:ext uri="{D42A27DB-BD31-4B8C-83A1-F6EECF244321}">
                <p14:modId xmlns:p14="http://schemas.microsoft.com/office/powerpoint/2010/main" val="3325561404"/>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14674BC2-E50F-4B30-8010-E785F2B1A9F2}"/>
              </a:ext>
            </a:extLst>
          </p:cNvPr>
          <p:cNvGrpSpPr/>
          <p:nvPr/>
        </p:nvGrpSpPr>
        <p:grpSpPr>
          <a:xfrm>
            <a:off x="0" y="42672"/>
            <a:ext cx="6676008" cy="6457188"/>
            <a:chOff x="0" y="0"/>
            <a:chExt cx="6676008" cy="6515100"/>
          </a:xfrm>
        </p:grpSpPr>
        <p:sp>
          <p:nvSpPr>
            <p:cNvPr id="7" name="Freeform: Shape 6">
              <a:extLst>
                <a:ext uri="{FF2B5EF4-FFF2-40B4-BE49-F238E27FC236}">
                  <a16:creationId xmlns:a16="http://schemas.microsoft.com/office/drawing/2014/main" id="{94365968-5CF1-4ABD-B1A5-BA2EAB122F0E}"/>
                </a:ext>
              </a:extLst>
            </p:cNvPr>
            <p:cNvSpPr/>
            <p:nvPr/>
          </p:nvSpPr>
          <p:spPr>
            <a:xfrm>
              <a:off x="0" y="0"/>
              <a:ext cx="4829175" cy="6515100"/>
            </a:xfrm>
            <a:custGeom>
              <a:avLst/>
              <a:gdLst>
                <a:gd name="connsiteX0" fmla="*/ 700271 w 4829175"/>
                <a:gd name="connsiteY0" fmla="*/ 6501824 h 6515100"/>
                <a:gd name="connsiteX1" fmla="*/ 714941 w 4829175"/>
                <a:gd name="connsiteY1" fmla="*/ 6508865 h 6515100"/>
                <a:gd name="connsiteX2" fmla="*/ 710807 w 4829175"/>
                <a:gd name="connsiteY2" fmla="*/ 6508865 h 6515100"/>
                <a:gd name="connsiteX3" fmla="*/ 704588 w 4829175"/>
                <a:gd name="connsiteY3" fmla="*/ 6515100 h 6515100"/>
                <a:gd name="connsiteX4" fmla="*/ 694116 w 4829175"/>
                <a:gd name="connsiteY4" fmla="*/ 6515100 h 6515100"/>
                <a:gd name="connsiteX5" fmla="*/ 703819 w 4829175"/>
                <a:gd name="connsiteY5" fmla="*/ 6505372 h 6515100"/>
                <a:gd name="connsiteX6" fmla="*/ 710108 w 4829175"/>
                <a:gd name="connsiteY6" fmla="*/ 5961753 h 6515100"/>
                <a:gd name="connsiteX7" fmla="*/ 439696 w 4829175"/>
                <a:gd name="connsiteY7" fmla="*/ 6232863 h 6515100"/>
                <a:gd name="connsiteX8" fmla="*/ 710807 w 4829175"/>
                <a:gd name="connsiteY8" fmla="*/ 6503275 h 6515100"/>
                <a:gd name="connsiteX9" fmla="*/ 974930 w 4829175"/>
                <a:gd name="connsiteY9" fmla="*/ 6503275 h 6515100"/>
                <a:gd name="connsiteX10" fmla="*/ 703819 w 4829175"/>
                <a:gd name="connsiteY10" fmla="*/ 6232863 h 6515100"/>
                <a:gd name="connsiteX11" fmla="*/ 974231 w 4829175"/>
                <a:gd name="connsiteY11" fmla="*/ 5961753 h 6515100"/>
                <a:gd name="connsiteX12" fmla="*/ 1807827 w 4829175"/>
                <a:gd name="connsiteY12" fmla="*/ 5961054 h 6515100"/>
                <a:gd name="connsiteX13" fmla="*/ 1537414 w 4829175"/>
                <a:gd name="connsiteY13" fmla="*/ 6232165 h 6515100"/>
                <a:gd name="connsiteX14" fmla="*/ 1808526 w 4829175"/>
                <a:gd name="connsiteY14" fmla="*/ 6502577 h 6515100"/>
                <a:gd name="connsiteX15" fmla="*/ 2072648 w 4829175"/>
                <a:gd name="connsiteY15" fmla="*/ 6502577 h 6515100"/>
                <a:gd name="connsiteX16" fmla="*/ 1801539 w 4829175"/>
                <a:gd name="connsiteY16" fmla="*/ 6232165 h 6515100"/>
                <a:gd name="connsiteX17" fmla="*/ 2071951 w 4829175"/>
                <a:gd name="connsiteY17" fmla="*/ 5961054 h 6515100"/>
                <a:gd name="connsiteX18" fmla="*/ 1257919 w 4829175"/>
                <a:gd name="connsiteY18" fmla="*/ 5961054 h 6515100"/>
                <a:gd name="connsiteX19" fmla="*/ 988206 w 4829175"/>
                <a:gd name="connsiteY19" fmla="*/ 6232165 h 6515100"/>
                <a:gd name="connsiteX20" fmla="*/ 1188744 w 4829175"/>
                <a:gd name="connsiteY20" fmla="*/ 6432703 h 6515100"/>
                <a:gd name="connsiteX21" fmla="*/ 1259317 w 4829175"/>
                <a:gd name="connsiteY21" fmla="*/ 6502577 h 6515100"/>
                <a:gd name="connsiteX22" fmla="*/ 1327793 w 4829175"/>
                <a:gd name="connsiteY22" fmla="*/ 6502577 h 6515100"/>
                <a:gd name="connsiteX23" fmla="*/ 1327094 w 4829175"/>
                <a:gd name="connsiteY23" fmla="*/ 6503974 h 6515100"/>
                <a:gd name="connsiteX24" fmla="*/ 1524139 w 4829175"/>
                <a:gd name="connsiteY24" fmla="*/ 6503974 h 6515100"/>
                <a:gd name="connsiteX25" fmla="*/ 1253028 w 4829175"/>
                <a:gd name="connsiteY25" fmla="*/ 6233562 h 6515100"/>
                <a:gd name="connsiteX26" fmla="*/ 1253727 w 4829175"/>
                <a:gd name="connsiteY26" fmla="*/ 6232863 h 6515100"/>
                <a:gd name="connsiteX27" fmla="*/ 1251631 w 4829175"/>
                <a:gd name="connsiteY27" fmla="*/ 6232165 h 6515100"/>
                <a:gd name="connsiteX28" fmla="*/ 1522043 w 4829175"/>
                <a:gd name="connsiteY28" fmla="*/ 5961054 h 6515100"/>
                <a:gd name="connsiteX29" fmla="*/ 2904847 w 4829175"/>
                <a:gd name="connsiteY29" fmla="*/ 5960355 h 6515100"/>
                <a:gd name="connsiteX30" fmla="*/ 2634435 w 4829175"/>
                <a:gd name="connsiteY30" fmla="*/ 6231466 h 6515100"/>
                <a:gd name="connsiteX31" fmla="*/ 2905546 w 4829175"/>
                <a:gd name="connsiteY31" fmla="*/ 6501878 h 6515100"/>
                <a:gd name="connsiteX32" fmla="*/ 3169669 w 4829175"/>
                <a:gd name="connsiteY32" fmla="*/ 6501878 h 6515100"/>
                <a:gd name="connsiteX33" fmla="*/ 2898558 w 4829175"/>
                <a:gd name="connsiteY33" fmla="*/ 6231466 h 6515100"/>
                <a:gd name="connsiteX34" fmla="*/ 3168970 w 4829175"/>
                <a:gd name="connsiteY34" fmla="*/ 5960355 h 6515100"/>
                <a:gd name="connsiteX35" fmla="*/ 2356338 w 4829175"/>
                <a:gd name="connsiteY35" fmla="*/ 5960355 h 6515100"/>
                <a:gd name="connsiteX36" fmla="*/ 2085925 w 4829175"/>
                <a:gd name="connsiteY36" fmla="*/ 6231466 h 6515100"/>
                <a:gd name="connsiteX37" fmla="*/ 2357035 w 4829175"/>
                <a:gd name="connsiteY37" fmla="*/ 6501878 h 6515100"/>
                <a:gd name="connsiteX38" fmla="*/ 2620460 w 4829175"/>
                <a:gd name="connsiteY38" fmla="*/ 6501878 h 6515100"/>
                <a:gd name="connsiteX39" fmla="*/ 2490495 w 4829175"/>
                <a:gd name="connsiteY39" fmla="*/ 6371913 h 6515100"/>
                <a:gd name="connsiteX40" fmla="*/ 2350049 w 4829175"/>
                <a:gd name="connsiteY40" fmla="*/ 6231466 h 6515100"/>
                <a:gd name="connsiteX41" fmla="*/ 2620460 w 4829175"/>
                <a:gd name="connsiteY41" fmla="*/ 5960355 h 6515100"/>
                <a:gd name="connsiteX42" fmla="*/ 3453357 w 4829175"/>
                <a:gd name="connsiteY42" fmla="*/ 5959656 h 6515100"/>
                <a:gd name="connsiteX43" fmla="*/ 3182945 w 4829175"/>
                <a:gd name="connsiteY43" fmla="*/ 6230767 h 6515100"/>
                <a:gd name="connsiteX44" fmla="*/ 3454056 w 4829175"/>
                <a:gd name="connsiteY44" fmla="*/ 6500480 h 6515100"/>
                <a:gd name="connsiteX45" fmla="*/ 3718179 w 4829175"/>
                <a:gd name="connsiteY45" fmla="*/ 6500480 h 6515100"/>
                <a:gd name="connsiteX46" fmla="*/ 3447069 w 4829175"/>
                <a:gd name="connsiteY46" fmla="*/ 6230069 h 6515100"/>
                <a:gd name="connsiteX47" fmla="*/ 3631536 w 4829175"/>
                <a:gd name="connsiteY47" fmla="*/ 6045602 h 6515100"/>
                <a:gd name="connsiteX48" fmla="*/ 3717481 w 4829175"/>
                <a:gd name="connsiteY48" fmla="*/ 5959656 h 6515100"/>
                <a:gd name="connsiteX49" fmla="*/ 4550378 w 4829175"/>
                <a:gd name="connsiteY49" fmla="*/ 5958259 h 6515100"/>
                <a:gd name="connsiteX50" fmla="*/ 4279966 w 4829175"/>
                <a:gd name="connsiteY50" fmla="*/ 6229370 h 6515100"/>
                <a:gd name="connsiteX51" fmla="*/ 4551077 w 4829175"/>
                <a:gd name="connsiteY51" fmla="*/ 6499083 h 6515100"/>
                <a:gd name="connsiteX52" fmla="*/ 4815200 w 4829175"/>
                <a:gd name="connsiteY52" fmla="*/ 6499083 h 6515100"/>
                <a:gd name="connsiteX53" fmla="*/ 4544089 w 4829175"/>
                <a:gd name="connsiteY53" fmla="*/ 6228671 h 6515100"/>
                <a:gd name="connsiteX54" fmla="*/ 4814501 w 4829175"/>
                <a:gd name="connsiteY54" fmla="*/ 5958259 h 6515100"/>
                <a:gd name="connsiteX55" fmla="*/ 169284 w 4829175"/>
                <a:gd name="connsiteY55" fmla="*/ 5687847 h 6515100"/>
                <a:gd name="connsiteX56" fmla="*/ 299249 w 4829175"/>
                <a:gd name="connsiteY56" fmla="*/ 5817813 h 6515100"/>
                <a:gd name="connsiteX57" fmla="*/ 439696 w 4829175"/>
                <a:gd name="connsiteY57" fmla="*/ 5958259 h 6515100"/>
                <a:gd name="connsiteX58" fmla="*/ 169284 w 4829175"/>
                <a:gd name="connsiteY58" fmla="*/ 6229370 h 6515100"/>
                <a:gd name="connsiteX59" fmla="*/ 433407 w 4829175"/>
                <a:gd name="connsiteY59" fmla="*/ 6229370 h 6515100"/>
                <a:gd name="connsiteX60" fmla="*/ 703819 w 4829175"/>
                <a:gd name="connsiteY60" fmla="*/ 5958259 h 6515100"/>
                <a:gd name="connsiteX61" fmla="*/ 432708 w 4829175"/>
                <a:gd name="connsiteY61" fmla="*/ 5687847 h 6515100"/>
                <a:gd name="connsiteX62" fmla="*/ 1814814 w 4829175"/>
                <a:gd name="connsiteY62" fmla="*/ 5687149 h 6515100"/>
                <a:gd name="connsiteX63" fmla="*/ 2085925 w 4829175"/>
                <a:gd name="connsiteY63" fmla="*/ 5957561 h 6515100"/>
                <a:gd name="connsiteX64" fmla="*/ 1815513 w 4829175"/>
                <a:gd name="connsiteY64" fmla="*/ 6227973 h 6515100"/>
                <a:gd name="connsiteX65" fmla="*/ 2079636 w 4829175"/>
                <a:gd name="connsiteY65" fmla="*/ 6227973 h 6515100"/>
                <a:gd name="connsiteX66" fmla="*/ 2350049 w 4829175"/>
                <a:gd name="connsiteY66" fmla="*/ 5957561 h 6515100"/>
                <a:gd name="connsiteX67" fmla="*/ 2078937 w 4829175"/>
                <a:gd name="connsiteY67" fmla="*/ 5687149 h 6515100"/>
                <a:gd name="connsiteX68" fmla="*/ 717095 w 4829175"/>
                <a:gd name="connsiteY68" fmla="*/ 5687149 h 6515100"/>
                <a:gd name="connsiteX69" fmla="*/ 988206 w 4829175"/>
                <a:gd name="connsiteY69" fmla="*/ 5957561 h 6515100"/>
                <a:gd name="connsiteX70" fmla="*/ 717794 w 4829175"/>
                <a:gd name="connsiteY70" fmla="*/ 6228671 h 6515100"/>
                <a:gd name="connsiteX71" fmla="*/ 981917 w 4829175"/>
                <a:gd name="connsiteY71" fmla="*/ 6228671 h 6515100"/>
                <a:gd name="connsiteX72" fmla="*/ 1252329 w 4829175"/>
                <a:gd name="connsiteY72" fmla="*/ 5957561 h 6515100"/>
                <a:gd name="connsiteX73" fmla="*/ 981219 w 4829175"/>
                <a:gd name="connsiteY73" fmla="*/ 5687149 h 6515100"/>
                <a:gd name="connsiteX74" fmla="*/ 2363324 w 4829175"/>
                <a:gd name="connsiteY74" fmla="*/ 5686450 h 6515100"/>
                <a:gd name="connsiteX75" fmla="*/ 2634435 w 4829175"/>
                <a:gd name="connsiteY75" fmla="*/ 5956862 h 6515100"/>
                <a:gd name="connsiteX76" fmla="*/ 2364722 w 4829175"/>
                <a:gd name="connsiteY76" fmla="*/ 6227973 h 6515100"/>
                <a:gd name="connsiteX77" fmla="*/ 2628146 w 4829175"/>
                <a:gd name="connsiteY77" fmla="*/ 6227973 h 6515100"/>
                <a:gd name="connsiteX78" fmla="*/ 2898558 w 4829175"/>
                <a:gd name="connsiteY78" fmla="*/ 5956862 h 6515100"/>
                <a:gd name="connsiteX79" fmla="*/ 2764401 w 4829175"/>
                <a:gd name="connsiteY79" fmla="*/ 5823402 h 6515100"/>
                <a:gd name="connsiteX80" fmla="*/ 2627447 w 4829175"/>
                <a:gd name="connsiteY80" fmla="*/ 5686450 h 6515100"/>
                <a:gd name="connsiteX81" fmla="*/ 2911834 w 4829175"/>
                <a:gd name="connsiteY81" fmla="*/ 5685751 h 6515100"/>
                <a:gd name="connsiteX82" fmla="*/ 2913232 w 4829175"/>
                <a:gd name="connsiteY82" fmla="*/ 5687149 h 6515100"/>
                <a:gd name="connsiteX83" fmla="*/ 3182945 w 4829175"/>
                <a:gd name="connsiteY83" fmla="*/ 5956163 h 6515100"/>
                <a:gd name="connsiteX84" fmla="*/ 2912533 w 4829175"/>
                <a:gd name="connsiteY84" fmla="*/ 6226575 h 6515100"/>
                <a:gd name="connsiteX85" fmla="*/ 3176657 w 4829175"/>
                <a:gd name="connsiteY85" fmla="*/ 6226575 h 6515100"/>
                <a:gd name="connsiteX86" fmla="*/ 3447069 w 4829175"/>
                <a:gd name="connsiteY86" fmla="*/ 5956163 h 6515100"/>
                <a:gd name="connsiteX87" fmla="*/ 3441479 w 4829175"/>
                <a:gd name="connsiteY87" fmla="*/ 5951272 h 6515100"/>
                <a:gd name="connsiteX88" fmla="*/ 3175958 w 4829175"/>
                <a:gd name="connsiteY88" fmla="*/ 5685751 h 6515100"/>
                <a:gd name="connsiteX89" fmla="*/ 1530428 w 4829175"/>
                <a:gd name="connsiteY89" fmla="*/ 5685751 h 6515100"/>
                <a:gd name="connsiteX90" fmla="*/ 1529030 w 4829175"/>
                <a:gd name="connsiteY90" fmla="*/ 5686450 h 6515100"/>
                <a:gd name="connsiteX91" fmla="*/ 1264907 w 4829175"/>
                <a:gd name="connsiteY91" fmla="*/ 5686450 h 6515100"/>
                <a:gd name="connsiteX92" fmla="*/ 1536018 w 4829175"/>
                <a:gd name="connsiteY92" fmla="*/ 5956862 h 6515100"/>
                <a:gd name="connsiteX93" fmla="*/ 1531824 w 4829175"/>
                <a:gd name="connsiteY93" fmla="*/ 5961054 h 6515100"/>
                <a:gd name="connsiteX94" fmla="*/ 1537414 w 4829175"/>
                <a:gd name="connsiteY94" fmla="*/ 5958259 h 6515100"/>
                <a:gd name="connsiteX95" fmla="*/ 1267002 w 4829175"/>
                <a:gd name="connsiteY95" fmla="*/ 6229370 h 6515100"/>
                <a:gd name="connsiteX96" fmla="*/ 1531127 w 4829175"/>
                <a:gd name="connsiteY96" fmla="*/ 6229370 h 6515100"/>
                <a:gd name="connsiteX97" fmla="*/ 1801539 w 4829175"/>
                <a:gd name="connsiteY97" fmla="*/ 5958259 h 6515100"/>
                <a:gd name="connsiteX98" fmla="*/ 1530428 w 4829175"/>
                <a:gd name="connsiteY98" fmla="*/ 5687847 h 6515100"/>
                <a:gd name="connsiteX99" fmla="*/ 3459646 w 4829175"/>
                <a:gd name="connsiteY99" fmla="*/ 5685052 h 6515100"/>
                <a:gd name="connsiteX100" fmla="*/ 3730757 w 4829175"/>
                <a:gd name="connsiteY100" fmla="*/ 5955464 h 6515100"/>
                <a:gd name="connsiteX101" fmla="*/ 3727962 w 4829175"/>
                <a:gd name="connsiteY101" fmla="*/ 5958259 h 6515100"/>
                <a:gd name="connsiteX102" fmla="*/ 3637825 w 4829175"/>
                <a:gd name="connsiteY102" fmla="*/ 6049095 h 6515100"/>
                <a:gd name="connsiteX103" fmla="*/ 3460345 w 4829175"/>
                <a:gd name="connsiteY103" fmla="*/ 6225876 h 6515100"/>
                <a:gd name="connsiteX104" fmla="*/ 3724468 w 4829175"/>
                <a:gd name="connsiteY104" fmla="*/ 6225876 h 6515100"/>
                <a:gd name="connsiteX105" fmla="*/ 3813907 w 4829175"/>
                <a:gd name="connsiteY105" fmla="*/ 6136437 h 6515100"/>
                <a:gd name="connsiteX106" fmla="*/ 3994880 w 4829175"/>
                <a:gd name="connsiteY106" fmla="*/ 5955464 h 6515100"/>
                <a:gd name="connsiteX107" fmla="*/ 3723769 w 4829175"/>
                <a:gd name="connsiteY107" fmla="*/ 5685052 h 6515100"/>
                <a:gd name="connsiteX108" fmla="*/ 1807128 w 4829175"/>
                <a:gd name="connsiteY108" fmla="*/ 5412543 h 6515100"/>
                <a:gd name="connsiteX109" fmla="*/ 1536716 w 4829175"/>
                <a:gd name="connsiteY109" fmla="*/ 5683654 h 6515100"/>
                <a:gd name="connsiteX110" fmla="*/ 1807827 w 4829175"/>
                <a:gd name="connsiteY110" fmla="*/ 5954066 h 6515100"/>
                <a:gd name="connsiteX111" fmla="*/ 2071951 w 4829175"/>
                <a:gd name="connsiteY111" fmla="*/ 5954066 h 6515100"/>
                <a:gd name="connsiteX112" fmla="*/ 1800840 w 4829175"/>
                <a:gd name="connsiteY112" fmla="*/ 5683654 h 6515100"/>
                <a:gd name="connsiteX113" fmla="*/ 2071252 w 4829175"/>
                <a:gd name="connsiteY113" fmla="*/ 5412543 h 6515100"/>
                <a:gd name="connsiteX114" fmla="*/ 709409 w 4829175"/>
                <a:gd name="connsiteY114" fmla="*/ 5412543 h 6515100"/>
                <a:gd name="connsiteX115" fmla="*/ 438997 w 4829175"/>
                <a:gd name="connsiteY115" fmla="*/ 5683654 h 6515100"/>
                <a:gd name="connsiteX116" fmla="*/ 710108 w 4829175"/>
                <a:gd name="connsiteY116" fmla="*/ 5954066 h 6515100"/>
                <a:gd name="connsiteX117" fmla="*/ 974231 w 4829175"/>
                <a:gd name="connsiteY117" fmla="*/ 5954066 h 6515100"/>
                <a:gd name="connsiteX118" fmla="*/ 703120 w 4829175"/>
                <a:gd name="connsiteY118" fmla="*/ 5683654 h 6515100"/>
                <a:gd name="connsiteX119" fmla="*/ 972833 w 4829175"/>
                <a:gd name="connsiteY119" fmla="*/ 5412543 h 6515100"/>
                <a:gd name="connsiteX120" fmla="*/ 2904148 w 4829175"/>
                <a:gd name="connsiteY120" fmla="*/ 5411845 h 6515100"/>
                <a:gd name="connsiteX121" fmla="*/ 2723874 w 4829175"/>
                <a:gd name="connsiteY121" fmla="*/ 5592120 h 6515100"/>
                <a:gd name="connsiteX122" fmla="*/ 2634435 w 4829175"/>
                <a:gd name="connsiteY122" fmla="*/ 5682258 h 6515100"/>
                <a:gd name="connsiteX123" fmla="*/ 2768593 w 4829175"/>
                <a:gd name="connsiteY123" fmla="*/ 5815716 h 6515100"/>
                <a:gd name="connsiteX124" fmla="*/ 2905546 w 4829175"/>
                <a:gd name="connsiteY124" fmla="*/ 5952669 h 6515100"/>
                <a:gd name="connsiteX125" fmla="*/ 3169669 w 4829175"/>
                <a:gd name="connsiteY125" fmla="*/ 5952669 h 6515100"/>
                <a:gd name="connsiteX126" fmla="*/ 2898558 w 4829175"/>
                <a:gd name="connsiteY126" fmla="*/ 5682258 h 6515100"/>
                <a:gd name="connsiteX127" fmla="*/ 2899956 w 4829175"/>
                <a:gd name="connsiteY127" fmla="*/ 5680860 h 6515100"/>
                <a:gd name="connsiteX128" fmla="*/ 3168271 w 4829175"/>
                <a:gd name="connsiteY128" fmla="*/ 5411845 h 6515100"/>
                <a:gd name="connsiteX129" fmla="*/ 2355639 w 4829175"/>
                <a:gd name="connsiteY129" fmla="*/ 5411845 h 6515100"/>
                <a:gd name="connsiteX130" fmla="*/ 2085226 w 4829175"/>
                <a:gd name="connsiteY130" fmla="*/ 5682955 h 6515100"/>
                <a:gd name="connsiteX131" fmla="*/ 2356338 w 4829175"/>
                <a:gd name="connsiteY131" fmla="*/ 5953367 h 6515100"/>
                <a:gd name="connsiteX132" fmla="*/ 2620460 w 4829175"/>
                <a:gd name="connsiteY132" fmla="*/ 5953367 h 6515100"/>
                <a:gd name="connsiteX133" fmla="*/ 2349350 w 4829175"/>
                <a:gd name="connsiteY133" fmla="*/ 5682955 h 6515100"/>
                <a:gd name="connsiteX134" fmla="*/ 2533816 w 4829175"/>
                <a:gd name="connsiteY134" fmla="*/ 5498489 h 6515100"/>
                <a:gd name="connsiteX135" fmla="*/ 2619762 w 4829175"/>
                <a:gd name="connsiteY135" fmla="*/ 5412543 h 6515100"/>
                <a:gd name="connsiteX136" fmla="*/ 2361229 w 4829175"/>
                <a:gd name="connsiteY136" fmla="*/ 5412543 h 6515100"/>
                <a:gd name="connsiteX137" fmla="*/ 1257919 w 4829175"/>
                <a:gd name="connsiteY137" fmla="*/ 5411845 h 6515100"/>
                <a:gd name="connsiteX138" fmla="*/ 987507 w 4829175"/>
                <a:gd name="connsiteY138" fmla="*/ 5682955 h 6515100"/>
                <a:gd name="connsiteX139" fmla="*/ 1258618 w 4829175"/>
                <a:gd name="connsiteY139" fmla="*/ 5953367 h 6515100"/>
                <a:gd name="connsiteX140" fmla="*/ 1522741 w 4829175"/>
                <a:gd name="connsiteY140" fmla="*/ 5953367 h 6515100"/>
                <a:gd name="connsiteX141" fmla="*/ 1251631 w 4829175"/>
                <a:gd name="connsiteY141" fmla="*/ 5682955 h 6515100"/>
                <a:gd name="connsiteX142" fmla="*/ 1436098 w 4829175"/>
                <a:gd name="connsiteY142" fmla="*/ 5498489 h 6515100"/>
                <a:gd name="connsiteX143" fmla="*/ 1522043 w 4829175"/>
                <a:gd name="connsiteY143" fmla="*/ 5411845 h 6515100"/>
                <a:gd name="connsiteX144" fmla="*/ 3452658 w 4829175"/>
                <a:gd name="connsiteY144" fmla="*/ 5411147 h 6515100"/>
                <a:gd name="connsiteX145" fmla="*/ 3182246 w 4829175"/>
                <a:gd name="connsiteY145" fmla="*/ 5682258 h 6515100"/>
                <a:gd name="connsiteX146" fmla="*/ 3453357 w 4829175"/>
                <a:gd name="connsiteY146" fmla="*/ 5952669 h 6515100"/>
                <a:gd name="connsiteX147" fmla="*/ 3717481 w 4829175"/>
                <a:gd name="connsiteY147" fmla="*/ 5952669 h 6515100"/>
                <a:gd name="connsiteX148" fmla="*/ 3446370 w 4829175"/>
                <a:gd name="connsiteY148" fmla="*/ 5682258 h 6515100"/>
                <a:gd name="connsiteX149" fmla="*/ 3716782 w 4829175"/>
                <a:gd name="connsiteY149" fmla="*/ 5411147 h 6515100"/>
                <a:gd name="connsiteX150" fmla="*/ 4549679 w 4829175"/>
                <a:gd name="connsiteY150" fmla="*/ 5409749 h 6515100"/>
                <a:gd name="connsiteX151" fmla="*/ 4279267 w 4829175"/>
                <a:gd name="connsiteY151" fmla="*/ 5680860 h 6515100"/>
                <a:gd name="connsiteX152" fmla="*/ 4550378 w 4829175"/>
                <a:gd name="connsiteY152" fmla="*/ 5951272 h 6515100"/>
                <a:gd name="connsiteX153" fmla="*/ 4814501 w 4829175"/>
                <a:gd name="connsiteY153" fmla="*/ 5951272 h 6515100"/>
                <a:gd name="connsiteX154" fmla="*/ 4543391 w 4829175"/>
                <a:gd name="connsiteY154" fmla="*/ 5680860 h 6515100"/>
                <a:gd name="connsiteX155" fmla="*/ 4727858 w 4829175"/>
                <a:gd name="connsiteY155" fmla="*/ 5495694 h 6515100"/>
                <a:gd name="connsiteX156" fmla="*/ 4727159 w 4829175"/>
                <a:gd name="connsiteY156" fmla="*/ 5494995 h 6515100"/>
                <a:gd name="connsiteX157" fmla="*/ 4812405 w 4829175"/>
                <a:gd name="connsiteY157" fmla="*/ 5409749 h 6515100"/>
                <a:gd name="connsiteX158" fmla="*/ 167886 w 4829175"/>
                <a:gd name="connsiteY158" fmla="*/ 5139337 h 6515100"/>
                <a:gd name="connsiteX159" fmla="*/ 438997 w 4829175"/>
                <a:gd name="connsiteY159" fmla="*/ 5409749 h 6515100"/>
                <a:gd name="connsiteX160" fmla="*/ 169284 w 4829175"/>
                <a:gd name="connsiteY160" fmla="*/ 5680860 h 6515100"/>
                <a:gd name="connsiteX161" fmla="*/ 432708 w 4829175"/>
                <a:gd name="connsiteY161" fmla="*/ 5680860 h 6515100"/>
                <a:gd name="connsiteX162" fmla="*/ 703120 w 4829175"/>
                <a:gd name="connsiteY162" fmla="*/ 5409749 h 6515100"/>
                <a:gd name="connsiteX163" fmla="*/ 568962 w 4829175"/>
                <a:gd name="connsiteY163" fmla="*/ 5276290 h 6515100"/>
                <a:gd name="connsiteX164" fmla="*/ 432009 w 4829175"/>
                <a:gd name="connsiteY164" fmla="*/ 5139337 h 6515100"/>
                <a:gd name="connsiteX165" fmla="*/ 1814116 w 4829175"/>
                <a:gd name="connsiteY165" fmla="*/ 5138638 h 6515100"/>
                <a:gd name="connsiteX166" fmla="*/ 1942683 w 4829175"/>
                <a:gd name="connsiteY166" fmla="*/ 5267207 h 6515100"/>
                <a:gd name="connsiteX167" fmla="*/ 2084528 w 4829175"/>
                <a:gd name="connsiteY167" fmla="*/ 5409050 h 6515100"/>
                <a:gd name="connsiteX168" fmla="*/ 1814116 w 4829175"/>
                <a:gd name="connsiteY168" fmla="*/ 5680161 h 6515100"/>
                <a:gd name="connsiteX169" fmla="*/ 2078239 w 4829175"/>
                <a:gd name="connsiteY169" fmla="*/ 5680161 h 6515100"/>
                <a:gd name="connsiteX170" fmla="*/ 2348651 w 4829175"/>
                <a:gd name="connsiteY170" fmla="*/ 5409050 h 6515100"/>
                <a:gd name="connsiteX171" fmla="*/ 2343759 w 4829175"/>
                <a:gd name="connsiteY171" fmla="*/ 5404159 h 6515100"/>
                <a:gd name="connsiteX172" fmla="*/ 2078239 w 4829175"/>
                <a:gd name="connsiteY172" fmla="*/ 5138638 h 6515100"/>
                <a:gd name="connsiteX173" fmla="*/ 2362625 w 4829175"/>
                <a:gd name="connsiteY173" fmla="*/ 5137939 h 6515100"/>
                <a:gd name="connsiteX174" fmla="*/ 2633736 w 4829175"/>
                <a:gd name="connsiteY174" fmla="*/ 5407653 h 6515100"/>
                <a:gd name="connsiteX175" fmla="*/ 2630942 w 4829175"/>
                <a:gd name="connsiteY175" fmla="*/ 5410448 h 6515100"/>
                <a:gd name="connsiteX176" fmla="*/ 2540804 w 4829175"/>
                <a:gd name="connsiteY176" fmla="*/ 5501283 h 6515100"/>
                <a:gd name="connsiteX177" fmla="*/ 2363324 w 4829175"/>
                <a:gd name="connsiteY177" fmla="*/ 5678763 h 6515100"/>
                <a:gd name="connsiteX178" fmla="*/ 2627447 w 4829175"/>
                <a:gd name="connsiteY178" fmla="*/ 5678763 h 6515100"/>
                <a:gd name="connsiteX179" fmla="*/ 2716886 w 4829175"/>
                <a:gd name="connsiteY179" fmla="*/ 5589325 h 6515100"/>
                <a:gd name="connsiteX180" fmla="*/ 2897859 w 4829175"/>
                <a:gd name="connsiteY180" fmla="*/ 5408351 h 6515100"/>
                <a:gd name="connsiteX181" fmla="*/ 2626749 w 4829175"/>
                <a:gd name="connsiteY181" fmla="*/ 5137939 h 6515100"/>
                <a:gd name="connsiteX182" fmla="*/ 1264208 w 4829175"/>
                <a:gd name="connsiteY182" fmla="*/ 5137939 h 6515100"/>
                <a:gd name="connsiteX183" fmla="*/ 1535319 w 4829175"/>
                <a:gd name="connsiteY183" fmla="*/ 5407653 h 6515100"/>
                <a:gd name="connsiteX184" fmla="*/ 1532523 w 4829175"/>
                <a:gd name="connsiteY184" fmla="*/ 5410448 h 6515100"/>
                <a:gd name="connsiteX185" fmla="*/ 1442387 w 4829175"/>
                <a:gd name="connsiteY185" fmla="*/ 5501283 h 6515100"/>
                <a:gd name="connsiteX186" fmla="*/ 1264907 w 4829175"/>
                <a:gd name="connsiteY186" fmla="*/ 5678763 h 6515100"/>
                <a:gd name="connsiteX187" fmla="*/ 1529030 w 4829175"/>
                <a:gd name="connsiteY187" fmla="*/ 5678763 h 6515100"/>
                <a:gd name="connsiteX188" fmla="*/ 1618469 w 4829175"/>
                <a:gd name="connsiteY188" fmla="*/ 5589325 h 6515100"/>
                <a:gd name="connsiteX189" fmla="*/ 1799442 w 4829175"/>
                <a:gd name="connsiteY189" fmla="*/ 5408351 h 6515100"/>
                <a:gd name="connsiteX190" fmla="*/ 1528331 w 4829175"/>
                <a:gd name="connsiteY190" fmla="*/ 5137939 h 6515100"/>
                <a:gd name="connsiteX191" fmla="*/ 715697 w 4829175"/>
                <a:gd name="connsiteY191" fmla="*/ 5137939 h 6515100"/>
                <a:gd name="connsiteX192" fmla="*/ 717095 w 4829175"/>
                <a:gd name="connsiteY192" fmla="*/ 5139337 h 6515100"/>
                <a:gd name="connsiteX193" fmla="*/ 986808 w 4829175"/>
                <a:gd name="connsiteY193" fmla="*/ 5408351 h 6515100"/>
                <a:gd name="connsiteX194" fmla="*/ 716396 w 4829175"/>
                <a:gd name="connsiteY194" fmla="*/ 5679462 h 6515100"/>
                <a:gd name="connsiteX195" fmla="*/ 980520 w 4829175"/>
                <a:gd name="connsiteY195" fmla="*/ 5679462 h 6515100"/>
                <a:gd name="connsiteX196" fmla="*/ 1250932 w 4829175"/>
                <a:gd name="connsiteY196" fmla="*/ 5408351 h 6515100"/>
                <a:gd name="connsiteX197" fmla="*/ 1245342 w 4829175"/>
                <a:gd name="connsiteY197" fmla="*/ 5403460 h 6515100"/>
                <a:gd name="connsiteX198" fmla="*/ 979821 w 4829175"/>
                <a:gd name="connsiteY198" fmla="*/ 5137939 h 6515100"/>
                <a:gd name="connsiteX199" fmla="*/ 2911136 w 4829175"/>
                <a:gd name="connsiteY199" fmla="*/ 5137241 h 6515100"/>
                <a:gd name="connsiteX200" fmla="*/ 3041801 w 4829175"/>
                <a:gd name="connsiteY200" fmla="*/ 5266508 h 6515100"/>
                <a:gd name="connsiteX201" fmla="*/ 3182246 w 4829175"/>
                <a:gd name="connsiteY201" fmla="*/ 5406954 h 6515100"/>
                <a:gd name="connsiteX202" fmla="*/ 2911834 w 4829175"/>
                <a:gd name="connsiteY202" fmla="*/ 5678065 h 6515100"/>
                <a:gd name="connsiteX203" fmla="*/ 3175958 w 4829175"/>
                <a:gd name="connsiteY203" fmla="*/ 5678065 h 6515100"/>
                <a:gd name="connsiteX204" fmla="*/ 3446370 w 4829175"/>
                <a:gd name="connsiteY204" fmla="*/ 5407653 h 6515100"/>
                <a:gd name="connsiteX205" fmla="*/ 3175259 w 4829175"/>
                <a:gd name="connsiteY205" fmla="*/ 5137241 h 6515100"/>
                <a:gd name="connsiteX206" fmla="*/ 3459646 w 4829175"/>
                <a:gd name="connsiteY206" fmla="*/ 5136542 h 6515100"/>
                <a:gd name="connsiteX207" fmla="*/ 3730757 w 4829175"/>
                <a:gd name="connsiteY207" fmla="*/ 5406954 h 6515100"/>
                <a:gd name="connsiteX208" fmla="*/ 3460345 w 4829175"/>
                <a:gd name="connsiteY208" fmla="*/ 5678065 h 6515100"/>
                <a:gd name="connsiteX209" fmla="*/ 3724468 w 4829175"/>
                <a:gd name="connsiteY209" fmla="*/ 5678065 h 6515100"/>
                <a:gd name="connsiteX210" fmla="*/ 3994880 w 4829175"/>
                <a:gd name="connsiteY210" fmla="*/ 5406954 h 6515100"/>
                <a:gd name="connsiteX211" fmla="*/ 3723769 w 4829175"/>
                <a:gd name="connsiteY211" fmla="*/ 5136542 h 6515100"/>
                <a:gd name="connsiteX212" fmla="*/ 4008156 w 4829175"/>
                <a:gd name="connsiteY212" fmla="*/ 5135843 h 6515100"/>
                <a:gd name="connsiteX213" fmla="*/ 4279267 w 4829175"/>
                <a:gd name="connsiteY213" fmla="*/ 5406255 h 6515100"/>
                <a:gd name="connsiteX214" fmla="*/ 4008855 w 4829175"/>
                <a:gd name="connsiteY214" fmla="*/ 5677366 h 6515100"/>
                <a:gd name="connsiteX215" fmla="*/ 4207297 w 4829175"/>
                <a:gd name="connsiteY215" fmla="*/ 5677366 h 6515100"/>
                <a:gd name="connsiteX216" fmla="*/ 4272280 w 4829175"/>
                <a:gd name="connsiteY216" fmla="*/ 5677366 h 6515100"/>
                <a:gd name="connsiteX217" fmla="*/ 4543391 w 4829175"/>
                <a:gd name="connsiteY217" fmla="*/ 5406255 h 6515100"/>
                <a:gd name="connsiteX218" fmla="*/ 4409232 w 4829175"/>
                <a:gd name="connsiteY218" fmla="*/ 5272797 h 6515100"/>
                <a:gd name="connsiteX219" fmla="*/ 4272280 w 4829175"/>
                <a:gd name="connsiteY219" fmla="*/ 5135843 h 6515100"/>
                <a:gd name="connsiteX220" fmla="*/ 708011 w 4829175"/>
                <a:gd name="connsiteY220" fmla="*/ 4864034 h 6515100"/>
                <a:gd name="connsiteX221" fmla="*/ 527737 w 4829175"/>
                <a:gd name="connsiteY221" fmla="*/ 5045007 h 6515100"/>
                <a:gd name="connsiteX222" fmla="*/ 438298 w 4829175"/>
                <a:gd name="connsiteY222" fmla="*/ 5135144 h 6515100"/>
                <a:gd name="connsiteX223" fmla="*/ 572456 w 4829175"/>
                <a:gd name="connsiteY223" fmla="*/ 5268603 h 6515100"/>
                <a:gd name="connsiteX224" fmla="*/ 709409 w 4829175"/>
                <a:gd name="connsiteY224" fmla="*/ 5405557 h 6515100"/>
                <a:gd name="connsiteX225" fmla="*/ 973532 w 4829175"/>
                <a:gd name="connsiteY225" fmla="*/ 5405557 h 6515100"/>
                <a:gd name="connsiteX226" fmla="*/ 702421 w 4829175"/>
                <a:gd name="connsiteY226" fmla="*/ 5135144 h 6515100"/>
                <a:gd name="connsiteX227" fmla="*/ 703819 w 4829175"/>
                <a:gd name="connsiteY227" fmla="*/ 5133747 h 6515100"/>
                <a:gd name="connsiteX228" fmla="*/ 972135 w 4829175"/>
                <a:gd name="connsiteY228" fmla="*/ 4864034 h 6515100"/>
                <a:gd name="connsiteX229" fmla="*/ 1257220 w 4829175"/>
                <a:gd name="connsiteY229" fmla="*/ 4863335 h 6515100"/>
                <a:gd name="connsiteX230" fmla="*/ 986808 w 4829175"/>
                <a:gd name="connsiteY230" fmla="*/ 5134446 h 6515100"/>
                <a:gd name="connsiteX231" fmla="*/ 1257919 w 4829175"/>
                <a:gd name="connsiteY231" fmla="*/ 5404858 h 6515100"/>
                <a:gd name="connsiteX232" fmla="*/ 1522043 w 4829175"/>
                <a:gd name="connsiteY232" fmla="*/ 5404858 h 6515100"/>
                <a:gd name="connsiteX233" fmla="*/ 1250932 w 4829175"/>
                <a:gd name="connsiteY233" fmla="*/ 5134446 h 6515100"/>
                <a:gd name="connsiteX234" fmla="*/ 1521344 w 4829175"/>
                <a:gd name="connsiteY234" fmla="*/ 4863335 h 6515100"/>
                <a:gd name="connsiteX235" fmla="*/ 2904148 w 4829175"/>
                <a:gd name="connsiteY235" fmla="*/ 4862636 h 6515100"/>
                <a:gd name="connsiteX236" fmla="*/ 2633736 w 4829175"/>
                <a:gd name="connsiteY236" fmla="*/ 5133747 h 6515100"/>
                <a:gd name="connsiteX237" fmla="*/ 2904847 w 4829175"/>
                <a:gd name="connsiteY237" fmla="*/ 5404159 h 6515100"/>
                <a:gd name="connsiteX238" fmla="*/ 3168271 w 4829175"/>
                <a:gd name="connsiteY238" fmla="*/ 5404159 h 6515100"/>
                <a:gd name="connsiteX239" fmla="*/ 3037607 w 4829175"/>
                <a:gd name="connsiteY239" fmla="*/ 5274193 h 6515100"/>
                <a:gd name="connsiteX240" fmla="*/ 2897162 w 4829175"/>
                <a:gd name="connsiteY240" fmla="*/ 5133747 h 6515100"/>
                <a:gd name="connsiteX241" fmla="*/ 3168271 w 4829175"/>
                <a:gd name="connsiteY241" fmla="*/ 4862636 h 6515100"/>
                <a:gd name="connsiteX242" fmla="*/ 1805032 w 4829175"/>
                <a:gd name="connsiteY242" fmla="*/ 4862636 h 6515100"/>
                <a:gd name="connsiteX243" fmla="*/ 1534620 w 4829175"/>
                <a:gd name="connsiteY243" fmla="*/ 5133747 h 6515100"/>
                <a:gd name="connsiteX244" fmla="*/ 1805731 w 4829175"/>
                <a:gd name="connsiteY244" fmla="*/ 5404159 h 6515100"/>
                <a:gd name="connsiteX245" fmla="*/ 1807128 w 4829175"/>
                <a:gd name="connsiteY245" fmla="*/ 5405557 h 6515100"/>
                <a:gd name="connsiteX246" fmla="*/ 2071252 w 4829175"/>
                <a:gd name="connsiteY246" fmla="*/ 5405557 h 6515100"/>
                <a:gd name="connsiteX247" fmla="*/ 1939889 w 4829175"/>
                <a:gd name="connsiteY247" fmla="*/ 5274193 h 6515100"/>
                <a:gd name="connsiteX248" fmla="*/ 1802236 w 4829175"/>
                <a:gd name="connsiteY248" fmla="*/ 5136542 h 6515100"/>
                <a:gd name="connsiteX249" fmla="*/ 2071252 w 4829175"/>
                <a:gd name="connsiteY249" fmla="*/ 4862636 h 6515100"/>
                <a:gd name="connsiteX250" fmla="*/ 3451960 w 4829175"/>
                <a:gd name="connsiteY250" fmla="*/ 4861938 h 6515100"/>
                <a:gd name="connsiteX251" fmla="*/ 3181548 w 4829175"/>
                <a:gd name="connsiteY251" fmla="*/ 5133048 h 6515100"/>
                <a:gd name="connsiteX252" fmla="*/ 3452658 w 4829175"/>
                <a:gd name="connsiteY252" fmla="*/ 5403460 h 6515100"/>
                <a:gd name="connsiteX253" fmla="*/ 3716782 w 4829175"/>
                <a:gd name="connsiteY253" fmla="*/ 5403460 h 6515100"/>
                <a:gd name="connsiteX254" fmla="*/ 3445671 w 4829175"/>
                <a:gd name="connsiteY254" fmla="*/ 5133048 h 6515100"/>
                <a:gd name="connsiteX255" fmla="*/ 3630138 w 4829175"/>
                <a:gd name="connsiteY255" fmla="*/ 4948581 h 6515100"/>
                <a:gd name="connsiteX256" fmla="*/ 3714686 w 4829175"/>
                <a:gd name="connsiteY256" fmla="*/ 4861938 h 6515100"/>
                <a:gd name="connsiteX257" fmla="*/ 4000470 w 4829175"/>
                <a:gd name="connsiteY257" fmla="*/ 4861239 h 6515100"/>
                <a:gd name="connsiteX258" fmla="*/ 3730058 w 4829175"/>
                <a:gd name="connsiteY258" fmla="*/ 5132350 h 6515100"/>
                <a:gd name="connsiteX259" fmla="*/ 4001169 w 4829175"/>
                <a:gd name="connsiteY259" fmla="*/ 5402762 h 6515100"/>
                <a:gd name="connsiteX260" fmla="*/ 4265292 w 4829175"/>
                <a:gd name="connsiteY260" fmla="*/ 5402762 h 6515100"/>
                <a:gd name="connsiteX261" fmla="*/ 3994181 w 4829175"/>
                <a:gd name="connsiteY261" fmla="*/ 5132350 h 6515100"/>
                <a:gd name="connsiteX262" fmla="*/ 3995579 w 4829175"/>
                <a:gd name="connsiteY262" fmla="*/ 5130952 h 6515100"/>
                <a:gd name="connsiteX263" fmla="*/ 3994880 w 4829175"/>
                <a:gd name="connsiteY263" fmla="*/ 5130952 h 6515100"/>
                <a:gd name="connsiteX264" fmla="*/ 4263197 w 4829175"/>
                <a:gd name="connsiteY264" fmla="*/ 4861938 h 6515100"/>
                <a:gd name="connsiteX265" fmla="*/ 4004663 w 4829175"/>
                <a:gd name="connsiteY265" fmla="*/ 4861938 h 6515100"/>
                <a:gd name="connsiteX266" fmla="*/ 4006060 w 4829175"/>
                <a:gd name="connsiteY266" fmla="*/ 4861239 h 6515100"/>
                <a:gd name="connsiteX267" fmla="*/ 4548281 w 4829175"/>
                <a:gd name="connsiteY267" fmla="*/ 4860540 h 6515100"/>
                <a:gd name="connsiteX268" fmla="*/ 4367308 w 4829175"/>
                <a:gd name="connsiteY268" fmla="*/ 5041513 h 6515100"/>
                <a:gd name="connsiteX269" fmla="*/ 4368007 w 4829175"/>
                <a:gd name="connsiteY269" fmla="*/ 5042212 h 6515100"/>
                <a:gd name="connsiteX270" fmla="*/ 4278568 w 4829175"/>
                <a:gd name="connsiteY270" fmla="*/ 5132350 h 6515100"/>
                <a:gd name="connsiteX271" fmla="*/ 4412727 w 4829175"/>
                <a:gd name="connsiteY271" fmla="*/ 5265809 h 6515100"/>
                <a:gd name="connsiteX272" fmla="*/ 4548980 w 4829175"/>
                <a:gd name="connsiteY272" fmla="*/ 5402063 h 6515100"/>
                <a:gd name="connsiteX273" fmla="*/ 4813104 w 4829175"/>
                <a:gd name="connsiteY273" fmla="*/ 5402063 h 6515100"/>
                <a:gd name="connsiteX274" fmla="*/ 4541993 w 4829175"/>
                <a:gd name="connsiteY274" fmla="*/ 5131651 h 6515100"/>
                <a:gd name="connsiteX275" fmla="*/ 4812405 w 4829175"/>
                <a:gd name="connsiteY275" fmla="*/ 4860540 h 6515100"/>
                <a:gd name="connsiteX276" fmla="*/ 2621159 w 4829175"/>
                <a:gd name="connsiteY276" fmla="*/ 4860540 h 6515100"/>
                <a:gd name="connsiteX277" fmla="*/ 2354940 w 4829175"/>
                <a:gd name="connsiteY277" fmla="*/ 4863335 h 6515100"/>
                <a:gd name="connsiteX278" fmla="*/ 2084528 w 4829175"/>
                <a:gd name="connsiteY278" fmla="*/ 5134446 h 6515100"/>
                <a:gd name="connsiteX279" fmla="*/ 2355639 w 4829175"/>
                <a:gd name="connsiteY279" fmla="*/ 5404858 h 6515100"/>
                <a:gd name="connsiteX280" fmla="*/ 2619762 w 4829175"/>
                <a:gd name="connsiteY280" fmla="*/ 5404858 h 6515100"/>
                <a:gd name="connsiteX281" fmla="*/ 2348651 w 4829175"/>
                <a:gd name="connsiteY281" fmla="*/ 5134446 h 6515100"/>
                <a:gd name="connsiteX282" fmla="*/ 166488 w 4829175"/>
                <a:gd name="connsiteY282" fmla="*/ 4590827 h 6515100"/>
                <a:gd name="connsiteX283" fmla="*/ 437599 w 4829175"/>
                <a:gd name="connsiteY283" fmla="*/ 4861239 h 6515100"/>
                <a:gd name="connsiteX284" fmla="*/ 434805 w 4829175"/>
                <a:gd name="connsiteY284" fmla="*/ 4864034 h 6515100"/>
                <a:gd name="connsiteX285" fmla="*/ 344667 w 4829175"/>
                <a:gd name="connsiteY285" fmla="*/ 4954870 h 6515100"/>
                <a:gd name="connsiteX286" fmla="*/ 167187 w 4829175"/>
                <a:gd name="connsiteY286" fmla="*/ 5131651 h 6515100"/>
                <a:gd name="connsiteX287" fmla="*/ 431311 w 4829175"/>
                <a:gd name="connsiteY287" fmla="*/ 5131651 h 6515100"/>
                <a:gd name="connsiteX288" fmla="*/ 520749 w 4829175"/>
                <a:gd name="connsiteY288" fmla="*/ 5042212 h 6515100"/>
                <a:gd name="connsiteX289" fmla="*/ 701722 w 4829175"/>
                <a:gd name="connsiteY289" fmla="*/ 4861239 h 6515100"/>
                <a:gd name="connsiteX290" fmla="*/ 430612 w 4829175"/>
                <a:gd name="connsiteY290" fmla="*/ 4590827 h 6515100"/>
                <a:gd name="connsiteX291" fmla="*/ 715697 w 4829175"/>
                <a:gd name="connsiteY291" fmla="*/ 4590128 h 6515100"/>
                <a:gd name="connsiteX292" fmla="*/ 845663 w 4829175"/>
                <a:gd name="connsiteY292" fmla="*/ 4720093 h 6515100"/>
                <a:gd name="connsiteX293" fmla="*/ 986109 w 4829175"/>
                <a:gd name="connsiteY293" fmla="*/ 4859841 h 6515100"/>
                <a:gd name="connsiteX294" fmla="*/ 715697 w 4829175"/>
                <a:gd name="connsiteY294" fmla="*/ 5130952 h 6515100"/>
                <a:gd name="connsiteX295" fmla="*/ 979821 w 4829175"/>
                <a:gd name="connsiteY295" fmla="*/ 5130952 h 6515100"/>
                <a:gd name="connsiteX296" fmla="*/ 1250932 w 4829175"/>
                <a:gd name="connsiteY296" fmla="*/ 4860540 h 6515100"/>
                <a:gd name="connsiteX297" fmla="*/ 979821 w 4829175"/>
                <a:gd name="connsiteY297" fmla="*/ 4590128 h 6515100"/>
                <a:gd name="connsiteX298" fmla="*/ 2911136 w 4829175"/>
                <a:gd name="connsiteY298" fmla="*/ 4589429 h 6515100"/>
                <a:gd name="connsiteX299" fmla="*/ 3040403 w 4829175"/>
                <a:gd name="connsiteY299" fmla="*/ 4717299 h 6515100"/>
                <a:gd name="connsiteX300" fmla="*/ 3040403 w 4829175"/>
                <a:gd name="connsiteY300" fmla="*/ 4717998 h 6515100"/>
                <a:gd name="connsiteX301" fmla="*/ 3182246 w 4829175"/>
                <a:gd name="connsiteY301" fmla="*/ 4859841 h 6515100"/>
                <a:gd name="connsiteX302" fmla="*/ 2911834 w 4829175"/>
                <a:gd name="connsiteY302" fmla="*/ 5130952 h 6515100"/>
                <a:gd name="connsiteX303" fmla="*/ 3175259 w 4829175"/>
                <a:gd name="connsiteY303" fmla="*/ 5130952 h 6515100"/>
                <a:gd name="connsiteX304" fmla="*/ 3445671 w 4829175"/>
                <a:gd name="connsiteY304" fmla="*/ 4859841 h 6515100"/>
                <a:gd name="connsiteX305" fmla="*/ 3440081 w 4829175"/>
                <a:gd name="connsiteY305" fmla="*/ 4854251 h 6515100"/>
                <a:gd name="connsiteX306" fmla="*/ 3439382 w 4829175"/>
                <a:gd name="connsiteY306" fmla="*/ 4854251 h 6515100"/>
                <a:gd name="connsiteX307" fmla="*/ 3173862 w 4829175"/>
                <a:gd name="connsiteY307" fmla="*/ 4589429 h 6515100"/>
                <a:gd name="connsiteX308" fmla="*/ 1813417 w 4829175"/>
                <a:gd name="connsiteY308" fmla="*/ 4589429 h 6515100"/>
                <a:gd name="connsiteX309" fmla="*/ 1815507 w 4829175"/>
                <a:gd name="connsiteY309" fmla="*/ 4592217 h 6515100"/>
                <a:gd name="connsiteX310" fmla="*/ 1814814 w 4829175"/>
                <a:gd name="connsiteY310" fmla="*/ 4591526 h 6515100"/>
                <a:gd name="connsiteX311" fmla="*/ 1815513 w 4829175"/>
                <a:gd name="connsiteY311" fmla="*/ 4592225 h 6515100"/>
                <a:gd name="connsiteX312" fmla="*/ 1815507 w 4829175"/>
                <a:gd name="connsiteY312" fmla="*/ 4592217 h 6515100"/>
                <a:gd name="connsiteX313" fmla="*/ 2074046 w 4829175"/>
                <a:gd name="connsiteY313" fmla="*/ 4850059 h 6515100"/>
                <a:gd name="connsiteX314" fmla="*/ 2083829 w 4829175"/>
                <a:gd name="connsiteY314" fmla="*/ 4859142 h 6515100"/>
                <a:gd name="connsiteX315" fmla="*/ 2085925 w 4829175"/>
                <a:gd name="connsiteY315" fmla="*/ 4861239 h 6515100"/>
                <a:gd name="connsiteX316" fmla="*/ 1821102 w 4829175"/>
                <a:gd name="connsiteY316" fmla="*/ 5130952 h 6515100"/>
                <a:gd name="connsiteX317" fmla="*/ 2080335 w 4829175"/>
                <a:gd name="connsiteY317" fmla="*/ 5131651 h 6515100"/>
                <a:gd name="connsiteX318" fmla="*/ 2350049 w 4829175"/>
                <a:gd name="connsiteY318" fmla="*/ 4861239 h 6515100"/>
                <a:gd name="connsiteX319" fmla="*/ 2214493 w 4829175"/>
                <a:gd name="connsiteY319" fmla="*/ 4726382 h 6515100"/>
                <a:gd name="connsiteX320" fmla="*/ 2197724 w 4829175"/>
                <a:gd name="connsiteY320" fmla="*/ 4709612 h 6515100"/>
                <a:gd name="connsiteX321" fmla="*/ 2078239 w 4829175"/>
                <a:gd name="connsiteY321" fmla="*/ 4590827 h 6515100"/>
                <a:gd name="connsiteX322" fmla="*/ 2074046 w 4829175"/>
                <a:gd name="connsiteY322" fmla="*/ 4589429 h 6515100"/>
                <a:gd name="connsiteX323" fmla="*/ 1263509 w 4829175"/>
                <a:gd name="connsiteY323" fmla="*/ 4589429 h 6515100"/>
                <a:gd name="connsiteX324" fmla="*/ 1534620 w 4829175"/>
                <a:gd name="connsiteY324" fmla="*/ 4859841 h 6515100"/>
                <a:gd name="connsiteX325" fmla="*/ 1264208 w 4829175"/>
                <a:gd name="connsiteY325" fmla="*/ 5130952 h 6515100"/>
                <a:gd name="connsiteX326" fmla="*/ 1528331 w 4829175"/>
                <a:gd name="connsiteY326" fmla="*/ 5130952 h 6515100"/>
                <a:gd name="connsiteX327" fmla="*/ 1798743 w 4829175"/>
                <a:gd name="connsiteY327" fmla="*/ 4859841 h 6515100"/>
                <a:gd name="connsiteX328" fmla="*/ 1527632 w 4829175"/>
                <a:gd name="connsiteY328" fmla="*/ 4589429 h 6515100"/>
                <a:gd name="connsiteX329" fmla="*/ 2626749 w 4829175"/>
                <a:gd name="connsiteY329" fmla="*/ 4588031 h 6515100"/>
                <a:gd name="connsiteX330" fmla="*/ 2363324 w 4829175"/>
                <a:gd name="connsiteY330" fmla="*/ 4588730 h 6515100"/>
                <a:gd name="connsiteX331" fmla="*/ 2632339 w 4829175"/>
                <a:gd name="connsiteY331" fmla="*/ 4857047 h 6515100"/>
                <a:gd name="connsiteX332" fmla="*/ 2631641 w 4829175"/>
                <a:gd name="connsiteY332" fmla="*/ 4857746 h 6515100"/>
                <a:gd name="connsiteX333" fmla="*/ 2633038 w 4829175"/>
                <a:gd name="connsiteY333" fmla="*/ 4859142 h 6515100"/>
                <a:gd name="connsiteX334" fmla="*/ 2362625 w 4829175"/>
                <a:gd name="connsiteY334" fmla="*/ 5130253 h 6515100"/>
                <a:gd name="connsiteX335" fmla="*/ 2626749 w 4829175"/>
                <a:gd name="connsiteY335" fmla="*/ 5130253 h 6515100"/>
                <a:gd name="connsiteX336" fmla="*/ 2716886 w 4829175"/>
                <a:gd name="connsiteY336" fmla="*/ 5040116 h 6515100"/>
                <a:gd name="connsiteX337" fmla="*/ 2896463 w 4829175"/>
                <a:gd name="connsiteY337" fmla="*/ 4857047 h 6515100"/>
                <a:gd name="connsiteX338" fmla="*/ 4006759 w 4829175"/>
                <a:gd name="connsiteY338" fmla="*/ 4587334 h 6515100"/>
                <a:gd name="connsiteX339" fmla="*/ 4136725 w 4829175"/>
                <a:gd name="connsiteY339" fmla="*/ 4716600 h 6515100"/>
                <a:gd name="connsiteX340" fmla="*/ 4277171 w 4829175"/>
                <a:gd name="connsiteY340" fmla="*/ 4857047 h 6515100"/>
                <a:gd name="connsiteX341" fmla="*/ 4184238 w 4829175"/>
                <a:gd name="connsiteY341" fmla="*/ 4950678 h 6515100"/>
                <a:gd name="connsiteX342" fmla="*/ 4184937 w 4829175"/>
                <a:gd name="connsiteY342" fmla="*/ 4951376 h 6515100"/>
                <a:gd name="connsiteX343" fmla="*/ 4008156 w 4829175"/>
                <a:gd name="connsiteY343" fmla="*/ 5128855 h 6515100"/>
                <a:gd name="connsiteX344" fmla="*/ 4270882 w 4829175"/>
                <a:gd name="connsiteY344" fmla="*/ 5128855 h 6515100"/>
                <a:gd name="connsiteX345" fmla="*/ 4541294 w 4829175"/>
                <a:gd name="connsiteY345" fmla="*/ 4857746 h 6515100"/>
                <a:gd name="connsiteX346" fmla="*/ 4270183 w 4829175"/>
                <a:gd name="connsiteY346" fmla="*/ 4587334 h 6515100"/>
                <a:gd name="connsiteX347" fmla="*/ 3458248 w 4829175"/>
                <a:gd name="connsiteY347" fmla="*/ 4587334 h 6515100"/>
                <a:gd name="connsiteX348" fmla="*/ 3729359 w 4829175"/>
                <a:gd name="connsiteY348" fmla="*/ 4857746 h 6515100"/>
                <a:gd name="connsiteX349" fmla="*/ 3730058 w 4829175"/>
                <a:gd name="connsiteY349" fmla="*/ 4858443 h 6515100"/>
                <a:gd name="connsiteX350" fmla="*/ 3459646 w 4829175"/>
                <a:gd name="connsiteY350" fmla="*/ 5129554 h 6515100"/>
                <a:gd name="connsiteX351" fmla="*/ 3723769 w 4829175"/>
                <a:gd name="connsiteY351" fmla="*/ 5129554 h 6515100"/>
                <a:gd name="connsiteX352" fmla="*/ 3813208 w 4829175"/>
                <a:gd name="connsiteY352" fmla="*/ 5039418 h 6515100"/>
                <a:gd name="connsiteX353" fmla="*/ 3812509 w 4829175"/>
                <a:gd name="connsiteY353" fmla="*/ 5039418 h 6515100"/>
                <a:gd name="connsiteX354" fmla="*/ 3993483 w 4829175"/>
                <a:gd name="connsiteY354" fmla="*/ 4858443 h 6515100"/>
                <a:gd name="connsiteX355" fmla="*/ 3988591 w 4829175"/>
                <a:gd name="connsiteY355" fmla="*/ 4852854 h 6515100"/>
                <a:gd name="connsiteX356" fmla="*/ 3722372 w 4829175"/>
                <a:gd name="connsiteY356" fmla="*/ 4587334 h 6515100"/>
                <a:gd name="connsiteX357" fmla="*/ 708011 w 4829175"/>
                <a:gd name="connsiteY357" fmla="*/ 4316223 h 6515100"/>
                <a:gd name="connsiteX358" fmla="*/ 437599 w 4829175"/>
                <a:gd name="connsiteY358" fmla="*/ 4587334 h 6515100"/>
                <a:gd name="connsiteX359" fmla="*/ 709409 w 4829175"/>
                <a:gd name="connsiteY359" fmla="*/ 4857746 h 6515100"/>
                <a:gd name="connsiteX360" fmla="*/ 972833 w 4829175"/>
                <a:gd name="connsiteY360" fmla="*/ 4857746 h 6515100"/>
                <a:gd name="connsiteX361" fmla="*/ 842169 w 4829175"/>
                <a:gd name="connsiteY361" fmla="*/ 4727779 h 6515100"/>
                <a:gd name="connsiteX362" fmla="*/ 701722 w 4829175"/>
                <a:gd name="connsiteY362" fmla="*/ 4587334 h 6515100"/>
                <a:gd name="connsiteX363" fmla="*/ 972135 w 4829175"/>
                <a:gd name="connsiteY363" fmla="*/ 4316223 h 6515100"/>
                <a:gd name="connsiteX364" fmla="*/ 2354241 w 4829175"/>
                <a:gd name="connsiteY364" fmla="*/ 4315524 h 6515100"/>
                <a:gd name="connsiteX365" fmla="*/ 2083829 w 4829175"/>
                <a:gd name="connsiteY365" fmla="*/ 4586635 h 6515100"/>
                <a:gd name="connsiteX366" fmla="*/ 2353542 w 4829175"/>
                <a:gd name="connsiteY366" fmla="*/ 4855649 h 6515100"/>
                <a:gd name="connsiteX367" fmla="*/ 2616967 w 4829175"/>
                <a:gd name="connsiteY367" fmla="*/ 4855649 h 6515100"/>
                <a:gd name="connsiteX368" fmla="*/ 2347952 w 4829175"/>
                <a:gd name="connsiteY368" fmla="*/ 4586635 h 6515100"/>
                <a:gd name="connsiteX369" fmla="*/ 2348651 w 4829175"/>
                <a:gd name="connsiteY369" fmla="*/ 4585936 h 6515100"/>
                <a:gd name="connsiteX370" fmla="*/ 2347254 w 4829175"/>
                <a:gd name="connsiteY370" fmla="*/ 4584538 h 6515100"/>
                <a:gd name="connsiteX371" fmla="*/ 2615569 w 4829175"/>
                <a:gd name="connsiteY371" fmla="*/ 4315524 h 6515100"/>
                <a:gd name="connsiteX372" fmla="*/ 1256521 w 4829175"/>
                <a:gd name="connsiteY372" fmla="*/ 4315524 h 6515100"/>
                <a:gd name="connsiteX373" fmla="*/ 986109 w 4829175"/>
                <a:gd name="connsiteY373" fmla="*/ 4586635 h 6515100"/>
                <a:gd name="connsiteX374" fmla="*/ 1257220 w 4829175"/>
                <a:gd name="connsiteY374" fmla="*/ 4857047 h 6515100"/>
                <a:gd name="connsiteX375" fmla="*/ 1521344 w 4829175"/>
                <a:gd name="connsiteY375" fmla="*/ 4857047 h 6515100"/>
                <a:gd name="connsiteX376" fmla="*/ 1250233 w 4829175"/>
                <a:gd name="connsiteY376" fmla="*/ 4586635 h 6515100"/>
                <a:gd name="connsiteX377" fmla="*/ 1520645 w 4829175"/>
                <a:gd name="connsiteY377" fmla="*/ 4315524 h 6515100"/>
                <a:gd name="connsiteX378" fmla="*/ 1392775 w 4829175"/>
                <a:gd name="connsiteY378" fmla="*/ 4315524 h 6515100"/>
                <a:gd name="connsiteX379" fmla="*/ 1805731 w 4829175"/>
                <a:gd name="connsiteY379" fmla="*/ 4314825 h 6515100"/>
                <a:gd name="connsiteX380" fmla="*/ 1625456 w 4829175"/>
                <a:gd name="connsiteY380" fmla="*/ 4495798 h 6515100"/>
                <a:gd name="connsiteX381" fmla="*/ 1624758 w 4829175"/>
                <a:gd name="connsiteY381" fmla="*/ 4495798 h 6515100"/>
                <a:gd name="connsiteX382" fmla="*/ 1534620 w 4829175"/>
                <a:gd name="connsiteY382" fmla="*/ 4585936 h 6515100"/>
                <a:gd name="connsiteX383" fmla="*/ 1805032 w 4829175"/>
                <a:gd name="connsiteY383" fmla="*/ 4857047 h 6515100"/>
                <a:gd name="connsiteX384" fmla="*/ 2069155 w 4829175"/>
                <a:gd name="connsiteY384" fmla="*/ 4857047 h 6515100"/>
                <a:gd name="connsiteX385" fmla="*/ 1798044 w 4829175"/>
                <a:gd name="connsiteY385" fmla="*/ 4586635 h 6515100"/>
                <a:gd name="connsiteX386" fmla="*/ 1982512 w 4829175"/>
                <a:gd name="connsiteY386" fmla="*/ 4402167 h 6515100"/>
                <a:gd name="connsiteX387" fmla="*/ 1983211 w 4829175"/>
                <a:gd name="connsiteY387" fmla="*/ 4402167 h 6515100"/>
                <a:gd name="connsiteX388" fmla="*/ 2069155 w 4829175"/>
                <a:gd name="connsiteY388" fmla="*/ 4315524 h 6515100"/>
                <a:gd name="connsiteX389" fmla="*/ 1810622 w 4829175"/>
                <a:gd name="connsiteY389" fmla="*/ 4315524 h 6515100"/>
                <a:gd name="connsiteX390" fmla="*/ 3450563 w 4829175"/>
                <a:gd name="connsiteY390" fmla="*/ 4313427 h 6515100"/>
                <a:gd name="connsiteX391" fmla="*/ 3269589 w 4829175"/>
                <a:gd name="connsiteY391" fmla="*/ 4495099 h 6515100"/>
                <a:gd name="connsiteX392" fmla="*/ 3270986 w 4829175"/>
                <a:gd name="connsiteY392" fmla="*/ 4495798 h 6515100"/>
                <a:gd name="connsiteX393" fmla="*/ 3181548 w 4829175"/>
                <a:gd name="connsiteY393" fmla="*/ 4585237 h 6515100"/>
                <a:gd name="connsiteX394" fmla="*/ 3451960 w 4829175"/>
                <a:gd name="connsiteY394" fmla="*/ 4854950 h 6515100"/>
                <a:gd name="connsiteX395" fmla="*/ 3715384 w 4829175"/>
                <a:gd name="connsiteY395" fmla="*/ 4854950 h 6515100"/>
                <a:gd name="connsiteX396" fmla="*/ 3444972 w 4829175"/>
                <a:gd name="connsiteY396" fmla="*/ 4585237 h 6515100"/>
                <a:gd name="connsiteX397" fmla="*/ 3444274 w 4829175"/>
                <a:gd name="connsiteY397" fmla="*/ 4584538 h 6515100"/>
                <a:gd name="connsiteX398" fmla="*/ 3714686 w 4829175"/>
                <a:gd name="connsiteY398" fmla="*/ 4313427 h 6515100"/>
                <a:gd name="connsiteX399" fmla="*/ 2904847 w 4829175"/>
                <a:gd name="connsiteY399" fmla="*/ 4313427 h 6515100"/>
                <a:gd name="connsiteX400" fmla="*/ 2908341 w 4829175"/>
                <a:gd name="connsiteY400" fmla="*/ 4314825 h 6515100"/>
                <a:gd name="connsiteX401" fmla="*/ 2902751 w 4829175"/>
                <a:gd name="connsiteY401" fmla="*/ 4314825 h 6515100"/>
                <a:gd name="connsiteX402" fmla="*/ 2633736 w 4829175"/>
                <a:gd name="connsiteY402" fmla="*/ 4585237 h 6515100"/>
                <a:gd name="connsiteX403" fmla="*/ 2903449 w 4829175"/>
                <a:gd name="connsiteY403" fmla="*/ 4854251 h 6515100"/>
                <a:gd name="connsiteX404" fmla="*/ 3168271 w 4829175"/>
                <a:gd name="connsiteY404" fmla="*/ 4855649 h 6515100"/>
                <a:gd name="connsiteX405" fmla="*/ 2897162 w 4829175"/>
                <a:gd name="connsiteY405" fmla="*/ 4585237 h 6515100"/>
                <a:gd name="connsiteX406" fmla="*/ 2895764 w 4829175"/>
                <a:gd name="connsiteY406" fmla="*/ 4583839 h 6515100"/>
                <a:gd name="connsiteX407" fmla="*/ 3164778 w 4829175"/>
                <a:gd name="connsiteY407" fmla="*/ 4314126 h 6515100"/>
                <a:gd name="connsiteX408" fmla="*/ 2967035 w 4829175"/>
                <a:gd name="connsiteY408" fmla="*/ 4314126 h 6515100"/>
                <a:gd name="connsiteX409" fmla="*/ 2967733 w 4829175"/>
                <a:gd name="connsiteY409" fmla="*/ 4313427 h 6515100"/>
                <a:gd name="connsiteX410" fmla="*/ 3999073 w 4829175"/>
                <a:gd name="connsiteY410" fmla="*/ 4312728 h 6515100"/>
                <a:gd name="connsiteX411" fmla="*/ 3728660 w 4829175"/>
                <a:gd name="connsiteY411" fmla="*/ 4583839 h 6515100"/>
                <a:gd name="connsiteX412" fmla="*/ 3999771 w 4829175"/>
                <a:gd name="connsiteY412" fmla="*/ 4854251 h 6515100"/>
                <a:gd name="connsiteX413" fmla="*/ 4263197 w 4829175"/>
                <a:gd name="connsiteY413" fmla="*/ 4854251 h 6515100"/>
                <a:gd name="connsiteX414" fmla="*/ 4133230 w 4829175"/>
                <a:gd name="connsiteY414" fmla="*/ 4724286 h 6515100"/>
                <a:gd name="connsiteX415" fmla="*/ 3992783 w 4829175"/>
                <a:gd name="connsiteY415" fmla="*/ 4583839 h 6515100"/>
                <a:gd name="connsiteX416" fmla="*/ 4263197 w 4829175"/>
                <a:gd name="connsiteY416" fmla="*/ 4312728 h 6515100"/>
                <a:gd name="connsiteX417" fmla="*/ 4547584 w 4829175"/>
                <a:gd name="connsiteY417" fmla="*/ 4312030 h 6515100"/>
                <a:gd name="connsiteX418" fmla="*/ 4277171 w 4829175"/>
                <a:gd name="connsiteY418" fmla="*/ 4583140 h 6515100"/>
                <a:gd name="connsiteX419" fmla="*/ 4548281 w 4829175"/>
                <a:gd name="connsiteY419" fmla="*/ 4853552 h 6515100"/>
                <a:gd name="connsiteX420" fmla="*/ 4812405 w 4829175"/>
                <a:gd name="connsiteY420" fmla="*/ 4853552 h 6515100"/>
                <a:gd name="connsiteX421" fmla="*/ 4541294 w 4829175"/>
                <a:gd name="connsiteY421" fmla="*/ 4583140 h 6515100"/>
                <a:gd name="connsiteX422" fmla="*/ 4811706 w 4829175"/>
                <a:gd name="connsiteY422" fmla="*/ 4312030 h 6515100"/>
                <a:gd name="connsiteX423" fmla="*/ 717155 w 4829175"/>
                <a:gd name="connsiteY423" fmla="*/ 4044465 h 6515100"/>
                <a:gd name="connsiteX424" fmla="*/ 986808 w 4829175"/>
                <a:gd name="connsiteY424" fmla="*/ 4312728 h 6515100"/>
                <a:gd name="connsiteX425" fmla="*/ 716396 w 4829175"/>
                <a:gd name="connsiteY425" fmla="*/ 4583839 h 6515100"/>
                <a:gd name="connsiteX426" fmla="*/ 979821 w 4829175"/>
                <a:gd name="connsiteY426" fmla="*/ 4583839 h 6515100"/>
                <a:gd name="connsiteX427" fmla="*/ 1250233 w 4829175"/>
                <a:gd name="connsiteY427" fmla="*/ 4312728 h 6515100"/>
                <a:gd name="connsiteX428" fmla="*/ 1116075 w 4829175"/>
                <a:gd name="connsiteY428" fmla="*/ 4179269 h 6515100"/>
                <a:gd name="connsiteX429" fmla="*/ 1019702 w 4829175"/>
                <a:gd name="connsiteY429" fmla="*/ 4082896 h 6515100"/>
                <a:gd name="connsiteX430" fmla="*/ 1018761 w 4829175"/>
                <a:gd name="connsiteY430" fmla="*/ 4082896 h 6515100"/>
                <a:gd name="connsiteX431" fmla="*/ 980330 w 4829175"/>
                <a:gd name="connsiteY431" fmla="*/ 4044465 h 6515100"/>
                <a:gd name="connsiteX432" fmla="*/ 168395 w 4829175"/>
                <a:gd name="connsiteY432" fmla="*/ 4044465 h 6515100"/>
                <a:gd name="connsiteX433" fmla="*/ 206127 w 4829175"/>
                <a:gd name="connsiteY433" fmla="*/ 4082197 h 6515100"/>
                <a:gd name="connsiteX434" fmla="*/ 205772 w 4829175"/>
                <a:gd name="connsiteY434" fmla="*/ 4082197 h 6515100"/>
                <a:gd name="connsiteX435" fmla="*/ 437599 w 4829175"/>
                <a:gd name="connsiteY435" fmla="*/ 4313427 h 6515100"/>
                <a:gd name="connsiteX436" fmla="*/ 167187 w 4829175"/>
                <a:gd name="connsiteY436" fmla="*/ 4583839 h 6515100"/>
                <a:gd name="connsiteX437" fmla="*/ 431311 w 4829175"/>
                <a:gd name="connsiteY437" fmla="*/ 4583839 h 6515100"/>
                <a:gd name="connsiteX438" fmla="*/ 701722 w 4829175"/>
                <a:gd name="connsiteY438" fmla="*/ 4312728 h 6515100"/>
                <a:gd name="connsiteX439" fmla="*/ 470596 w 4829175"/>
                <a:gd name="connsiteY439" fmla="*/ 4082197 h 6515100"/>
                <a:gd name="connsiteX440" fmla="*/ 470250 w 4829175"/>
                <a:gd name="connsiteY440" fmla="*/ 4082197 h 6515100"/>
                <a:gd name="connsiteX441" fmla="*/ 432518 w 4829175"/>
                <a:gd name="connsiteY441" fmla="*/ 4044465 h 6515100"/>
                <a:gd name="connsiteX442" fmla="*/ 1816265 w 4829175"/>
                <a:gd name="connsiteY442" fmla="*/ 4043766 h 6515100"/>
                <a:gd name="connsiteX443" fmla="*/ 1942683 w 4829175"/>
                <a:gd name="connsiteY443" fmla="*/ 4170186 h 6515100"/>
                <a:gd name="connsiteX444" fmla="*/ 2083829 w 4829175"/>
                <a:gd name="connsiteY444" fmla="*/ 4310632 h 6515100"/>
                <a:gd name="connsiteX445" fmla="*/ 1813417 w 4829175"/>
                <a:gd name="connsiteY445" fmla="*/ 4581743 h 6515100"/>
                <a:gd name="connsiteX446" fmla="*/ 2076842 w 4829175"/>
                <a:gd name="connsiteY446" fmla="*/ 4581743 h 6515100"/>
                <a:gd name="connsiteX447" fmla="*/ 2347254 w 4829175"/>
                <a:gd name="connsiteY447" fmla="*/ 4311331 h 6515100"/>
                <a:gd name="connsiteX448" fmla="*/ 2214493 w 4829175"/>
                <a:gd name="connsiteY448" fmla="*/ 4178570 h 6515100"/>
                <a:gd name="connsiteX449" fmla="*/ 2214493 w 4829175"/>
                <a:gd name="connsiteY449" fmla="*/ 4177872 h 6515100"/>
                <a:gd name="connsiteX450" fmla="*/ 2119736 w 4829175"/>
                <a:gd name="connsiteY450" fmla="*/ 4083594 h 6515100"/>
                <a:gd name="connsiteX451" fmla="*/ 2116480 w 4829175"/>
                <a:gd name="connsiteY451" fmla="*/ 4083594 h 6515100"/>
                <a:gd name="connsiteX452" fmla="*/ 2076652 w 4829175"/>
                <a:gd name="connsiteY452" fmla="*/ 4043766 h 6515100"/>
                <a:gd name="connsiteX453" fmla="*/ 1266369 w 4829175"/>
                <a:gd name="connsiteY453" fmla="*/ 4043766 h 6515100"/>
                <a:gd name="connsiteX454" fmla="*/ 1534620 w 4829175"/>
                <a:gd name="connsiteY454" fmla="*/ 4310632 h 6515100"/>
                <a:gd name="connsiteX455" fmla="*/ 1531824 w 4829175"/>
                <a:gd name="connsiteY455" fmla="*/ 4313427 h 6515100"/>
                <a:gd name="connsiteX456" fmla="*/ 1441688 w 4829175"/>
                <a:gd name="connsiteY456" fmla="*/ 4404264 h 6515100"/>
                <a:gd name="connsiteX457" fmla="*/ 1440989 w 4829175"/>
                <a:gd name="connsiteY457" fmla="*/ 4404264 h 6515100"/>
                <a:gd name="connsiteX458" fmla="*/ 1263509 w 4829175"/>
                <a:gd name="connsiteY458" fmla="*/ 4582442 h 6515100"/>
                <a:gd name="connsiteX459" fmla="*/ 1527632 w 4829175"/>
                <a:gd name="connsiteY459" fmla="*/ 4582442 h 6515100"/>
                <a:gd name="connsiteX460" fmla="*/ 1798044 w 4829175"/>
                <a:gd name="connsiteY460" fmla="*/ 4312030 h 6515100"/>
                <a:gd name="connsiteX461" fmla="*/ 1793153 w 4829175"/>
                <a:gd name="connsiteY461" fmla="*/ 4307139 h 6515100"/>
                <a:gd name="connsiteX462" fmla="*/ 1795249 w 4829175"/>
                <a:gd name="connsiteY462" fmla="*/ 4307838 h 6515100"/>
                <a:gd name="connsiteX463" fmla="*/ 1569718 w 4829175"/>
                <a:gd name="connsiteY463" fmla="*/ 4082896 h 6515100"/>
                <a:gd name="connsiteX464" fmla="*/ 1567271 w 4829175"/>
                <a:gd name="connsiteY464" fmla="*/ 4082896 h 6515100"/>
                <a:gd name="connsiteX465" fmla="*/ 1528141 w 4829175"/>
                <a:gd name="connsiteY465" fmla="*/ 4043766 h 6515100"/>
                <a:gd name="connsiteX466" fmla="*/ 2363377 w 4829175"/>
                <a:gd name="connsiteY466" fmla="*/ 4043068 h 6515100"/>
                <a:gd name="connsiteX467" fmla="*/ 2630942 w 4829175"/>
                <a:gd name="connsiteY467" fmla="*/ 4310632 h 6515100"/>
                <a:gd name="connsiteX468" fmla="*/ 2632339 w 4829175"/>
                <a:gd name="connsiteY468" fmla="*/ 4312030 h 6515100"/>
                <a:gd name="connsiteX469" fmla="*/ 2363324 w 4829175"/>
                <a:gd name="connsiteY469" fmla="*/ 4581743 h 6515100"/>
                <a:gd name="connsiteX470" fmla="*/ 2625352 w 4829175"/>
                <a:gd name="connsiteY470" fmla="*/ 4581743 h 6515100"/>
                <a:gd name="connsiteX471" fmla="*/ 2895065 w 4829175"/>
                <a:gd name="connsiteY471" fmla="*/ 4311331 h 6515100"/>
                <a:gd name="connsiteX472" fmla="*/ 2890873 w 4829175"/>
                <a:gd name="connsiteY472" fmla="*/ 4307139 h 6515100"/>
                <a:gd name="connsiteX473" fmla="*/ 2892968 w 4829175"/>
                <a:gd name="connsiteY473" fmla="*/ 4307838 h 6515100"/>
                <a:gd name="connsiteX474" fmla="*/ 2668140 w 4829175"/>
                <a:gd name="connsiteY474" fmla="*/ 4083594 h 6515100"/>
                <a:gd name="connsiteX475" fmla="*/ 2666387 w 4829175"/>
                <a:gd name="connsiteY475" fmla="*/ 4083594 h 6515100"/>
                <a:gd name="connsiteX476" fmla="*/ 2625861 w 4829175"/>
                <a:gd name="connsiteY476" fmla="*/ 4043068 h 6515100"/>
                <a:gd name="connsiteX477" fmla="*/ 2911879 w 4829175"/>
                <a:gd name="connsiteY477" fmla="*/ 4041670 h 6515100"/>
                <a:gd name="connsiteX478" fmla="*/ 3179452 w 4829175"/>
                <a:gd name="connsiteY478" fmla="*/ 4309934 h 6515100"/>
                <a:gd name="connsiteX479" fmla="*/ 3087218 w 4829175"/>
                <a:gd name="connsiteY479" fmla="*/ 4402866 h 6515100"/>
                <a:gd name="connsiteX480" fmla="*/ 3087917 w 4829175"/>
                <a:gd name="connsiteY480" fmla="*/ 4403565 h 6515100"/>
                <a:gd name="connsiteX481" fmla="*/ 2911834 w 4829175"/>
                <a:gd name="connsiteY481" fmla="*/ 4579647 h 6515100"/>
                <a:gd name="connsiteX482" fmla="*/ 3108180 w 4829175"/>
                <a:gd name="connsiteY482" fmla="*/ 4579647 h 6515100"/>
                <a:gd name="connsiteX483" fmla="*/ 3107481 w 4829175"/>
                <a:gd name="connsiteY483" fmla="*/ 4581045 h 6515100"/>
                <a:gd name="connsiteX484" fmla="*/ 3173163 w 4829175"/>
                <a:gd name="connsiteY484" fmla="*/ 4581045 h 6515100"/>
                <a:gd name="connsiteX485" fmla="*/ 3443575 w 4829175"/>
                <a:gd name="connsiteY485" fmla="*/ 4309934 h 6515100"/>
                <a:gd name="connsiteX486" fmla="*/ 3215951 w 4829175"/>
                <a:gd name="connsiteY486" fmla="*/ 4082896 h 6515100"/>
                <a:gd name="connsiteX487" fmla="*/ 3215596 w 4829175"/>
                <a:gd name="connsiteY487" fmla="*/ 4082896 h 6515100"/>
                <a:gd name="connsiteX488" fmla="*/ 3174371 w 4829175"/>
                <a:gd name="connsiteY488" fmla="*/ 4041670 h 6515100"/>
                <a:gd name="connsiteX489" fmla="*/ 3459004 w 4829175"/>
                <a:gd name="connsiteY489" fmla="*/ 4040971 h 6515100"/>
                <a:gd name="connsiteX490" fmla="*/ 3728660 w 4829175"/>
                <a:gd name="connsiteY490" fmla="*/ 4309934 h 6515100"/>
                <a:gd name="connsiteX491" fmla="*/ 3458248 w 4829175"/>
                <a:gd name="connsiteY491" fmla="*/ 4580346 h 6515100"/>
                <a:gd name="connsiteX492" fmla="*/ 3722372 w 4829175"/>
                <a:gd name="connsiteY492" fmla="*/ 4580346 h 6515100"/>
                <a:gd name="connsiteX493" fmla="*/ 3992783 w 4829175"/>
                <a:gd name="connsiteY493" fmla="*/ 4309934 h 6515100"/>
                <a:gd name="connsiteX494" fmla="*/ 3765160 w 4829175"/>
                <a:gd name="connsiteY494" fmla="*/ 4082896 h 6515100"/>
                <a:gd name="connsiteX495" fmla="*/ 3764107 w 4829175"/>
                <a:gd name="connsiteY495" fmla="*/ 4082896 h 6515100"/>
                <a:gd name="connsiteX496" fmla="*/ 3722183 w 4829175"/>
                <a:gd name="connsiteY496" fmla="*/ 4040971 h 6515100"/>
                <a:gd name="connsiteX497" fmla="*/ 4007520 w 4829175"/>
                <a:gd name="connsiteY497" fmla="*/ 4040272 h 6515100"/>
                <a:gd name="connsiteX498" fmla="*/ 4277869 w 4829175"/>
                <a:gd name="connsiteY498" fmla="*/ 4308536 h 6515100"/>
                <a:gd name="connsiteX499" fmla="*/ 4007457 w 4829175"/>
                <a:gd name="connsiteY499" fmla="*/ 4579647 h 6515100"/>
                <a:gd name="connsiteX500" fmla="*/ 4270882 w 4829175"/>
                <a:gd name="connsiteY500" fmla="*/ 4579647 h 6515100"/>
                <a:gd name="connsiteX501" fmla="*/ 4541294 w 4829175"/>
                <a:gd name="connsiteY501" fmla="*/ 4308536 h 6515100"/>
                <a:gd name="connsiteX502" fmla="*/ 4407136 w 4829175"/>
                <a:gd name="connsiteY502" fmla="*/ 4175077 h 6515100"/>
                <a:gd name="connsiteX503" fmla="*/ 4314482 w 4829175"/>
                <a:gd name="connsiteY503" fmla="*/ 4082896 h 6515100"/>
                <a:gd name="connsiteX504" fmla="*/ 4313316 w 4829175"/>
                <a:gd name="connsiteY504" fmla="*/ 4082896 h 6515100"/>
                <a:gd name="connsiteX505" fmla="*/ 4270692 w 4829175"/>
                <a:gd name="connsiteY505" fmla="*/ 4040272 h 6515100"/>
                <a:gd name="connsiteX506" fmla="*/ 2354051 w 4829175"/>
                <a:gd name="connsiteY506" fmla="*/ 3769161 h 6515100"/>
                <a:gd name="connsiteX507" fmla="*/ 2084461 w 4829175"/>
                <a:gd name="connsiteY507" fmla="*/ 4039450 h 6515100"/>
                <a:gd name="connsiteX508" fmla="*/ 2353542 w 4829175"/>
                <a:gd name="connsiteY508" fmla="*/ 4307838 h 6515100"/>
                <a:gd name="connsiteX509" fmla="*/ 2616967 w 4829175"/>
                <a:gd name="connsiteY509" fmla="*/ 4307838 h 6515100"/>
                <a:gd name="connsiteX510" fmla="*/ 2392140 w 4829175"/>
                <a:gd name="connsiteY510" fmla="*/ 4083594 h 6515100"/>
                <a:gd name="connsiteX511" fmla="*/ 2391783 w 4829175"/>
                <a:gd name="connsiteY511" fmla="*/ 4083594 h 6515100"/>
                <a:gd name="connsiteX512" fmla="*/ 2347762 w 4829175"/>
                <a:gd name="connsiteY512" fmla="*/ 4039573 h 6515100"/>
                <a:gd name="connsiteX513" fmla="*/ 2347884 w 4829175"/>
                <a:gd name="connsiteY513" fmla="*/ 4039452 h 6515100"/>
                <a:gd name="connsiteX514" fmla="*/ 2347254 w 4829175"/>
                <a:gd name="connsiteY514" fmla="*/ 4038823 h 6515100"/>
                <a:gd name="connsiteX515" fmla="*/ 2347952 w 4829175"/>
                <a:gd name="connsiteY515" fmla="*/ 4038124 h 6515100"/>
                <a:gd name="connsiteX516" fmla="*/ 2346555 w 4829175"/>
                <a:gd name="connsiteY516" fmla="*/ 4036727 h 6515100"/>
                <a:gd name="connsiteX517" fmla="*/ 2521938 w 4829175"/>
                <a:gd name="connsiteY517" fmla="*/ 3860644 h 6515100"/>
                <a:gd name="connsiteX518" fmla="*/ 2526691 w 4829175"/>
                <a:gd name="connsiteY518" fmla="*/ 3860644 h 6515100"/>
                <a:gd name="connsiteX519" fmla="*/ 2532230 w 4829175"/>
                <a:gd name="connsiteY519" fmla="*/ 3855106 h 6515100"/>
                <a:gd name="connsiteX520" fmla="*/ 2618174 w 4829175"/>
                <a:gd name="connsiteY520" fmla="*/ 3769161 h 6515100"/>
                <a:gd name="connsiteX521" fmla="*/ 1804842 w 4829175"/>
                <a:gd name="connsiteY521" fmla="*/ 3769161 h 6515100"/>
                <a:gd name="connsiteX522" fmla="*/ 1535948 w 4829175"/>
                <a:gd name="connsiteY522" fmla="*/ 4038751 h 6515100"/>
                <a:gd name="connsiteX523" fmla="*/ 1805731 w 4829175"/>
                <a:gd name="connsiteY523" fmla="*/ 4307838 h 6515100"/>
                <a:gd name="connsiteX524" fmla="*/ 2069155 w 4829175"/>
                <a:gd name="connsiteY524" fmla="*/ 4307838 h 6515100"/>
                <a:gd name="connsiteX525" fmla="*/ 1939190 w 4829175"/>
                <a:gd name="connsiteY525" fmla="*/ 4177872 h 6515100"/>
                <a:gd name="connsiteX526" fmla="*/ 1844912 w 4829175"/>
                <a:gd name="connsiteY526" fmla="*/ 4083594 h 6515100"/>
                <a:gd name="connsiteX527" fmla="*/ 1841875 w 4829175"/>
                <a:gd name="connsiteY527" fmla="*/ 4083594 h 6515100"/>
                <a:gd name="connsiteX528" fmla="*/ 1798553 w 4829175"/>
                <a:gd name="connsiteY528" fmla="*/ 4040272 h 6515100"/>
                <a:gd name="connsiteX529" fmla="*/ 1800069 w 4829175"/>
                <a:gd name="connsiteY529" fmla="*/ 4038752 h 6515100"/>
                <a:gd name="connsiteX530" fmla="*/ 1798743 w 4829175"/>
                <a:gd name="connsiteY530" fmla="*/ 4037426 h 6515100"/>
                <a:gd name="connsiteX531" fmla="*/ 1974825 w 4829175"/>
                <a:gd name="connsiteY531" fmla="*/ 3860644 h 6515100"/>
                <a:gd name="connsiteX532" fmla="*/ 1977718 w 4829175"/>
                <a:gd name="connsiteY532" fmla="*/ 3860644 h 6515100"/>
                <a:gd name="connsiteX533" fmla="*/ 2068965 w 4829175"/>
                <a:gd name="connsiteY533" fmla="*/ 3769161 h 6515100"/>
                <a:gd name="connsiteX534" fmla="*/ 1257031 w 4829175"/>
                <a:gd name="connsiteY534" fmla="*/ 3769161 h 6515100"/>
                <a:gd name="connsiteX535" fmla="*/ 987788 w 4829175"/>
                <a:gd name="connsiteY535" fmla="*/ 4039100 h 6515100"/>
                <a:gd name="connsiteX536" fmla="*/ 1257220 w 4829175"/>
                <a:gd name="connsiteY536" fmla="*/ 4307838 h 6515100"/>
                <a:gd name="connsiteX537" fmla="*/ 1519946 w 4829175"/>
                <a:gd name="connsiteY537" fmla="*/ 4307838 h 6515100"/>
                <a:gd name="connsiteX538" fmla="*/ 1294422 w 4829175"/>
                <a:gd name="connsiteY538" fmla="*/ 4082896 h 6515100"/>
                <a:gd name="connsiteX539" fmla="*/ 1293365 w 4829175"/>
                <a:gd name="connsiteY539" fmla="*/ 4082896 h 6515100"/>
                <a:gd name="connsiteX540" fmla="*/ 1250742 w 4829175"/>
                <a:gd name="connsiteY540" fmla="*/ 4040272 h 6515100"/>
                <a:gd name="connsiteX541" fmla="*/ 1251213 w 4829175"/>
                <a:gd name="connsiteY541" fmla="*/ 4039800 h 6515100"/>
                <a:gd name="connsiteX542" fmla="*/ 1249534 w 4829175"/>
                <a:gd name="connsiteY542" fmla="*/ 4038124 h 6515100"/>
                <a:gd name="connsiteX543" fmla="*/ 1250932 w 4829175"/>
                <a:gd name="connsiteY543" fmla="*/ 4036727 h 6515100"/>
                <a:gd name="connsiteX544" fmla="*/ 1426315 w 4829175"/>
                <a:gd name="connsiteY544" fmla="*/ 3860644 h 6515100"/>
                <a:gd name="connsiteX545" fmla="*/ 1429907 w 4829175"/>
                <a:gd name="connsiteY545" fmla="*/ 3860644 h 6515100"/>
                <a:gd name="connsiteX546" fmla="*/ 1521154 w 4829175"/>
                <a:gd name="connsiteY546" fmla="*/ 3769161 h 6515100"/>
                <a:gd name="connsiteX547" fmla="*/ 709219 w 4829175"/>
                <a:gd name="connsiteY547" fmla="*/ 3769161 h 6515100"/>
                <a:gd name="connsiteX548" fmla="*/ 438807 w 4829175"/>
                <a:gd name="connsiteY548" fmla="*/ 4040272 h 6515100"/>
                <a:gd name="connsiteX549" fmla="*/ 480732 w 4829175"/>
                <a:gd name="connsiteY549" fmla="*/ 4082197 h 6515100"/>
                <a:gd name="connsiteX550" fmla="*/ 480499 w 4829175"/>
                <a:gd name="connsiteY550" fmla="*/ 4082197 h 6515100"/>
                <a:gd name="connsiteX551" fmla="*/ 708011 w 4829175"/>
                <a:gd name="connsiteY551" fmla="*/ 4308536 h 6515100"/>
                <a:gd name="connsiteX552" fmla="*/ 972135 w 4829175"/>
                <a:gd name="connsiteY552" fmla="*/ 4308536 h 6515100"/>
                <a:gd name="connsiteX553" fmla="*/ 745211 w 4829175"/>
                <a:gd name="connsiteY553" fmla="*/ 4082197 h 6515100"/>
                <a:gd name="connsiteX554" fmla="*/ 744855 w 4829175"/>
                <a:gd name="connsiteY554" fmla="*/ 4082197 h 6515100"/>
                <a:gd name="connsiteX555" fmla="*/ 702930 w 4829175"/>
                <a:gd name="connsiteY555" fmla="*/ 4040272 h 6515100"/>
                <a:gd name="connsiteX556" fmla="*/ 703053 w 4829175"/>
                <a:gd name="connsiteY556" fmla="*/ 4040149 h 6515100"/>
                <a:gd name="connsiteX557" fmla="*/ 701024 w 4829175"/>
                <a:gd name="connsiteY557" fmla="*/ 4038124 h 6515100"/>
                <a:gd name="connsiteX558" fmla="*/ 878504 w 4829175"/>
                <a:gd name="connsiteY558" fmla="*/ 3860644 h 6515100"/>
                <a:gd name="connsiteX559" fmla="*/ 882095 w 4829175"/>
                <a:gd name="connsiteY559" fmla="*/ 3860644 h 6515100"/>
                <a:gd name="connsiteX560" fmla="*/ 973342 w 4829175"/>
                <a:gd name="connsiteY560" fmla="*/ 3769161 h 6515100"/>
                <a:gd name="connsiteX561" fmla="*/ 3451072 w 4829175"/>
                <a:gd name="connsiteY561" fmla="*/ 3767066 h 6515100"/>
                <a:gd name="connsiteX562" fmla="*/ 3181135 w 4829175"/>
                <a:gd name="connsiteY562" fmla="*/ 4037702 h 6515100"/>
                <a:gd name="connsiteX563" fmla="*/ 3312910 w 4829175"/>
                <a:gd name="connsiteY563" fmla="*/ 4168788 h 6515100"/>
                <a:gd name="connsiteX564" fmla="*/ 3312910 w 4829175"/>
                <a:gd name="connsiteY564" fmla="*/ 4169487 h 6515100"/>
                <a:gd name="connsiteX565" fmla="*/ 3450563 w 4829175"/>
                <a:gd name="connsiteY565" fmla="*/ 4306440 h 6515100"/>
                <a:gd name="connsiteX566" fmla="*/ 3714686 w 4829175"/>
                <a:gd name="connsiteY566" fmla="*/ 4306440 h 6515100"/>
                <a:gd name="connsiteX567" fmla="*/ 3490444 w 4829175"/>
                <a:gd name="connsiteY567" fmla="*/ 4082197 h 6515100"/>
                <a:gd name="connsiteX568" fmla="*/ 3489503 w 4829175"/>
                <a:gd name="connsiteY568" fmla="*/ 4082197 h 6515100"/>
                <a:gd name="connsiteX569" fmla="*/ 3444084 w 4829175"/>
                <a:gd name="connsiteY569" fmla="*/ 4036779 h 6515100"/>
                <a:gd name="connsiteX570" fmla="*/ 3444556 w 4829175"/>
                <a:gd name="connsiteY570" fmla="*/ 4036310 h 6515100"/>
                <a:gd name="connsiteX571" fmla="*/ 3444274 w 4829175"/>
                <a:gd name="connsiteY571" fmla="*/ 4036028 h 6515100"/>
                <a:gd name="connsiteX572" fmla="*/ 3618959 w 4829175"/>
                <a:gd name="connsiteY572" fmla="*/ 3860644 h 6515100"/>
                <a:gd name="connsiteX573" fmla="*/ 3621132 w 4829175"/>
                <a:gd name="connsiteY573" fmla="*/ 3860644 h 6515100"/>
                <a:gd name="connsiteX574" fmla="*/ 3715195 w 4829175"/>
                <a:gd name="connsiteY574" fmla="*/ 3767066 h 6515100"/>
                <a:gd name="connsiteX575" fmla="*/ 3999582 w 4829175"/>
                <a:gd name="connsiteY575" fmla="*/ 3766367 h 6515100"/>
                <a:gd name="connsiteX576" fmla="*/ 3729642 w 4829175"/>
                <a:gd name="connsiteY576" fmla="*/ 4037004 h 6515100"/>
                <a:gd name="connsiteX577" fmla="*/ 3999073 w 4829175"/>
                <a:gd name="connsiteY577" fmla="*/ 4305741 h 6515100"/>
                <a:gd name="connsiteX578" fmla="*/ 4263197 w 4829175"/>
                <a:gd name="connsiteY578" fmla="*/ 4305741 h 6515100"/>
                <a:gd name="connsiteX579" fmla="*/ 4039076 w 4829175"/>
                <a:gd name="connsiteY579" fmla="*/ 4082197 h 6515100"/>
                <a:gd name="connsiteX580" fmla="*/ 4038711 w 4829175"/>
                <a:gd name="connsiteY580" fmla="*/ 4082197 h 6515100"/>
                <a:gd name="connsiteX581" fmla="*/ 3992595 w 4829175"/>
                <a:gd name="connsiteY581" fmla="*/ 4036080 h 6515100"/>
                <a:gd name="connsiteX582" fmla="*/ 3992717 w 4829175"/>
                <a:gd name="connsiteY582" fmla="*/ 4035958 h 6515100"/>
                <a:gd name="connsiteX583" fmla="*/ 3992086 w 4829175"/>
                <a:gd name="connsiteY583" fmla="*/ 4035329 h 6515100"/>
                <a:gd name="connsiteX584" fmla="*/ 4166770 w 4829175"/>
                <a:gd name="connsiteY584" fmla="*/ 3860644 h 6515100"/>
                <a:gd name="connsiteX585" fmla="*/ 4168939 w 4829175"/>
                <a:gd name="connsiteY585" fmla="*/ 3860644 h 6515100"/>
                <a:gd name="connsiteX586" fmla="*/ 4263706 w 4829175"/>
                <a:gd name="connsiteY586" fmla="*/ 3766367 h 6515100"/>
                <a:gd name="connsiteX587" fmla="*/ 4547394 w 4829175"/>
                <a:gd name="connsiteY587" fmla="*/ 3765668 h 6515100"/>
                <a:gd name="connsiteX588" fmla="*/ 4277804 w 4829175"/>
                <a:gd name="connsiteY588" fmla="*/ 4035954 h 6515100"/>
                <a:gd name="connsiteX589" fmla="*/ 4410630 w 4829175"/>
                <a:gd name="connsiteY589" fmla="*/ 4168089 h 6515100"/>
                <a:gd name="connsiteX590" fmla="*/ 4547584 w 4829175"/>
                <a:gd name="connsiteY590" fmla="*/ 4305042 h 6515100"/>
                <a:gd name="connsiteX591" fmla="*/ 4811706 w 4829175"/>
                <a:gd name="connsiteY591" fmla="*/ 4305042 h 6515100"/>
                <a:gd name="connsiteX592" fmla="*/ 4588162 w 4829175"/>
                <a:gd name="connsiteY592" fmla="*/ 4081498 h 6515100"/>
                <a:gd name="connsiteX593" fmla="*/ 4587920 w 4829175"/>
                <a:gd name="connsiteY593" fmla="*/ 4081498 h 6515100"/>
                <a:gd name="connsiteX594" fmla="*/ 4541105 w 4829175"/>
                <a:gd name="connsiteY594" fmla="*/ 4035381 h 6515100"/>
                <a:gd name="connsiteX595" fmla="*/ 4541576 w 4829175"/>
                <a:gd name="connsiteY595" fmla="*/ 4034912 h 6515100"/>
                <a:gd name="connsiteX596" fmla="*/ 4541294 w 4829175"/>
                <a:gd name="connsiteY596" fmla="*/ 4034630 h 6515100"/>
                <a:gd name="connsiteX597" fmla="*/ 4542692 w 4829175"/>
                <a:gd name="connsiteY597" fmla="*/ 4033233 h 6515100"/>
                <a:gd name="connsiteX598" fmla="*/ 4714582 w 4829175"/>
                <a:gd name="connsiteY598" fmla="*/ 3860644 h 6515100"/>
                <a:gd name="connsiteX599" fmla="*/ 4716295 w 4829175"/>
                <a:gd name="connsiteY599" fmla="*/ 3860644 h 6515100"/>
                <a:gd name="connsiteX600" fmla="*/ 4811517 w 4829175"/>
                <a:gd name="connsiteY600" fmla="*/ 3765668 h 6515100"/>
                <a:gd name="connsiteX601" fmla="*/ 1264018 w 4829175"/>
                <a:gd name="connsiteY601" fmla="*/ 3493858 h 6515100"/>
                <a:gd name="connsiteX602" fmla="*/ 1535828 w 4829175"/>
                <a:gd name="connsiteY602" fmla="*/ 3763572 h 6515100"/>
                <a:gd name="connsiteX603" fmla="*/ 1266165 w 4829175"/>
                <a:gd name="connsiteY603" fmla="*/ 4033931 h 6515100"/>
                <a:gd name="connsiteX604" fmla="*/ 1527632 w 4829175"/>
                <a:gd name="connsiteY604" fmla="*/ 4033931 h 6515100"/>
                <a:gd name="connsiteX605" fmla="*/ 1700221 w 4829175"/>
                <a:gd name="connsiteY605" fmla="*/ 3860644 h 6515100"/>
                <a:gd name="connsiteX606" fmla="*/ 1702878 w 4829175"/>
                <a:gd name="connsiteY606" fmla="*/ 3860644 h 6515100"/>
                <a:gd name="connsiteX607" fmla="*/ 1799252 w 4829175"/>
                <a:gd name="connsiteY607" fmla="*/ 3764270 h 6515100"/>
                <a:gd name="connsiteX608" fmla="*/ 1665094 w 4829175"/>
                <a:gd name="connsiteY608" fmla="*/ 3630811 h 6515100"/>
                <a:gd name="connsiteX609" fmla="*/ 1528141 w 4829175"/>
                <a:gd name="connsiteY609" fmla="*/ 3493858 h 6515100"/>
                <a:gd name="connsiteX610" fmla="*/ 715508 w 4829175"/>
                <a:gd name="connsiteY610" fmla="*/ 3493858 h 6515100"/>
                <a:gd name="connsiteX611" fmla="*/ 986618 w 4829175"/>
                <a:gd name="connsiteY611" fmla="*/ 3764270 h 6515100"/>
                <a:gd name="connsiteX612" fmla="*/ 716955 w 4829175"/>
                <a:gd name="connsiteY612" fmla="*/ 4034630 h 6515100"/>
                <a:gd name="connsiteX613" fmla="*/ 979122 w 4829175"/>
                <a:gd name="connsiteY613" fmla="*/ 4034630 h 6515100"/>
                <a:gd name="connsiteX614" fmla="*/ 1067862 w 4829175"/>
                <a:gd name="connsiteY614" fmla="*/ 3945192 h 6515100"/>
                <a:gd name="connsiteX615" fmla="*/ 1152410 w 4829175"/>
                <a:gd name="connsiteY615" fmla="*/ 3860644 h 6515100"/>
                <a:gd name="connsiteX616" fmla="*/ 1154616 w 4829175"/>
                <a:gd name="connsiteY616" fmla="*/ 3860644 h 6515100"/>
                <a:gd name="connsiteX617" fmla="*/ 1250742 w 4829175"/>
                <a:gd name="connsiteY617" fmla="*/ 3764270 h 6515100"/>
                <a:gd name="connsiteX618" fmla="*/ 979631 w 4829175"/>
                <a:gd name="connsiteY618" fmla="*/ 3493858 h 6515100"/>
                <a:gd name="connsiteX619" fmla="*/ 165601 w 4829175"/>
                <a:gd name="connsiteY619" fmla="*/ 3493858 h 6515100"/>
                <a:gd name="connsiteX620" fmla="*/ 436711 w 4829175"/>
                <a:gd name="connsiteY620" fmla="*/ 3764270 h 6515100"/>
                <a:gd name="connsiteX621" fmla="*/ 438108 w 4829175"/>
                <a:gd name="connsiteY621" fmla="*/ 3764969 h 6515100"/>
                <a:gd name="connsiteX622" fmla="*/ 169094 w 4829175"/>
                <a:gd name="connsiteY622" fmla="*/ 4034682 h 6515100"/>
                <a:gd name="connsiteX623" fmla="*/ 365440 w 4829175"/>
                <a:gd name="connsiteY623" fmla="*/ 4034682 h 6515100"/>
                <a:gd name="connsiteX624" fmla="*/ 365116 w 4829175"/>
                <a:gd name="connsiteY624" fmla="*/ 4035329 h 6515100"/>
                <a:gd name="connsiteX625" fmla="*/ 430612 w 4829175"/>
                <a:gd name="connsiteY625" fmla="*/ 4035329 h 6515100"/>
                <a:gd name="connsiteX626" fmla="*/ 604598 w 4829175"/>
                <a:gd name="connsiteY626" fmla="*/ 3860644 h 6515100"/>
                <a:gd name="connsiteX627" fmla="*/ 606802 w 4829175"/>
                <a:gd name="connsiteY627" fmla="*/ 3860644 h 6515100"/>
                <a:gd name="connsiteX628" fmla="*/ 701533 w 4829175"/>
                <a:gd name="connsiteY628" fmla="*/ 3765668 h 6515100"/>
                <a:gd name="connsiteX629" fmla="*/ 430423 w 4829175"/>
                <a:gd name="connsiteY629" fmla="*/ 3495256 h 6515100"/>
                <a:gd name="connsiteX630" fmla="*/ 362644 w 4829175"/>
                <a:gd name="connsiteY630" fmla="*/ 3493858 h 6515100"/>
                <a:gd name="connsiteX631" fmla="*/ 2361039 w 4829175"/>
                <a:gd name="connsiteY631" fmla="*/ 3493160 h 6515100"/>
                <a:gd name="connsiteX632" fmla="*/ 2631451 w 4829175"/>
                <a:gd name="connsiteY632" fmla="*/ 3762174 h 6515100"/>
                <a:gd name="connsiteX633" fmla="*/ 2628655 w 4829175"/>
                <a:gd name="connsiteY633" fmla="*/ 3764969 h 6515100"/>
                <a:gd name="connsiteX634" fmla="*/ 2538519 w 4829175"/>
                <a:gd name="connsiteY634" fmla="*/ 3855806 h 6515100"/>
                <a:gd name="connsiteX635" fmla="*/ 2361789 w 4829175"/>
                <a:gd name="connsiteY635" fmla="*/ 4032535 h 6515100"/>
                <a:gd name="connsiteX636" fmla="*/ 2624653 w 4829175"/>
                <a:gd name="connsiteY636" fmla="*/ 4032535 h 6515100"/>
                <a:gd name="connsiteX637" fmla="*/ 2795844 w 4829175"/>
                <a:gd name="connsiteY637" fmla="*/ 3860644 h 6515100"/>
                <a:gd name="connsiteX638" fmla="*/ 2797802 w 4829175"/>
                <a:gd name="connsiteY638" fmla="*/ 3860644 h 6515100"/>
                <a:gd name="connsiteX639" fmla="*/ 2895574 w 4829175"/>
                <a:gd name="connsiteY639" fmla="*/ 3762873 h 6515100"/>
                <a:gd name="connsiteX640" fmla="*/ 2625162 w 4829175"/>
                <a:gd name="connsiteY640" fmla="*/ 3493160 h 6515100"/>
                <a:gd name="connsiteX641" fmla="*/ 1812528 w 4829175"/>
                <a:gd name="connsiteY641" fmla="*/ 3493160 h 6515100"/>
                <a:gd name="connsiteX642" fmla="*/ 1813926 w 4829175"/>
                <a:gd name="connsiteY642" fmla="*/ 3494557 h 6515100"/>
                <a:gd name="connsiteX643" fmla="*/ 2083639 w 4829175"/>
                <a:gd name="connsiteY643" fmla="*/ 3763572 h 6515100"/>
                <a:gd name="connsiteX644" fmla="*/ 1814673 w 4829175"/>
                <a:gd name="connsiteY644" fmla="*/ 4033233 h 6515100"/>
                <a:gd name="connsiteX645" fmla="*/ 2076143 w 4829175"/>
                <a:gd name="connsiteY645" fmla="*/ 4033233 h 6515100"/>
                <a:gd name="connsiteX646" fmla="*/ 2248033 w 4829175"/>
                <a:gd name="connsiteY646" fmla="*/ 3860644 h 6515100"/>
                <a:gd name="connsiteX647" fmla="*/ 2250940 w 4829175"/>
                <a:gd name="connsiteY647" fmla="*/ 3860644 h 6515100"/>
                <a:gd name="connsiteX648" fmla="*/ 2347762 w 4829175"/>
                <a:gd name="connsiteY648" fmla="*/ 3763572 h 6515100"/>
                <a:gd name="connsiteX649" fmla="*/ 2342173 w 4829175"/>
                <a:gd name="connsiteY649" fmla="*/ 3758681 h 6515100"/>
                <a:gd name="connsiteX650" fmla="*/ 2076652 w 4829175"/>
                <a:gd name="connsiteY650" fmla="*/ 3493160 h 6515100"/>
                <a:gd name="connsiteX651" fmla="*/ 4005871 w 4829175"/>
                <a:gd name="connsiteY651" fmla="*/ 3491064 h 6515100"/>
                <a:gd name="connsiteX652" fmla="*/ 4277680 w 4829175"/>
                <a:gd name="connsiteY652" fmla="*/ 3760776 h 6515100"/>
                <a:gd name="connsiteX653" fmla="*/ 4008016 w 4829175"/>
                <a:gd name="connsiteY653" fmla="*/ 4031137 h 6515100"/>
                <a:gd name="connsiteX654" fmla="*/ 4270183 w 4829175"/>
                <a:gd name="connsiteY654" fmla="*/ 4031137 h 6515100"/>
                <a:gd name="connsiteX655" fmla="*/ 4359622 w 4829175"/>
                <a:gd name="connsiteY655" fmla="*/ 3941698 h 6515100"/>
                <a:gd name="connsiteX656" fmla="*/ 4440676 w 4829175"/>
                <a:gd name="connsiteY656" fmla="*/ 3860644 h 6515100"/>
                <a:gd name="connsiteX657" fmla="*/ 4441937 w 4829175"/>
                <a:gd name="connsiteY657" fmla="*/ 3860644 h 6515100"/>
                <a:gd name="connsiteX658" fmla="*/ 4541105 w 4829175"/>
                <a:gd name="connsiteY658" fmla="*/ 3761476 h 6515100"/>
                <a:gd name="connsiteX659" fmla="*/ 4406947 w 4829175"/>
                <a:gd name="connsiteY659" fmla="*/ 3628017 h 6515100"/>
                <a:gd name="connsiteX660" fmla="*/ 4269994 w 4829175"/>
                <a:gd name="connsiteY660" fmla="*/ 3491064 h 6515100"/>
                <a:gd name="connsiteX661" fmla="*/ 3721484 w 4829175"/>
                <a:gd name="connsiteY661" fmla="*/ 3490365 h 6515100"/>
                <a:gd name="connsiteX662" fmla="*/ 3457360 w 4829175"/>
                <a:gd name="connsiteY662" fmla="*/ 3491064 h 6515100"/>
                <a:gd name="connsiteX663" fmla="*/ 3728471 w 4829175"/>
                <a:gd name="connsiteY663" fmla="*/ 3761476 h 6515100"/>
                <a:gd name="connsiteX664" fmla="*/ 3458808 w 4829175"/>
                <a:gd name="connsiteY664" fmla="*/ 4031836 h 6515100"/>
                <a:gd name="connsiteX665" fmla="*/ 3721674 w 4829175"/>
                <a:gd name="connsiteY665" fmla="*/ 4031836 h 6515100"/>
                <a:gd name="connsiteX666" fmla="*/ 3892166 w 4829175"/>
                <a:gd name="connsiteY666" fmla="*/ 3859946 h 6515100"/>
                <a:gd name="connsiteX667" fmla="*/ 3893935 w 4829175"/>
                <a:gd name="connsiteY667" fmla="*/ 3859946 h 6515100"/>
                <a:gd name="connsiteX668" fmla="*/ 3992595 w 4829175"/>
                <a:gd name="connsiteY668" fmla="*/ 3760776 h 6515100"/>
                <a:gd name="connsiteX669" fmla="*/ 707821 w 4829175"/>
                <a:gd name="connsiteY669" fmla="*/ 3220651 h 6515100"/>
                <a:gd name="connsiteX670" fmla="*/ 437409 w 4829175"/>
                <a:gd name="connsiteY670" fmla="*/ 3491762 h 6515100"/>
                <a:gd name="connsiteX671" fmla="*/ 570170 w 4829175"/>
                <a:gd name="connsiteY671" fmla="*/ 3623824 h 6515100"/>
                <a:gd name="connsiteX672" fmla="*/ 708520 w 4829175"/>
                <a:gd name="connsiteY672" fmla="*/ 3761476 h 6515100"/>
                <a:gd name="connsiteX673" fmla="*/ 972643 w 4829175"/>
                <a:gd name="connsiteY673" fmla="*/ 3761476 h 6515100"/>
                <a:gd name="connsiteX674" fmla="*/ 701533 w 4829175"/>
                <a:gd name="connsiteY674" fmla="*/ 3491064 h 6515100"/>
                <a:gd name="connsiteX675" fmla="*/ 971945 w 4829175"/>
                <a:gd name="connsiteY675" fmla="*/ 3220651 h 6515100"/>
                <a:gd name="connsiteX676" fmla="*/ 1256332 w 4829175"/>
                <a:gd name="connsiteY676" fmla="*/ 3219953 h 6515100"/>
                <a:gd name="connsiteX677" fmla="*/ 985920 w 4829175"/>
                <a:gd name="connsiteY677" fmla="*/ 3491064 h 6515100"/>
                <a:gd name="connsiteX678" fmla="*/ 1257031 w 4829175"/>
                <a:gd name="connsiteY678" fmla="*/ 3761476 h 6515100"/>
                <a:gd name="connsiteX679" fmla="*/ 1521154 w 4829175"/>
                <a:gd name="connsiteY679" fmla="*/ 3760776 h 6515100"/>
                <a:gd name="connsiteX680" fmla="*/ 1250043 w 4829175"/>
                <a:gd name="connsiteY680" fmla="*/ 3490365 h 6515100"/>
                <a:gd name="connsiteX681" fmla="*/ 1434510 w 4829175"/>
                <a:gd name="connsiteY681" fmla="*/ 3305898 h 6515100"/>
                <a:gd name="connsiteX682" fmla="*/ 1520455 w 4829175"/>
                <a:gd name="connsiteY682" fmla="*/ 3219953 h 6515100"/>
                <a:gd name="connsiteX683" fmla="*/ 1804143 w 4829175"/>
                <a:gd name="connsiteY683" fmla="*/ 3219255 h 6515100"/>
                <a:gd name="connsiteX684" fmla="*/ 1623869 w 4829175"/>
                <a:gd name="connsiteY684" fmla="*/ 3400228 h 6515100"/>
                <a:gd name="connsiteX685" fmla="*/ 1534430 w 4829175"/>
                <a:gd name="connsiteY685" fmla="*/ 3490365 h 6515100"/>
                <a:gd name="connsiteX686" fmla="*/ 1668588 w 4829175"/>
                <a:gd name="connsiteY686" fmla="*/ 3623824 h 6515100"/>
                <a:gd name="connsiteX687" fmla="*/ 1805541 w 4829175"/>
                <a:gd name="connsiteY687" fmla="*/ 3760776 h 6515100"/>
                <a:gd name="connsiteX688" fmla="*/ 2069664 w 4829175"/>
                <a:gd name="connsiteY688" fmla="*/ 3760078 h 6515100"/>
                <a:gd name="connsiteX689" fmla="*/ 1798553 w 4829175"/>
                <a:gd name="connsiteY689" fmla="*/ 3489666 h 6515100"/>
                <a:gd name="connsiteX690" fmla="*/ 1799951 w 4829175"/>
                <a:gd name="connsiteY690" fmla="*/ 3488269 h 6515100"/>
                <a:gd name="connsiteX691" fmla="*/ 2068266 w 4829175"/>
                <a:gd name="connsiteY691" fmla="*/ 3219255 h 6515100"/>
                <a:gd name="connsiteX692" fmla="*/ 2353352 w 4829175"/>
                <a:gd name="connsiteY692" fmla="*/ 3218555 h 6515100"/>
                <a:gd name="connsiteX693" fmla="*/ 2082940 w 4829175"/>
                <a:gd name="connsiteY693" fmla="*/ 3489666 h 6515100"/>
                <a:gd name="connsiteX694" fmla="*/ 2354051 w 4829175"/>
                <a:gd name="connsiteY694" fmla="*/ 3760078 h 6515100"/>
                <a:gd name="connsiteX695" fmla="*/ 2618174 w 4829175"/>
                <a:gd name="connsiteY695" fmla="*/ 3760078 h 6515100"/>
                <a:gd name="connsiteX696" fmla="*/ 2347064 w 4829175"/>
                <a:gd name="connsiteY696" fmla="*/ 3489666 h 6515100"/>
                <a:gd name="connsiteX697" fmla="*/ 2617476 w 4829175"/>
                <a:gd name="connsiteY697" fmla="*/ 3218555 h 6515100"/>
                <a:gd name="connsiteX698" fmla="*/ 3449674 w 4829175"/>
                <a:gd name="connsiteY698" fmla="*/ 3217158 h 6515100"/>
                <a:gd name="connsiteX699" fmla="*/ 3179262 w 4829175"/>
                <a:gd name="connsiteY699" fmla="*/ 3488269 h 6515100"/>
                <a:gd name="connsiteX700" fmla="*/ 3450373 w 4829175"/>
                <a:gd name="connsiteY700" fmla="*/ 3758681 h 6515100"/>
                <a:gd name="connsiteX701" fmla="*/ 3714496 w 4829175"/>
                <a:gd name="connsiteY701" fmla="*/ 3758681 h 6515100"/>
                <a:gd name="connsiteX702" fmla="*/ 3443385 w 4829175"/>
                <a:gd name="connsiteY702" fmla="*/ 3488269 h 6515100"/>
                <a:gd name="connsiteX703" fmla="*/ 3713797 w 4829175"/>
                <a:gd name="connsiteY703" fmla="*/ 3217158 h 6515100"/>
                <a:gd name="connsiteX704" fmla="*/ 3998184 w 4829175"/>
                <a:gd name="connsiteY704" fmla="*/ 3216459 h 6515100"/>
                <a:gd name="connsiteX705" fmla="*/ 3727772 w 4829175"/>
                <a:gd name="connsiteY705" fmla="*/ 3487570 h 6515100"/>
                <a:gd name="connsiteX706" fmla="*/ 3998883 w 4829175"/>
                <a:gd name="connsiteY706" fmla="*/ 3757982 h 6515100"/>
                <a:gd name="connsiteX707" fmla="*/ 4263007 w 4829175"/>
                <a:gd name="connsiteY707" fmla="*/ 3757283 h 6515100"/>
                <a:gd name="connsiteX708" fmla="*/ 3991896 w 4829175"/>
                <a:gd name="connsiteY708" fmla="*/ 3486871 h 6515100"/>
                <a:gd name="connsiteX709" fmla="*/ 4176362 w 4829175"/>
                <a:gd name="connsiteY709" fmla="*/ 3302404 h 6515100"/>
                <a:gd name="connsiteX710" fmla="*/ 4177062 w 4829175"/>
                <a:gd name="connsiteY710" fmla="*/ 3302404 h 6515100"/>
                <a:gd name="connsiteX711" fmla="*/ 4262308 w 4829175"/>
                <a:gd name="connsiteY711" fmla="*/ 3216459 h 6515100"/>
                <a:gd name="connsiteX712" fmla="*/ 4546695 w 4829175"/>
                <a:gd name="connsiteY712" fmla="*/ 3215760 h 6515100"/>
                <a:gd name="connsiteX713" fmla="*/ 4366420 w 4829175"/>
                <a:gd name="connsiteY713" fmla="*/ 3396734 h 6515100"/>
                <a:gd name="connsiteX714" fmla="*/ 4365722 w 4829175"/>
                <a:gd name="connsiteY714" fmla="*/ 3396734 h 6515100"/>
                <a:gd name="connsiteX715" fmla="*/ 4276282 w 4829175"/>
                <a:gd name="connsiteY715" fmla="*/ 3486871 h 6515100"/>
                <a:gd name="connsiteX716" fmla="*/ 4410440 w 4829175"/>
                <a:gd name="connsiteY716" fmla="*/ 3620330 h 6515100"/>
                <a:gd name="connsiteX717" fmla="*/ 4547394 w 4829175"/>
                <a:gd name="connsiteY717" fmla="*/ 3757283 h 6515100"/>
                <a:gd name="connsiteX718" fmla="*/ 4811517 w 4829175"/>
                <a:gd name="connsiteY718" fmla="*/ 3757283 h 6515100"/>
                <a:gd name="connsiteX719" fmla="*/ 4540406 w 4829175"/>
                <a:gd name="connsiteY719" fmla="*/ 3486871 h 6515100"/>
                <a:gd name="connsiteX720" fmla="*/ 4542503 w 4829175"/>
                <a:gd name="connsiteY720" fmla="*/ 3485473 h 6515100"/>
                <a:gd name="connsiteX721" fmla="*/ 4810119 w 4829175"/>
                <a:gd name="connsiteY721" fmla="*/ 3215760 h 6515100"/>
                <a:gd name="connsiteX722" fmla="*/ 1263319 w 4829175"/>
                <a:gd name="connsiteY722" fmla="*/ 2946047 h 6515100"/>
                <a:gd name="connsiteX723" fmla="*/ 1534430 w 4829175"/>
                <a:gd name="connsiteY723" fmla="*/ 3215760 h 6515100"/>
                <a:gd name="connsiteX724" fmla="*/ 1531636 w 4829175"/>
                <a:gd name="connsiteY724" fmla="*/ 3218555 h 6515100"/>
                <a:gd name="connsiteX725" fmla="*/ 1441498 w 4829175"/>
                <a:gd name="connsiteY725" fmla="*/ 3309391 h 6515100"/>
                <a:gd name="connsiteX726" fmla="*/ 1264018 w 4829175"/>
                <a:gd name="connsiteY726" fmla="*/ 3486871 h 6515100"/>
                <a:gd name="connsiteX727" fmla="*/ 1528141 w 4829175"/>
                <a:gd name="connsiteY727" fmla="*/ 3486871 h 6515100"/>
                <a:gd name="connsiteX728" fmla="*/ 1617580 w 4829175"/>
                <a:gd name="connsiteY728" fmla="*/ 3397432 h 6515100"/>
                <a:gd name="connsiteX729" fmla="*/ 1798553 w 4829175"/>
                <a:gd name="connsiteY729" fmla="*/ 3216459 h 6515100"/>
                <a:gd name="connsiteX730" fmla="*/ 1527442 w 4829175"/>
                <a:gd name="connsiteY730" fmla="*/ 2946047 h 6515100"/>
                <a:gd name="connsiteX731" fmla="*/ 714809 w 4829175"/>
                <a:gd name="connsiteY731" fmla="*/ 2946047 h 6515100"/>
                <a:gd name="connsiteX732" fmla="*/ 843377 w 4829175"/>
                <a:gd name="connsiteY732" fmla="*/ 3074615 h 6515100"/>
                <a:gd name="connsiteX733" fmla="*/ 985221 w 4829175"/>
                <a:gd name="connsiteY733" fmla="*/ 3216459 h 6515100"/>
                <a:gd name="connsiteX734" fmla="*/ 714809 w 4829175"/>
                <a:gd name="connsiteY734" fmla="*/ 3487570 h 6515100"/>
                <a:gd name="connsiteX735" fmla="*/ 978932 w 4829175"/>
                <a:gd name="connsiteY735" fmla="*/ 3487570 h 6515100"/>
                <a:gd name="connsiteX736" fmla="*/ 1249344 w 4829175"/>
                <a:gd name="connsiteY736" fmla="*/ 3216459 h 6515100"/>
                <a:gd name="connsiteX737" fmla="*/ 1244453 w 4829175"/>
                <a:gd name="connsiteY737" fmla="*/ 3211568 h 6515100"/>
                <a:gd name="connsiteX738" fmla="*/ 978932 w 4829175"/>
                <a:gd name="connsiteY738" fmla="*/ 2946047 h 6515100"/>
                <a:gd name="connsiteX739" fmla="*/ 164902 w 4829175"/>
                <a:gd name="connsiteY739" fmla="*/ 2946047 h 6515100"/>
                <a:gd name="connsiteX740" fmla="*/ 436013 w 4829175"/>
                <a:gd name="connsiteY740" fmla="*/ 3215760 h 6515100"/>
                <a:gd name="connsiteX741" fmla="*/ 433217 w 4829175"/>
                <a:gd name="connsiteY741" fmla="*/ 3218555 h 6515100"/>
                <a:gd name="connsiteX742" fmla="*/ 343079 w 4829175"/>
                <a:gd name="connsiteY742" fmla="*/ 3309391 h 6515100"/>
                <a:gd name="connsiteX743" fmla="*/ 165601 w 4829175"/>
                <a:gd name="connsiteY743" fmla="*/ 3486871 h 6515100"/>
                <a:gd name="connsiteX744" fmla="*/ 429724 w 4829175"/>
                <a:gd name="connsiteY744" fmla="*/ 3486871 h 6515100"/>
                <a:gd name="connsiteX745" fmla="*/ 519162 w 4829175"/>
                <a:gd name="connsiteY745" fmla="*/ 3397432 h 6515100"/>
                <a:gd name="connsiteX746" fmla="*/ 700136 w 4829175"/>
                <a:gd name="connsiteY746" fmla="*/ 3216459 h 6515100"/>
                <a:gd name="connsiteX747" fmla="*/ 429025 w 4829175"/>
                <a:gd name="connsiteY747" fmla="*/ 2946047 h 6515100"/>
                <a:gd name="connsiteX748" fmla="*/ 2908151 w 4829175"/>
                <a:gd name="connsiteY748" fmla="*/ 2945348 h 6515100"/>
                <a:gd name="connsiteX749" fmla="*/ 3179262 w 4829175"/>
                <a:gd name="connsiteY749" fmla="*/ 3215760 h 6515100"/>
                <a:gd name="connsiteX750" fmla="*/ 2908850 w 4829175"/>
                <a:gd name="connsiteY750" fmla="*/ 3486871 h 6515100"/>
                <a:gd name="connsiteX751" fmla="*/ 3107292 w 4829175"/>
                <a:gd name="connsiteY751" fmla="*/ 3486871 h 6515100"/>
                <a:gd name="connsiteX752" fmla="*/ 3103798 w 4829175"/>
                <a:gd name="connsiteY752" fmla="*/ 3493858 h 6515100"/>
                <a:gd name="connsiteX753" fmla="*/ 2908850 w 4829175"/>
                <a:gd name="connsiteY753" fmla="*/ 3493858 h 6515100"/>
                <a:gd name="connsiteX754" fmla="*/ 3038815 w 4829175"/>
                <a:gd name="connsiteY754" fmla="*/ 3623824 h 6515100"/>
                <a:gd name="connsiteX755" fmla="*/ 3035322 w 4829175"/>
                <a:gd name="connsiteY755" fmla="*/ 3630811 h 6515100"/>
                <a:gd name="connsiteX756" fmla="*/ 2894875 w 4829175"/>
                <a:gd name="connsiteY756" fmla="*/ 3490365 h 6515100"/>
                <a:gd name="connsiteX757" fmla="*/ 3165287 w 4829175"/>
                <a:gd name="connsiteY757" fmla="*/ 3219255 h 6515100"/>
                <a:gd name="connsiteX758" fmla="*/ 2901164 w 4829175"/>
                <a:gd name="connsiteY758" fmla="*/ 3219255 h 6515100"/>
                <a:gd name="connsiteX759" fmla="*/ 2630752 w 4829175"/>
                <a:gd name="connsiteY759" fmla="*/ 3490365 h 6515100"/>
                <a:gd name="connsiteX760" fmla="*/ 2901863 w 4829175"/>
                <a:gd name="connsiteY760" fmla="*/ 3760776 h 6515100"/>
                <a:gd name="connsiteX761" fmla="*/ 2970339 w 4829175"/>
                <a:gd name="connsiteY761" fmla="*/ 3760776 h 6515100"/>
                <a:gd name="connsiteX762" fmla="*/ 2966846 w 4829175"/>
                <a:gd name="connsiteY762" fmla="*/ 3767764 h 6515100"/>
                <a:gd name="connsiteX763" fmla="*/ 2901863 w 4829175"/>
                <a:gd name="connsiteY763" fmla="*/ 3767764 h 6515100"/>
                <a:gd name="connsiteX764" fmla="*/ 2721588 w 4829175"/>
                <a:gd name="connsiteY764" fmla="*/ 3948738 h 6515100"/>
                <a:gd name="connsiteX765" fmla="*/ 2633317 w 4829175"/>
                <a:gd name="connsiteY765" fmla="*/ 4037700 h 6515100"/>
                <a:gd name="connsiteX766" fmla="*/ 2902751 w 4829175"/>
                <a:gd name="connsiteY766" fmla="*/ 4306440 h 6515100"/>
                <a:gd name="connsiteX767" fmla="*/ 3165477 w 4829175"/>
                <a:gd name="connsiteY767" fmla="*/ 4306440 h 6515100"/>
                <a:gd name="connsiteX768" fmla="*/ 3036210 w 4829175"/>
                <a:gd name="connsiteY768" fmla="*/ 4177174 h 6515100"/>
                <a:gd name="connsiteX769" fmla="*/ 3036909 w 4829175"/>
                <a:gd name="connsiteY769" fmla="*/ 4176475 h 6515100"/>
                <a:gd name="connsiteX770" fmla="*/ 2942163 w 4829175"/>
                <a:gd name="connsiteY770" fmla="*/ 4082197 h 6515100"/>
                <a:gd name="connsiteX771" fmla="*/ 2940992 w 4829175"/>
                <a:gd name="connsiteY771" fmla="*/ 4082197 h 6515100"/>
                <a:gd name="connsiteX772" fmla="*/ 2896273 w 4829175"/>
                <a:gd name="connsiteY772" fmla="*/ 4037478 h 6515100"/>
                <a:gd name="connsiteX773" fmla="*/ 2896745 w 4829175"/>
                <a:gd name="connsiteY773" fmla="*/ 4037005 h 6515100"/>
                <a:gd name="connsiteX774" fmla="*/ 2895764 w 4829175"/>
                <a:gd name="connsiteY774" fmla="*/ 4036028 h 6515100"/>
                <a:gd name="connsiteX775" fmla="*/ 3070448 w 4829175"/>
                <a:gd name="connsiteY775" fmla="*/ 3860644 h 6515100"/>
                <a:gd name="connsiteX776" fmla="*/ 3072651 w 4829175"/>
                <a:gd name="connsiteY776" fmla="*/ 3860644 h 6515100"/>
                <a:gd name="connsiteX777" fmla="*/ 3165986 w 4829175"/>
                <a:gd name="connsiteY777" fmla="*/ 3767066 h 6515100"/>
                <a:gd name="connsiteX778" fmla="*/ 2967543 w 4829175"/>
                <a:gd name="connsiteY778" fmla="*/ 3767066 h 6515100"/>
                <a:gd name="connsiteX779" fmla="*/ 2971038 w 4829175"/>
                <a:gd name="connsiteY779" fmla="*/ 3760078 h 6515100"/>
                <a:gd name="connsiteX780" fmla="*/ 3165986 w 4829175"/>
                <a:gd name="connsiteY780" fmla="*/ 3760078 h 6515100"/>
                <a:gd name="connsiteX781" fmla="*/ 3036021 w 4829175"/>
                <a:gd name="connsiteY781" fmla="*/ 3630113 h 6515100"/>
                <a:gd name="connsiteX782" fmla="*/ 3039514 w 4829175"/>
                <a:gd name="connsiteY782" fmla="*/ 3623126 h 6515100"/>
                <a:gd name="connsiteX783" fmla="*/ 3179961 w 4829175"/>
                <a:gd name="connsiteY783" fmla="*/ 3763572 h 6515100"/>
                <a:gd name="connsiteX784" fmla="*/ 2912388 w 4829175"/>
                <a:gd name="connsiteY784" fmla="*/ 4031836 h 6515100"/>
                <a:gd name="connsiteX785" fmla="*/ 3173163 w 4829175"/>
                <a:gd name="connsiteY785" fmla="*/ 4031836 h 6515100"/>
                <a:gd name="connsiteX786" fmla="*/ 3262601 w 4829175"/>
                <a:gd name="connsiteY786" fmla="*/ 3942397 h 6515100"/>
                <a:gd name="connsiteX787" fmla="*/ 3344354 w 4829175"/>
                <a:gd name="connsiteY787" fmla="*/ 3860644 h 6515100"/>
                <a:gd name="connsiteX788" fmla="*/ 3347262 w 4829175"/>
                <a:gd name="connsiteY788" fmla="*/ 3860644 h 6515100"/>
                <a:gd name="connsiteX789" fmla="*/ 3444084 w 4829175"/>
                <a:gd name="connsiteY789" fmla="*/ 3763572 h 6515100"/>
                <a:gd name="connsiteX790" fmla="*/ 3172973 w 4829175"/>
                <a:gd name="connsiteY790" fmla="*/ 3493858 h 6515100"/>
                <a:gd name="connsiteX791" fmla="*/ 3104497 w 4829175"/>
                <a:gd name="connsiteY791" fmla="*/ 3493858 h 6515100"/>
                <a:gd name="connsiteX792" fmla="*/ 3107990 w 4829175"/>
                <a:gd name="connsiteY792" fmla="*/ 3486871 h 6515100"/>
                <a:gd name="connsiteX793" fmla="*/ 3172973 w 4829175"/>
                <a:gd name="connsiteY793" fmla="*/ 3486871 h 6515100"/>
                <a:gd name="connsiteX794" fmla="*/ 3443385 w 4829175"/>
                <a:gd name="connsiteY794" fmla="*/ 3215760 h 6515100"/>
                <a:gd name="connsiteX795" fmla="*/ 3309227 w 4829175"/>
                <a:gd name="connsiteY795" fmla="*/ 3082301 h 6515100"/>
                <a:gd name="connsiteX796" fmla="*/ 3172275 w 4829175"/>
                <a:gd name="connsiteY796" fmla="*/ 2945348 h 6515100"/>
                <a:gd name="connsiteX797" fmla="*/ 1811829 w 4829175"/>
                <a:gd name="connsiteY797" fmla="*/ 2944649 h 6515100"/>
                <a:gd name="connsiteX798" fmla="*/ 1941795 w 4829175"/>
                <a:gd name="connsiteY798" fmla="*/ 3074615 h 6515100"/>
                <a:gd name="connsiteX799" fmla="*/ 2082940 w 4829175"/>
                <a:gd name="connsiteY799" fmla="*/ 3215061 h 6515100"/>
                <a:gd name="connsiteX800" fmla="*/ 1812528 w 4829175"/>
                <a:gd name="connsiteY800" fmla="*/ 3486172 h 6515100"/>
                <a:gd name="connsiteX801" fmla="*/ 2076652 w 4829175"/>
                <a:gd name="connsiteY801" fmla="*/ 3486172 h 6515100"/>
                <a:gd name="connsiteX802" fmla="*/ 2347064 w 4829175"/>
                <a:gd name="connsiteY802" fmla="*/ 3215061 h 6515100"/>
                <a:gd name="connsiteX803" fmla="*/ 2075953 w 4829175"/>
                <a:gd name="connsiteY803" fmla="*/ 2944649 h 6515100"/>
                <a:gd name="connsiteX804" fmla="*/ 2360340 w 4829175"/>
                <a:gd name="connsiteY804" fmla="*/ 2943952 h 6515100"/>
                <a:gd name="connsiteX805" fmla="*/ 2631451 w 4829175"/>
                <a:gd name="connsiteY805" fmla="*/ 3214364 h 6515100"/>
                <a:gd name="connsiteX806" fmla="*/ 2361039 w 4829175"/>
                <a:gd name="connsiteY806" fmla="*/ 3485473 h 6515100"/>
                <a:gd name="connsiteX807" fmla="*/ 2625162 w 4829175"/>
                <a:gd name="connsiteY807" fmla="*/ 3485473 h 6515100"/>
                <a:gd name="connsiteX808" fmla="*/ 2895574 w 4829175"/>
                <a:gd name="connsiteY808" fmla="*/ 3214364 h 6515100"/>
                <a:gd name="connsiteX809" fmla="*/ 2624463 w 4829175"/>
                <a:gd name="connsiteY809" fmla="*/ 2943952 h 6515100"/>
                <a:gd name="connsiteX810" fmla="*/ 4005871 w 4829175"/>
                <a:gd name="connsiteY810" fmla="*/ 2943253 h 6515100"/>
                <a:gd name="connsiteX811" fmla="*/ 4275584 w 4829175"/>
                <a:gd name="connsiteY811" fmla="*/ 3212267 h 6515100"/>
                <a:gd name="connsiteX812" fmla="*/ 4272789 w 4829175"/>
                <a:gd name="connsiteY812" fmla="*/ 3215061 h 6515100"/>
                <a:gd name="connsiteX813" fmla="*/ 4182652 w 4829175"/>
                <a:gd name="connsiteY813" fmla="*/ 3305898 h 6515100"/>
                <a:gd name="connsiteX814" fmla="*/ 4181952 w 4829175"/>
                <a:gd name="connsiteY814" fmla="*/ 3305898 h 6515100"/>
                <a:gd name="connsiteX815" fmla="*/ 4005172 w 4829175"/>
                <a:gd name="connsiteY815" fmla="*/ 3483378 h 6515100"/>
                <a:gd name="connsiteX816" fmla="*/ 4269295 w 4829175"/>
                <a:gd name="connsiteY816" fmla="*/ 3483378 h 6515100"/>
                <a:gd name="connsiteX817" fmla="*/ 4358734 w 4829175"/>
                <a:gd name="connsiteY817" fmla="*/ 3393939 h 6515100"/>
                <a:gd name="connsiteX818" fmla="*/ 4359432 w 4829175"/>
                <a:gd name="connsiteY818" fmla="*/ 3393939 h 6515100"/>
                <a:gd name="connsiteX819" fmla="*/ 4541105 w 4829175"/>
                <a:gd name="connsiteY819" fmla="*/ 3213665 h 6515100"/>
                <a:gd name="connsiteX820" fmla="*/ 4269994 w 4829175"/>
                <a:gd name="connsiteY820" fmla="*/ 2943253 h 6515100"/>
                <a:gd name="connsiteX821" fmla="*/ 3457360 w 4829175"/>
                <a:gd name="connsiteY821" fmla="*/ 2943253 h 6515100"/>
                <a:gd name="connsiteX822" fmla="*/ 3458059 w 4829175"/>
                <a:gd name="connsiteY822" fmla="*/ 2943952 h 6515100"/>
                <a:gd name="connsiteX823" fmla="*/ 3458758 w 4829175"/>
                <a:gd name="connsiteY823" fmla="*/ 2943952 h 6515100"/>
                <a:gd name="connsiteX824" fmla="*/ 3727772 w 4829175"/>
                <a:gd name="connsiteY824" fmla="*/ 3212966 h 6515100"/>
                <a:gd name="connsiteX825" fmla="*/ 3457360 w 4829175"/>
                <a:gd name="connsiteY825" fmla="*/ 3484077 h 6515100"/>
                <a:gd name="connsiteX826" fmla="*/ 3721484 w 4829175"/>
                <a:gd name="connsiteY826" fmla="*/ 3484077 h 6515100"/>
                <a:gd name="connsiteX827" fmla="*/ 3991896 w 4829175"/>
                <a:gd name="connsiteY827" fmla="*/ 3213665 h 6515100"/>
                <a:gd name="connsiteX828" fmla="*/ 3987005 w 4829175"/>
                <a:gd name="connsiteY828" fmla="*/ 3208074 h 6515100"/>
                <a:gd name="connsiteX829" fmla="*/ 3721484 w 4829175"/>
                <a:gd name="connsiteY829" fmla="*/ 2943253 h 6515100"/>
                <a:gd name="connsiteX830" fmla="*/ 1255633 w 4829175"/>
                <a:gd name="connsiteY830" fmla="*/ 2671443 h 6515100"/>
                <a:gd name="connsiteX831" fmla="*/ 985221 w 4829175"/>
                <a:gd name="connsiteY831" fmla="*/ 2942554 h 6515100"/>
                <a:gd name="connsiteX832" fmla="*/ 1256332 w 4829175"/>
                <a:gd name="connsiteY832" fmla="*/ 3212966 h 6515100"/>
                <a:gd name="connsiteX833" fmla="*/ 1520455 w 4829175"/>
                <a:gd name="connsiteY833" fmla="*/ 3212966 h 6515100"/>
                <a:gd name="connsiteX834" fmla="*/ 1249344 w 4829175"/>
                <a:gd name="connsiteY834" fmla="*/ 2942554 h 6515100"/>
                <a:gd name="connsiteX835" fmla="*/ 1519757 w 4829175"/>
                <a:gd name="connsiteY835" fmla="*/ 2671443 h 6515100"/>
                <a:gd name="connsiteX836" fmla="*/ 1804143 w 4829175"/>
                <a:gd name="connsiteY836" fmla="*/ 2670744 h 6515100"/>
                <a:gd name="connsiteX837" fmla="*/ 1533731 w 4829175"/>
                <a:gd name="connsiteY837" fmla="*/ 2941855 h 6515100"/>
                <a:gd name="connsiteX838" fmla="*/ 1805541 w 4829175"/>
                <a:gd name="connsiteY838" fmla="*/ 3212267 h 6515100"/>
                <a:gd name="connsiteX839" fmla="*/ 2068965 w 4829175"/>
                <a:gd name="connsiteY839" fmla="*/ 3212267 h 6515100"/>
                <a:gd name="connsiteX840" fmla="*/ 1938301 w 4829175"/>
                <a:gd name="connsiteY840" fmla="*/ 3082301 h 6515100"/>
                <a:gd name="connsiteX841" fmla="*/ 1797854 w 4829175"/>
                <a:gd name="connsiteY841" fmla="*/ 2941855 h 6515100"/>
                <a:gd name="connsiteX842" fmla="*/ 2068266 w 4829175"/>
                <a:gd name="connsiteY842" fmla="*/ 2670744 h 6515100"/>
                <a:gd name="connsiteX843" fmla="*/ 705027 w 4829175"/>
                <a:gd name="connsiteY843" fmla="*/ 2670744 h 6515100"/>
                <a:gd name="connsiteX844" fmla="*/ 434615 w 4829175"/>
                <a:gd name="connsiteY844" fmla="*/ 2941855 h 6515100"/>
                <a:gd name="connsiteX845" fmla="*/ 705726 w 4829175"/>
                <a:gd name="connsiteY845" fmla="*/ 3212267 h 6515100"/>
                <a:gd name="connsiteX846" fmla="*/ 774202 w 4829175"/>
                <a:gd name="connsiteY846" fmla="*/ 3212267 h 6515100"/>
                <a:gd name="connsiteX847" fmla="*/ 773503 w 4829175"/>
                <a:gd name="connsiteY847" fmla="*/ 3213665 h 6515100"/>
                <a:gd name="connsiteX848" fmla="*/ 971247 w 4829175"/>
                <a:gd name="connsiteY848" fmla="*/ 3213665 h 6515100"/>
                <a:gd name="connsiteX849" fmla="*/ 839884 w 4829175"/>
                <a:gd name="connsiteY849" fmla="*/ 3082301 h 6515100"/>
                <a:gd name="connsiteX850" fmla="*/ 699437 w 4829175"/>
                <a:gd name="connsiteY850" fmla="*/ 2941855 h 6515100"/>
                <a:gd name="connsiteX851" fmla="*/ 968451 w 4829175"/>
                <a:gd name="connsiteY851" fmla="*/ 2672142 h 6515100"/>
                <a:gd name="connsiteX852" fmla="*/ 772105 w 4829175"/>
                <a:gd name="connsiteY852" fmla="*/ 2672142 h 6515100"/>
                <a:gd name="connsiteX853" fmla="*/ 772804 w 4829175"/>
                <a:gd name="connsiteY853" fmla="*/ 2670744 h 6515100"/>
                <a:gd name="connsiteX854" fmla="*/ 2352653 w 4829175"/>
                <a:gd name="connsiteY854" fmla="*/ 2670045 h 6515100"/>
                <a:gd name="connsiteX855" fmla="*/ 2082241 w 4829175"/>
                <a:gd name="connsiteY855" fmla="*/ 2941156 h 6515100"/>
                <a:gd name="connsiteX856" fmla="*/ 2353352 w 4829175"/>
                <a:gd name="connsiteY856" fmla="*/ 3211568 h 6515100"/>
                <a:gd name="connsiteX857" fmla="*/ 2617476 w 4829175"/>
                <a:gd name="connsiteY857" fmla="*/ 3211568 h 6515100"/>
                <a:gd name="connsiteX858" fmla="*/ 2346365 w 4829175"/>
                <a:gd name="connsiteY858" fmla="*/ 2941156 h 6515100"/>
                <a:gd name="connsiteX859" fmla="*/ 2616777 w 4829175"/>
                <a:gd name="connsiteY859" fmla="*/ 2670045 h 6515100"/>
                <a:gd name="connsiteX860" fmla="*/ 3998184 w 4829175"/>
                <a:gd name="connsiteY860" fmla="*/ 2667949 h 6515100"/>
                <a:gd name="connsiteX861" fmla="*/ 3727772 w 4829175"/>
                <a:gd name="connsiteY861" fmla="*/ 2939060 h 6515100"/>
                <a:gd name="connsiteX862" fmla="*/ 3998883 w 4829175"/>
                <a:gd name="connsiteY862" fmla="*/ 3209471 h 6515100"/>
                <a:gd name="connsiteX863" fmla="*/ 4263007 w 4829175"/>
                <a:gd name="connsiteY863" fmla="*/ 3209471 h 6515100"/>
                <a:gd name="connsiteX864" fmla="*/ 3991896 w 4829175"/>
                <a:gd name="connsiteY864" fmla="*/ 2939060 h 6515100"/>
                <a:gd name="connsiteX865" fmla="*/ 4262308 w 4829175"/>
                <a:gd name="connsiteY865" fmla="*/ 2667949 h 6515100"/>
                <a:gd name="connsiteX866" fmla="*/ 4546695 w 4829175"/>
                <a:gd name="connsiteY866" fmla="*/ 2667250 h 6515100"/>
                <a:gd name="connsiteX867" fmla="*/ 4276282 w 4829175"/>
                <a:gd name="connsiteY867" fmla="*/ 2938360 h 6515100"/>
                <a:gd name="connsiteX868" fmla="*/ 4547394 w 4829175"/>
                <a:gd name="connsiteY868" fmla="*/ 3208772 h 6515100"/>
                <a:gd name="connsiteX869" fmla="*/ 4810818 w 4829175"/>
                <a:gd name="connsiteY869" fmla="*/ 3208772 h 6515100"/>
                <a:gd name="connsiteX870" fmla="*/ 4680852 w 4829175"/>
                <a:gd name="connsiteY870" fmla="*/ 3078808 h 6515100"/>
                <a:gd name="connsiteX871" fmla="*/ 4540406 w 4829175"/>
                <a:gd name="connsiteY871" fmla="*/ 2938360 h 6515100"/>
                <a:gd name="connsiteX872" fmla="*/ 4810818 w 4829175"/>
                <a:gd name="connsiteY872" fmla="*/ 2667250 h 6515100"/>
                <a:gd name="connsiteX873" fmla="*/ 164203 w 4829175"/>
                <a:gd name="connsiteY873" fmla="*/ 2397537 h 6515100"/>
                <a:gd name="connsiteX874" fmla="*/ 435314 w 4829175"/>
                <a:gd name="connsiteY874" fmla="*/ 2667949 h 6515100"/>
                <a:gd name="connsiteX875" fmla="*/ 164902 w 4829175"/>
                <a:gd name="connsiteY875" fmla="*/ 2939060 h 6515100"/>
                <a:gd name="connsiteX876" fmla="*/ 429025 w 4829175"/>
                <a:gd name="connsiteY876" fmla="*/ 2939060 h 6515100"/>
                <a:gd name="connsiteX877" fmla="*/ 699437 w 4829175"/>
                <a:gd name="connsiteY877" fmla="*/ 2667949 h 6515100"/>
                <a:gd name="connsiteX878" fmla="*/ 428326 w 4829175"/>
                <a:gd name="connsiteY878" fmla="*/ 2397537 h 6515100"/>
                <a:gd name="connsiteX879" fmla="*/ 1811131 w 4829175"/>
                <a:gd name="connsiteY879" fmla="*/ 2396838 h 6515100"/>
                <a:gd name="connsiteX880" fmla="*/ 2082940 w 4829175"/>
                <a:gd name="connsiteY880" fmla="*/ 2667250 h 6515100"/>
                <a:gd name="connsiteX881" fmla="*/ 1812528 w 4829175"/>
                <a:gd name="connsiteY881" fmla="*/ 2938360 h 6515100"/>
                <a:gd name="connsiteX882" fmla="*/ 2075953 w 4829175"/>
                <a:gd name="connsiteY882" fmla="*/ 2938360 h 6515100"/>
                <a:gd name="connsiteX883" fmla="*/ 2346365 w 4829175"/>
                <a:gd name="connsiteY883" fmla="*/ 2667250 h 6515100"/>
                <a:gd name="connsiteX884" fmla="*/ 2212208 w 4829175"/>
                <a:gd name="connsiteY884" fmla="*/ 2533791 h 6515100"/>
                <a:gd name="connsiteX885" fmla="*/ 2075254 w 4829175"/>
                <a:gd name="connsiteY885" fmla="*/ 2396838 h 6515100"/>
                <a:gd name="connsiteX886" fmla="*/ 1262620 w 4829175"/>
                <a:gd name="connsiteY886" fmla="*/ 2396838 h 6515100"/>
                <a:gd name="connsiteX887" fmla="*/ 1533731 w 4829175"/>
                <a:gd name="connsiteY887" fmla="*/ 2667250 h 6515100"/>
                <a:gd name="connsiteX888" fmla="*/ 1263319 w 4829175"/>
                <a:gd name="connsiteY888" fmla="*/ 2938360 h 6515100"/>
                <a:gd name="connsiteX889" fmla="*/ 1527442 w 4829175"/>
                <a:gd name="connsiteY889" fmla="*/ 2938360 h 6515100"/>
                <a:gd name="connsiteX890" fmla="*/ 1797854 w 4829175"/>
                <a:gd name="connsiteY890" fmla="*/ 2667250 h 6515100"/>
                <a:gd name="connsiteX891" fmla="*/ 1526744 w 4829175"/>
                <a:gd name="connsiteY891" fmla="*/ 2396838 h 6515100"/>
                <a:gd name="connsiteX892" fmla="*/ 2359641 w 4829175"/>
                <a:gd name="connsiteY892" fmla="*/ 2396139 h 6515100"/>
                <a:gd name="connsiteX893" fmla="*/ 2361039 w 4829175"/>
                <a:gd name="connsiteY893" fmla="*/ 2397537 h 6515100"/>
                <a:gd name="connsiteX894" fmla="*/ 2629354 w 4829175"/>
                <a:gd name="connsiteY894" fmla="*/ 2665853 h 6515100"/>
                <a:gd name="connsiteX895" fmla="*/ 2358942 w 4829175"/>
                <a:gd name="connsiteY895" fmla="*/ 2936964 h 6515100"/>
                <a:gd name="connsiteX896" fmla="*/ 2623065 w 4829175"/>
                <a:gd name="connsiteY896" fmla="*/ 2936964 h 6515100"/>
                <a:gd name="connsiteX897" fmla="*/ 2893477 w 4829175"/>
                <a:gd name="connsiteY897" fmla="*/ 2665853 h 6515100"/>
                <a:gd name="connsiteX898" fmla="*/ 2888586 w 4829175"/>
                <a:gd name="connsiteY898" fmla="*/ 2660962 h 6515100"/>
                <a:gd name="connsiteX899" fmla="*/ 2906055 w 4829175"/>
                <a:gd name="connsiteY899" fmla="*/ 2669346 h 6515100"/>
                <a:gd name="connsiteX900" fmla="*/ 2900465 w 4829175"/>
                <a:gd name="connsiteY900" fmla="*/ 2669346 h 6515100"/>
                <a:gd name="connsiteX901" fmla="*/ 2630053 w 4829175"/>
                <a:gd name="connsiteY901" fmla="*/ 2940457 h 6515100"/>
                <a:gd name="connsiteX902" fmla="*/ 2901164 w 4829175"/>
                <a:gd name="connsiteY902" fmla="*/ 3210869 h 6515100"/>
                <a:gd name="connsiteX903" fmla="*/ 3165287 w 4829175"/>
                <a:gd name="connsiteY903" fmla="*/ 3210869 h 6515100"/>
                <a:gd name="connsiteX904" fmla="*/ 2894875 w 4829175"/>
                <a:gd name="connsiteY904" fmla="*/ 2939758 h 6515100"/>
                <a:gd name="connsiteX905" fmla="*/ 3079343 w 4829175"/>
                <a:gd name="connsiteY905" fmla="*/ 2755292 h 6515100"/>
                <a:gd name="connsiteX906" fmla="*/ 3165287 w 4829175"/>
                <a:gd name="connsiteY906" fmla="*/ 2669346 h 6515100"/>
                <a:gd name="connsiteX907" fmla="*/ 2906754 w 4829175"/>
                <a:gd name="connsiteY907" fmla="*/ 2669346 h 6515100"/>
                <a:gd name="connsiteX908" fmla="*/ 2889285 w 4829175"/>
                <a:gd name="connsiteY908" fmla="*/ 2660962 h 6515100"/>
                <a:gd name="connsiteX909" fmla="*/ 2623764 w 4829175"/>
                <a:gd name="connsiteY909" fmla="*/ 2396139 h 6515100"/>
                <a:gd name="connsiteX910" fmla="*/ 713412 w 4829175"/>
                <a:gd name="connsiteY910" fmla="*/ 2396139 h 6515100"/>
                <a:gd name="connsiteX911" fmla="*/ 844775 w 4829175"/>
                <a:gd name="connsiteY911" fmla="*/ 2527503 h 6515100"/>
                <a:gd name="connsiteX912" fmla="*/ 985221 w 4829175"/>
                <a:gd name="connsiteY912" fmla="*/ 2667949 h 6515100"/>
                <a:gd name="connsiteX913" fmla="*/ 716206 w 4829175"/>
                <a:gd name="connsiteY913" fmla="*/ 2937662 h 6515100"/>
                <a:gd name="connsiteX914" fmla="*/ 912552 w 4829175"/>
                <a:gd name="connsiteY914" fmla="*/ 2937662 h 6515100"/>
                <a:gd name="connsiteX915" fmla="*/ 911853 w 4829175"/>
                <a:gd name="connsiteY915" fmla="*/ 2939060 h 6515100"/>
                <a:gd name="connsiteX916" fmla="*/ 978932 w 4829175"/>
                <a:gd name="connsiteY916" fmla="*/ 2939060 h 6515100"/>
                <a:gd name="connsiteX917" fmla="*/ 1248646 w 4829175"/>
                <a:gd name="connsiteY917" fmla="*/ 2667949 h 6515100"/>
                <a:gd name="connsiteX918" fmla="*/ 1113090 w 4829175"/>
                <a:gd name="connsiteY918" fmla="*/ 2533092 h 6515100"/>
                <a:gd name="connsiteX919" fmla="*/ 1094923 w 4829175"/>
                <a:gd name="connsiteY919" fmla="*/ 2514926 h 6515100"/>
                <a:gd name="connsiteX920" fmla="*/ 977535 w 4829175"/>
                <a:gd name="connsiteY920" fmla="*/ 2398236 h 6515100"/>
                <a:gd name="connsiteX921" fmla="*/ 909058 w 4829175"/>
                <a:gd name="connsiteY921" fmla="*/ 2398236 h 6515100"/>
                <a:gd name="connsiteX922" fmla="*/ 909757 w 4829175"/>
                <a:gd name="connsiteY922" fmla="*/ 2396838 h 6515100"/>
                <a:gd name="connsiteX923" fmla="*/ 2907452 w 4829175"/>
                <a:gd name="connsiteY923" fmla="*/ 2394742 h 6515100"/>
                <a:gd name="connsiteX924" fmla="*/ 3178563 w 4829175"/>
                <a:gd name="connsiteY924" fmla="*/ 2665154 h 6515100"/>
                <a:gd name="connsiteX925" fmla="*/ 3175769 w 4829175"/>
                <a:gd name="connsiteY925" fmla="*/ 2667949 h 6515100"/>
                <a:gd name="connsiteX926" fmla="*/ 3085631 w 4829175"/>
                <a:gd name="connsiteY926" fmla="*/ 2758785 h 6515100"/>
                <a:gd name="connsiteX927" fmla="*/ 2908151 w 4829175"/>
                <a:gd name="connsiteY927" fmla="*/ 2936265 h 6515100"/>
                <a:gd name="connsiteX928" fmla="*/ 3172275 w 4829175"/>
                <a:gd name="connsiteY928" fmla="*/ 2936265 h 6515100"/>
                <a:gd name="connsiteX929" fmla="*/ 3262412 w 4829175"/>
                <a:gd name="connsiteY929" fmla="*/ 2846826 h 6515100"/>
                <a:gd name="connsiteX930" fmla="*/ 3442687 w 4829175"/>
                <a:gd name="connsiteY930" fmla="*/ 2665154 h 6515100"/>
                <a:gd name="connsiteX931" fmla="*/ 3171576 w 4829175"/>
                <a:gd name="connsiteY931" fmla="*/ 2394742 h 6515100"/>
                <a:gd name="connsiteX932" fmla="*/ 4004473 w 4829175"/>
                <a:gd name="connsiteY932" fmla="*/ 2394044 h 6515100"/>
                <a:gd name="connsiteX933" fmla="*/ 4275584 w 4829175"/>
                <a:gd name="connsiteY933" fmla="*/ 2663757 h 6515100"/>
                <a:gd name="connsiteX934" fmla="*/ 4005172 w 4829175"/>
                <a:gd name="connsiteY934" fmla="*/ 2934868 h 6515100"/>
                <a:gd name="connsiteX935" fmla="*/ 4269295 w 4829175"/>
                <a:gd name="connsiteY935" fmla="*/ 2934868 h 6515100"/>
                <a:gd name="connsiteX936" fmla="*/ 4539707 w 4829175"/>
                <a:gd name="connsiteY936" fmla="*/ 2664456 h 6515100"/>
                <a:gd name="connsiteX937" fmla="*/ 4268597 w 4829175"/>
                <a:gd name="connsiteY937" fmla="*/ 2394044 h 6515100"/>
                <a:gd name="connsiteX938" fmla="*/ 1255633 w 4829175"/>
                <a:gd name="connsiteY938" fmla="*/ 2122933 h 6515100"/>
                <a:gd name="connsiteX939" fmla="*/ 985221 w 4829175"/>
                <a:gd name="connsiteY939" fmla="*/ 2394044 h 6515100"/>
                <a:gd name="connsiteX940" fmla="*/ 1117282 w 4829175"/>
                <a:gd name="connsiteY940" fmla="*/ 2526105 h 6515100"/>
                <a:gd name="connsiteX941" fmla="*/ 1255633 w 4829175"/>
                <a:gd name="connsiteY941" fmla="*/ 2664456 h 6515100"/>
                <a:gd name="connsiteX942" fmla="*/ 1519757 w 4829175"/>
                <a:gd name="connsiteY942" fmla="*/ 2664456 h 6515100"/>
                <a:gd name="connsiteX943" fmla="*/ 1248646 w 4829175"/>
                <a:gd name="connsiteY943" fmla="*/ 2394044 h 6515100"/>
                <a:gd name="connsiteX944" fmla="*/ 1519757 w 4829175"/>
                <a:gd name="connsiteY944" fmla="*/ 2122933 h 6515100"/>
                <a:gd name="connsiteX945" fmla="*/ 2351955 w 4829175"/>
                <a:gd name="connsiteY945" fmla="*/ 2122234 h 6515100"/>
                <a:gd name="connsiteX946" fmla="*/ 2171680 w 4829175"/>
                <a:gd name="connsiteY946" fmla="*/ 2303207 h 6515100"/>
                <a:gd name="connsiteX947" fmla="*/ 2170981 w 4829175"/>
                <a:gd name="connsiteY947" fmla="*/ 2303207 h 6515100"/>
                <a:gd name="connsiteX948" fmla="*/ 2081543 w 4829175"/>
                <a:gd name="connsiteY948" fmla="*/ 2392646 h 6515100"/>
                <a:gd name="connsiteX949" fmla="*/ 2215701 w 4829175"/>
                <a:gd name="connsiteY949" fmla="*/ 2526804 h 6515100"/>
                <a:gd name="connsiteX950" fmla="*/ 2352653 w 4829175"/>
                <a:gd name="connsiteY950" fmla="*/ 2663058 h 6515100"/>
                <a:gd name="connsiteX951" fmla="*/ 2616078 w 4829175"/>
                <a:gd name="connsiteY951" fmla="*/ 2663058 h 6515100"/>
                <a:gd name="connsiteX952" fmla="*/ 2344968 w 4829175"/>
                <a:gd name="connsiteY952" fmla="*/ 2392646 h 6515100"/>
                <a:gd name="connsiteX953" fmla="*/ 2346365 w 4829175"/>
                <a:gd name="connsiteY953" fmla="*/ 2391248 h 6515100"/>
                <a:gd name="connsiteX954" fmla="*/ 2347064 w 4829175"/>
                <a:gd name="connsiteY954" fmla="*/ 2391248 h 6515100"/>
                <a:gd name="connsiteX955" fmla="*/ 2615379 w 4829175"/>
                <a:gd name="connsiteY955" fmla="*/ 2122234 h 6515100"/>
                <a:gd name="connsiteX956" fmla="*/ 1803445 w 4829175"/>
                <a:gd name="connsiteY956" fmla="*/ 2122234 h 6515100"/>
                <a:gd name="connsiteX957" fmla="*/ 1533032 w 4829175"/>
                <a:gd name="connsiteY957" fmla="*/ 2393345 h 6515100"/>
                <a:gd name="connsiteX958" fmla="*/ 1803445 w 4829175"/>
                <a:gd name="connsiteY958" fmla="*/ 2663058 h 6515100"/>
                <a:gd name="connsiteX959" fmla="*/ 2067568 w 4829175"/>
                <a:gd name="connsiteY959" fmla="*/ 2663058 h 6515100"/>
                <a:gd name="connsiteX960" fmla="*/ 1796458 w 4829175"/>
                <a:gd name="connsiteY960" fmla="*/ 2392646 h 6515100"/>
                <a:gd name="connsiteX961" fmla="*/ 1980924 w 4829175"/>
                <a:gd name="connsiteY961" fmla="*/ 2208178 h 6515100"/>
                <a:gd name="connsiteX962" fmla="*/ 1981623 w 4829175"/>
                <a:gd name="connsiteY962" fmla="*/ 2208178 h 6515100"/>
                <a:gd name="connsiteX963" fmla="*/ 2067568 w 4829175"/>
                <a:gd name="connsiteY963" fmla="*/ 2122234 h 6515100"/>
                <a:gd name="connsiteX964" fmla="*/ 2900465 w 4829175"/>
                <a:gd name="connsiteY964" fmla="*/ 2121535 h 6515100"/>
                <a:gd name="connsiteX965" fmla="*/ 2630053 w 4829175"/>
                <a:gd name="connsiteY965" fmla="*/ 2392646 h 6515100"/>
                <a:gd name="connsiteX966" fmla="*/ 2901164 w 4829175"/>
                <a:gd name="connsiteY966" fmla="*/ 2663058 h 6515100"/>
                <a:gd name="connsiteX967" fmla="*/ 3165287 w 4829175"/>
                <a:gd name="connsiteY967" fmla="*/ 2663058 h 6515100"/>
                <a:gd name="connsiteX968" fmla="*/ 2894176 w 4829175"/>
                <a:gd name="connsiteY968" fmla="*/ 2392646 h 6515100"/>
                <a:gd name="connsiteX969" fmla="*/ 3164588 w 4829175"/>
                <a:gd name="connsiteY969" fmla="*/ 2121535 h 6515100"/>
                <a:gd name="connsiteX970" fmla="*/ 3997486 w 4829175"/>
                <a:gd name="connsiteY970" fmla="*/ 2120137 h 6515100"/>
                <a:gd name="connsiteX971" fmla="*/ 3727074 w 4829175"/>
                <a:gd name="connsiteY971" fmla="*/ 2391248 h 6515100"/>
                <a:gd name="connsiteX972" fmla="*/ 3998184 w 4829175"/>
                <a:gd name="connsiteY972" fmla="*/ 2661660 h 6515100"/>
                <a:gd name="connsiteX973" fmla="*/ 4262308 w 4829175"/>
                <a:gd name="connsiteY973" fmla="*/ 2661660 h 6515100"/>
                <a:gd name="connsiteX974" fmla="*/ 3991197 w 4829175"/>
                <a:gd name="connsiteY974" fmla="*/ 2391248 h 6515100"/>
                <a:gd name="connsiteX975" fmla="*/ 4261609 w 4829175"/>
                <a:gd name="connsiteY975" fmla="*/ 2120137 h 6515100"/>
                <a:gd name="connsiteX976" fmla="*/ 4545996 w 4829175"/>
                <a:gd name="connsiteY976" fmla="*/ 2119439 h 6515100"/>
                <a:gd name="connsiteX977" fmla="*/ 4275584 w 4829175"/>
                <a:gd name="connsiteY977" fmla="*/ 2390549 h 6515100"/>
                <a:gd name="connsiteX978" fmla="*/ 4545996 w 4829175"/>
                <a:gd name="connsiteY978" fmla="*/ 2660263 h 6515100"/>
                <a:gd name="connsiteX979" fmla="*/ 4810119 w 4829175"/>
                <a:gd name="connsiteY979" fmla="*/ 2660263 h 6515100"/>
                <a:gd name="connsiteX980" fmla="*/ 4539009 w 4829175"/>
                <a:gd name="connsiteY980" fmla="*/ 2389851 h 6515100"/>
                <a:gd name="connsiteX981" fmla="*/ 4723476 w 4829175"/>
                <a:gd name="connsiteY981" fmla="*/ 2205384 h 6515100"/>
                <a:gd name="connsiteX982" fmla="*/ 4810119 w 4829175"/>
                <a:gd name="connsiteY982" fmla="*/ 2119439 h 6515100"/>
                <a:gd name="connsiteX983" fmla="*/ 1261921 w 4829175"/>
                <a:gd name="connsiteY983" fmla="*/ 1849027 h 6515100"/>
                <a:gd name="connsiteX984" fmla="*/ 1262620 w 4829175"/>
                <a:gd name="connsiteY984" fmla="*/ 1849725 h 6515100"/>
                <a:gd name="connsiteX985" fmla="*/ 1263319 w 4829175"/>
                <a:gd name="connsiteY985" fmla="*/ 1849725 h 6515100"/>
                <a:gd name="connsiteX986" fmla="*/ 1532333 w 4829175"/>
                <a:gd name="connsiteY986" fmla="*/ 2118740 h 6515100"/>
                <a:gd name="connsiteX987" fmla="*/ 1261921 w 4829175"/>
                <a:gd name="connsiteY987" fmla="*/ 2389851 h 6515100"/>
                <a:gd name="connsiteX988" fmla="*/ 1526046 w 4829175"/>
                <a:gd name="connsiteY988" fmla="*/ 2389851 h 6515100"/>
                <a:gd name="connsiteX989" fmla="*/ 1796458 w 4829175"/>
                <a:gd name="connsiteY989" fmla="*/ 2118740 h 6515100"/>
                <a:gd name="connsiteX990" fmla="*/ 1791566 w 4829175"/>
                <a:gd name="connsiteY990" fmla="*/ 2113849 h 6515100"/>
                <a:gd name="connsiteX991" fmla="*/ 1526046 w 4829175"/>
                <a:gd name="connsiteY991" fmla="*/ 1849027 h 6515100"/>
                <a:gd name="connsiteX992" fmla="*/ 164203 w 4829175"/>
                <a:gd name="connsiteY992" fmla="*/ 1849027 h 6515100"/>
                <a:gd name="connsiteX993" fmla="*/ 165601 w 4829175"/>
                <a:gd name="connsiteY993" fmla="*/ 1850424 h 6515100"/>
                <a:gd name="connsiteX994" fmla="*/ 434615 w 4829175"/>
                <a:gd name="connsiteY994" fmla="*/ 2119439 h 6515100"/>
                <a:gd name="connsiteX995" fmla="*/ 164203 w 4829175"/>
                <a:gd name="connsiteY995" fmla="*/ 2389152 h 6515100"/>
                <a:gd name="connsiteX996" fmla="*/ 428326 w 4829175"/>
                <a:gd name="connsiteY996" fmla="*/ 2389152 h 6515100"/>
                <a:gd name="connsiteX997" fmla="*/ 698738 w 4829175"/>
                <a:gd name="connsiteY997" fmla="*/ 2118042 h 6515100"/>
                <a:gd name="connsiteX998" fmla="*/ 695191 w 4829175"/>
                <a:gd name="connsiteY998" fmla="*/ 2114493 h 6515100"/>
                <a:gd name="connsiteX999" fmla="*/ 709860 w 4829175"/>
                <a:gd name="connsiteY999" fmla="*/ 2121535 h 6515100"/>
                <a:gd name="connsiteX1000" fmla="*/ 705726 w 4829175"/>
                <a:gd name="connsiteY1000" fmla="*/ 2121535 h 6515100"/>
                <a:gd name="connsiteX1001" fmla="*/ 435314 w 4829175"/>
                <a:gd name="connsiteY1001" fmla="*/ 2392646 h 6515100"/>
                <a:gd name="connsiteX1002" fmla="*/ 706425 w 4829175"/>
                <a:gd name="connsiteY1002" fmla="*/ 2663058 h 6515100"/>
                <a:gd name="connsiteX1003" fmla="*/ 970548 w 4829175"/>
                <a:gd name="connsiteY1003" fmla="*/ 2663058 h 6515100"/>
                <a:gd name="connsiteX1004" fmla="*/ 699437 w 4829175"/>
                <a:gd name="connsiteY1004" fmla="*/ 2392646 h 6515100"/>
                <a:gd name="connsiteX1005" fmla="*/ 883903 w 4829175"/>
                <a:gd name="connsiteY1005" fmla="*/ 2208178 h 6515100"/>
                <a:gd name="connsiteX1006" fmla="*/ 969849 w 4829175"/>
                <a:gd name="connsiteY1006" fmla="*/ 2122234 h 6515100"/>
                <a:gd name="connsiteX1007" fmla="*/ 711316 w 4829175"/>
                <a:gd name="connsiteY1007" fmla="*/ 2122234 h 6515100"/>
                <a:gd name="connsiteX1008" fmla="*/ 709860 w 4829175"/>
                <a:gd name="connsiteY1008" fmla="*/ 2121535 h 6515100"/>
                <a:gd name="connsiteX1009" fmla="*/ 711316 w 4829175"/>
                <a:gd name="connsiteY1009" fmla="*/ 2121535 h 6515100"/>
                <a:gd name="connsiteX1010" fmla="*/ 693847 w 4829175"/>
                <a:gd name="connsiteY1010" fmla="*/ 2113150 h 6515100"/>
                <a:gd name="connsiteX1011" fmla="*/ 695191 w 4829175"/>
                <a:gd name="connsiteY1011" fmla="*/ 2114493 h 6515100"/>
                <a:gd name="connsiteX1012" fmla="*/ 693847 w 4829175"/>
                <a:gd name="connsiteY1012" fmla="*/ 2113849 h 6515100"/>
                <a:gd name="connsiteX1013" fmla="*/ 428326 w 4829175"/>
                <a:gd name="connsiteY1013" fmla="*/ 1849027 h 6515100"/>
                <a:gd name="connsiteX1014" fmla="*/ 712014 w 4829175"/>
                <a:gd name="connsiteY1014" fmla="*/ 1848328 h 6515100"/>
                <a:gd name="connsiteX1015" fmla="*/ 983125 w 4829175"/>
                <a:gd name="connsiteY1015" fmla="*/ 2118042 h 6515100"/>
                <a:gd name="connsiteX1016" fmla="*/ 980330 w 4829175"/>
                <a:gd name="connsiteY1016" fmla="*/ 2120836 h 6515100"/>
                <a:gd name="connsiteX1017" fmla="*/ 890192 w 4829175"/>
                <a:gd name="connsiteY1017" fmla="*/ 2211673 h 6515100"/>
                <a:gd name="connsiteX1018" fmla="*/ 712713 w 4829175"/>
                <a:gd name="connsiteY1018" fmla="*/ 2389152 h 6515100"/>
                <a:gd name="connsiteX1019" fmla="*/ 976837 w 4829175"/>
                <a:gd name="connsiteY1019" fmla="*/ 2389152 h 6515100"/>
                <a:gd name="connsiteX1020" fmla="*/ 1066275 w 4829175"/>
                <a:gd name="connsiteY1020" fmla="*/ 2299714 h 6515100"/>
                <a:gd name="connsiteX1021" fmla="*/ 1247249 w 4829175"/>
                <a:gd name="connsiteY1021" fmla="*/ 2118740 h 6515100"/>
                <a:gd name="connsiteX1022" fmla="*/ 1114488 w 4829175"/>
                <a:gd name="connsiteY1022" fmla="*/ 1986679 h 6515100"/>
                <a:gd name="connsiteX1023" fmla="*/ 976138 w 4829175"/>
                <a:gd name="connsiteY1023" fmla="*/ 1848328 h 6515100"/>
                <a:gd name="connsiteX1024" fmla="*/ 2359641 w 4829175"/>
                <a:gd name="connsiteY1024" fmla="*/ 1847630 h 6515100"/>
                <a:gd name="connsiteX1025" fmla="*/ 2489606 w 4829175"/>
                <a:gd name="connsiteY1025" fmla="*/ 1977595 h 6515100"/>
                <a:gd name="connsiteX1026" fmla="*/ 2630053 w 4829175"/>
                <a:gd name="connsiteY1026" fmla="*/ 2118042 h 6515100"/>
                <a:gd name="connsiteX1027" fmla="*/ 2359641 w 4829175"/>
                <a:gd name="connsiteY1027" fmla="*/ 2389152 h 6515100"/>
                <a:gd name="connsiteX1028" fmla="*/ 2623764 w 4829175"/>
                <a:gd name="connsiteY1028" fmla="*/ 2389152 h 6515100"/>
                <a:gd name="connsiteX1029" fmla="*/ 2894176 w 4829175"/>
                <a:gd name="connsiteY1029" fmla="*/ 2118042 h 6515100"/>
                <a:gd name="connsiteX1030" fmla="*/ 2623065 w 4829175"/>
                <a:gd name="connsiteY1030" fmla="*/ 1847630 h 6515100"/>
                <a:gd name="connsiteX1031" fmla="*/ 1810432 w 4829175"/>
                <a:gd name="connsiteY1031" fmla="*/ 1847630 h 6515100"/>
                <a:gd name="connsiteX1032" fmla="*/ 2081543 w 4829175"/>
                <a:gd name="connsiteY1032" fmla="*/ 2118042 h 6515100"/>
                <a:gd name="connsiteX1033" fmla="*/ 2078748 w 4829175"/>
                <a:gd name="connsiteY1033" fmla="*/ 2120836 h 6515100"/>
                <a:gd name="connsiteX1034" fmla="*/ 1988611 w 4829175"/>
                <a:gd name="connsiteY1034" fmla="*/ 2211673 h 6515100"/>
                <a:gd name="connsiteX1035" fmla="*/ 1987912 w 4829175"/>
                <a:gd name="connsiteY1035" fmla="*/ 2211673 h 6515100"/>
                <a:gd name="connsiteX1036" fmla="*/ 1811131 w 4829175"/>
                <a:gd name="connsiteY1036" fmla="*/ 2389152 h 6515100"/>
                <a:gd name="connsiteX1037" fmla="*/ 2074555 w 4829175"/>
                <a:gd name="connsiteY1037" fmla="*/ 2388454 h 6515100"/>
                <a:gd name="connsiteX1038" fmla="*/ 2163994 w 4829175"/>
                <a:gd name="connsiteY1038" fmla="*/ 2299015 h 6515100"/>
                <a:gd name="connsiteX1039" fmla="*/ 2164693 w 4829175"/>
                <a:gd name="connsiteY1039" fmla="*/ 2299015 h 6515100"/>
                <a:gd name="connsiteX1040" fmla="*/ 2345666 w 4829175"/>
                <a:gd name="connsiteY1040" fmla="*/ 2118042 h 6515100"/>
                <a:gd name="connsiteX1041" fmla="*/ 2074555 w 4829175"/>
                <a:gd name="connsiteY1041" fmla="*/ 1847630 h 6515100"/>
                <a:gd name="connsiteX1042" fmla="*/ 2907452 w 4829175"/>
                <a:gd name="connsiteY1042" fmla="*/ 1846931 h 6515100"/>
                <a:gd name="connsiteX1043" fmla="*/ 3178563 w 4829175"/>
                <a:gd name="connsiteY1043" fmla="*/ 2117343 h 6515100"/>
                <a:gd name="connsiteX1044" fmla="*/ 2908151 w 4829175"/>
                <a:gd name="connsiteY1044" fmla="*/ 2388454 h 6515100"/>
                <a:gd name="connsiteX1045" fmla="*/ 3172275 w 4829175"/>
                <a:gd name="connsiteY1045" fmla="*/ 2388454 h 6515100"/>
                <a:gd name="connsiteX1046" fmla="*/ 3442687 w 4829175"/>
                <a:gd name="connsiteY1046" fmla="*/ 2117343 h 6515100"/>
                <a:gd name="connsiteX1047" fmla="*/ 3171576 w 4829175"/>
                <a:gd name="connsiteY1047" fmla="*/ 1846931 h 6515100"/>
                <a:gd name="connsiteX1048" fmla="*/ 4004473 w 4829175"/>
                <a:gd name="connsiteY1048" fmla="*/ 1844834 h 6515100"/>
                <a:gd name="connsiteX1049" fmla="*/ 4005871 w 4829175"/>
                <a:gd name="connsiteY1049" fmla="*/ 1846232 h 6515100"/>
                <a:gd name="connsiteX1050" fmla="*/ 4274885 w 4829175"/>
                <a:gd name="connsiteY1050" fmla="*/ 2115246 h 6515100"/>
                <a:gd name="connsiteX1051" fmla="*/ 4004473 w 4829175"/>
                <a:gd name="connsiteY1051" fmla="*/ 2386357 h 6515100"/>
                <a:gd name="connsiteX1052" fmla="*/ 4268597 w 4829175"/>
                <a:gd name="connsiteY1052" fmla="*/ 2386357 h 6515100"/>
                <a:gd name="connsiteX1053" fmla="*/ 4539009 w 4829175"/>
                <a:gd name="connsiteY1053" fmla="*/ 2115246 h 6515100"/>
                <a:gd name="connsiteX1054" fmla="*/ 4534118 w 4829175"/>
                <a:gd name="connsiteY1054" fmla="*/ 2110355 h 6515100"/>
                <a:gd name="connsiteX1055" fmla="*/ 4268597 w 4829175"/>
                <a:gd name="connsiteY1055" fmla="*/ 1844834 h 6515100"/>
                <a:gd name="connsiteX1056" fmla="*/ 705027 w 4829175"/>
                <a:gd name="connsiteY1056" fmla="*/ 1574422 h 6515100"/>
                <a:gd name="connsiteX1057" fmla="*/ 434615 w 4829175"/>
                <a:gd name="connsiteY1057" fmla="*/ 1845533 h 6515100"/>
                <a:gd name="connsiteX1058" fmla="*/ 705726 w 4829175"/>
                <a:gd name="connsiteY1058" fmla="*/ 2115945 h 6515100"/>
                <a:gd name="connsiteX1059" fmla="*/ 969849 w 4829175"/>
                <a:gd name="connsiteY1059" fmla="*/ 2115945 h 6515100"/>
                <a:gd name="connsiteX1060" fmla="*/ 698738 w 4829175"/>
                <a:gd name="connsiteY1060" fmla="*/ 1845533 h 6515100"/>
                <a:gd name="connsiteX1061" fmla="*/ 969150 w 4829175"/>
                <a:gd name="connsiteY1061" fmla="*/ 1574422 h 6515100"/>
                <a:gd name="connsiteX1062" fmla="*/ 1802746 w 4829175"/>
                <a:gd name="connsiteY1062" fmla="*/ 1573723 h 6515100"/>
                <a:gd name="connsiteX1063" fmla="*/ 1532333 w 4829175"/>
                <a:gd name="connsiteY1063" fmla="*/ 1844834 h 6515100"/>
                <a:gd name="connsiteX1064" fmla="*/ 1803445 w 4829175"/>
                <a:gd name="connsiteY1064" fmla="*/ 2115246 h 6515100"/>
                <a:gd name="connsiteX1065" fmla="*/ 2067568 w 4829175"/>
                <a:gd name="connsiteY1065" fmla="*/ 2115246 h 6515100"/>
                <a:gd name="connsiteX1066" fmla="*/ 1796458 w 4829175"/>
                <a:gd name="connsiteY1066" fmla="*/ 1844834 h 6515100"/>
                <a:gd name="connsiteX1067" fmla="*/ 2066870 w 4829175"/>
                <a:gd name="connsiteY1067" fmla="*/ 1573723 h 6515100"/>
                <a:gd name="connsiteX1068" fmla="*/ 1252838 w 4829175"/>
                <a:gd name="connsiteY1068" fmla="*/ 1573723 h 6515100"/>
                <a:gd name="connsiteX1069" fmla="*/ 983125 w 4829175"/>
                <a:gd name="connsiteY1069" fmla="*/ 1844834 h 6515100"/>
                <a:gd name="connsiteX1070" fmla="*/ 1183663 w 4829175"/>
                <a:gd name="connsiteY1070" fmla="*/ 2045372 h 6515100"/>
                <a:gd name="connsiteX1071" fmla="*/ 1254236 w 4829175"/>
                <a:gd name="connsiteY1071" fmla="*/ 2115246 h 6515100"/>
                <a:gd name="connsiteX1072" fmla="*/ 1322712 w 4829175"/>
                <a:gd name="connsiteY1072" fmla="*/ 2115246 h 6515100"/>
                <a:gd name="connsiteX1073" fmla="*/ 1322014 w 4829175"/>
                <a:gd name="connsiteY1073" fmla="*/ 2116644 h 6515100"/>
                <a:gd name="connsiteX1074" fmla="*/ 1519058 w 4829175"/>
                <a:gd name="connsiteY1074" fmla="*/ 2116644 h 6515100"/>
                <a:gd name="connsiteX1075" fmla="*/ 1247947 w 4829175"/>
                <a:gd name="connsiteY1075" fmla="*/ 1846232 h 6515100"/>
                <a:gd name="connsiteX1076" fmla="*/ 1248646 w 4829175"/>
                <a:gd name="connsiteY1076" fmla="*/ 1845533 h 6515100"/>
                <a:gd name="connsiteX1077" fmla="*/ 1246550 w 4829175"/>
                <a:gd name="connsiteY1077" fmla="*/ 1844834 h 6515100"/>
                <a:gd name="connsiteX1078" fmla="*/ 1516962 w 4829175"/>
                <a:gd name="connsiteY1078" fmla="*/ 1573723 h 6515100"/>
                <a:gd name="connsiteX1079" fmla="*/ 2899766 w 4829175"/>
                <a:gd name="connsiteY1079" fmla="*/ 1573024 h 6515100"/>
                <a:gd name="connsiteX1080" fmla="*/ 2629354 w 4829175"/>
                <a:gd name="connsiteY1080" fmla="*/ 1844135 h 6515100"/>
                <a:gd name="connsiteX1081" fmla="*/ 2900465 w 4829175"/>
                <a:gd name="connsiteY1081" fmla="*/ 2114547 h 6515100"/>
                <a:gd name="connsiteX1082" fmla="*/ 3164588 w 4829175"/>
                <a:gd name="connsiteY1082" fmla="*/ 2114547 h 6515100"/>
                <a:gd name="connsiteX1083" fmla="*/ 2893477 w 4829175"/>
                <a:gd name="connsiteY1083" fmla="*/ 1844135 h 6515100"/>
                <a:gd name="connsiteX1084" fmla="*/ 3163889 w 4829175"/>
                <a:gd name="connsiteY1084" fmla="*/ 1573024 h 6515100"/>
                <a:gd name="connsiteX1085" fmla="*/ 2351257 w 4829175"/>
                <a:gd name="connsiteY1085" fmla="*/ 1573024 h 6515100"/>
                <a:gd name="connsiteX1086" fmla="*/ 2080844 w 4829175"/>
                <a:gd name="connsiteY1086" fmla="*/ 1844135 h 6515100"/>
                <a:gd name="connsiteX1087" fmla="*/ 2351955 w 4829175"/>
                <a:gd name="connsiteY1087" fmla="*/ 2114547 h 6515100"/>
                <a:gd name="connsiteX1088" fmla="*/ 2615379 w 4829175"/>
                <a:gd name="connsiteY1088" fmla="*/ 2114547 h 6515100"/>
                <a:gd name="connsiteX1089" fmla="*/ 2485414 w 4829175"/>
                <a:gd name="connsiteY1089" fmla="*/ 1984582 h 6515100"/>
                <a:gd name="connsiteX1090" fmla="*/ 2344968 w 4829175"/>
                <a:gd name="connsiteY1090" fmla="*/ 1844135 h 6515100"/>
                <a:gd name="connsiteX1091" fmla="*/ 2615379 w 4829175"/>
                <a:gd name="connsiteY1091" fmla="*/ 1573024 h 6515100"/>
                <a:gd name="connsiteX1092" fmla="*/ 3448276 w 4829175"/>
                <a:gd name="connsiteY1092" fmla="*/ 1572326 h 6515100"/>
                <a:gd name="connsiteX1093" fmla="*/ 3177864 w 4829175"/>
                <a:gd name="connsiteY1093" fmla="*/ 1843436 h 6515100"/>
                <a:gd name="connsiteX1094" fmla="*/ 3448975 w 4829175"/>
                <a:gd name="connsiteY1094" fmla="*/ 2113150 h 6515100"/>
                <a:gd name="connsiteX1095" fmla="*/ 3713099 w 4829175"/>
                <a:gd name="connsiteY1095" fmla="*/ 2113150 h 6515100"/>
                <a:gd name="connsiteX1096" fmla="*/ 3441988 w 4829175"/>
                <a:gd name="connsiteY1096" fmla="*/ 1842739 h 6515100"/>
                <a:gd name="connsiteX1097" fmla="*/ 3626455 w 4829175"/>
                <a:gd name="connsiteY1097" fmla="*/ 1658271 h 6515100"/>
                <a:gd name="connsiteX1098" fmla="*/ 3712400 w 4829175"/>
                <a:gd name="connsiteY1098" fmla="*/ 1572326 h 6515100"/>
                <a:gd name="connsiteX1099" fmla="*/ 4545297 w 4829175"/>
                <a:gd name="connsiteY1099" fmla="*/ 1570929 h 6515100"/>
                <a:gd name="connsiteX1100" fmla="*/ 4274885 w 4829175"/>
                <a:gd name="connsiteY1100" fmla="*/ 1842040 h 6515100"/>
                <a:gd name="connsiteX1101" fmla="*/ 4545996 w 4829175"/>
                <a:gd name="connsiteY1101" fmla="*/ 2111753 h 6515100"/>
                <a:gd name="connsiteX1102" fmla="*/ 4810119 w 4829175"/>
                <a:gd name="connsiteY1102" fmla="*/ 2111753 h 6515100"/>
                <a:gd name="connsiteX1103" fmla="*/ 4539009 w 4829175"/>
                <a:gd name="connsiteY1103" fmla="*/ 1841341 h 6515100"/>
                <a:gd name="connsiteX1104" fmla="*/ 4809421 w 4829175"/>
                <a:gd name="connsiteY1104" fmla="*/ 1570929 h 6515100"/>
                <a:gd name="connsiteX1105" fmla="*/ 164203 w 4829175"/>
                <a:gd name="connsiteY1105" fmla="*/ 1300517 h 6515100"/>
                <a:gd name="connsiteX1106" fmla="*/ 294168 w 4829175"/>
                <a:gd name="connsiteY1106" fmla="*/ 1430482 h 6515100"/>
                <a:gd name="connsiteX1107" fmla="*/ 434615 w 4829175"/>
                <a:gd name="connsiteY1107" fmla="*/ 1570929 h 6515100"/>
                <a:gd name="connsiteX1108" fmla="*/ 164203 w 4829175"/>
                <a:gd name="connsiteY1108" fmla="*/ 1842040 h 6515100"/>
                <a:gd name="connsiteX1109" fmla="*/ 428326 w 4829175"/>
                <a:gd name="connsiteY1109" fmla="*/ 1842040 h 6515100"/>
                <a:gd name="connsiteX1110" fmla="*/ 698738 w 4829175"/>
                <a:gd name="connsiteY1110" fmla="*/ 1570929 h 6515100"/>
                <a:gd name="connsiteX1111" fmla="*/ 427627 w 4829175"/>
                <a:gd name="connsiteY1111" fmla="*/ 1300517 h 6515100"/>
                <a:gd name="connsiteX1112" fmla="*/ 1809733 w 4829175"/>
                <a:gd name="connsiteY1112" fmla="*/ 1299818 h 6515100"/>
                <a:gd name="connsiteX1113" fmla="*/ 2080844 w 4829175"/>
                <a:gd name="connsiteY1113" fmla="*/ 1570230 h 6515100"/>
                <a:gd name="connsiteX1114" fmla="*/ 1810432 w 4829175"/>
                <a:gd name="connsiteY1114" fmla="*/ 1840642 h 6515100"/>
                <a:gd name="connsiteX1115" fmla="*/ 2074555 w 4829175"/>
                <a:gd name="connsiteY1115" fmla="*/ 1840642 h 6515100"/>
                <a:gd name="connsiteX1116" fmla="*/ 2344968 w 4829175"/>
                <a:gd name="connsiteY1116" fmla="*/ 1570230 h 6515100"/>
                <a:gd name="connsiteX1117" fmla="*/ 2073856 w 4829175"/>
                <a:gd name="connsiteY1117" fmla="*/ 1299818 h 6515100"/>
                <a:gd name="connsiteX1118" fmla="*/ 712014 w 4829175"/>
                <a:gd name="connsiteY1118" fmla="*/ 1299818 h 6515100"/>
                <a:gd name="connsiteX1119" fmla="*/ 983125 w 4829175"/>
                <a:gd name="connsiteY1119" fmla="*/ 1570230 h 6515100"/>
                <a:gd name="connsiteX1120" fmla="*/ 712713 w 4829175"/>
                <a:gd name="connsiteY1120" fmla="*/ 1841341 h 6515100"/>
                <a:gd name="connsiteX1121" fmla="*/ 976837 w 4829175"/>
                <a:gd name="connsiteY1121" fmla="*/ 1841341 h 6515100"/>
                <a:gd name="connsiteX1122" fmla="*/ 1247249 w 4829175"/>
                <a:gd name="connsiteY1122" fmla="*/ 1570230 h 6515100"/>
                <a:gd name="connsiteX1123" fmla="*/ 976138 w 4829175"/>
                <a:gd name="connsiteY1123" fmla="*/ 1299818 h 6515100"/>
                <a:gd name="connsiteX1124" fmla="*/ 2358243 w 4829175"/>
                <a:gd name="connsiteY1124" fmla="*/ 1299119 h 6515100"/>
                <a:gd name="connsiteX1125" fmla="*/ 2629354 w 4829175"/>
                <a:gd name="connsiteY1125" fmla="*/ 1569531 h 6515100"/>
                <a:gd name="connsiteX1126" fmla="*/ 2359641 w 4829175"/>
                <a:gd name="connsiteY1126" fmla="*/ 1840642 h 6515100"/>
                <a:gd name="connsiteX1127" fmla="*/ 2623065 w 4829175"/>
                <a:gd name="connsiteY1127" fmla="*/ 1840642 h 6515100"/>
                <a:gd name="connsiteX1128" fmla="*/ 2893477 w 4829175"/>
                <a:gd name="connsiteY1128" fmla="*/ 1569531 h 6515100"/>
                <a:gd name="connsiteX1129" fmla="*/ 2759320 w 4829175"/>
                <a:gd name="connsiteY1129" fmla="*/ 1436072 h 6515100"/>
                <a:gd name="connsiteX1130" fmla="*/ 2622367 w 4829175"/>
                <a:gd name="connsiteY1130" fmla="*/ 1299119 h 6515100"/>
                <a:gd name="connsiteX1131" fmla="*/ 2906754 w 4829175"/>
                <a:gd name="connsiteY1131" fmla="*/ 1298421 h 6515100"/>
                <a:gd name="connsiteX1132" fmla="*/ 2908151 w 4829175"/>
                <a:gd name="connsiteY1132" fmla="*/ 1299818 h 6515100"/>
                <a:gd name="connsiteX1133" fmla="*/ 3177864 w 4829175"/>
                <a:gd name="connsiteY1133" fmla="*/ 1568832 h 6515100"/>
                <a:gd name="connsiteX1134" fmla="*/ 2907452 w 4829175"/>
                <a:gd name="connsiteY1134" fmla="*/ 1839244 h 6515100"/>
                <a:gd name="connsiteX1135" fmla="*/ 3171576 w 4829175"/>
                <a:gd name="connsiteY1135" fmla="*/ 1839244 h 6515100"/>
                <a:gd name="connsiteX1136" fmla="*/ 3441988 w 4829175"/>
                <a:gd name="connsiteY1136" fmla="*/ 1568832 h 6515100"/>
                <a:gd name="connsiteX1137" fmla="*/ 3436398 w 4829175"/>
                <a:gd name="connsiteY1137" fmla="*/ 1563941 h 6515100"/>
                <a:gd name="connsiteX1138" fmla="*/ 3170877 w 4829175"/>
                <a:gd name="connsiteY1138" fmla="*/ 1298421 h 6515100"/>
                <a:gd name="connsiteX1139" fmla="*/ 1525347 w 4829175"/>
                <a:gd name="connsiteY1139" fmla="*/ 1298421 h 6515100"/>
                <a:gd name="connsiteX1140" fmla="*/ 1523949 w 4829175"/>
                <a:gd name="connsiteY1140" fmla="*/ 1299119 h 6515100"/>
                <a:gd name="connsiteX1141" fmla="*/ 1259826 w 4829175"/>
                <a:gd name="connsiteY1141" fmla="*/ 1299119 h 6515100"/>
                <a:gd name="connsiteX1142" fmla="*/ 1530937 w 4829175"/>
                <a:gd name="connsiteY1142" fmla="*/ 1569531 h 6515100"/>
                <a:gd name="connsiteX1143" fmla="*/ 1526744 w 4829175"/>
                <a:gd name="connsiteY1143" fmla="*/ 1573723 h 6515100"/>
                <a:gd name="connsiteX1144" fmla="*/ 1532333 w 4829175"/>
                <a:gd name="connsiteY1144" fmla="*/ 1570929 h 6515100"/>
                <a:gd name="connsiteX1145" fmla="*/ 1261921 w 4829175"/>
                <a:gd name="connsiteY1145" fmla="*/ 1842040 h 6515100"/>
                <a:gd name="connsiteX1146" fmla="*/ 1526046 w 4829175"/>
                <a:gd name="connsiteY1146" fmla="*/ 1842040 h 6515100"/>
                <a:gd name="connsiteX1147" fmla="*/ 1796458 w 4829175"/>
                <a:gd name="connsiteY1147" fmla="*/ 1570929 h 6515100"/>
                <a:gd name="connsiteX1148" fmla="*/ 1525347 w 4829175"/>
                <a:gd name="connsiteY1148" fmla="*/ 1300517 h 6515100"/>
                <a:gd name="connsiteX1149" fmla="*/ 3454565 w 4829175"/>
                <a:gd name="connsiteY1149" fmla="*/ 1297722 h 6515100"/>
                <a:gd name="connsiteX1150" fmla="*/ 3725676 w 4829175"/>
                <a:gd name="connsiteY1150" fmla="*/ 1568134 h 6515100"/>
                <a:gd name="connsiteX1151" fmla="*/ 3722882 w 4829175"/>
                <a:gd name="connsiteY1151" fmla="*/ 1570929 h 6515100"/>
                <a:gd name="connsiteX1152" fmla="*/ 3632744 w 4829175"/>
                <a:gd name="connsiteY1152" fmla="*/ 1661764 h 6515100"/>
                <a:gd name="connsiteX1153" fmla="*/ 3455264 w 4829175"/>
                <a:gd name="connsiteY1153" fmla="*/ 1838545 h 6515100"/>
                <a:gd name="connsiteX1154" fmla="*/ 3719387 w 4829175"/>
                <a:gd name="connsiteY1154" fmla="*/ 1838545 h 6515100"/>
                <a:gd name="connsiteX1155" fmla="*/ 3808826 w 4829175"/>
                <a:gd name="connsiteY1155" fmla="*/ 1749107 h 6515100"/>
                <a:gd name="connsiteX1156" fmla="*/ 3989799 w 4829175"/>
                <a:gd name="connsiteY1156" fmla="*/ 1568134 h 6515100"/>
                <a:gd name="connsiteX1157" fmla="*/ 3718688 w 4829175"/>
                <a:gd name="connsiteY1157" fmla="*/ 1297722 h 6515100"/>
                <a:gd name="connsiteX1158" fmla="*/ 1802048 w 4829175"/>
                <a:gd name="connsiteY1158" fmla="*/ 1025213 h 6515100"/>
                <a:gd name="connsiteX1159" fmla="*/ 1531636 w 4829175"/>
                <a:gd name="connsiteY1159" fmla="*/ 1296324 h 6515100"/>
                <a:gd name="connsiteX1160" fmla="*/ 1802746 w 4829175"/>
                <a:gd name="connsiteY1160" fmla="*/ 1566736 h 6515100"/>
                <a:gd name="connsiteX1161" fmla="*/ 2066870 w 4829175"/>
                <a:gd name="connsiteY1161" fmla="*/ 1566736 h 6515100"/>
                <a:gd name="connsiteX1162" fmla="*/ 1795759 w 4829175"/>
                <a:gd name="connsiteY1162" fmla="*/ 1296324 h 6515100"/>
                <a:gd name="connsiteX1163" fmla="*/ 2066171 w 4829175"/>
                <a:gd name="connsiteY1163" fmla="*/ 1025213 h 6515100"/>
                <a:gd name="connsiteX1164" fmla="*/ 704328 w 4829175"/>
                <a:gd name="connsiteY1164" fmla="*/ 1025213 h 6515100"/>
                <a:gd name="connsiteX1165" fmla="*/ 433916 w 4829175"/>
                <a:gd name="connsiteY1165" fmla="*/ 1296324 h 6515100"/>
                <a:gd name="connsiteX1166" fmla="*/ 705027 w 4829175"/>
                <a:gd name="connsiteY1166" fmla="*/ 1566736 h 6515100"/>
                <a:gd name="connsiteX1167" fmla="*/ 969150 w 4829175"/>
                <a:gd name="connsiteY1167" fmla="*/ 1566736 h 6515100"/>
                <a:gd name="connsiteX1168" fmla="*/ 698039 w 4829175"/>
                <a:gd name="connsiteY1168" fmla="*/ 1296324 h 6515100"/>
                <a:gd name="connsiteX1169" fmla="*/ 967752 w 4829175"/>
                <a:gd name="connsiteY1169" fmla="*/ 1025213 h 6515100"/>
                <a:gd name="connsiteX1170" fmla="*/ 2899067 w 4829175"/>
                <a:gd name="connsiteY1170" fmla="*/ 1024514 h 6515100"/>
                <a:gd name="connsiteX1171" fmla="*/ 2718793 w 4829175"/>
                <a:gd name="connsiteY1171" fmla="*/ 1204790 h 6515100"/>
                <a:gd name="connsiteX1172" fmla="*/ 2629354 w 4829175"/>
                <a:gd name="connsiteY1172" fmla="*/ 1294927 h 6515100"/>
                <a:gd name="connsiteX1173" fmla="*/ 2763512 w 4829175"/>
                <a:gd name="connsiteY1173" fmla="*/ 1428386 h 6515100"/>
                <a:gd name="connsiteX1174" fmla="*/ 2900465 w 4829175"/>
                <a:gd name="connsiteY1174" fmla="*/ 1565338 h 6515100"/>
                <a:gd name="connsiteX1175" fmla="*/ 3164588 w 4829175"/>
                <a:gd name="connsiteY1175" fmla="*/ 1565338 h 6515100"/>
                <a:gd name="connsiteX1176" fmla="*/ 2893477 w 4829175"/>
                <a:gd name="connsiteY1176" fmla="*/ 1294927 h 6515100"/>
                <a:gd name="connsiteX1177" fmla="*/ 2894875 w 4829175"/>
                <a:gd name="connsiteY1177" fmla="*/ 1293530 h 6515100"/>
                <a:gd name="connsiteX1178" fmla="*/ 3163191 w 4829175"/>
                <a:gd name="connsiteY1178" fmla="*/ 1024514 h 6515100"/>
                <a:gd name="connsiteX1179" fmla="*/ 2350558 w 4829175"/>
                <a:gd name="connsiteY1179" fmla="*/ 1024514 h 6515100"/>
                <a:gd name="connsiteX1180" fmla="*/ 2080145 w 4829175"/>
                <a:gd name="connsiteY1180" fmla="*/ 1295625 h 6515100"/>
                <a:gd name="connsiteX1181" fmla="*/ 2351257 w 4829175"/>
                <a:gd name="connsiteY1181" fmla="*/ 1566037 h 6515100"/>
                <a:gd name="connsiteX1182" fmla="*/ 2615379 w 4829175"/>
                <a:gd name="connsiteY1182" fmla="*/ 1566037 h 6515100"/>
                <a:gd name="connsiteX1183" fmla="*/ 2344269 w 4829175"/>
                <a:gd name="connsiteY1183" fmla="*/ 1295625 h 6515100"/>
                <a:gd name="connsiteX1184" fmla="*/ 2528736 w 4829175"/>
                <a:gd name="connsiteY1184" fmla="*/ 1111159 h 6515100"/>
                <a:gd name="connsiteX1185" fmla="*/ 2614681 w 4829175"/>
                <a:gd name="connsiteY1185" fmla="*/ 1025213 h 6515100"/>
                <a:gd name="connsiteX1186" fmla="*/ 2356148 w 4829175"/>
                <a:gd name="connsiteY1186" fmla="*/ 1025213 h 6515100"/>
                <a:gd name="connsiteX1187" fmla="*/ 1252838 w 4829175"/>
                <a:gd name="connsiteY1187" fmla="*/ 1024514 h 6515100"/>
                <a:gd name="connsiteX1188" fmla="*/ 982426 w 4829175"/>
                <a:gd name="connsiteY1188" fmla="*/ 1295625 h 6515100"/>
                <a:gd name="connsiteX1189" fmla="*/ 1253537 w 4829175"/>
                <a:gd name="connsiteY1189" fmla="*/ 1566037 h 6515100"/>
                <a:gd name="connsiteX1190" fmla="*/ 1517660 w 4829175"/>
                <a:gd name="connsiteY1190" fmla="*/ 1566037 h 6515100"/>
                <a:gd name="connsiteX1191" fmla="*/ 1246550 w 4829175"/>
                <a:gd name="connsiteY1191" fmla="*/ 1295625 h 6515100"/>
                <a:gd name="connsiteX1192" fmla="*/ 1431017 w 4829175"/>
                <a:gd name="connsiteY1192" fmla="*/ 1111159 h 6515100"/>
                <a:gd name="connsiteX1193" fmla="*/ 1516962 w 4829175"/>
                <a:gd name="connsiteY1193" fmla="*/ 1024514 h 6515100"/>
                <a:gd name="connsiteX1194" fmla="*/ 3447578 w 4829175"/>
                <a:gd name="connsiteY1194" fmla="*/ 1023816 h 6515100"/>
                <a:gd name="connsiteX1195" fmla="*/ 3177166 w 4829175"/>
                <a:gd name="connsiteY1195" fmla="*/ 1294927 h 6515100"/>
                <a:gd name="connsiteX1196" fmla="*/ 3448276 w 4829175"/>
                <a:gd name="connsiteY1196" fmla="*/ 1565338 h 6515100"/>
                <a:gd name="connsiteX1197" fmla="*/ 3712400 w 4829175"/>
                <a:gd name="connsiteY1197" fmla="*/ 1565338 h 6515100"/>
                <a:gd name="connsiteX1198" fmla="*/ 3441289 w 4829175"/>
                <a:gd name="connsiteY1198" fmla="*/ 1294927 h 6515100"/>
                <a:gd name="connsiteX1199" fmla="*/ 3711701 w 4829175"/>
                <a:gd name="connsiteY1199" fmla="*/ 1023816 h 6515100"/>
                <a:gd name="connsiteX1200" fmla="*/ 4544598 w 4829175"/>
                <a:gd name="connsiteY1200" fmla="*/ 1022419 h 6515100"/>
                <a:gd name="connsiteX1201" fmla="*/ 4274186 w 4829175"/>
                <a:gd name="connsiteY1201" fmla="*/ 1293530 h 6515100"/>
                <a:gd name="connsiteX1202" fmla="*/ 4545297 w 4829175"/>
                <a:gd name="connsiteY1202" fmla="*/ 1563941 h 6515100"/>
                <a:gd name="connsiteX1203" fmla="*/ 4809421 w 4829175"/>
                <a:gd name="connsiteY1203" fmla="*/ 1563941 h 6515100"/>
                <a:gd name="connsiteX1204" fmla="*/ 4538310 w 4829175"/>
                <a:gd name="connsiteY1204" fmla="*/ 1293530 h 6515100"/>
                <a:gd name="connsiteX1205" fmla="*/ 4722777 w 4829175"/>
                <a:gd name="connsiteY1205" fmla="*/ 1108363 h 6515100"/>
                <a:gd name="connsiteX1206" fmla="*/ 4722078 w 4829175"/>
                <a:gd name="connsiteY1206" fmla="*/ 1107664 h 6515100"/>
                <a:gd name="connsiteX1207" fmla="*/ 4807324 w 4829175"/>
                <a:gd name="connsiteY1207" fmla="*/ 1022419 h 6515100"/>
                <a:gd name="connsiteX1208" fmla="*/ 3995389 w 4829175"/>
                <a:gd name="connsiteY1208" fmla="*/ 1022419 h 6515100"/>
                <a:gd name="connsiteX1209" fmla="*/ 3724977 w 4829175"/>
                <a:gd name="connsiteY1209" fmla="*/ 1293530 h 6515100"/>
                <a:gd name="connsiteX1210" fmla="*/ 3996088 w 4829175"/>
                <a:gd name="connsiteY1210" fmla="*/ 1563941 h 6515100"/>
                <a:gd name="connsiteX1211" fmla="*/ 4064564 w 4829175"/>
                <a:gd name="connsiteY1211" fmla="*/ 1563941 h 6515100"/>
                <a:gd name="connsiteX1212" fmla="*/ 4061071 w 4829175"/>
                <a:gd name="connsiteY1212" fmla="*/ 1570929 h 6515100"/>
                <a:gd name="connsiteX1213" fmla="*/ 3996088 w 4829175"/>
                <a:gd name="connsiteY1213" fmla="*/ 1570929 h 6515100"/>
                <a:gd name="connsiteX1214" fmla="*/ 3815814 w 4829175"/>
                <a:gd name="connsiteY1214" fmla="*/ 1751902 h 6515100"/>
                <a:gd name="connsiteX1215" fmla="*/ 3726375 w 4829175"/>
                <a:gd name="connsiteY1215" fmla="*/ 1842040 h 6515100"/>
                <a:gd name="connsiteX1216" fmla="*/ 3859834 w 4829175"/>
                <a:gd name="connsiteY1216" fmla="*/ 1975498 h 6515100"/>
                <a:gd name="connsiteX1217" fmla="*/ 3857039 w 4829175"/>
                <a:gd name="connsiteY1217" fmla="*/ 1981088 h 6515100"/>
                <a:gd name="connsiteX1218" fmla="*/ 3857739 w 4829175"/>
                <a:gd name="connsiteY1218" fmla="*/ 1981785 h 6515100"/>
                <a:gd name="connsiteX1219" fmla="*/ 3857039 w 4829175"/>
                <a:gd name="connsiteY1219" fmla="*/ 1983185 h 6515100"/>
                <a:gd name="connsiteX1220" fmla="*/ 3720086 w 4829175"/>
                <a:gd name="connsiteY1220" fmla="*/ 1846232 h 6515100"/>
                <a:gd name="connsiteX1221" fmla="*/ 3455963 w 4829175"/>
                <a:gd name="connsiteY1221" fmla="*/ 1846232 h 6515100"/>
                <a:gd name="connsiteX1222" fmla="*/ 3727074 w 4829175"/>
                <a:gd name="connsiteY1222" fmla="*/ 2116644 h 6515100"/>
                <a:gd name="connsiteX1223" fmla="*/ 3456662 w 4829175"/>
                <a:gd name="connsiteY1223" fmla="*/ 2387755 h 6515100"/>
                <a:gd name="connsiteX1224" fmla="*/ 3654754 w 4829175"/>
                <a:gd name="connsiteY1224" fmla="*/ 2387755 h 6515100"/>
                <a:gd name="connsiteX1225" fmla="*/ 3652309 w 4829175"/>
                <a:gd name="connsiteY1225" fmla="*/ 2392646 h 6515100"/>
                <a:gd name="connsiteX1226" fmla="*/ 3652658 w 4829175"/>
                <a:gd name="connsiteY1226" fmla="*/ 2392646 h 6515100"/>
                <a:gd name="connsiteX1227" fmla="*/ 3651610 w 4829175"/>
                <a:gd name="connsiteY1227" fmla="*/ 2394742 h 6515100"/>
                <a:gd name="connsiteX1228" fmla="*/ 3456662 w 4829175"/>
                <a:gd name="connsiteY1228" fmla="*/ 2394742 h 6515100"/>
                <a:gd name="connsiteX1229" fmla="*/ 3586394 w 4829175"/>
                <a:gd name="connsiteY1229" fmla="*/ 2524475 h 6515100"/>
                <a:gd name="connsiteX1230" fmla="*/ 3583832 w 4829175"/>
                <a:gd name="connsiteY1230" fmla="*/ 2529598 h 6515100"/>
                <a:gd name="connsiteX1231" fmla="*/ 3584065 w 4829175"/>
                <a:gd name="connsiteY1231" fmla="*/ 2529831 h 6515100"/>
                <a:gd name="connsiteX1232" fmla="*/ 3583133 w 4829175"/>
                <a:gd name="connsiteY1232" fmla="*/ 2531695 h 6515100"/>
                <a:gd name="connsiteX1233" fmla="*/ 3442687 w 4829175"/>
                <a:gd name="connsiteY1233" fmla="*/ 2391248 h 6515100"/>
                <a:gd name="connsiteX1234" fmla="*/ 3713099 w 4829175"/>
                <a:gd name="connsiteY1234" fmla="*/ 2120137 h 6515100"/>
                <a:gd name="connsiteX1235" fmla="*/ 3448975 w 4829175"/>
                <a:gd name="connsiteY1235" fmla="*/ 2120137 h 6515100"/>
                <a:gd name="connsiteX1236" fmla="*/ 3178563 w 4829175"/>
                <a:gd name="connsiteY1236" fmla="*/ 2391248 h 6515100"/>
                <a:gd name="connsiteX1237" fmla="*/ 3448975 w 4829175"/>
                <a:gd name="connsiteY1237" fmla="*/ 2662359 h 6515100"/>
                <a:gd name="connsiteX1238" fmla="*/ 3517452 w 4829175"/>
                <a:gd name="connsiteY1238" fmla="*/ 2662359 h 6515100"/>
                <a:gd name="connsiteX1239" fmla="*/ 3513958 w 4829175"/>
                <a:gd name="connsiteY1239" fmla="*/ 2669346 h 6515100"/>
                <a:gd name="connsiteX1240" fmla="*/ 3448975 w 4829175"/>
                <a:gd name="connsiteY1240" fmla="*/ 2669346 h 6515100"/>
                <a:gd name="connsiteX1241" fmla="*/ 3268701 w 4829175"/>
                <a:gd name="connsiteY1241" fmla="*/ 2850320 h 6515100"/>
                <a:gd name="connsiteX1242" fmla="*/ 3179262 w 4829175"/>
                <a:gd name="connsiteY1242" fmla="*/ 2939758 h 6515100"/>
                <a:gd name="connsiteX1243" fmla="*/ 3312721 w 4829175"/>
                <a:gd name="connsiteY1243" fmla="*/ 3073916 h 6515100"/>
                <a:gd name="connsiteX1244" fmla="*/ 3451072 w 4829175"/>
                <a:gd name="connsiteY1244" fmla="*/ 3207376 h 6515100"/>
                <a:gd name="connsiteX1245" fmla="*/ 3715195 w 4829175"/>
                <a:gd name="connsiteY1245" fmla="*/ 3207376 h 6515100"/>
                <a:gd name="connsiteX1246" fmla="*/ 3444084 w 4829175"/>
                <a:gd name="connsiteY1246" fmla="*/ 2936964 h 6515100"/>
                <a:gd name="connsiteX1247" fmla="*/ 3445482 w 4829175"/>
                <a:gd name="connsiteY1247" fmla="*/ 2935566 h 6515100"/>
                <a:gd name="connsiteX1248" fmla="*/ 3713797 w 4829175"/>
                <a:gd name="connsiteY1248" fmla="*/ 2666552 h 6515100"/>
                <a:gd name="connsiteX1249" fmla="*/ 3515356 w 4829175"/>
                <a:gd name="connsiteY1249" fmla="*/ 2666552 h 6515100"/>
                <a:gd name="connsiteX1250" fmla="*/ 3518849 w 4829175"/>
                <a:gd name="connsiteY1250" fmla="*/ 2659564 h 6515100"/>
                <a:gd name="connsiteX1251" fmla="*/ 3713797 w 4829175"/>
                <a:gd name="connsiteY1251" fmla="*/ 2659564 h 6515100"/>
                <a:gd name="connsiteX1252" fmla="*/ 3584065 w 4829175"/>
                <a:gd name="connsiteY1252" fmla="*/ 2529831 h 6515100"/>
                <a:gd name="connsiteX1253" fmla="*/ 3586627 w 4829175"/>
                <a:gd name="connsiteY1253" fmla="*/ 2524708 h 6515100"/>
                <a:gd name="connsiteX1254" fmla="*/ 3586394 w 4829175"/>
                <a:gd name="connsiteY1254" fmla="*/ 2524475 h 6515100"/>
                <a:gd name="connsiteX1255" fmla="*/ 3587326 w 4829175"/>
                <a:gd name="connsiteY1255" fmla="*/ 2522611 h 6515100"/>
                <a:gd name="connsiteX1256" fmla="*/ 3727772 w 4829175"/>
                <a:gd name="connsiteY1256" fmla="*/ 2663058 h 6515100"/>
                <a:gd name="connsiteX1257" fmla="*/ 3457360 w 4829175"/>
                <a:gd name="connsiteY1257" fmla="*/ 2934169 h 6515100"/>
                <a:gd name="connsiteX1258" fmla="*/ 3721484 w 4829175"/>
                <a:gd name="connsiteY1258" fmla="*/ 2934169 h 6515100"/>
                <a:gd name="connsiteX1259" fmla="*/ 3991896 w 4829175"/>
                <a:gd name="connsiteY1259" fmla="*/ 2663058 h 6515100"/>
                <a:gd name="connsiteX1260" fmla="*/ 3720785 w 4829175"/>
                <a:gd name="connsiteY1260" fmla="*/ 2392646 h 6515100"/>
                <a:gd name="connsiteX1261" fmla="*/ 3652658 w 4829175"/>
                <a:gd name="connsiteY1261" fmla="*/ 2392646 h 6515100"/>
                <a:gd name="connsiteX1262" fmla="*/ 3655103 w 4829175"/>
                <a:gd name="connsiteY1262" fmla="*/ 2387755 h 6515100"/>
                <a:gd name="connsiteX1263" fmla="*/ 3654754 w 4829175"/>
                <a:gd name="connsiteY1263" fmla="*/ 2387755 h 6515100"/>
                <a:gd name="connsiteX1264" fmla="*/ 3655802 w 4829175"/>
                <a:gd name="connsiteY1264" fmla="*/ 2385658 h 6515100"/>
                <a:gd name="connsiteX1265" fmla="*/ 3720785 w 4829175"/>
                <a:gd name="connsiteY1265" fmla="*/ 2385658 h 6515100"/>
                <a:gd name="connsiteX1266" fmla="*/ 3991197 w 4829175"/>
                <a:gd name="connsiteY1266" fmla="*/ 2114547 h 6515100"/>
                <a:gd name="connsiteX1267" fmla="*/ 3857739 w 4829175"/>
                <a:gd name="connsiteY1267" fmla="*/ 1981785 h 6515100"/>
                <a:gd name="connsiteX1268" fmla="*/ 3860533 w 4829175"/>
                <a:gd name="connsiteY1268" fmla="*/ 1976197 h 6515100"/>
                <a:gd name="connsiteX1269" fmla="*/ 3859834 w 4829175"/>
                <a:gd name="connsiteY1269" fmla="*/ 1975498 h 6515100"/>
                <a:gd name="connsiteX1270" fmla="*/ 3860533 w 4829175"/>
                <a:gd name="connsiteY1270" fmla="*/ 1974101 h 6515100"/>
                <a:gd name="connsiteX1271" fmla="*/ 3997486 w 4829175"/>
                <a:gd name="connsiteY1271" fmla="*/ 2111054 h 6515100"/>
                <a:gd name="connsiteX1272" fmla="*/ 4261609 w 4829175"/>
                <a:gd name="connsiteY1272" fmla="*/ 2111054 h 6515100"/>
                <a:gd name="connsiteX1273" fmla="*/ 3990498 w 4829175"/>
                <a:gd name="connsiteY1273" fmla="*/ 1840642 h 6515100"/>
                <a:gd name="connsiteX1274" fmla="*/ 3991896 w 4829175"/>
                <a:gd name="connsiteY1274" fmla="*/ 1839244 h 6515100"/>
                <a:gd name="connsiteX1275" fmla="*/ 4260211 w 4829175"/>
                <a:gd name="connsiteY1275" fmla="*/ 1570230 h 6515100"/>
                <a:gd name="connsiteX1276" fmla="*/ 4061770 w 4829175"/>
                <a:gd name="connsiteY1276" fmla="*/ 1570230 h 6515100"/>
                <a:gd name="connsiteX1277" fmla="*/ 4065263 w 4829175"/>
                <a:gd name="connsiteY1277" fmla="*/ 1563243 h 6515100"/>
                <a:gd name="connsiteX1278" fmla="*/ 4260211 w 4829175"/>
                <a:gd name="connsiteY1278" fmla="*/ 1563243 h 6515100"/>
                <a:gd name="connsiteX1279" fmla="*/ 4130246 w 4829175"/>
                <a:gd name="connsiteY1279" fmla="*/ 1433278 h 6515100"/>
                <a:gd name="connsiteX1280" fmla="*/ 4133739 w 4829175"/>
                <a:gd name="connsiteY1280" fmla="*/ 1426290 h 6515100"/>
                <a:gd name="connsiteX1281" fmla="*/ 4274186 w 4829175"/>
                <a:gd name="connsiteY1281" fmla="*/ 1566736 h 6515100"/>
                <a:gd name="connsiteX1282" fmla="*/ 4003774 w 4829175"/>
                <a:gd name="connsiteY1282" fmla="*/ 1837847 h 6515100"/>
                <a:gd name="connsiteX1283" fmla="*/ 4267898 w 4829175"/>
                <a:gd name="connsiteY1283" fmla="*/ 1837847 h 6515100"/>
                <a:gd name="connsiteX1284" fmla="*/ 4538310 w 4829175"/>
                <a:gd name="connsiteY1284" fmla="*/ 1566736 h 6515100"/>
                <a:gd name="connsiteX1285" fmla="*/ 4267199 w 4829175"/>
                <a:gd name="connsiteY1285" fmla="*/ 1297023 h 6515100"/>
                <a:gd name="connsiteX1286" fmla="*/ 4198723 w 4829175"/>
                <a:gd name="connsiteY1286" fmla="*/ 1297023 h 6515100"/>
                <a:gd name="connsiteX1287" fmla="*/ 4003774 w 4829175"/>
                <a:gd name="connsiteY1287" fmla="*/ 1297023 h 6515100"/>
                <a:gd name="connsiteX1288" fmla="*/ 4133040 w 4829175"/>
                <a:gd name="connsiteY1288" fmla="*/ 1426989 h 6515100"/>
                <a:gd name="connsiteX1289" fmla="*/ 4129547 w 4829175"/>
                <a:gd name="connsiteY1289" fmla="*/ 1433975 h 6515100"/>
                <a:gd name="connsiteX1290" fmla="*/ 3989100 w 4829175"/>
                <a:gd name="connsiteY1290" fmla="*/ 1293530 h 6515100"/>
                <a:gd name="connsiteX1291" fmla="*/ 4259512 w 4829175"/>
                <a:gd name="connsiteY1291" fmla="*/ 1022419 h 6515100"/>
                <a:gd name="connsiteX1292" fmla="*/ 162805 w 4829175"/>
                <a:gd name="connsiteY1292" fmla="*/ 752007 h 6515100"/>
                <a:gd name="connsiteX1293" fmla="*/ 433916 w 4829175"/>
                <a:gd name="connsiteY1293" fmla="*/ 1022419 h 6515100"/>
                <a:gd name="connsiteX1294" fmla="*/ 164203 w 4829175"/>
                <a:gd name="connsiteY1294" fmla="*/ 1293530 h 6515100"/>
                <a:gd name="connsiteX1295" fmla="*/ 427627 w 4829175"/>
                <a:gd name="connsiteY1295" fmla="*/ 1293530 h 6515100"/>
                <a:gd name="connsiteX1296" fmla="*/ 698039 w 4829175"/>
                <a:gd name="connsiteY1296" fmla="*/ 1022419 h 6515100"/>
                <a:gd name="connsiteX1297" fmla="*/ 563881 w 4829175"/>
                <a:gd name="connsiteY1297" fmla="*/ 888959 h 6515100"/>
                <a:gd name="connsiteX1298" fmla="*/ 426928 w 4829175"/>
                <a:gd name="connsiteY1298" fmla="*/ 752007 h 6515100"/>
                <a:gd name="connsiteX1299" fmla="*/ 1809035 w 4829175"/>
                <a:gd name="connsiteY1299" fmla="*/ 751308 h 6515100"/>
                <a:gd name="connsiteX1300" fmla="*/ 1937603 w 4829175"/>
                <a:gd name="connsiteY1300" fmla="*/ 879876 h 6515100"/>
                <a:gd name="connsiteX1301" fmla="*/ 2079447 w 4829175"/>
                <a:gd name="connsiteY1301" fmla="*/ 1021720 h 6515100"/>
                <a:gd name="connsiteX1302" fmla="*/ 1809035 w 4829175"/>
                <a:gd name="connsiteY1302" fmla="*/ 1292831 h 6515100"/>
                <a:gd name="connsiteX1303" fmla="*/ 2073158 w 4829175"/>
                <a:gd name="connsiteY1303" fmla="*/ 1292831 h 6515100"/>
                <a:gd name="connsiteX1304" fmla="*/ 2343570 w 4829175"/>
                <a:gd name="connsiteY1304" fmla="*/ 1021720 h 6515100"/>
                <a:gd name="connsiteX1305" fmla="*/ 2338678 w 4829175"/>
                <a:gd name="connsiteY1305" fmla="*/ 1016829 h 6515100"/>
                <a:gd name="connsiteX1306" fmla="*/ 2073158 w 4829175"/>
                <a:gd name="connsiteY1306" fmla="*/ 751308 h 6515100"/>
                <a:gd name="connsiteX1307" fmla="*/ 2357544 w 4829175"/>
                <a:gd name="connsiteY1307" fmla="*/ 750609 h 6515100"/>
                <a:gd name="connsiteX1308" fmla="*/ 2628655 w 4829175"/>
                <a:gd name="connsiteY1308" fmla="*/ 1020322 h 6515100"/>
                <a:gd name="connsiteX1309" fmla="*/ 2625861 w 4829175"/>
                <a:gd name="connsiteY1309" fmla="*/ 1023118 h 6515100"/>
                <a:gd name="connsiteX1310" fmla="*/ 2535723 w 4829175"/>
                <a:gd name="connsiteY1310" fmla="*/ 1113953 h 6515100"/>
                <a:gd name="connsiteX1311" fmla="*/ 2358243 w 4829175"/>
                <a:gd name="connsiteY1311" fmla="*/ 1291433 h 6515100"/>
                <a:gd name="connsiteX1312" fmla="*/ 2622367 w 4829175"/>
                <a:gd name="connsiteY1312" fmla="*/ 1291433 h 6515100"/>
                <a:gd name="connsiteX1313" fmla="*/ 2711805 w 4829175"/>
                <a:gd name="connsiteY1313" fmla="*/ 1201994 h 6515100"/>
                <a:gd name="connsiteX1314" fmla="*/ 2892779 w 4829175"/>
                <a:gd name="connsiteY1314" fmla="*/ 1021021 h 6515100"/>
                <a:gd name="connsiteX1315" fmla="*/ 2621668 w 4829175"/>
                <a:gd name="connsiteY1315" fmla="*/ 750609 h 6515100"/>
                <a:gd name="connsiteX1316" fmla="*/ 1259127 w 4829175"/>
                <a:gd name="connsiteY1316" fmla="*/ 750609 h 6515100"/>
                <a:gd name="connsiteX1317" fmla="*/ 1530238 w 4829175"/>
                <a:gd name="connsiteY1317" fmla="*/ 1020322 h 6515100"/>
                <a:gd name="connsiteX1318" fmla="*/ 1527442 w 4829175"/>
                <a:gd name="connsiteY1318" fmla="*/ 1023118 h 6515100"/>
                <a:gd name="connsiteX1319" fmla="*/ 1437306 w 4829175"/>
                <a:gd name="connsiteY1319" fmla="*/ 1113953 h 6515100"/>
                <a:gd name="connsiteX1320" fmla="*/ 1259826 w 4829175"/>
                <a:gd name="connsiteY1320" fmla="*/ 1291433 h 6515100"/>
                <a:gd name="connsiteX1321" fmla="*/ 1523949 w 4829175"/>
                <a:gd name="connsiteY1321" fmla="*/ 1291433 h 6515100"/>
                <a:gd name="connsiteX1322" fmla="*/ 1613388 w 4829175"/>
                <a:gd name="connsiteY1322" fmla="*/ 1201994 h 6515100"/>
                <a:gd name="connsiteX1323" fmla="*/ 1794361 w 4829175"/>
                <a:gd name="connsiteY1323" fmla="*/ 1021021 h 6515100"/>
                <a:gd name="connsiteX1324" fmla="*/ 1523250 w 4829175"/>
                <a:gd name="connsiteY1324" fmla="*/ 750609 h 6515100"/>
                <a:gd name="connsiteX1325" fmla="*/ 710617 w 4829175"/>
                <a:gd name="connsiteY1325" fmla="*/ 750609 h 6515100"/>
                <a:gd name="connsiteX1326" fmla="*/ 712014 w 4829175"/>
                <a:gd name="connsiteY1326" fmla="*/ 752007 h 6515100"/>
                <a:gd name="connsiteX1327" fmla="*/ 981727 w 4829175"/>
                <a:gd name="connsiteY1327" fmla="*/ 1021021 h 6515100"/>
                <a:gd name="connsiteX1328" fmla="*/ 711316 w 4829175"/>
                <a:gd name="connsiteY1328" fmla="*/ 1292132 h 6515100"/>
                <a:gd name="connsiteX1329" fmla="*/ 975439 w 4829175"/>
                <a:gd name="connsiteY1329" fmla="*/ 1292132 h 6515100"/>
                <a:gd name="connsiteX1330" fmla="*/ 1245851 w 4829175"/>
                <a:gd name="connsiteY1330" fmla="*/ 1021021 h 6515100"/>
                <a:gd name="connsiteX1331" fmla="*/ 1240261 w 4829175"/>
                <a:gd name="connsiteY1331" fmla="*/ 1016130 h 6515100"/>
                <a:gd name="connsiteX1332" fmla="*/ 974740 w 4829175"/>
                <a:gd name="connsiteY1332" fmla="*/ 750609 h 6515100"/>
                <a:gd name="connsiteX1333" fmla="*/ 2906055 w 4829175"/>
                <a:gd name="connsiteY1333" fmla="*/ 749910 h 6515100"/>
                <a:gd name="connsiteX1334" fmla="*/ 3036720 w 4829175"/>
                <a:gd name="connsiteY1334" fmla="*/ 879177 h 6515100"/>
                <a:gd name="connsiteX1335" fmla="*/ 3177166 w 4829175"/>
                <a:gd name="connsiteY1335" fmla="*/ 1019623 h 6515100"/>
                <a:gd name="connsiteX1336" fmla="*/ 2906754 w 4829175"/>
                <a:gd name="connsiteY1336" fmla="*/ 1290734 h 6515100"/>
                <a:gd name="connsiteX1337" fmla="*/ 3170877 w 4829175"/>
                <a:gd name="connsiteY1337" fmla="*/ 1290734 h 6515100"/>
                <a:gd name="connsiteX1338" fmla="*/ 3441289 w 4829175"/>
                <a:gd name="connsiteY1338" fmla="*/ 1020322 h 6515100"/>
                <a:gd name="connsiteX1339" fmla="*/ 3170178 w 4829175"/>
                <a:gd name="connsiteY1339" fmla="*/ 749910 h 6515100"/>
                <a:gd name="connsiteX1340" fmla="*/ 3454565 w 4829175"/>
                <a:gd name="connsiteY1340" fmla="*/ 749211 h 6515100"/>
                <a:gd name="connsiteX1341" fmla="*/ 3725676 w 4829175"/>
                <a:gd name="connsiteY1341" fmla="*/ 1019623 h 6515100"/>
                <a:gd name="connsiteX1342" fmla="*/ 3455264 w 4829175"/>
                <a:gd name="connsiteY1342" fmla="*/ 1290734 h 6515100"/>
                <a:gd name="connsiteX1343" fmla="*/ 3719387 w 4829175"/>
                <a:gd name="connsiteY1343" fmla="*/ 1290734 h 6515100"/>
                <a:gd name="connsiteX1344" fmla="*/ 3989799 w 4829175"/>
                <a:gd name="connsiteY1344" fmla="*/ 1019623 h 6515100"/>
                <a:gd name="connsiteX1345" fmla="*/ 3718688 w 4829175"/>
                <a:gd name="connsiteY1345" fmla="*/ 749211 h 6515100"/>
                <a:gd name="connsiteX1346" fmla="*/ 4003075 w 4829175"/>
                <a:gd name="connsiteY1346" fmla="*/ 748512 h 6515100"/>
                <a:gd name="connsiteX1347" fmla="*/ 4274186 w 4829175"/>
                <a:gd name="connsiteY1347" fmla="*/ 1018924 h 6515100"/>
                <a:gd name="connsiteX1348" fmla="*/ 4003774 w 4829175"/>
                <a:gd name="connsiteY1348" fmla="*/ 1290035 h 6515100"/>
                <a:gd name="connsiteX1349" fmla="*/ 4202216 w 4829175"/>
                <a:gd name="connsiteY1349" fmla="*/ 1290035 h 6515100"/>
                <a:gd name="connsiteX1350" fmla="*/ 4267199 w 4829175"/>
                <a:gd name="connsiteY1350" fmla="*/ 1290035 h 6515100"/>
                <a:gd name="connsiteX1351" fmla="*/ 4538310 w 4829175"/>
                <a:gd name="connsiteY1351" fmla="*/ 1018924 h 6515100"/>
                <a:gd name="connsiteX1352" fmla="*/ 4404151 w 4829175"/>
                <a:gd name="connsiteY1352" fmla="*/ 885466 h 6515100"/>
                <a:gd name="connsiteX1353" fmla="*/ 4267199 w 4829175"/>
                <a:gd name="connsiteY1353" fmla="*/ 748512 h 6515100"/>
                <a:gd name="connsiteX1354" fmla="*/ 702930 w 4829175"/>
                <a:gd name="connsiteY1354" fmla="*/ 476704 h 6515100"/>
                <a:gd name="connsiteX1355" fmla="*/ 522656 w 4829175"/>
                <a:gd name="connsiteY1355" fmla="*/ 657677 h 6515100"/>
                <a:gd name="connsiteX1356" fmla="*/ 433217 w 4829175"/>
                <a:gd name="connsiteY1356" fmla="*/ 747814 h 6515100"/>
                <a:gd name="connsiteX1357" fmla="*/ 567375 w 4829175"/>
                <a:gd name="connsiteY1357" fmla="*/ 881273 h 6515100"/>
                <a:gd name="connsiteX1358" fmla="*/ 704328 w 4829175"/>
                <a:gd name="connsiteY1358" fmla="*/ 1018227 h 6515100"/>
                <a:gd name="connsiteX1359" fmla="*/ 968451 w 4829175"/>
                <a:gd name="connsiteY1359" fmla="*/ 1018227 h 6515100"/>
                <a:gd name="connsiteX1360" fmla="*/ 697340 w 4829175"/>
                <a:gd name="connsiteY1360" fmla="*/ 747814 h 6515100"/>
                <a:gd name="connsiteX1361" fmla="*/ 698738 w 4829175"/>
                <a:gd name="connsiteY1361" fmla="*/ 746417 h 6515100"/>
                <a:gd name="connsiteX1362" fmla="*/ 967054 w 4829175"/>
                <a:gd name="connsiteY1362" fmla="*/ 476704 h 6515100"/>
                <a:gd name="connsiteX1363" fmla="*/ 1252140 w 4829175"/>
                <a:gd name="connsiteY1363" fmla="*/ 476005 h 6515100"/>
                <a:gd name="connsiteX1364" fmla="*/ 981727 w 4829175"/>
                <a:gd name="connsiteY1364" fmla="*/ 747116 h 6515100"/>
                <a:gd name="connsiteX1365" fmla="*/ 1252838 w 4829175"/>
                <a:gd name="connsiteY1365" fmla="*/ 1017528 h 6515100"/>
                <a:gd name="connsiteX1366" fmla="*/ 1516962 w 4829175"/>
                <a:gd name="connsiteY1366" fmla="*/ 1017528 h 6515100"/>
                <a:gd name="connsiteX1367" fmla="*/ 1245851 w 4829175"/>
                <a:gd name="connsiteY1367" fmla="*/ 747116 h 6515100"/>
                <a:gd name="connsiteX1368" fmla="*/ 1516263 w 4829175"/>
                <a:gd name="connsiteY1368" fmla="*/ 476005 h 6515100"/>
                <a:gd name="connsiteX1369" fmla="*/ 2899067 w 4829175"/>
                <a:gd name="connsiteY1369" fmla="*/ 475306 h 6515100"/>
                <a:gd name="connsiteX1370" fmla="*/ 2628655 w 4829175"/>
                <a:gd name="connsiteY1370" fmla="*/ 746417 h 6515100"/>
                <a:gd name="connsiteX1371" fmla="*/ 2899766 w 4829175"/>
                <a:gd name="connsiteY1371" fmla="*/ 1016829 h 6515100"/>
                <a:gd name="connsiteX1372" fmla="*/ 3163191 w 4829175"/>
                <a:gd name="connsiteY1372" fmla="*/ 1016829 h 6515100"/>
                <a:gd name="connsiteX1373" fmla="*/ 3032527 w 4829175"/>
                <a:gd name="connsiteY1373" fmla="*/ 886863 h 6515100"/>
                <a:gd name="connsiteX1374" fmla="*/ 2892081 w 4829175"/>
                <a:gd name="connsiteY1374" fmla="*/ 746417 h 6515100"/>
                <a:gd name="connsiteX1375" fmla="*/ 3163191 w 4829175"/>
                <a:gd name="connsiteY1375" fmla="*/ 475306 h 6515100"/>
                <a:gd name="connsiteX1376" fmla="*/ 1799951 w 4829175"/>
                <a:gd name="connsiteY1376" fmla="*/ 475306 h 6515100"/>
                <a:gd name="connsiteX1377" fmla="*/ 1529539 w 4829175"/>
                <a:gd name="connsiteY1377" fmla="*/ 746417 h 6515100"/>
                <a:gd name="connsiteX1378" fmla="*/ 1800650 w 4829175"/>
                <a:gd name="connsiteY1378" fmla="*/ 1016829 h 6515100"/>
                <a:gd name="connsiteX1379" fmla="*/ 1802048 w 4829175"/>
                <a:gd name="connsiteY1379" fmla="*/ 1018227 h 6515100"/>
                <a:gd name="connsiteX1380" fmla="*/ 2066171 w 4829175"/>
                <a:gd name="connsiteY1380" fmla="*/ 1018227 h 6515100"/>
                <a:gd name="connsiteX1381" fmla="*/ 1934808 w 4829175"/>
                <a:gd name="connsiteY1381" fmla="*/ 886863 h 6515100"/>
                <a:gd name="connsiteX1382" fmla="*/ 1797155 w 4829175"/>
                <a:gd name="connsiteY1382" fmla="*/ 749211 h 6515100"/>
                <a:gd name="connsiteX1383" fmla="*/ 2066171 w 4829175"/>
                <a:gd name="connsiteY1383" fmla="*/ 475306 h 6515100"/>
                <a:gd name="connsiteX1384" fmla="*/ 3446879 w 4829175"/>
                <a:gd name="connsiteY1384" fmla="*/ 474607 h 6515100"/>
                <a:gd name="connsiteX1385" fmla="*/ 3176467 w 4829175"/>
                <a:gd name="connsiteY1385" fmla="*/ 745718 h 6515100"/>
                <a:gd name="connsiteX1386" fmla="*/ 3447578 w 4829175"/>
                <a:gd name="connsiteY1386" fmla="*/ 1016130 h 6515100"/>
                <a:gd name="connsiteX1387" fmla="*/ 3711701 w 4829175"/>
                <a:gd name="connsiteY1387" fmla="*/ 1016130 h 6515100"/>
                <a:gd name="connsiteX1388" fmla="*/ 3440590 w 4829175"/>
                <a:gd name="connsiteY1388" fmla="*/ 745718 h 6515100"/>
                <a:gd name="connsiteX1389" fmla="*/ 3625057 w 4829175"/>
                <a:gd name="connsiteY1389" fmla="*/ 561251 h 6515100"/>
                <a:gd name="connsiteX1390" fmla="*/ 3709605 w 4829175"/>
                <a:gd name="connsiteY1390" fmla="*/ 474607 h 6515100"/>
                <a:gd name="connsiteX1391" fmla="*/ 3995389 w 4829175"/>
                <a:gd name="connsiteY1391" fmla="*/ 473908 h 6515100"/>
                <a:gd name="connsiteX1392" fmla="*/ 3724977 w 4829175"/>
                <a:gd name="connsiteY1392" fmla="*/ 745019 h 6515100"/>
                <a:gd name="connsiteX1393" fmla="*/ 3996088 w 4829175"/>
                <a:gd name="connsiteY1393" fmla="*/ 1015431 h 6515100"/>
                <a:gd name="connsiteX1394" fmla="*/ 4260211 w 4829175"/>
                <a:gd name="connsiteY1394" fmla="*/ 1015431 h 6515100"/>
                <a:gd name="connsiteX1395" fmla="*/ 3989100 w 4829175"/>
                <a:gd name="connsiteY1395" fmla="*/ 745019 h 6515100"/>
                <a:gd name="connsiteX1396" fmla="*/ 3990498 w 4829175"/>
                <a:gd name="connsiteY1396" fmla="*/ 743621 h 6515100"/>
                <a:gd name="connsiteX1397" fmla="*/ 3989799 w 4829175"/>
                <a:gd name="connsiteY1397" fmla="*/ 743621 h 6515100"/>
                <a:gd name="connsiteX1398" fmla="*/ 4258116 w 4829175"/>
                <a:gd name="connsiteY1398" fmla="*/ 474607 h 6515100"/>
                <a:gd name="connsiteX1399" fmla="*/ 3999582 w 4829175"/>
                <a:gd name="connsiteY1399" fmla="*/ 474607 h 6515100"/>
                <a:gd name="connsiteX1400" fmla="*/ 4000979 w 4829175"/>
                <a:gd name="connsiteY1400" fmla="*/ 473908 h 6515100"/>
                <a:gd name="connsiteX1401" fmla="*/ 4543201 w 4829175"/>
                <a:gd name="connsiteY1401" fmla="*/ 473209 h 6515100"/>
                <a:gd name="connsiteX1402" fmla="*/ 4362227 w 4829175"/>
                <a:gd name="connsiteY1402" fmla="*/ 654183 h 6515100"/>
                <a:gd name="connsiteX1403" fmla="*/ 4362926 w 4829175"/>
                <a:gd name="connsiteY1403" fmla="*/ 654882 h 6515100"/>
                <a:gd name="connsiteX1404" fmla="*/ 4273487 w 4829175"/>
                <a:gd name="connsiteY1404" fmla="*/ 745019 h 6515100"/>
                <a:gd name="connsiteX1405" fmla="*/ 4407646 w 4829175"/>
                <a:gd name="connsiteY1405" fmla="*/ 878479 h 6515100"/>
                <a:gd name="connsiteX1406" fmla="*/ 4543899 w 4829175"/>
                <a:gd name="connsiteY1406" fmla="*/ 1014732 h 6515100"/>
                <a:gd name="connsiteX1407" fmla="*/ 4808023 w 4829175"/>
                <a:gd name="connsiteY1407" fmla="*/ 1014732 h 6515100"/>
                <a:gd name="connsiteX1408" fmla="*/ 4536912 w 4829175"/>
                <a:gd name="connsiteY1408" fmla="*/ 744320 h 6515100"/>
                <a:gd name="connsiteX1409" fmla="*/ 4807324 w 4829175"/>
                <a:gd name="connsiteY1409" fmla="*/ 473209 h 6515100"/>
                <a:gd name="connsiteX1410" fmla="*/ 2616078 w 4829175"/>
                <a:gd name="connsiteY1410" fmla="*/ 473209 h 6515100"/>
                <a:gd name="connsiteX1411" fmla="*/ 2349859 w 4829175"/>
                <a:gd name="connsiteY1411" fmla="*/ 476005 h 6515100"/>
                <a:gd name="connsiteX1412" fmla="*/ 2079447 w 4829175"/>
                <a:gd name="connsiteY1412" fmla="*/ 747116 h 6515100"/>
                <a:gd name="connsiteX1413" fmla="*/ 2350558 w 4829175"/>
                <a:gd name="connsiteY1413" fmla="*/ 1017528 h 6515100"/>
                <a:gd name="connsiteX1414" fmla="*/ 2614681 w 4829175"/>
                <a:gd name="connsiteY1414" fmla="*/ 1017528 h 6515100"/>
                <a:gd name="connsiteX1415" fmla="*/ 2343570 w 4829175"/>
                <a:gd name="connsiteY1415" fmla="*/ 747116 h 6515100"/>
                <a:gd name="connsiteX1416" fmla="*/ 161407 w 4829175"/>
                <a:gd name="connsiteY1416" fmla="*/ 203496 h 6515100"/>
                <a:gd name="connsiteX1417" fmla="*/ 432518 w 4829175"/>
                <a:gd name="connsiteY1417" fmla="*/ 473908 h 6515100"/>
                <a:gd name="connsiteX1418" fmla="*/ 429724 w 4829175"/>
                <a:gd name="connsiteY1418" fmla="*/ 476704 h 6515100"/>
                <a:gd name="connsiteX1419" fmla="*/ 339586 w 4829175"/>
                <a:gd name="connsiteY1419" fmla="*/ 567539 h 6515100"/>
                <a:gd name="connsiteX1420" fmla="*/ 162106 w 4829175"/>
                <a:gd name="connsiteY1420" fmla="*/ 744320 h 6515100"/>
                <a:gd name="connsiteX1421" fmla="*/ 426230 w 4829175"/>
                <a:gd name="connsiteY1421" fmla="*/ 744320 h 6515100"/>
                <a:gd name="connsiteX1422" fmla="*/ 515668 w 4829175"/>
                <a:gd name="connsiteY1422" fmla="*/ 654882 h 6515100"/>
                <a:gd name="connsiteX1423" fmla="*/ 696642 w 4829175"/>
                <a:gd name="connsiteY1423" fmla="*/ 473908 h 6515100"/>
                <a:gd name="connsiteX1424" fmla="*/ 425531 w 4829175"/>
                <a:gd name="connsiteY1424" fmla="*/ 203496 h 6515100"/>
                <a:gd name="connsiteX1425" fmla="*/ 710617 w 4829175"/>
                <a:gd name="connsiteY1425" fmla="*/ 202798 h 6515100"/>
                <a:gd name="connsiteX1426" fmla="*/ 840582 w 4829175"/>
                <a:gd name="connsiteY1426" fmla="*/ 332763 h 6515100"/>
                <a:gd name="connsiteX1427" fmla="*/ 981029 w 4829175"/>
                <a:gd name="connsiteY1427" fmla="*/ 472511 h 6515100"/>
                <a:gd name="connsiteX1428" fmla="*/ 710617 w 4829175"/>
                <a:gd name="connsiteY1428" fmla="*/ 743621 h 6515100"/>
                <a:gd name="connsiteX1429" fmla="*/ 974740 w 4829175"/>
                <a:gd name="connsiteY1429" fmla="*/ 743621 h 6515100"/>
                <a:gd name="connsiteX1430" fmla="*/ 1245851 w 4829175"/>
                <a:gd name="connsiteY1430" fmla="*/ 473209 h 6515100"/>
                <a:gd name="connsiteX1431" fmla="*/ 974740 w 4829175"/>
                <a:gd name="connsiteY1431" fmla="*/ 202798 h 6515100"/>
                <a:gd name="connsiteX1432" fmla="*/ 2906055 w 4829175"/>
                <a:gd name="connsiteY1432" fmla="*/ 202099 h 6515100"/>
                <a:gd name="connsiteX1433" fmla="*/ 3035322 w 4829175"/>
                <a:gd name="connsiteY1433" fmla="*/ 329968 h 6515100"/>
                <a:gd name="connsiteX1434" fmla="*/ 3035322 w 4829175"/>
                <a:gd name="connsiteY1434" fmla="*/ 330667 h 6515100"/>
                <a:gd name="connsiteX1435" fmla="*/ 3177166 w 4829175"/>
                <a:gd name="connsiteY1435" fmla="*/ 472511 h 6515100"/>
                <a:gd name="connsiteX1436" fmla="*/ 2906754 w 4829175"/>
                <a:gd name="connsiteY1436" fmla="*/ 743621 h 6515100"/>
                <a:gd name="connsiteX1437" fmla="*/ 3170178 w 4829175"/>
                <a:gd name="connsiteY1437" fmla="*/ 743621 h 6515100"/>
                <a:gd name="connsiteX1438" fmla="*/ 3440590 w 4829175"/>
                <a:gd name="connsiteY1438" fmla="*/ 472511 h 6515100"/>
                <a:gd name="connsiteX1439" fmla="*/ 3435000 w 4829175"/>
                <a:gd name="connsiteY1439" fmla="*/ 466921 h 6515100"/>
                <a:gd name="connsiteX1440" fmla="*/ 3434301 w 4829175"/>
                <a:gd name="connsiteY1440" fmla="*/ 466921 h 6515100"/>
                <a:gd name="connsiteX1441" fmla="*/ 3168781 w 4829175"/>
                <a:gd name="connsiteY1441" fmla="*/ 202099 h 6515100"/>
                <a:gd name="connsiteX1442" fmla="*/ 1808336 w 4829175"/>
                <a:gd name="connsiteY1442" fmla="*/ 202099 h 6515100"/>
                <a:gd name="connsiteX1443" fmla="*/ 1810426 w 4829175"/>
                <a:gd name="connsiteY1443" fmla="*/ 204887 h 6515100"/>
                <a:gd name="connsiteX1444" fmla="*/ 1809733 w 4829175"/>
                <a:gd name="connsiteY1444" fmla="*/ 204195 h 6515100"/>
                <a:gd name="connsiteX1445" fmla="*/ 1810432 w 4829175"/>
                <a:gd name="connsiteY1445" fmla="*/ 204894 h 6515100"/>
                <a:gd name="connsiteX1446" fmla="*/ 1810426 w 4829175"/>
                <a:gd name="connsiteY1446" fmla="*/ 204887 h 6515100"/>
                <a:gd name="connsiteX1447" fmla="*/ 2068965 w 4829175"/>
                <a:gd name="connsiteY1447" fmla="*/ 462729 h 6515100"/>
                <a:gd name="connsiteX1448" fmla="*/ 2078748 w 4829175"/>
                <a:gd name="connsiteY1448" fmla="*/ 471812 h 6515100"/>
                <a:gd name="connsiteX1449" fmla="*/ 2080844 w 4829175"/>
                <a:gd name="connsiteY1449" fmla="*/ 473908 h 6515100"/>
                <a:gd name="connsiteX1450" fmla="*/ 1816022 w 4829175"/>
                <a:gd name="connsiteY1450" fmla="*/ 743621 h 6515100"/>
                <a:gd name="connsiteX1451" fmla="*/ 2075254 w 4829175"/>
                <a:gd name="connsiteY1451" fmla="*/ 744320 h 6515100"/>
                <a:gd name="connsiteX1452" fmla="*/ 2344968 w 4829175"/>
                <a:gd name="connsiteY1452" fmla="*/ 473908 h 6515100"/>
                <a:gd name="connsiteX1453" fmla="*/ 2209412 w 4829175"/>
                <a:gd name="connsiteY1453" fmla="*/ 339051 h 6515100"/>
                <a:gd name="connsiteX1454" fmla="*/ 2192643 w 4829175"/>
                <a:gd name="connsiteY1454" fmla="*/ 322282 h 6515100"/>
                <a:gd name="connsiteX1455" fmla="*/ 2073158 w 4829175"/>
                <a:gd name="connsiteY1455" fmla="*/ 203496 h 6515100"/>
                <a:gd name="connsiteX1456" fmla="*/ 2068965 w 4829175"/>
                <a:gd name="connsiteY1456" fmla="*/ 202099 h 6515100"/>
                <a:gd name="connsiteX1457" fmla="*/ 1258428 w 4829175"/>
                <a:gd name="connsiteY1457" fmla="*/ 202099 h 6515100"/>
                <a:gd name="connsiteX1458" fmla="*/ 1529539 w 4829175"/>
                <a:gd name="connsiteY1458" fmla="*/ 472511 h 6515100"/>
                <a:gd name="connsiteX1459" fmla="*/ 1259127 w 4829175"/>
                <a:gd name="connsiteY1459" fmla="*/ 743621 h 6515100"/>
                <a:gd name="connsiteX1460" fmla="*/ 1523250 w 4829175"/>
                <a:gd name="connsiteY1460" fmla="*/ 743621 h 6515100"/>
                <a:gd name="connsiteX1461" fmla="*/ 1793662 w 4829175"/>
                <a:gd name="connsiteY1461" fmla="*/ 472511 h 6515100"/>
                <a:gd name="connsiteX1462" fmla="*/ 1522551 w 4829175"/>
                <a:gd name="connsiteY1462" fmla="*/ 202099 h 6515100"/>
                <a:gd name="connsiteX1463" fmla="*/ 2621668 w 4829175"/>
                <a:gd name="connsiteY1463" fmla="*/ 200701 h 6515100"/>
                <a:gd name="connsiteX1464" fmla="*/ 2358243 w 4829175"/>
                <a:gd name="connsiteY1464" fmla="*/ 201400 h 6515100"/>
                <a:gd name="connsiteX1465" fmla="*/ 2627259 w 4829175"/>
                <a:gd name="connsiteY1465" fmla="*/ 469716 h 6515100"/>
                <a:gd name="connsiteX1466" fmla="*/ 2626560 w 4829175"/>
                <a:gd name="connsiteY1466" fmla="*/ 470415 h 6515100"/>
                <a:gd name="connsiteX1467" fmla="*/ 2627957 w 4829175"/>
                <a:gd name="connsiteY1467" fmla="*/ 471812 h 6515100"/>
                <a:gd name="connsiteX1468" fmla="*/ 2357544 w 4829175"/>
                <a:gd name="connsiteY1468" fmla="*/ 742923 h 6515100"/>
                <a:gd name="connsiteX1469" fmla="*/ 2621668 w 4829175"/>
                <a:gd name="connsiteY1469" fmla="*/ 742923 h 6515100"/>
                <a:gd name="connsiteX1470" fmla="*/ 2711805 w 4829175"/>
                <a:gd name="connsiteY1470" fmla="*/ 652786 h 6515100"/>
                <a:gd name="connsiteX1471" fmla="*/ 2891382 w 4829175"/>
                <a:gd name="connsiteY1471" fmla="*/ 469716 h 6515100"/>
                <a:gd name="connsiteX1472" fmla="*/ 4001678 w 4829175"/>
                <a:gd name="connsiteY1472" fmla="*/ 200003 h 6515100"/>
                <a:gd name="connsiteX1473" fmla="*/ 4131644 w 4829175"/>
                <a:gd name="connsiteY1473" fmla="*/ 329269 h 6515100"/>
                <a:gd name="connsiteX1474" fmla="*/ 4272090 w 4829175"/>
                <a:gd name="connsiteY1474" fmla="*/ 469716 h 6515100"/>
                <a:gd name="connsiteX1475" fmla="*/ 4179158 w 4829175"/>
                <a:gd name="connsiteY1475" fmla="*/ 563347 h 6515100"/>
                <a:gd name="connsiteX1476" fmla="*/ 4179856 w 4829175"/>
                <a:gd name="connsiteY1476" fmla="*/ 564046 h 6515100"/>
                <a:gd name="connsiteX1477" fmla="*/ 4003075 w 4829175"/>
                <a:gd name="connsiteY1477" fmla="*/ 741525 h 6515100"/>
                <a:gd name="connsiteX1478" fmla="*/ 4265801 w 4829175"/>
                <a:gd name="connsiteY1478" fmla="*/ 741525 h 6515100"/>
                <a:gd name="connsiteX1479" fmla="*/ 4536213 w 4829175"/>
                <a:gd name="connsiteY1479" fmla="*/ 470415 h 6515100"/>
                <a:gd name="connsiteX1480" fmla="*/ 4265102 w 4829175"/>
                <a:gd name="connsiteY1480" fmla="*/ 200003 h 6515100"/>
                <a:gd name="connsiteX1481" fmla="*/ 3453167 w 4829175"/>
                <a:gd name="connsiteY1481" fmla="*/ 200003 h 6515100"/>
                <a:gd name="connsiteX1482" fmla="*/ 3724278 w 4829175"/>
                <a:gd name="connsiteY1482" fmla="*/ 470415 h 6515100"/>
                <a:gd name="connsiteX1483" fmla="*/ 3724977 w 4829175"/>
                <a:gd name="connsiteY1483" fmla="*/ 471113 h 6515100"/>
                <a:gd name="connsiteX1484" fmla="*/ 3454565 w 4829175"/>
                <a:gd name="connsiteY1484" fmla="*/ 742224 h 6515100"/>
                <a:gd name="connsiteX1485" fmla="*/ 3718688 w 4829175"/>
                <a:gd name="connsiteY1485" fmla="*/ 742224 h 6515100"/>
                <a:gd name="connsiteX1486" fmla="*/ 3808127 w 4829175"/>
                <a:gd name="connsiteY1486" fmla="*/ 652087 h 6515100"/>
                <a:gd name="connsiteX1487" fmla="*/ 3807428 w 4829175"/>
                <a:gd name="connsiteY1487" fmla="*/ 652087 h 6515100"/>
                <a:gd name="connsiteX1488" fmla="*/ 3988403 w 4829175"/>
                <a:gd name="connsiteY1488" fmla="*/ 471113 h 6515100"/>
                <a:gd name="connsiteX1489" fmla="*/ 3983511 w 4829175"/>
                <a:gd name="connsiteY1489" fmla="*/ 465523 h 6515100"/>
                <a:gd name="connsiteX1490" fmla="*/ 3717291 w 4829175"/>
                <a:gd name="connsiteY1490" fmla="*/ 200003 h 6515100"/>
                <a:gd name="connsiteX1491" fmla="*/ 348134 w 4829175"/>
                <a:gd name="connsiteY1491" fmla="*/ 0 h 6515100"/>
                <a:gd name="connsiteX1492" fmla="*/ 358615 w 4829175"/>
                <a:gd name="connsiteY1492" fmla="*/ 0 h 6515100"/>
                <a:gd name="connsiteX1493" fmla="*/ 162106 w 4829175"/>
                <a:gd name="connsiteY1493" fmla="*/ 196509 h 6515100"/>
                <a:gd name="connsiteX1494" fmla="*/ 426230 w 4829175"/>
                <a:gd name="connsiteY1494" fmla="*/ 196509 h 6515100"/>
                <a:gd name="connsiteX1495" fmla="*/ 622232 w 4829175"/>
                <a:gd name="connsiteY1495" fmla="*/ 0 h 6515100"/>
                <a:gd name="connsiteX1496" fmla="*/ 632006 w 4829175"/>
                <a:gd name="connsiteY1496" fmla="*/ 0 h 6515100"/>
                <a:gd name="connsiteX1497" fmla="*/ 432518 w 4829175"/>
                <a:gd name="connsiteY1497" fmla="*/ 200003 h 6515100"/>
                <a:gd name="connsiteX1498" fmla="*/ 704328 w 4829175"/>
                <a:gd name="connsiteY1498" fmla="*/ 470415 h 6515100"/>
                <a:gd name="connsiteX1499" fmla="*/ 967752 w 4829175"/>
                <a:gd name="connsiteY1499" fmla="*/ 470415 h 6515100"/>
                <a:gd name="connsiteX1500" fmla="*/ 837089 w 4829175"/>
                <a:gd name="connsiteY1500" fmla="*/ 340449 h 6515100"/>
                <a:gd name="connsiteX1501" fmla="*/ 696642 w 4829175"/>
                <a:gd name="connsiteY1501" fmla="*/ 200003 h 6515100"/>
                <a:gd name="connsiteX1502" fmla="*/ 896129 w 4829175"/>
                <a:gd name="connsiteY1502" fmla="*/ 0 h 6515100"/>
                <a:gd name="connsiteX1503" fmla="*/ 907318 w 4829175"/>
                <a:gd name="connsiteY1503" fmla="*/ 0 h 6515100"/>
                <a:gd name="connsiteX1504" fmla="*/ 711316 w 4829175"/>
                <a:gd name="connsiteY1504" fmla="*/ 196509 h 6515100"/>
                <a:gd name="connsiteX1505" fmla="*/ 974740 w 4829175"/>
                <a:gd name="connsiteY1505" fmla="*/ 196509 h 6515100"/>
                <a:gd name="connsiteX1506" fmla="*/ 1170742 w 4829175"/>
                <a:gd name="connsiteY1506" fmla="*/ 0 h 6515100"/>
                <a:gd name="connsiteX1507" fmla="*/ 1179819 w 4829175"/>
                <a:gd name="connsiteY1507" fmla="*/ 0 h 6515100"/>
                <a:gd name="connsiteX1508" fmla="*/ 981029 w 4829175"/>
                <a:gd name="connsiteY1508" fmla="*/ 199304 h 6515100"/>
                <a:gd name="connsiteX1509" fmla="*/ 1252140 w 4829175"/>
                <a:gd name="connsiteY1509" fmla="*/ 469716 h 6515100"/>
                <a:gd name="connsiteX1510" fmla="*/ 1516263 w 4829175"/>
                <a:gd name="connsiteY1510" fmla="*/ 469716 h 6515100"/>
                <a:gd name="connsiteX1511" fmla="*/ 1245152 w 4829175"/>
                <a:gd name="connsiteY1511" fmla="*/ 199304 h 6515100"/>
                <a:gd name="connsiteX1512" fmla="*/ 1443942 w 4829175"/>
                <a:gd name="connsiteY1512" fmla="*/ 0 h 6515100"/>
                <a:gd name="connsiteX1513" fmla="*/ 1453410 w 4829175"/>
                <a:gd name="connsiteY1513" fmla="*/ 0 h 6515100"/>
                <a:gd name="connsiteX1514" fmla="*/ 1436607 w 4829175"/>
                <a:gd name="connsiteY1514" fmla="*/ 16933 h 6515100"/>
                <a:gd name="connsiteX1515" fmla="*/ 1435908 w 4829175"/>
                <a:gd name="connsiteY1515" fmla="*/ 16933 h 6515100"/>
                <a:gd name="connsiteX1516" fmla="*/ 1258428 w 4829175"/>
                <a:gd name="connsiteY1516" fmla="*/ 195111 h 6515100"/>
                <a:gd name="connsiteX1517" fmla="*/ 1522551 w 4829175"/>
                <a:gd name="connsiteY1517" fmla="*/ 195111 h 6515100"/>
                <a:gd name="connsiteX1518" fmla="*/ 1717663 w 4829175"/>
                <a:gd name="connsiteY1518" fmla="*/ 0 h 6515100"/>
                <a:gd name="connsiteX1519" fmla="*/ 1728424 w 4829175"/>
                <a:gd name="connsiteY1519" fmla="*/ 0 h 6515100"/>
                <a:gd name="connsiteX1520" fmla="*/ 1620376 w 4829175"/>
                <a:gd name="connsiteY1520" fmla="*/ 108468 h 6515100"/>
                <a:gd name="connsiteX1521" fmla="*/ 1619677 w 4829175"/>
                <a:gd name="connsiteY1521" fmla="*/ 108468 h 6515100"/>
                <a:gd name="connsiteX1522" fmla="*/ 1529539 w 4829175"/>
                <a:gd name="connsiteY1522" fmla="*/ 198605 h 6515100"/>
                <a:gd name="connsiteX1523" fmla="*/ 1799951 w 4829175"/>
                <a:gd name="connsiteY1523" fmla="*/ 469716 h 6515100"/>
                <a:gd name="connsiteX1524" fmla="*/ 2064074 w 4829175"/>
                <a:gd name="connsiteY1524" fmla="*/ 469716 h 6515100"/>
                <a:gd name="connsiteX1525" fmla="*/ 1792964 w 4829175"/>
                <a:gd name="connsiteY1525" fmla="*/ 199304 h 6515100"/>
                <a:gd name="connsiteX1526" fmla="*/ 1977431 w 4829175"/>
                <a:gd name="connsiteY1526" fmla="*/ 14837 h 6515100"/>
                <a:gd name="connsiteX1527" fmla="*/ 1978130 w 4829175"/>
                <a:gd name="connsiteY1527" fmla="*/ 14837 h 6515100"/>
                <a:gd name="connsiteX1528" fmla="*/ 1992847 w 4829175"/>
                <a:gd name="connsiteY1528" fmla="*/ 0 h 6515100"/>
                <a:gd name="connsiteX1529" fmla="*/ 2002247 w 4829175"/>
                <a:gd name="connsiteY1529" fmla="*/ 0 h 6515100"/>
                <a:gd name="connsiteX1530" fmla="*/ 1808336 w 4829175"/>
                <a:gd name="connsiteY1530" fmla="*/ 194412 h 6515100"/>
                <a:gd name="connsiteX1531" fmla="*/ 2071761 w 4829175"/>
                <a:gd name="connsiteY1531" fmla="*/ 194412 h 6515100"/>
                <a:gd name="connsiteX1532" fmla="*/ 2266173 w 4829175"/>
                <a:gd name="connsiteY1532" fmla="*/ 0 h 6515100"/>
                <a:gd name="connsiteX1533" fmla="*/ 2277539 w 4829175"/>
                <a:gd name="connsiteY1533" fmla="*/ 0 h 6515100"/>
                <a:gd name="connsiteX1534" fmla="*/ 2078748 w 4829175"/>
                <a:gd name="connsiteY1534" fmla="*/ 199304 h 6515100"/>
                <a:gd name="connsiteX1535" fmla="*/ 2348461 w 4829175"/>
                <a:gd name="connsiteY1535" fmla="*/ 468319 h 6515100"/>
                <a:gd name="connsiteX1536" fmla="*/ 2611886 w 4829175"/>
                <a:gd name="connsiteY1536" fmla="*/ 468319 h 6515100"/>
                <a:gd name="connsiteX1537" fmla="*/ 2342872 w 4829175"/>
                <a:gd name="connsiteY1537" fmla="*/ 199304 h 6515100"/>
                <a:gd name="connsiteX1538" fmla="*/ 2343570 w 4829175"/>
                <a:gd name="connsiteY1538" fmla="*/ 198605 h 6515100"/>
                <a:gd name="connsiteX1539" fmla="*/ 2342173 w 4829175"/>
                <a:gd name="connsiteY1539" fmla="*/ 197208 h 6515100"/>
                <a:gd name="connsiteX1540" fmla="*/ 2538868 w 4829175"/>
                <a:gd name="connsiteY1540" fmla="*/ 0 h 6515100"/>
                <a:gd name="connsiteX1541" fmla="*/ 2552152 w 4829175"/>
                <a:gd name="connsiteY1541" fmla="*/ 0 h 6515100"/>
                <a:gd name="connsiteX1542" fmla="*/ 2358243 w 4829175"/>
                <a:gd name="connsiteY1542" fmla="*/ 194412 h 6515100"/>
                <a:gd name="connsiteX1543" fmla="*/ 2620271 w 4829175"/>
                <a:gd name="connsiteY1543" fmla="*/ 194412 h 6515100"/>
                <a:gd name="connsiteX1544" fmla="*/ 2814181 w 4829175"/>
                <a:gd name="connsiteY1544" fmla="*/ 0 h 6515100"/>
                <a:gd name="connsiteX1545" fmla="*/ 2825540 w 4829175"/>
                <a:gd name="connsiteY1545" fmla="*/ 0 h 6515100"/>
                <a:gd name="connsiteX1546" fmla="*/ 2628655 w 4829175"/>
                <a:gd name="connsiteY1546" fmla="*/ 197906 h 6515100"/>
                <a:gd name="connsiteX1547" fmla="*/ 2898368 w 4829175"/>
                <a:gd name="connsiteY1547" fmla="*/ 466921 h 6515100"/>
                <a:gd name="connsiteX1548" fmla="*/ 3163191 w 4829175"/>
                <a:gd name="connsiteY1548" fmla="*/ 468319 h 6515100"/>
                <a:gd name="connsiteX1549" fmla="*/ 2892081 w 4829175"/>
                <a:gd name="connsiteY1549" fmla="*/ 197906 h 6515100"/>
                <a:gd name="connsiteX1550" fmla="*/ 2890683 w 4829175"/>
                <a:gd name="connsiteY1550" fmla="*/ 196509 h 6515100"/>
                <a:gd name="connsiteX1551" fmla="*/ 3086683 w 4829175"/>
                <a:gd name="connsiteY1551" fmla="*/ 0 h 6515100"/>
                <a:gd name="connsiteX1552" fmla="*/ 3097556 w 4829175"/>
                <a:gd name="connsiteY1552" fmla="*/ 0 h 6515100"/>
                <a:gd name="connsiteX1553" fmla="*/ 3082137 w 4829175"/>
                <a:gd name="connsiteY1553" fmla="*/ 15536 h 6515100"/>
                <a:gd name="connsiteX1554" fmla="*/ 3082836 w 4829175"/>
                <a:gd name="connsiteY1554" fmla="*/ 16235 h 6515100"/>
                <a:gd name="connsiteX1555" fmla="*/ 2906754 w 4829175"/>
                <a:gd name="connsiteY1555" fmla="*/ 192317 h 6515100"/>
                <a:gd name="connsiteX1556" fmla="*/ 3103099 w 4829175"/>
                <a:gd name="connsiteY1556" fmla="*/ 192317 h 6515100"/>
                <a:gd name="connsiteX1557" fmla="*/ 3102401 w 4829175"/>
                <a:gd name="connsiteY1557" fmla="*/ 193714 h 6515100"/>
                <a:gd name="connsiteX1558" fmla="*/ 3168083 w 4829175"/>
                <a:gd name="connsiteY1558" fmla="*/ 193714 h 6515100"/>
                <a:gd name="connsiteX1559" fmla="*/ 3361298 w 4829175"/>
                <a:gd name="connsiteY1559" fmla="*/ 0 h 6515100"/>
                <a:gd name="connsiteX1560" fmla="*/ 3371863 w 4829175"/>
                <a:gd name="connsiteY1560" fmla="*/ 0 h 6515100"/>
                <a:gd name="connsiteX1561" fmla="*/ 3264508 w 4829175"/>
                <a:gd name="connsiteY1561" fmla="*/ 107769 h 6515100"/>
                <a:gd name="connsiteX1562" fmla="*/ 3265906 w 4829175"/>
                <a:gd name="connsiteY1562" fmla="*/ 108468 h 6515100"/>
                <a:gd name="connsiteX1563" fmla="*/ 3176467 w 4829175"/>
                <a:gd name="connsiteY1563" fmla="*/ 197906 h 6515100"/>
                <a:gd name="connsiteX1564" fmla="*/ 3446879 w 4829175"/>
                <a:gd name="connsiteY1564" fmla="*/ 467620 h 6515100"/>
                <a:gd name="connsiteX1565" fmla="*/ 3710303 w 4829175"/>
                <a:gd name="connsiteY1565" fmla="*/ 467620 h 6515100"/>
                <a:gd name="connsiteX1566" fmla="*/ 3439891 w 4829175"/>
                <a:gd name="connsiteY1566" fmla="*/ 197906 h 6515100"/>
                <a:gd name="connsiteX1567" fmla="*/ 3439193 w 4829175"/>
                <a:gd name="connsiteY1567" fmla="*/ 197208 h 6515100"/>
                <a:gd name="connsiteX1568" fmla="*/ 3635893 w 4829175"/>
                <a:gd name="connsiteY1568" fmla="*/ 0 h 6515100"/>
                <a:gd name="connsiteX1569" fmla="*/ 3646183 w 4829175"/>
                <a:gd name="connsiteY1569" fmla="*/ 0 h 6515100"/>
                <a:gd name="connsiteX1570" fmla="*/ 3453167 w 4829175"/>
                <a:gd name="connsiteY1570" fmla="*/ 193016 h 6515100"/>
                <a:gd name="connsiteX1571" fmla="*/ 3717291 w 4829175"/>
                <a:gd name="connsiteY1571" fmla="*/ 193016 h 6515100"/>
                <a:gd name="connsiteX1572" fmla="*/ 3910306 w 4829175"/>
                <a:gd name="connsiteY1572" fmla="*/ 0 h 6515100"/>
                <a:gd name="connsiteX1573" fmla="*/ 3919582 w 4829175"/>
                <a:gd name="connsiteY1573" fmla="*/ 0 h 6515100"/>
                <a:gd name="connsiteX1574" fmla="*/ 3723579 w 4829175"/>
                <a:gd name="connsiteY1574" fmla="*/ 196509 h 6515100"/>
                <a:gd name="connsiteX1575" fmla="*/ 3994690 w 4829175"/>
                <a:gd name="connsiteY1575" fmla="*/ 466921 h 6515100"/>
                <a:gd name="connsiteX1576" fmla="*/ 4258116 w 4829175"/>
                <a:gd name="connsiteY1576" fmla="*/ 466921 h 6515100"/>
                <a:gd name="connsiteX1577" fmla="*/ 4128150 w 4829175"/>
                <a:gd name="connsiteY1577" fmla="*/ 336956 h 6515100"/>
                <a:gd name="connsiteX1578" fmla="*/ 3987703 w 4829175"/>
                <a:gd name="connsiteY1578" fmla="*/ 196509 h 6515100"/>
                <a:gd name="connsiteX1579" fmla="*/ 4183705 w 4829175"/>
                <a:gd name="connsiteY1579" fmla="*/ 0 h 6515100"/>
                <a:gd name="connsiteX1580" fmla="*/ 4194197 w 4829175"/>
                <a:gd name="connsiteY1580" fmla="*/ 0 h 6515100"/>
                <a:gd name="connsiteX1581" fmla="*/ 4002377 w 4829175"/>
                <a:gd name="connsiteY1581" fmla="*/ 192317 h 6515100"/>
                <a:gd name="connsiteX1582" fmla="*/ 4265801 w 4829175"/>
                <a:gd name="connsiteY1582" fmla="*/ 192317 h 6515100"/>
                <a:gd name="connsiteX1583" fmla="*/ 4457622 w 4829175"/>
                <a:gd name="connsiteY1583" fmla="*/ 0 h 6515100"/>
                <a:gd name="connsiteX1584" fmla="*/ 4467396 w 4829175"/>
                <a:gd name="connsiteY1584" fmla="*/ 0 h 6515100"/>
                <a:gd name="connsiteX1585" fmla="*/ 4272090 w 4829175"/>
                <a:gd name="connsiteY1585" fmla="*/ 195810 h 6515100"/>
                <a:gd name="connsiteX1586" fmla="*/ 4543201 w 4829175"/>
                <a:gd name="connsiteY1586" fmla="*/ 466222 h 6515100"/>
                <a:gd name="connsiteX1587" fmla="*/ 4807324 w 4829175"/>
                <a:gd name="connsiteY1587" fmla="*/ 466222 h 6515100"/>
                <a:gd name="connsiteX1588" fmla="*/ 4536213 w 4829175"/>
                <a:gd name="connsiteY1588" fmla="*/ 195810 h 6515100"/>
                <a:gd name="connsiteX1589" fmla="*/ 4731518 w 4829175"/>
                <a:gd name="connsiteY1589" fmla="*/ 0 h 6515100"/>
                <a:gd name="connsiteX1590" fmla="*/ 4741806 w 4829175"/>
                <a:gd name="connsiteY1590" fmla="*/ 0 h 6515100"/>
                <a:gd name="connsiteX1591" fmla="*/ 4549489 w 4829175"/>
                <a:gd name="connsiteY1591" fmla="*/ 192317 h 6515100"/>
                <a:gd name="connsiteX1592" fmla="*/ 4813613 w 4829175"/>
                <a:gd name="connsiteY1592" fmla="*/ 192317 h 6515100"/>
                <a:gd name="connsiteX1593" fmla="*/ 4823396 w 4829175"/>
                <a:gd name="connsiteY1593" fmla="*/ 182534 h 6515100"/>
                <a:gd name="connsiteX1594" fmla="*/ 4823396 w 4829175"/>
                <a:gd name="connsiteY1594" fmla="*/ 193016 h 6515100"/>
                <a:gd name="connsiteX1595" fmla="*/ 4820600 w 4829175"/>
                <a:gd name="connsiteY1595" fmla="*/ 195810 h 6515100"/>
                <a:gd name="connsiteX1596" fmla="*/ 4823396 w 4829175"/>
                <a:gd name="connsiteY1596" fmla="*/ 198605 h 6515100"/>
                <a:gd name="connsiteX1597" fmla="*/ 4823396 w 4829175"/>
                <a:gd name="connsiteY1597" fmla="*/ 209086 h 6515100"/>
                <a:gd name="connsiteX1598" fmla="*/ 4814311 w 4829175"/>
                <a:gd name="connsiteY1598" fmla="*/ 200003 h 6515100"/>
                <a:gd name="connsiteX1599" fmla="*/ 4550188 w 4829175"/>
                <a:gd name="connsiteY1599" fmla="*/ 200003 h 6515100"/>
                <a:gd name="connsiteX1600" fmla="*/ 4821299 w 4829175"/>
                <a:gd name="connsiteY1600" fmla="*/ 470415 h 6515100"/>
                <a:gd name="connsiteX1601" fmla="*/ 4550887 w 4829175"/>
                <a:gd name="connsiteY1601" fmla="*/ 741525 h 6515100"/>
                <a:gd name="connsiteX1602" fmla="*/ 4815010 w 4829175"/>
                <a:gd name="connsiteY1602" fmla="*/ 741525 h 6515100"/>
                <a:gd name="connsiteX1603" fmla="*/ 4823396 w 4829175"/>
                <a:gd name="connsiteY1603" fmla="*/ 732442 h 6515100"/>
                <a:gd name="connsiteX1604" fmla="*/ 4823396 w 4829175"/>
                <a:gd name="connsiteY1604" fmla="*/ 742224 h 6515100"/>
                <a:gd name="connsiteX1605" fmla="*/ 4821299 w 4829175"/>
                <a:gd name="connsiteY1605" fmla="*/ 744320 h 6515100"/>
                <a:gd name="connsiteX1606" fmla="*/ 4823396 w 4829175"/>
                <a:gd name="connsiteY1606" fmla="*/ 746417 h 6515100"/>
                <a:gd name="connsiteX1607" fmla="*/ 4823396 w 4829175"/>
                <a:gd name="connsiteY1607" fmla="*/ 756898 h 6515100"/>
                <a:gd name="connsiteX1608" fmla="*/ 4814311 w 4829175"/>
                <a:gd name="connsiteY1608" fmla="*/ 747814 h 6515100"/>
                <a:gd name="connsiteX1609" fmla="*/ 4550188 w 4829175"/>
                <a:gd name="connsiteY1609" fmla="*/ 747814 h 6515100"/>
                <a:gd name="connsiteX1610" fmla="*/ 4821299 w 4829175"/>
                <a:gd name="connsiteY1610" fmla="*/ 1018227 h 6515100"/>
                <a:gd name="connsiteX1611" fmla="*/ 4821998 w 4829175"/>
                <a:gd name="connsiteY1611" fmla="*/ 1018924 h 6515100"/>
                <a:gd name="connsiteX1612" fmla="*/ 4551586 w 4829175"/>
                <a:gd name="connsiteY1612" fmla="*/ 1290035 h 6515100"/>
                <a:gd name="connsiteX1613" fmla="*/ 4815709 w 4829175"/>
                <a:gd name="connsiteY1613" fmla="*/ 1290035 h 6515100"/>
                <a:gd name="connsiteX1614" fmla="*/ 4823396 w 4829175"/>
                <a:gd name="connsiteY1614" fmla="*/ 1282349 h 6515100"/>
                <a:gd name="connsiteX1615" fmla="*/ 4823396 w 4829175"/>
                <a:gd name="connsiteY1615" fmla="*/ 1292831 h 6515100"/>
                <a:gd name="connsiteX1616" fmla="*/ 4822697 w 4829175"/>
                <a:gd name="connsiteY1616" fmla="*/ 1293530 h 6515100"/>
                <a:gd name="connsiteX1617" fmla="*/ 4823396 w 4829175"/>
                <a:gd name="connsiteY1617" fmla="*/ 1294228 h 6515100"/>
                <a:gd name="connsiteX1618" fmla="*/ 4823396 w 4829175"/>
                <a:gd name="connsiteY1618" fmla="*/ 1304010 h 6515100"/>
                <a:gd name="connsiteX1619" fmla="*/ 4815709 w 4829175"/>
                <a:gd name="connsiteY1619" fmla="*/ 1296324 h 6515100"/>
                <a:gd name="connsiteX1620" fmla="*/ 4551586 w 4829175"/>
                <a:gd name="connsiteY1620" fmla="*/ 1297023 h 6515100"/>
                <a:gd name="connsiteX1621" fmla="*/ 4823396 w 4829175"/>
                <a:gd name="connsiteY1621" fmla="*/ 1566736 h 6515100"/>
                <a:gd name="connsiteX1622" fmla="*/ 4552984 w 4829175"/>
                <a:gd name="connsiteY1622" fmla="*/ 1837847 h 6515100"/>
                <a:gd name="connsiteX1623" fmla="*/ 4817107 w 4829175"/>
                <a:gd name="connsiteY1623" fmla="*/ 1837847 h 6515100"/>
                <a:gd name="connsiteX1624" fmla="*/ 4824094 w 4829175"/>
                <a:gd name="connsiteY1624" fmla="*/ 1830859 h 6515100"/>
                <a:gd name="connsiteX1625" fmla="*/ 4824094 w 4829175"/>
                <a:gd name="connsiteY1625" fmla="*/ 1841341 h 6515100"/>
                <a:gd name="connsiteX1626" fmla="*/ 4824094 w 4829175"/>
                <a:gd name="connsiteY1626" fmla="*/ 1851822 h 6515100"/>
                <a:gd name="connsiteX1627" fmla="*/ 4817107 w 4829175"/>
                <a:gd name="connsiteY1627" fmla="*/ 1844834 h 6515100"/>
                <a:gd name="connsiteX1628" fmla="*/ 4552984 w 4829175"/>
                <a:gd name="connsiteY1628" fmla="*/ 1844834 h 6515100"/>
                <a:gd name="connsiteX1629" fmla="*/ 4824094 w 4829175"/>
                <a:gd name="connsiteY1629" fmla="*/ 2115246 h 6515100"/>
                <a:gd name="connsiteX1630" fmla="*/ 4821299 w 4829175"/>
                <a:gd name="connsiteY1630" fmla="*/ 2118042 h 6515100"/>
                <a:gd name="connsiteX1631" fmla="*/ 4731162 w 4829175"/>
                <a:gd name="connsiteY1631" fmla="*/ 2208877 h 6515100"/>
                <a:gd name="connsiteX1632" fmla="*/ 4553682 w 4829175"/>
                <a:gd name="connsiteY1632" fmla="*/ 2386357 h 6515100"/>
                <a:gd name="connsiteX1633" fmla="*/ 4817806 w 4829175"/>
                <a:gd name="connsiteY1633" fmla="*/ 2386357 h 6515100"/>
                <a:gd name="connsiteX1634" fmla="*/ 4824094 w 4829175"/>
                <a:gd name="connsiteY1634" fmla="*/ 2380068 h 6515100"/>
                <a:gd name="connsiteX1635" fmla="*/ 4824094 w 4829175"/>
                <a:gd name="connsiteY1635" fmla="*/ 2398934 h 6515100"/>
                <a:gd name="connsiteX1636" fmla="*/ 4817806 w 4829175"/>
                <a:gd name="connsiteY1636" fmla="*/ 2392646 h 6515100"/>
                <a:gd name="connsiteX1637" fmla="*/ 4553682 w 4829175"/>
                <a:gd name="connsiteY1637" fmla="*/ 2392646 h 6515100"/>
                <a:gd name="connsiteX1638" fmla="*/ 4824094 w 4829175"/>
                <a:gd name="connsiteY1638" fmla="*/ 2662359 h 6515100"/>
                <a:gd name="connsiteX1639" fmla="*/ 4824094 w 4829175"/>
                <a:gd name="connsiteY1639" fmla="*/ 2663757 h 6515100"/>
                <a:gd name="connsiteX1640" fmla="*/ 4554381 w 4829175"/>
                <a:gd name="connsiteY1640" fmla="*/ 2934169 h 6515100"/>
                <a:gd name="connsiteX1641" fmla="*/ 4817806 w 4829175"/>
                <a:gd name="connsiteY1641" fmla="*/ 2934169 h 6515100"/>
                <a:gd name="connsiteX1642" fmla="*/ 4823396 w 4829175"/>
                <a:gd name="connsiteY1642" fmla="*/ 2928579 h 6515100"/>
                <a:gd name="connsiteX1643" fmla="*/ 4823396 w 4829175"/>
                <a:gd name="connsiteY1643" fmla="*/ 2947445 h 6515100"/>
                <a:gd name="connsiteX1644" fmla="*/ 4817806 w 4829175"/>
                <a:gd name="connsiteY1644" fmla="*/ 2941855 h 6515100"/>
                <a:gd name="connsiteX1645" fmla="*/ 4554381 w 4829175"/>
                <a:gd name="connsiteY1645" fmla="*/ 2941855 h 6515100"/>
                <a:gd name="connsiteX1646" fmla="*/ 4684346 w 4829175"/>
                <a:gd name="connsiteY1646" fmla="*/ 3071820 h 6515100"/>
                <a:gd name="connsiteX1647" fmla="*/ 4823396 w 4829175"/>
                <a:gd name="connsiteY1647" fmla="*/ 3210869 h 6515100"/>
                <a:gd name="connsiteX1648" fmla="*/ 4823396 w 4829175"/>
                <a:gd name="connsiteY1648" fmla="*/ 3213665 h 6515100"/>
                <a:gd name="connsiteX1649" fmla="*/ 4554381 w 4829175"/>
                <a:gd name="connsiteY1649" fmla="*/ 3483378 h 6515100"/>
                <a:gd name="connsiteX1650" fmla="*/ 4818505 w 4829175"/>
                <a:gd name="connsiteY1650" fmla="*/ 3483378 h 6515100"/>
                <a:gd name="connsiteX1651" fmla="*/ 4823396 w 4829175"/>
                <a:gd name="connsiteY1651" fmla="*/ 3478487 h 6515100"/>
                <a:gd name="connsiteX1652" fmla="*/ 4823396 w 4829175"/>
                <a:gd name="connsiteY1652" fmla="*/ 3495256 h 6515100"/>
                <a:gd name="connsiteX1653" fmla="*/ 4818505 w 4829175"/>
                <a:gd name="connsiteY1653" fmla="*/ 3490365 h 6515100"/>
                <a:gd name="connsiteX1654" fmla="*/ 4554381 w 4829175"/>
                <a:gd name="connsiteY1654" fmla="*/ 3490365 h 6515100"/>
                <a:gd name="connsiteX1655" fmla="*/ 4555778 w 4829175"/>
                <a:gd name="connsiteY1655" fmla="*/ 3491762 h 6515100"/>
                <a:gd name="connsiteX1656" fmla="*/ 4823396 w 4829175"/>
                <a:gd name="connsiteY1656" fmla="*/ 3758681 h 6515100"/>
                <a:gd name="connsiteX1657" fmla="*/ 4823396 w 4829175"/>
                <a:gd name="connsiteY1657" fmla="*/ 3762174 h 6515100"/>
                <a:gd name="connsiteX1658" fmla="*/ 4555828 w 4829175"/>
                <a:gd name="connsiteY1658" fmla="*/ 4030438 h 6515100"/>
                <a:gd name="connsiteX1659" fmla="*/ 4817996 w 4829175"/>
                <a:gd name="connsiteY1659" fmla="*/ 4030438 h 6515100"/>
                <a:gd name="connsiteX1660" fmla="*/ 4828476 w 4829175"/>
                <a:gd name="connsiteY1660" fmla="*/ 4019957 h 6515100"/>
                <a:gd name="connsiteX1661" fmla="*/ 4828476 w 4829175"/>
                <a:gd name="connsiteY1661" fmla="*/ 4030438 h 6515100"/>
                <a:gd name="connsiteX1662" fmla="*/ 4824983 w 4829175"/>
                <a:gd name="connsiteY1662" fmla="*/ 4033931 h 6515100"/>
                <a:gd name="connsiteX1663" fmla="*/ 4828476 w 4829175"/>
                <a:gd name="connsiteY1663" fmla="*/ 4037426 h 6515100"/>
                <a:gd name="connsiteX1664" fmla="*/ 4828476 w 4829175"/>
                <a:gd name="connsiteY1664" fmla="*/ 4047906 h 6515100"/>
                <a:gd name="connsiteX1665" fmla="*/ 4823396 w 4829175"/>
                <a:gd name="connsiteY1665" fmla="*/ 4042826 h 6515100"/>
                <a:gd name="connsiteX1666" fmla="*/ 4823396 w 4829175"/>
                <a:gd name="connsiteY1666" fmla="*/ 4043068 h 6515100"/>
                <a:gd name="connsiteX1667" fmla="*/ 4819202 w 4829175"/>
                <a:gd name="connsiteY1667" fmla="*/ 4038876 h 6515100"/>
                <a:gd name="connsiteX1668" fmla="*/ 4555321 w 4829175"/>
                <a:gd name="connsiteY1668" fmla="*/ 4038876 h 6515100"/>
                <a:gd name="connsiteX1669" fmla="*/ 4555968 w 4829175"/>
                <a:gd name="connsiteY1669" fmla="*/ 4039522 h 6515100"/>
                <a:gd name="connsiteX1670" fmla="*/ 4825681 w 4829175"/>
                <a:gd name="connsiteY1670" fmla="*/ 4308536 h 6515100"/>
                <a:gd name="connsiteX1671" fmla="*/ 4554570 w 4829175"/>
                <a:gd name="connsiteY1671" fmla="*/ 4579647 h 6515100"/>
                <a:gd name="connsiteX1672" fmla="*/ 4818693 w 4829175"/>
                <a:gd name="connsiteY1672" fmla="*/ 4579647 h 6515100"/>
                <a:gd name="connsiteX1673" fmla="*/ 4828476 w 4829175"/>
                <a:gd name="connsiteY1673" fmla="*/ 4569864 h 6515100"/>
                <a:gd name="connsiteX1674" fmla="*/ 4828476 w 4829175"/>
                <a:gd name="connsiteY1674" fmla="*/ 4580346 h 6515100"/>
                <a:gd name="connsiteX1675" fmla="*/ 4825681 w 4829175"/>
                <a:gd name="connsiteY1675" fmla="*/ 4583140 h 6515100"/>
                <a:gd name="connsiteX1676" fmla="*/ 4828476 w 4829175"/>
                <a:gd name="connsiteY1676" fmla="*/ 4585936 h 6515100"/>
                <a:gd name="connsiteX1677" fmla="*/ 4828476 w 4829175"/>
                <a:gd name="connsiteY1677" fmla="*/ 4596417 h 6515100"/>
                <a:gd name="connsiteX1678" fmla="*/ 4819392 w 4829175"/>
                <a:gd name="connsiteY1678" fmla="*/ 4587334 h 6515100"/>
                <a:gd name="connsiteX1679" fmla="*/ 4555269 w 4829175"/>
                <a:gd name="connsiteY1679" fmla="*/ 4587334 h 6515100"/>
                <a:gd name="connsiteX1680" fmla="*/ 4826380 w 4829175"/>
                <a:gd name="connsiteY1680" fmla="*/ 4857746 h 6515100"/>
                <a:gd name="connsiteX1681" fmla="*/ 4555968 w 4829175"/>
                <a:gd name="connsiteY1681" fmla="*/ 5128855 h 6515100"/>
                <a:gd name="connsiteX1682" fmla="*/ 4820091 w 4829175"/>
                <a:gd name="connsiteY1682" fmla="*/ 5128855 h 6515100"/>
                <a:gd name="connsiteX1683" fmla="*/ 4828476 w 4829175"/>
                <a:gd name="connsiteY1683" fmla="*/ 5119772 h 6515100"/>
                <a:gd name="connsiteX1684" fmla="*/ 4828476 w 4829175"/>
                <a:gd name="connsiteY1684" fmla="*/ 5129554 h 6515100"/>
                <a:gd name="connsiteX1685" fmla="*/ 4826380 w 4829175"/>
                <a:gd name="connsiteY1685" fmla="*/ 5131651 h 6515100"/>
                <a:gd name="connsiteX1686" fmla="*/ 4828476 w 4829175"/>
                <a:gd name="connsiteY1686" fmla="*/ 5133747 h 6515100"/>
                <a:gd name="connsiteX1687" fmla="*/ 4828476 w 4829175"/>
                <a:gd name="connsiteY1687" fmla="*/ 5144228 h 6515100"/>
                <a:gd name="connsiteX1688" fmla="*/ 4819392 w 4829175"/>
                <a:gd name="connsiteY1688" fmla="*/ 5135144 h 6515100"/>
                <a:gd name="connsiteX1689" fmla="*/ 4555269 w 4829175"/>
                <a:gd name="connsiteY1689" fmla="*/ 5135144 h 6515100"/>
                <a:gd name="connsiteX1690" fmla="*/ 4826380 w 4829175"/>
                <a:gd name="connsiteY1690" fmla="*/ 5405557 h 6515100"/>
                <a:gd name="connsiteX1691" fmla="*/ 4827079 w 4829175"/>
                <a:gd name="connsiteY1691" fmla="*/ 5406255 h 6515100"/>
                <a:gd name="connsiteX1692" fmla="*/ 4556667 w 4829175"/>
                <a:gd name="connsiteY1692" fmla="*/ 5677366 h 6515100"/>
                <a:gd name="connsiteX1693" fmla="*/ 4820790 w 4829175"/>
                <a:gd name="connsiteY1693" fmla="*/ 5677366 h 6515100"/>
                <a:gd name="connsiteX1694" fmla="*/ 4828476 w 4829175"/>
                <a:gd name="connsiteY1694" fmla="*/ 5669679 h 6515100"/>
                <a:gd name="connsiteX1695" fmla="*/ 4828476 w 4829175"/>
                <a:gd name="connsiteY1695" fmla="*/ 5680161 h 6515100"/>
                <a:gd name="connsiteX1696" fmla="*/ 4827778 w 4829175"/>
                <a:gd name="connsiteY1696" fmla="*/ 5680860 h 6515100"/>
                <a:gd name="connsiteX1697" fmla="*/ 4828476 w 4829175"/>
                <a:gd name="connsiteY1697" fmla="*/ 5681559 h 6515100"/>
                <a:gd name="connsiteX1698" fmla="*/ 4828476 w 4829175"/>
                <a:gd name="connsiteY1698" fmla="*/ 5691341 h 6515100"/>
                <a:gd name="connsiteX1699" fmla="*/ 4820790 w 4829175"/>
                <a:gd name="connsiteY1699" fmla="*/ 5683654 h 6515100"/>
                <a:gd name="connsiteX1700" fmla="*/ 4556667 w 4829175"/>
                <a:gd name="connsiteY1700" fmla="*/ 5684353 h 6515100"/>
                <a:gd name="connsiteX1701" fmla="*/ 4828476 w 4829175"/>
                <a:gd name="connsiteY1701" fmla="*/ 5954066 h 6515100"/>
                <a:gd name="connsiteX1702" fmla="*/ 4558064 w 4829175"/>
                <a:gd name="connsiteY1702" fmla="*/ 6225177 h 6515100"/>
                <a:gd name="connsiteX1703" fmla="*/ 4822188 w 4829175"/>
                <a:gd name="connsiteY1703" fmla="*/ 6225177 h 6515100"/>
                <a:gd name="connsiteX1704" fmla="*/ 4829175 w 4829175"/>
                <a:gd name="connsiteY1704" fmla="*/ 6218190 h 6515100"/>
                <a:gd name="connsiteX1705" fmla="*/ 4829175 w 4829175"/>
                <a:gd name="connsiteY1705" fmla="*/ 6228671 h 6515100"/>
                <a:gd name="connsiteX1706" fmla="*/ 4829175 w 4829175"/>
                <a:gd name="connsiteY1706" fmla="*/ 6239152 h 6515100"/>
                <a:gd name="connsiteX1707" fmla="*/ 4822188 w 4829175"/>
                <a:gd name="connsiteY1707" fmla="*/ 6232165 h 6515100"/>
                <a:gd name="connsiteX1708" fmla="*/ 4558064 w 4829175"/>
                <a:gd name="connsiteY1708" fmla="*/ 6232165 h 6515100"/>
                <a:gd name="connsiteX1709" fmla="*/ 4829175 w 4829175"/>
                <a:gd name="connsiteY1709" fmla="*/ 6502577 h 6515100"/>
                <a:gd name="connsiteX1710" fmla="*/ 4826380 w 4829175"/>
                <a:gd name="connsiteY1710" fmla="*/ 6505372 h 6515100"/>
                <a:gd name="connsiteX1711" fmla="*/ 4816727 w 4829175"/>
                <a:gd name="connsiteY1711" fmla="*/ 6515100 h 6515100"/>
                <a:gd name="connsiteX1712" fmla="*/ 4806802 w 4829175"/>
                <a:gd name="connsiteY1712" fmla="*/ 6515100 h 6515100"/>
                <a:gd name="connsiteX1713" fmla="*/ 4815200 w 4829175"/>
                <a:gd name="connsiteY1713" fmla="*/ 6506770 h 6515100"/>
                <a:gd name="connsiteX1714" fmla="*/ 4551077 w 4829175"/>
                <a:gd name="connsiteY1714" fmla="*/ 6506770 h 6515100"/>
                <a:gd name="connsiteX1715" fmla="*/ 4542768 w 4829175"/>
                <a:gd name="connsiteY1715" fmla="*/ 6515100 h 6515100"/>
                <a:gd name="connsiteX1716" fmla="*/ 4531598 w 4829175"/>
                <a:gd name="connsiteY1716" fmla="*/ 6515100 h 6515100"/>
                <a:gd name="connsiteX1717" fmla="*/ 4544089 w 4829175"/>
                <a:gd name="connsiteY1717" fmla="*/ 6502577 h 6515100"/>
                <a:gd name="connsiteX1718" fmla="*/ 4539198 w 4829175"/>
                <a:gd name="connsiteY1718" fmla="*/ 6497686 h 6515100"/>
                <a:gd name="connsiteX1719" fmla="*/ 4273677 w 4829175"/>
                <a:gd name="connsiteY1719" fmla="*/ 6232165 h 6515100"/>
                <a:gd name="connsiteX1720" fmla="*/ 4009554 w 4829175"/>
                <a:gd name="connsiteY1720" fmla="*/ 6232165 h 6515100"/>
                <a:gd name="connsiteX1721" fmla="*/ 4010952 w 4829175"/>
                <a:gd name="connsiteY1721" fmla="*/ 6233562 h 6515100"/>
                <a:gd name="connsiteX1722" fmla="*/ 4279966 w 4829175"/>
                <a:gd name="connsiteY1722" fmla="*/ 6502577 h 6515100"/>
                <a:gd name="connsiteX1723" fmla="*/ 4267475 w 4829175"/>
                <a:gd name="connsiteY1723" fmla="*/ 6515100 h 6515100"/>
                <a:gd name="connsiteX1724" fmla="*/ 4259077 w 4829175"/>
                <a:gd name="connsiteY1724" fmla="*/ 6515100 h 6515100"/>
                <a:gd name="connsiteX1725" fmla="*/ 4266690 w 4829175"/>
                <a:gd name="connsiteY1725" fmla="*/ 6507468 h 6515100"/>
                <a:gd name="connsiteX1726" fmla="*/ 4002566 w 4829175"/>
                <a:gd name="connsiteY1726" fmla="*/ 6507468 h 6515100"/>
                <a:gd name="connsiteX1727" fmla="*/ 3994954 w 4829175"/>
                <a:gd name="connsiteY1727" fmla="*/ 6515100 h 6515100"/>
                <a:gd name="connsiteX1728" fmla="*/ 3983089 w 4829175"/>
                <a:gd name="connsiteY1728" fmla="*/ 6515100 h 6515100"/>
                <a:gd name="connsiteX1729" fmla="*/ 3996278 w 4829175"/>
                <a:gd name="connsiteY1729" fmla="*/ 6501878 h 6515100"/>
                <a:gd name="connsiteX1730" fmla="*/ 3862819 w 4829175"/>
                <a:gd name="connsiteY1730" fmla="*/ 6369115 h 6515100"/>
                <a:gd name="connsiteX1731" fmla="*/ 3865614 w 4829175"/>
                <a:gd name="connsiteY1731" fmla="*/ 6363527 h 6515100"/>
                <a:gd name="connsiteX1732" fmla="*/ 3864915 w 4829175"/>
                <a:gd name="connsiteY1732" fmla="*/ 6362829 h 6515100"/>
                <a:gd name="connsiteX1733" fmla="*/ 3865614 w 4829175"/>
                <a:gd name="connsiteY1733" fmla="*/ 6361432 h 6515100"/>
                <a:gd name="connsiteX1734" fmla="*/ 4002566 w 4829175"/>
                <a:gd name="connsiteY1734" fmla="*/ 6498385 h 6515100"/>
                <a:gd name="connsiteX1735" fmla="*/ 4266690 w 4829175"/>
                <a:gd name="connsiteY1735" fmla="*/ 6498385 h 6515100"/>
                <a:gd name="connsiteX1736" fmla="*/ 3995579 w 4829175"/>
                <a:gd name="connsiteY1736" fmla="*/ 6227973 h 6515100"/>
                <a:gd name="connsiteX1737" fmla="*/ 3996977 w 4829175"/>
                <a:gd name="connsiteY1737" fmla="*/ 6226575 h 6515100"/>
                <a:gd name="connsiteX1738" fmla="*/ 4265292 w 4829175"/>
                <a:gd name="connsiteY1738" fmla="*/ 5957561 h 6515100"/>
                <a:gd name="connsiteX1739" fmla="*/ 4066851 w 4829175"/>
                <a:gd name="connsiteY1739" fmla="*/ 5957561 h 6515100"/>
                <a:gd name="connsiteX1740" fmla="*/ 4070344 w 4829175"/>
                <a:gd name="connsiteY1740" fmla="*/ 5950573 h 6515100"/>
                <a:gd name="connsiteX1741" fmla="*/ 4265292 w 4829175"/>
                <a:gd name="connsiteY1741" fmla="*/ 5950573 h 6515100"/>
                <a:gd name="connsiteX1742" fmla="*/ 4135327 w 4829175"/>
                <a:gd name="connsiteY1742" fmla="*/ 5820608 h 6515100"/>
                <a:gd name="connsiteX1743" fmla="*/ 4138820 w 4829175"/>
                <a:gd name="connsiteY1743" fmla="*/ 5813620 h 6515100"/>
                <a:gd name="connsiteX1744" fmla="*/ 4279267 w 4829175"/>
                <a:gd name="connsiteY1744" fmla="*/ 5954066 h 6515100"/>
                <a:gd name="connsiteX1745" fmla="*/ 4008855 w 4829175"/>
                <a:gd name="connsiteY1745" fmla="*/ 6225177 h 6515100"/>
                <a:gd name="connsiteX1746" fmla="*/ 4272979 w 4829175"/>
                <a:gd name="connsiteY1746" fmla="*/ 6225177 h 6515100"/>
                <a:gd name="connsiteX1747" fmla="*/ 4543391 w 4829175"/>
                <a:gd name="connsiteY1747" fmla="*/ 5954066 h 6515100"/>
                <a:gd name="connsiteX1748" fmla="*/ 4272280 w 4829175"/>
                <a:gd name="connsiteY1748" fmla="*/ 5684353 h 6515100"/>
                <a:gd name="connsiteX1749" fmla="*/ 4203803 w 4829175"/>
                <a:gd name="connsiteY1749" fmla="*/ 5684353 h 6515100"/>
                <a:gd name="connsiteX1750" fmla="*/ 4008855 w 4829175"/>
                <a:gd name="connsiteY1750" fmla="*/ 5684353 h 6515100"/>
                <a:gd name="connsiteX1751" fmla="*/ 4138121 w 4829175"/>
                <a:gd name="connsiteY1751" fmla="*/ 5814319 h 6515100"/>
                <a:gd name="connsiteX1752" fmla="*/ 4134628 w 4829175"/>
                <a:gd name="connsiteY1752" fmla="*/ 5821306 h 6515100"/>
                <a:gd name="connsiteX1753" fmla="*/ 3994181 w 4829175"/>
                <a:gd name="connsiteY1753" fmla="*/ 5680860 h 6515100"/>
                <a:gd name="connsiteX1754" fmla="*/ 4264593 w 4829175"/>
                <a:gd name="connsiteY1754" fmla="*/ 5409749 h 6515100"/>
                <a:gd name="connsiteX1755" fmla="*/ 4000470 w 4829175"/>
                <a:gd name="connsiteY1755" fmla="*/ 5409749 h 6515100"/>
                <a:gd name="connsiteX1756" fmla="*/ 3730058 w 4829175"/>
                <a:gd name="connsiteY1756" fmla="*/ 5680860 h 6515100"/>
                <a:gd name="connsiteX1757" fmla="*/ 4001169 w 4829175"/>
                <a:gd name="connsiteY1757" fmla="*/ 5951272 h 6515100"/>
                <a:gd name="connsiteX1758" fmla="*/ 4069645 w 4829175"/>
                <a:gd name="connsiteY1758" fmla="*/ 5951272 h 6515100"/>
                <a:gd name="connsiteX1759" fmla="*/ 4066152 w 4829175"/>
                <a:gd name="connsiteY1759" fmla="*/ 5958259 h 6515100"/>
                <a:gd name="connsiteX1760" fmla="*/ 4001169 w 4829175"/>
                <a:gd name="connsiteY1760" fmla="*/ 5958259 h 6515100"/>
                <a:gd name="connsiteX1761" fmla="*/ 3820894 w 4829175"/>
                <a:gd name="connsiteY1761" fmla="*/ 6139233 h 6515100"/>
                <a:gd name="connsiteX1762" fmla="*/ 3731456 w 4829175"/>
                <a:gd name="connsiteY1762" fmla="*/ 6229370 h 6515100"/>
                <a:gd name="connsiteX1763" fmla="*/ 3864915 w 4829175"/>
                <a:gd name="connsiteY1763" fmla="*/ 6362829 h 6515100"/>
                <a:gd name="connsiteX1764" fmla="*/ 3862120 w 4829175"/>
                <a:gd name="connsiteY1764" fmla="*/ 6368418 h 6515100"/>
                <a:gd name="connsiteX1765" fmla="*/ 3862819 w 4829175"/>
                <a:gd name="connsiteY1765" fmla="*/ 6369115 h 6515100"/>
                <a:gd name="connsiteX1766" fmla="*/ 3862120 w 4829175"/>
                <a:gd name="connsiteY1766" fmla="*/ 6370515 h 6515100"/>
                <a:gd name="connsiteX1767" fmla="*/ 3725167 w 4829175"/>
                <a:gd name="connsiteY1767" fmla="*/ 6233562 h 6515100"/>
                <a:gd name="connsiteX1768" fmla="*/ 3461044 w 4829175"/>
                <a:gd name="connsiteY1768" fmla="*/ 6233562 h 6515100"/>
                <a:gd name="connsiteX1769" fmla="*/ 3732154 w 4829175"/>
                <a:gd name="connsiteY1769" fmla="*/ 6503974 h 6515100"/>
                <a:gd name="connsiteX1770" fmla="*/ 3721057 w 4829175"/>
                <a:gd name="connsiteY1770" fmla="*/ 6515100 h 6515100"/>
                <a:gd name="connsiteX1771" fmla="*/ 3710566 w 4829175"/>
                <a:gd name="connsiteY1771" fmla="*/ 6515100 h 6515100"/>
                <a:gd name="connsiteX1772" fmla="*/ 3718179 w 4829175"/>
                <a:gd name="connsiteY1772" fmla="*/ 6507468 h 6515100"/>
                <a:gd name="connsiteX1773" fmla="*/ 3454056 w 4829175"/>
                <a:gd name="connsiteY1773" fmla="*/ 6507468 h 6515100"/>
                <a:gd name="connsiteX1774" fmla="*/ 3446443 w 4829175"/>
                <a:gd name="connsiteY1774" fmla="*/ 6515100 h 6515100"/>
                <a:gd name="connsiteX1775" fmla="*/ 3437367 w 4829175"/>
                <a:gd name="connsiteY1775" fmla="*/ 6515100 h 6515100"/>
                <a:gd name="connsiteX1776" fmla="*/ 3447767 w 4829175"/>
                <a:gd name="connsiteY1776" fmla="*/ 6504673 h 6515100"/>
                <a:gd name="connsiteX1777" fmla="*/ 3176657 w 4829175"/>
                <a:gd name="connsiteY1777" fmla="*/ 6234261 h 6515100"/>
                <a:gd name="connsiteX1778" fmla="*/ 2912533 w 4829175"/>
                <a:gd name="connsiteY1778" fmla="*/ 6234261 h 6515100"/>
                <a:gd name="connsiteX1779" fmla="*/ 3183644 w 4829175"/>
                <a:gd name="connsiteY1779" fmla="*/ 6504673 h 6515100"/>
                <a:gd name="connsiteX1780" fmla="*/ 3173244 w 4829175"/>
                <a:gd name="connsiteY1780" fmla="*/ 6515100 h 6515100"/>
                <a:gd name="connsiteX1781" fmla="*/ 3163450 w 4829175"/>
                <a:gd name="connsiteY1781" fmla="*/ 6515100 h 6515100"/>
                <a:gd name="connsiteX1782" fmla="*/ 3169669 w 4829175"/>
                <a:gd name="connsiteY1782" fmla="*/ 6508865 h 6515100"/>
                <a:gd name="connsiteX1783" fmla="*/ 2905546 w 4829175"/>
                <a:gd name="connsiteY1783" fmla="*/ 6508865 h 6515100"/>
                <a:gd name="connsiteX1784" fmla="*/ 2899327 w 4829175"/>
                <a:gd name="connsiteY1784" fmla="*/ 6515100 h 6515100"/>
                <a:gd name="connsiteX1785" fmla="*/ 2889554 w 4829175"/>
                <a:gd name="connsiteY1785" fmla="*/ 6515100 h 6515100"/>
                <a:gd name="connsiteX1786" fmla="*/ 2899257 w 4829175"/>
                <a:gd name="connsiteY1786" fmla="*/ 6505372 h 6515100"/>
                <a:gd name="connsiteX1787" fmla="*/ 2628146 w 4829175"/>
                <a:gd name="connsiteY1787" fmla="*/ 6234960 h 6515100"/>
                <a:gd name="connsiteX1788" fmla="*/ 2364722 w 4829175"/>
                <a:gd name="connsiteY1788" fmla="*/ 6234960 h 6515100"/>
                <a:gd name="connsiteX1789" fmla="*/ 2494687 w 4829175"/>
                <a:gd name="connsiteY1789" fmla="*/ 6364925 h 6515100"/>
                <a:gd name="connsiteX1790" fmla="*/ 2635134 w 4829175"/>
                <a:gd name="connsiteY1790" fmla="*/ 6505372 h 6515100"/>
                <a:gd name="connsiteX1791" fmla="*/ 2625431 w 4829175"/>
                <a:gd name="connsiteY1791" fmla="*/ 6515100 h 6515100"/>
                <a:gd name="connsiteX1792" fmla="*/ 2614938 w 4829175"/>
                <a:gd name="connsiteY1792" fmla="*/ 6515100 h 6515100"/>
                <a:gd name="connsiteX1793" fmla="*/ 2620460 w 4829175"/>
                <a:gd name="connsiteY1793" fmla="*/ 6509564 h 6515100"/>
                <a:gd name="connsiteX1794" fmla="*/ 2357035 w 4829175"/>
                <a:gd name="connsiteY1794" fmla="*/ 6509564 h 6515100"/>
                <a:gd name="connsiteX1795" fmla="*/ 2351521 w 4829175"/>
                <a:gd name="connsiteY1795" fmla="*/ 6515100 h 6515100"/>
                <a:gd name="connsiteX1796" fmla="*/ 2341019 w 4829175"/>
                <a:gd name="connsiteY1796" fmla="*/ 6515100 h 6515100"/>
                <a:gd name="connsiteX1797" fmla="*/ 2350747 w 4829175"/>
                <a:gd name="connsiteY1797" fmla="*/ 6505372 h 6515100"/>
                <a:gd name="connsiteX1798" fmla="*/ 2079636 w 4829175"/>
                <a:gd name="connsiteY1798" fmla="*/ 6234960 h 6515100"/>
                <a:gd name="connsiteX1799" fmla="*/ 1815513 w 4829175"/>
                <a:gd name="connsiteY1799" fmla="*/ 6234960 h 6515100"/>
                <a:gd name="connsiteX1800" fmla="*/ 2086623 w 4829175"/>
                <a:gd name="connsiteY1800" fmla="*/ 6505372 h 6515100"/>
                <a:gd name="connsiteX1801" fmla="*/ 2083829 w 4829175"/>
                <a:gd name="connsiteY1801" fmla="*/ 6508166 h 6515100"/>
                <a:gd name="connsiteX1802" fmla="*/ 2076948 w 4829175"/>
                <a:gd name="connsiteY1802" fmla="*/ 6515100 h 6515100"/>
                <a:gd name="connsiteX1803" fmla="*/ 2067112 w 4829175"/>
                <a:gd name="connsiteY1803" fmla="*/ 6515100 h 6515100"/>
                <a:gd name="connsiteX1804" fmla="*/ 2072648 w 4829175"/>
                <a:gd name="connsiteY1804" fmla="*/ 6509564 h 6515100"/>
                <a:gd name="connsiteX1805" fmla="*/ 1808526 w 4829175"/>
                <a:gd name="connsiteY1805" fmla="*/ 6509564 h 6515100"/>
                <a:gd name="connsiteX1806" fmla="*/ 1803004 w 4829175"/>
                <a:gd name="connsiteY1806" fmla="*/ 6515100 h 6515100"/>
                <a:gd name="connsiteX1807" fmla="*/ 1792532 w 4829175"/>
                <a:gd name="connsiteY1807" fmla="*/ 6515100 h 6515100"/>
                <a:gd name="connsiteX1808" fmla="*/ 1801539 w 4829175"/>
                <a:gd name="connsiteY1808" fmla="*/ 6506071 h 6515100"/>
                <a:gd name="connsiteX1809" fmla="*/ 1796647 w 4829175"/>
                <a:gd name="connsiteY1809" fmla="*/ 6501179 h 6515100"/>
                <a:gd name="connsiteX1810" fmla="*/ 1531127 w 4829175"/>
                <a:gd name="connsiteY1810" fmla="*/ 6236358 h 6515100"/>
                <a:gd name="connsiteX1811" fmla="*/ 1267002 w 4829175"/>
                <a:gd name="connsiteY1811" fmla="*/ 6236358 h 6515100"/>
                <a:gd name="connsiteX1812" fmla="*/ 1267701 w 4829175"/>
                <a:gd name="connsiteY1812" fmla="*/ 6237056 h 6515100"/>
                <a:gd name="connsiteX1813" fmla="*/ 1268400 w 4829175"/>
                <a:gd name="connsiteY1813" fmla="*/ 6237056 h 6515100"/>
                <a:gd name="connsiteX1814" fmla="*/ 1537414 w 4829175"/>
                <a:gd name="connsiteY1814" fmla="*/ 6506071 h 6515100"/>
                <a:gd name="connsiteX1815" fmla="*/ 1528408 w 4829175"/>
                <a:gd name="connsiteY1815" fmla="*/ 6515100 h 6515100"/>
                <a:gd name="connsiteX1816" fmla="*/ 1520000 w 4829175"/>
                <a:gd name="connsiteY1816" fmla="*/ 6515100 h 6515100"/>
                <a:gd name="connsiteX1817" fmla="*/ 1524838 w 4829175"/>
                <a:gd name="connsiteY1817" fmla="*/ 6510263 h 6515100"/>
                <a:gd name="connsiteX1818" fmla="*/ 1260714 w 4829175"/>
                <a:gd name="connsiteY1818" fmla="*/ 6510263 h 6515100"/>
                <a:gd name="connsiteX1819" fmla="*/ 1255889 w 4829175"/>
                <a:gd name="connsiteY1819" fmla="*/ 6515100 h 6515100"/>
                <a:gd name="connsiteX1820" fmla="*/ 1243300 w 4829175"/>
                <a:gd name="connsiteY1820" fmla="*/ 6515100 h 6515100"/>
                <a:gd name="connsiteX1821" fmla="*/ 1252329 w 4829175"/>
                <a:gd name="connsiteY1821" fmla="*/ 6506071 h 6515100"/>
                <a:gd name="connsiteX1822" fmla="*/ 1119569 w 4829175"/>
                <a:gd name="connsiteY1822" fmla="*/ 6374009 h 6515100"/>
                <a:gd name="connsiteX1823" fmla="*/ 981219 w 4829175"/>
                <a:gd name="connsiteY1823" fmla="*/ 6235659 h 6515100"/>
                <a:gd name="connsiteX1824" fmla="*/ 717095 w 4829175"/>
                <a:gd name="connsiteY1824" fmla="*/ 6235659 h 6515100"/>
                <a:gd name="connsiteX1825" fmla="*/ 988206 w 4829175"/>
                <a:gd name="connsiteY1825" fmla="*/ 6505372 h 6515100"/>
                <a:gd name="connsiteX1826" fmla="*/ 985411 w 4829175"/>
                <a:gd name="connsiteY1826" fmla="*/ 6508166 h 6515100"/>
                <a:gd name="connsiteX1827" fmla="*/ 978530 w 4829175"/>
                <a:gd name="connsiteY1827" fmla="*/ 6515100 h 6515100"/>
                <a:gd name="connsiteX1828" fmla="*/ 969394 w 4829175"/>
                <a:gd name="connsiteY1828" fmla="*/ 6515100 h 6515100"/>
                <a:gd name="connsiteX1829" fmla="*/ 974930 w 4829175"/>
                <a:gd name="connsiteY1829" fmla="*/ 6509564 h 6515100"/>
                <a:gd name="connsiteX1830" fmla="*/ 716396 w 4829175"/>
                <a:gd name="connsiteY1830" fmla="*/ 6509564 h 6515100"/>
                <a:gd name="connsiteX1831" fmla="*/ 714941 w 4829175"/>
                <a:gd name="connsiteY1831" fmla="*/ 6508865 h 6515100"/>
                <a:gd name="connsiteX1832" fmla="*/ 716396 w 4829175"/>
                <a:gd name="connsiteY1832" fmla="*/ 6508865 h 6515100"/>
                <a:gd name="connsiteX1833" fmla="*/ 698928 w 4829175"/>
                <a:gd name="connsiteY1833" fmla="*/ 6500480 h 6515100"/>
                <a:gd name="connsiteX1834" fmla="*/ 700271 w 4829175"/>
                <a:gd name="connsiteY1834" fmla="*/ 6501824 h 6515100"/>
                <a:gd name="connsiteX1835" fmla="*/ 698928 w 4829175"/>
                <a:gd name="connsiteY1835" fmla="*/ 6501179 h 6515100"/>
                <a:gd name="connsiteX1836" fmla="*/ 433407 w 4829175"/>
                <a:gd name="connsiteY1836" fmla="*/ 6236358 h 6515100"/>
                <a:gd name="connsiteX1837" fmla="*/ 169284 w 4829175"/>
                <a:gd name="connsiteY1837" fmla="*/ 6236358 h 6515100"/>
                <a:gd name="connsiteX1838" fmla="*/ 170681 w 4829175"/>
                <a:gd name="connsiteY1838" fmla="*/ 6237754 h 6515100"/>
                <a:gd name="connsiteX1839" fmla="*/ 439696 w 4829175"/>
                <a:gd name="connsiteY1839" fmla="*/ 6506770 h 6515100"/>
                <a:gd name="connsiteX1840" fmla="*/ 431344 w 4829175"/>
                <a:gd name="connsiteY1840" fmla="*/ 6515100 h 6515100"/>
                <a:gd name="connsiteX1841" fmla="*/ 420908 w 4829175"/>
                <a:gd name="connsiteY1841" fmla="*/ 6515100 h 6515100"/>
                <a:gd name="connsiteX1842" fmla="*/ 425721 w 4829175"/>
                <a:gd name="connsiteY1842" fmla="*/ 6510263 h 6515100"/>
                <a:gd name="connsiteX1843" fmla="*/ 161597 w 4829175"/>
                <a:gd name="connsiteY1843" fmla="*/ 6510263 h 6515100"/>
                <a:gd name="connsiteX1844" fmla="*/ 156781 w 4829175"/>
                <a:gd name="connsiteY1844" fmla="*/ 6515100 h 6515100"/>
                <a:gd name="connsiteX1845" fmla="*/ 146978 w 4829175"/>
                <a:gd name="connsiteY1845" fmla="*/ 6515100 h 6515100"/>
                <a:gd name="connsiteX1846" fmla="*/ 155309 w 4829175"/>
                <a:gd name="connsiteY1846" fmla="*/ 6506770 h 6515100"/>
                <a:gd name="connsiteX1847" fmla="*/ 21150 w 4829175"/>
                <a:gd name="connsiteY1847" fmla="*/ 6373310 h 6515100"/>
                <a:gd name="connsiteX1848" fmla="*/ 5080 w 4829175"/>
                <a:gd name="connsiteY1848" fmla="*/ 6357239 h 6515100"/>
                <a:gd name="connsiteX1849" fmla="*/ 5080 w 4829175"/>
                <a:gd name="connsiteY1849" fmla="*/ 6347457 h 6515100"/>
                <a:gd name="connsiteX1850" fmla="*/ 24645 w 4829175"/>
                <a:gd name="connsiteY1850" fmla="*/ 6367022 h 6515100"/>
                <a:gd name="connsiteX1851" fmla="*/ 161597 w 4829175"/>
                <a:gd name="connsiteY1851" fmla="*/ 6503275 h 6515100"/>
                <a:gd name="connsiteX1852" fmla="*/ 425721 w 4829175"/>
                <a:gd name="connsiteY1852" fmla="*/ 6503275 h 6515100"/>
                <a:gd name="connsiteX1853" fmla="*/ 154610 w 4829175"/>
                <a:gd name="connsiteY1853" fmla="*/ 6232863 h 6515100"/>
                <a:gd name="connsiteX1854" fmla="*/ 156008 w 4829175"/>
                <a:gd name="connsiteY1854" fmla="*/ 6231466 h 6515100"/>
                <a:gd name="connsiteX1855" fmla="*/ 156706 w 4829175"/>
                <a:gd name="connsiteY1855" fmla="*/ 6231466 h 6515100"/>
                <a:gd name="connsiteX1856" fmla="*/ 425022 w 4829175"/>
                <a:gd name="connsiteY1856" fmla="*/ 5962452 h 6515100"/>
                <a:gd name="connsiteX1857" fmla="*/ 161597 w 4829175"/>
                <a:gd name="connsiteY1857" fmla="*/ 5962452 h 6515100"/>
                <a:gd name="connsiteX1858" fmla="*/ 5080 w 4829175"/>
                <a:gd name="connsiteY1858" fmla="*/ 6118969 h 6515100"/>
                <a:gd name="connsiteX1859" fmla="*/ 5080 w 4829175"/>
                <a:gd name="connsiteY1859" fmla="*/ 6108488 h 6515100"/>
                <a:gd name="connsiteX1860" fmla="*/ 154610 w 4829175"/>
                <a:gd name="connsiteY1860" fmla="*/ 5958957 h 6515100"/>
                <a:gd name="connsiteX1861" fmla="*/ 5080 w 4829175"/>
                <a:gd name="connsiteY1861" fmla="*/ 5809427 h 6515100"/>
                <a:gd name="connsiteX1862" fmla="*/ 5080 w 4829175"/>
                <a:gd name="connsiteY1862" fmla="*/ 5798947 h 6515100"/>
                <a:gd name="connsiteX1863" fmla="*/ 161597 w 4829175"/>
                <a:gd name="connsiteY1863" fmla="*/ 5954765 h 6515100"/>
                <a:gd name="connsiteX1864" fmla="*/ 425022 w 4829175"/>
                <a:gd name="connsiteY1864" fmla="*/ 5954765 h 6515100"/>
                <a:gd name="connsiteX1865" fmla="*/ 295057 w 4829175"/>
                <a:gd name="connsiteY1865" fmla="*/ 5824800 h 6515100"/>
                <a:gd name="connsiteX1866" fmla="*/ 154610 w 4829175"/>
                <a:gd name="connsiteY1866" fmla="*/ 5684353 h 6515100"/>
                <a:gd name="connsiteX1867" fmla="*/ 425022 w 4829175"/>
                <a:gd name="connsiteY1867" fmla="*/ 5413941 h 6515100"/>
                <a:gd name="connsiteX1868" fmla="*/ 160898 w 4829175"/>
                <a:gd name="connsiteY1868" fmla="*/ 5413941 h 6515100"/>
                <a:gd name="connsiteX1869" fmla="*/ 5080 w 4829175"/>
                <a:gd name="connsiteY1869" fmla="*/ 5569760 h 6515100"/>
                <a:gd name="connsiteX1870" fmla="*/ 5080 w 4829175"/>
                <a:gd name="connsiteY1870" fmla="*/ 5559279 h 6515100"/>
                <a:gd name="connsiteX1871" fmla="*/ 153911 w 4829175"/>
                <a:gd name="connsiteY1871" fmla="*/ 5410448 h 6515100"/>
                <a:gd name="connsiteX1872" fmla="*/ 5080 w 4829175"/>
                <a:gd name="connsiteY1872" fmla="*/ 5261616 h 6515100"/>
                <a:gd name="connsiteX1873" fmla="*/ 5080 w 4829175"/>
                <a:gd name="connsiteY1873" fmla="*/ 5251135 h 6515100"/>
                <a:gd name="connsiteX1874" fmla="*/ 160898 w 4829175"/>
                <a:gd name="connsiteY1874" fmla="*/ 5406255 h 6515100"/>
                <a:gd name="connsiteX1875" fmla="*/ 425022 w 4829175"/>
                <a:gd name="connsiteY1875" fmla="*/ 5406255 h 6515100"/>
                <a:gd name="connsiteX1876" fmla="*/ 153911 w 4829175"/>
                <a:gd name="connsiteY1876" fmla="*/ 5135843 h 6515100"/>
                <a:gd name="connsiteX1877" fmla="*/ 338378 w 4829175"/>
                <a:gd name="connsiteY1877" fmla="*/ 4951376 h 6515100"/>
                <a:gd name="connsiteX1878" fmla="*/ 424323 w 4829175"/>
                <a:gd name="connsiteY1878" fmla="*/ 4865431 h 6515100"/>
                <a:gd name="connsiteX1879" fmla="*/ 160200 w 4829175"/>
                <a:gd name="connsiteY1879" fmla="*/ 4865431 h 6515100"/>
                <a:gd name="connsiteX1880" fmla="*/ 5080 w 4829175"/>
                <a:gd name="connsiteY1880" fmla="*/ 5020552 h 6515100"/>
                <a:gd name="connsiteX1881" fmla="*/ 5080 w 4829175"/>
                <a:gd name="connsiteY1881" fmla="*/ 5010070 h 6515100"/>
                <a:gd name="connsiteX1882" fmla="*/ 153212 w 4829175"/>
                <a:gd name="connsiteY1882" fmla="*/ 4861239 h 6515100"/>
                <a:gd name="connsiteX1883" fmla="*/ 148321 w 4829175"/>
                <a:gd name="connsiteY1883" fmla="*/ 4856348 h 6515100"/>
                <a:gd name="connsiteX1884" fmla="*/ 5080 w 4829175"/>
                <a:gd name="connsiteY1884" fmla="*/ 4713804 h 6515100"/>
                <a:gd name="connsiteX1885" fmla="*/ 5080 w 4829175"/>
                <a:gd name="connsiteY1885" fmla="*/ 4704023 h 6515100"/>
                <a:gd name="connsiteX1886" fmla="*/ 160200 w 4829175"/>
                <a:gd name="connsiteY1886" fmla="*/ 4858443 h 6515100"/>
                <a:gd name="connsiteX1887" fmla="*/ 424323 w 4829175"/>
                <a:gd name="connsiteY1887" fmla="*/ 4857746 h 6515100"/>
                <a:gd name="connsiteX1888" fmla="*/ 153212 w 4829175"/>
                <a:gd name="connsiteY1888" fmla="*/ 4587334 h 6515100"/>
                <a:gd name="connsiteX1889" fmla="*/ 423624 w 4829175"/>
                <a:gd name="connsiteY1889" fmla="*/ 4316922 h 6515100"/>
                <a:gd name="connsiteX1890" fmla="*/ 159501 w 4829175"/>
                <a:gd name="connsiteY1890" fmla="*/ 4316922 h 6515100"/>
                <a:gd name="connsiteX1891" fmla="*/ 5080 w 4829175"/>
                <a:gd name="connsiteY1891" fmla="*/ 4471342 h 6515100"/>
                <a:gd name="connsiteX1892" fmla="*/ 5080 w 4829175"/>
                <a:gd name="connsiteY1892" fmla="*/ 4460862 h 6515100"/>
                <a:gd name="connsiteX1893" fmla="*/ 152513 w 4829175"/>
                <a:gd name="connsiteY1893" fmla="*/ 4312728 h 6515100"/>
                <a:gd name="connsiteX1894" fmla="*/ 5080 w 4829175"/>
                <a:gd name="connsiteY1894" fmla="*/ 4165993 h 6515100"/>
                <a:gd name="connsiteX1895" fmla="*/ 5080 w 4829175"/>
                <a:gd name="connsiteY1895" fmla="*/ 4155512 h 6515100"/>
                <a:gd name="connsiteX1896" fmla="*/ 159501 w 4829175"/>
                <a:gd name="connsiteY1896" fmla="*/ 4309235 h 6515100"/>
                <a:gd name="connsiteX1897" fmla="*/ 423624 w 4829175"/>
                <a:gd name="connsiteY1897" fmla="*/ 4309235 h 6515100"/>
                <a:gd name="connsiteX1898" fmla="*/ 152513 w 4829175"/>
                <a:gd name="connsiteY1898" fmla="*/ 4039522 h 6515100"/>
                <a:gd name="connsiteX1899" fmla="*/ 331391 w 4829175"/>
                <a:gd name="connsiteY1899" fmla="*/ 3860644 h 6515100"/>
                <a:gd name="connsiteX1900" fmla="*/ 331489 w 4829175"/>
                <a:gd name="connsiteY1900" fmla="*/ 3860644 h 6515100"/>
                <a:gd name="connsiteX1901" fmla="*/ 422038 w 4829175"/>
                <a:gd name="connsiteY1901" fmla="*/ 3769860 h 6515100"/>
                <a:gd name="connsiteX1902" fmla="*/ 225692 w 4829175"/>
                <a:gd name="connsiteY1902" fmla="*/ 3769860 h 6515100"/>
                <a:gd name="connsiteX1903" fmla="*/ 226391 w 4829175"/>
                <a:gd name="connsiteY1903" fmla="*/ 3768464 h 6515100"/>
                <a:gd name="connsiteX1904" fmla="*/ 158613 w 4829175"/>
                <a:gd name="connsiteY1904" fmla="*/ 3768464 h 6515100"/>
                <a:gd name="connsiteX1905" fmla="*/ 0 w 4829175"/>
                <a:gd name="connsiteY1905" fmla="*/ 3927075 h 6515100"/>
                <a:gd name="connsiteX1906" fmla="*/ 0 w 4829175"/>
                <a:gd name="connsiteY1906" fmla="*/ 3917294 h 6515100"/>
                <a:gd name="connsiteX1907" fmla="*/ 152324 w 4829175"/>
                <a:gd name="connsiteY1907" fmla="*/ 3764969 h 6515100"/>
                <a:gd name="connsiteX1908" fmla="*/ 0 w 4829175"/>
                <a:gd name="connsiteY1908" fmla="*/ 3613344 h 6515100"/>
                <a:gd name="connsiteX1909" fmla="*/ 0 w 4829175"/>
                <a:gd name="connsiteY1909" fmla="*/ 3602863 h 6515100"/>
                <a:gd name="connsiteX1910" fmla="*/ 159312 w 4829175"/>
                <a:gd name="connsiteY1910" fmla="*/ 3760776 h 6515100"/>
                <a:gd name="connsiteX1911" fmla="*/ 423435 w 4829175"/>
                <a:gd name="connsiteY1911" fmla="*/ 3760776 h 6515100"/>
                <a:gd name="connsiteX1912" fmla="*/ 294168 w 4829175"/>
                <a:gd name="connsiteY1912" fmla="*/ 3632209 h 6515100"/>
                <a:gd name="connsiteX1913" fmla="*/ 152324 w 4829175"/>
                <a:gd name="connsiteY1913" fmla="*/ 3491064 h 6515100"/>
                <a:gd name="connsiteX1914" fmla="*/ 336093 w 4829175"/>
                <a:gd name="connsiteY1914" fmla="*/ 3305898 h 6515100"/>
                <a:gd name="connsiteX1915" fmla="*/ 422038 w 4829175"/>
                <a:gd name="connsiteY1915" fmla="*/ 3219953 h 6515100"/>
                <a:gd name="connsiteX1916" fmla="*/ 157914 w 4829175"/>
                <a:gd name="connsiteY1916" fmla="*/ 3219953 h 6515100"/>
                <a:gd name="connsiteX1917" fmla="*/ 0 w 4829175"/>
                <a:gd name="connsiteY1917" fmla="*/ 3378566 h 6515100"/>
                <a:gd name="connsiteX1918" fmla="*/ 0 w 4829175"/>
                <a:gd name="connsiteY1918" fmla="*/ 3368084 h 6515100"/>
                <a:gd name="connsiteX1919" fmla="*/ 152324 w 4829175"/>
                <a:gd name="connsiteY1919" fmla="*/ 3216459 h 6515100"/>
                <a:gd name="connsiteX1920" fmla="*/ 146735 w 4829175"/>
                <a:gd name="connsiteY1920" fmla="*/ 3211568 h 6515100"/>
                <a:gd name="connsiteX1921" fmla="*/ 0 w 4829175"/>
                <a:gd name="connsiteY1921" fmla="*/ 3065532 h 6515100"/>
                <a:gd name="connsiteX1922" fmla="*/ 0 w 4829175"/>
                <a:gd name="connsiteY1922" fmla="*/ 3055052 h 6515100"/>
                <a:gd name="connsiteX1923" fmla="*/ 157914 w 4829175"/>
                <a:gd name="connsiteY1923" fmla="*/ 3212966 h 6515100"/>
                <a:gd name="connsiteX1924" fmla="*/ 422038 w 4829175"/>
                <a:gd name="connsiteY1924" fmla="*/ 3212966 h 6515100"/>
                <a:gd name="connsiteX1925" fmla="*/ 150927 w 4829175"/>
                <a:gd name="connsiteY1925" fmla="*/ 2942554 h 6515100"/>
                <a:gd name="connsiteX1926" fmla="*/ 421339 w 4829175"/>
                <a:gd name="connsiteY1926" fmla="*/ 2671443 h 6515100"/>
                <a:gd name="connsiteX1927" fmla="*/ 157215 w 4829175"/>
                <a:gd name="connsiteY1927" fmla="*/ 2671443 h 6515100"/>
                <a:gd name="connsiteX1928" fmla="*/ 0 w 4829175"/>
                <a:gd name="connsiteY1928" fmla="*/ 2829357 h 6515100"/>
                <a:gd name="connsiteX1929" fmla="*/ 0 w 4829175"/>
                <a:gd name="connsiteY1929" fmla="*/ 2818875 h 6515100"/>
                <a:gd name="connsiteX1930" fmla="*/ 150927 w 4829175"/>
                <a:gd name="connsiteY1930" fmla="*/ 2667949 h 6515100"/>
                <a:gd name="connsiteX1931" fmla="*/ 0 w 4829175"/>
                <a:gd name="connsiteY1931" fmla="*/ 2517721 h 6515100"/>
                <a:gd name="connsiteX1932" fmla="*/ 0 w 4829175"/>
                <a:gd name="connsiteY1932" fmla="*/ 2507939 h 6515100"/>
                <a:gd name="connsiteX1933" fmla="*/ 157914 w 4829175"/>
                <a:gd name="connsiteY1933" fmla="*/ 2664456 h 6515100"/>
                <a:gd name="connsiteX1934" fmla="*/ 422038 w 4829175"/>
                <a:gd name="connsiteY1934" fmla="*/ 2664456 h 6515100"/>
                <a:gd name="connsiteX1935" fmla="*/ 150927 w 4829175"/>
                <a:gd name="connsiteY1935" fmla="*/ 2394044 h 6515100"/>
                <a:gd name="connsiteX1936" fmla="*/ 420640 w 4829175"/>
                <a:gd name="connsiteY1936" fmla="*/ 2122933 h 6515100"/>
                <a:gd name="connsiteX1937" fmla="*/ 156517 w 4829175"/>
                <a:gd name="connsiteY1937" fmla="*/ 2122933 h 6515100"/>
                <a:gd name="connsiteX1938" fmla="*/ 0 w 4829175"/>
                <a:gd name="connsiteY1938" fmla="*/ 2280148 h 6515100"/>
                <a:gd name="connsiteX1939" fmla="*/ 0 w 4829175"/>
                <a:gd name="connsiteY1939" fmla="*/ 2269667 h 6515100"/>
                <a:gd name="connsiteX1940" fmla="*/ 150228 w 4829175"/>
                <a:gd name="connsiteY1940" fmla="*/ 2119439 h 6515100"/>
                <a:gd name="connsiteX1941" fmla="*/ 16070 w 4829175"/>
                <a:gd name="connsiteY1941" fmla="*/ 1985980 h 6515100"/>
                <a:gd name="connsiteX1942" fmla="*/ 0 w 4829175"/>
                <a:gd name="connsiteY1942" fmla="*/ 1969909 h 6515100"/>
                <a:gd name="connsiteX1943" fmla="*/ 0 w 4829175"/>
                <a:gd name="connsiteY1943" fmla="*/ 1960127 h 6515100"/>
                <a:gd name="connsiteX1944" fmla="*/ 19564 w 4829175"/>
                <a:gd name="connsiteY1944" fmla="*/ 1979691 h 6515100"/>
                <a:gd name="connsiteX1945" fmla="*/ 156517 w 4829175"/>
                <a:gd name="connsiteY1945" fmla="*/ 2115945 h 6515100"/>
                <a:gd name="connsiteX1946" fmla="*/ 420640 w 4829175"/>
                <a:gd name="connsiteY1946" fmla="*/ 2115945 h 6515100"/>
                <a:gd name="connsiteX1947" fmla="*/ 149529 w 4829175"/>
                <a:gd name="connsiteY1947" fmla="*/ 1845533 h 6515100"/>
                <a:gd name="connsiteX1948" fmla="*/ 150927 w 4829175"/>
                <a:gd name="connsiteY1948" fmla="*/ 1844135 h 6515100"/>
                <a:gd name="connsiteX1949" fmla="*/ 151626 w 4829175"/>
                <a:gd name="connsiteY1949" fmla="*/ 1844135 h 6515100"/>
                <a:gd name="connsiteX1950" fmla="*/ 419941 w 4829175"/>
                <a:gd name="connsiteY1950" fmla="*/ 1575121 h 6515100"/>
                <a:gd name="connsiteX1951" fmla="*/ 156517 w 4829175"/>
                <a:gd name="connsiteY1951" fmla="*/ 1575121 h 6515100"/>
                <a:gd name="connsiteX1952" fmla="*/ 0 w 4829175"/>
                <a:gd name="connsiteY1952" fmla="*/ 1731637 h 6515100"/>
                <a:gd name="connsiteX1953" fmla="*/ 0 w 4829175"/>
                <a:gd name="connsiteY1953" fmla="*/ 1721157 h 6515100"/>
                <a:gd name="connsiteX1954" fmla="*/ 149529 w 4829175"/>
                <a:gd name="connsiteY1954" fmla="*/ 1571627 h 6515100"/>
                <a:gd name="connsiteX1955" fmla="*/ 0 w 4829175"/>
                <a:gd name="connsiteY1955" fmla="*/ 1422098 h 6515100"/>
                <a:gd name="connsiteX1956" fmla="*/ 0 w 4829175"/>
                <a:gd name="connsiteY1956" fmla="*/ 1411617 h 6515100"/>
                <a:gd name="connsiteX1957" fmla="*/ 156517 w 4829175"/>
                <a:gd name="connsiteY1957" fmla="*/ 1567435 h 6515100"/>
                <a:gd name="connsiteX1958" fmla="*/ 419941 w 4829175"/>
                <a:gd name="connsiteY1958" fmla="*/ 1567435 h 6515100"/>
                <a:gd name="connsiteX1959" fmla="*/ 289976 w 4829175"/>
                <a:gd name="connsiteY1959" fmla="*/ 1437470 h 6515100"/>
                <a:gd name="connsiteX1960" fmla="*/ 149529 w 4829175"/>
                <a:gd name="connsiteY1960" fmla="*/ 1297023 h 6515100"/>
                <a:gd name="connsiteX1961" fmla="*/ 419941 w 4829175"/>
                <a:gd name="connsiteY1961" fmla="*/ 1026611 h 6515100"/>
                <a:gd name="connsiteX1962" fmla="*/ 155818 w 4829175"/>
                <a:gd name="connsiteY1962" fmla="*/ 1026611 h 6515100"/>
                <a:gd name="connsiteX1963" fmla="*/ 0 w 4829175"/>
                <a:gd name="connsiteY1963" fmla="*/ 1182428 h 6515100"/>
                <a:gd name="connsiteX1964" fmla="*/ 0 w 4829175"/>
                <a:gd name="connsiteY1964" fmla="*/ 1171948 h 6515100"/>
                <a:gd name="connsiteX1965" fmla="*/ 148830 w 4829175"/>
                <a:gd name="connsiteY1965" fmla="*/ 1023118 h 6515100"/>
                <a:gd name="connsiteX1966" fmla="*/ 0 w 4829175"/>
                <a:gd name="connsiteY1966" fmla="*/ 874286 h 6515100"/>
                <a:gd name="connsiteX1967" fmla="*/ 0 w 4829175"/>
                <a:gd name="connsiteY1967" fmla="*/ 863806 h 6515100"/>
                <a:gd name="connsiteX1968" fmla="*/ 155818 w 4829175"/>
                <a:gd name="connsiteY1968" fmla="*/ 1018924 h 6515100"/>
                <a:gd name="connsiteX1969" fmla="*/ 419941 w 4829175"/>
                <a:gd name="connsiteY1969" fmla="*/ 1018924 h 6515100"/>
                <a:gd name="connsiteX1970" fmla="*/ 148830 w 4829175"/>
                <a:gd name="connsiteY1970" fmla="*/ 748512 h 6515100"/>
                <a:gd name="connsiteX1971" fmla="*/ 333298 w 4829175"/>
                <a:gd name="connsiteY1971" fmla="*/ 564046 h 6515100"/>
                <a:gd name="connsiteX1972" fmla="*/ 419242 w 4829175"/>
                <a:gd name="connsiteY1972" fmla="*/ 478100 h 6515100"/>
                <a:gd name="connsiteX1973" fmla="*/ 155119 w 4829175"/>
                <a:gd name="connsiteY1973" fmla="*/ 478100 h 6515100"/>
                <a:gd name="connsiteX1974" fmla="*/ 0 w 4829175"/>
                <a:gd name="connsiteY1974" fmla="*/ 633220 h 6515100"/>
                <a:gd name="connsiteX1975" fmla="*/ 0 w 4829175"/>
                <a:gd name="connsiteY1975" fmla="*/ 622738 h 6515100"/>
                <a:gd name="connsiteX1976" fmla="*/ 148131 w 4829175"/>
                <a:gd name="connsiteY1976" fmla="*/ 473908 h 6515100"/>
                <a:gd name="connsiteX1977" fmla="*/ 143240 w 4829175"/>
                <a:gd name="connsiteY1977" fmla="*/ 469017 h 6515100"/>
                <a:gd name="connsiteX1978" fmla="*/ 0 w 4829175"/>
                <a:gd name="connsiteY1978" fmla="*/ 326475 h 6515100"/>
                <a:gd name="connsiteX1979" fmla="*/ 0 w 4829175"/>
                <a:gd name="connsiteY1979" fmla="*/ 316693 h 6515100"/>
                <a:gd name="connsiteX1980" fmla="*/ 155119 w 4829175"/>
                <a:gd name="connsiteY1980" fmla="*/ 471113 h 6515100"/>
                <a:gd name="connsiteX1981" fmla="*/ 419242 w 4829175"/>
                <a:gd name="connsiteY1981" fmla="*/ 470415 h 6515100"/>
                <a:gd name="connsiteX1982" fmla="*/ 148131 w 4829175"/>
                <a:gd name="connsiteY1982" fmla="*/ 200003 h 6515100"/>
                <a:gd name="connsiteX1983" fmla="*/ 73183 w 4829175"/>
                <a:gd name="connsiteY1983" fmla="*/ 0 h 6515100"/>
                <a:gd name="connsiteX1984" fmla="*/ 84011 w 4829175"/>
                <a:gd name="connsiteY1984" fmla="*/ 0 h 6515100"/>
                <a:gd name="connsiteX1985" fmla="*/ 0 w 4829175"/>
                <a:gd name="connsiteY1985" fmla="*/ 84011 h 6515100"/>
                <a:gd name="connsiteX1986" fmla="*/ 0 w 4829175"/>
                <a:gd name="connsiteY1986" fmla="*/ 73530 h 6515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Lst>
              <a:rect l="l" t="t" r="r" b="b"/>
              <a:pathLst>
                <a:path w="4829175" h="6515100">
                  <a:moveTo>
                    <a:pt x="700271" y="6501824"/>
                  </a:moveTo>
                  <a:lnTo>
                    <a:pt x="714941" y="6508865"/>
                  </a:lnTo>
                  <a:lnTo>
                    <a:pt x="710807" y="6508865"/>
                  </a:lnTo>
                  <a:lnTo>
                    <a:pt x="704588" y="6515100"/>
                  </a:lnTo>
                  <a:lnTo>
                    <a:pt x="694116" y="6515100"/>
                  </a:lnTo>
                  <a:lnTo>
                    <a:pt x="703819" y="6505372"/>
                  </a:lnTo>
                  <a:close/>
                  <a:moveTo>
                    <a:pt x="710108" y="5961753"/>
                  </a:moveTo>
                  <a:lnTo>
                    <a:pt x="439696" y="6232863"/>
                  </a:lnTo>
                  <a:lnTo>
                    <a:pt x="710807" y="6503275"/>
                  </a:lnTo>
                  <a:lnTo>
                    <a:pt x="974930" y="6503275"/>
                  </a:lnTo>
                  <a:lnTo>
                    <a:pt x="703819" y="6232863"/>
                  </a:lnTo>
                  <a:lnTo>
                    <a:pt x="974231" y="5961753"/>
                  </a:lnTo>
                  <a:close/>
                  <a:moveTo>
                    <a:pt x="1807827" y="5961054"/>
                  </a:moveTo>
                  <a:lnTo>
                    <a:pt x="1537414" y="6232165"/>
                  </a:lnTo>
                  <a:lnTo>
                    <a:pt x="1808526" y="6502577"/>
                  </a:lnTo>
                  <a:lnTo>
                    <a:pt x="2072648" y="6502577"/>
                  </a:lnTo>
                  <a:lnTo>
                    <a:pt x="1801539" y="6232165"/>
                  </a:lnTo>
                  <a:lnTo>
                    <a:pt x="2071951" y="5961054"/>
                  </a:lnTo>
                  <a:close/>
                  <a:moveTo>
                    <a:pt x="1257919" y="5961054"/>
                  </a:moveTo>
                  <a:lnTo>
                    <a:pt x="988206" y="6232165"/>
                  </a:lnTo>
                  <a:lnTo>
                    <a:pt x="1188744" y="6432703"/>
                  </a:lnTo>
                  <a:lnTo>
                    <a:pt x="1259317" y="6502577"/>
                  </a:lnTo>
                  <a:lnTo>
                    <a:pt x="1327793" y="6502577"/>
                  </a:lnTo>
                  <a:lnTo>
                    <a:pt x="1327094" y="6503974"/>
                  </a:lnTo>
                  <a:lnTo>
                    <a:pt x="1524139" y="6503974"/>
                  </a:lnTo>
                  <a:lnTo>
                    <a:pt x="1253028" y="6233562"/>
                  </a:lnTo>
                  <a:lnTo>
                    <a:pt x="1253727" y="6232863"/>
                  </a:lnTo>
                  <a:lnTo>
                    <a:pt x="1251631" y="6232165"/>
                  </a:lnTo>
                  <a:lnTo>
                    <a:pt x="1522043" y="5961054"/>
                  </a:lnTo>
                  <a:close/>
                  <a:moveTo>
                    <a:pt x="2904847" y="5960355"/>
                  </a:moveTo>
                  <a:lnTo>
                    <a:pt x="2634435" y="6231466"/>
                  </a:lnTo>
                  <a:lnTo>
                    <a:pt x="2905546" y="6501878"/>
                  </a:lnTo>
                  <a:lnTo>
                    <a:pt x="3169669" y="6501878"/>
                  </a:lnTo>
                  <a:lnTo>
                    <a:pt x="2898558" y="6231466"/>
                  </a:lnTo>
                  <a:lnTo>
                    <a:pt x="3168970" y="5960355"/>
                  </a:lnTo>
                  <a:close/>
                  <a:moveTo>
                    <a:pt x="2356338" y="5960355"/>
                  </a:moveTo>
                  <a:lnTo>
                    <a:pt x="2085925" y="6231466"/>
                  </a:lnTo>
                  <a:lnTo>
                    <a:pt x="2357035" y="6501878"/>
                  </a:lnTo>
                  <a:lnTo>
                    <a:pt x="2620460" y="6501878"/>
                  </a:lnTo>
                  <a:lnTo>
                    <a:pt x="2490495" y="6371913"/>
                  </a:lnTo>
                  <a:lnTo>
                    <a:pt x="2350049" y="6231466"/>
                  </a:lnTo>
                  <a:lnTo>
                    <a:pt x="2620460" y="5960355"/>
                  </a:lnTo>
                  <a:close/>
                  <a:moveTo>
                    <a:pt x="3453357" y="5959656"/>
                  </a:moveTo>
                  <a:lnTo>
                    <a:pt x="3182945" y="6230767"/>
                  </a:lnTo>
                  <a:lnTo>
                    <a:pt x="3454056" y="6500480"/>
                  </a:lnTo>
                  <a:lnTo>
                    <a:pt x="3718179" y="6500480"/>
                  </a:lnTo>
                  <a:lnTo>
                    <a:pt x="3447069" y="6230069"/>
                  </a:lnTo>
                  <a:lnTo>
                    <a:pt x="3631536" y="6045602"/>
                  </a:lnTo>
                  <a:lnTo>
                    <a:pt x="3717481" y="5959656"/>
                  </a:lnTo>
                  <a:close/>
                  <a:moveTo>
                    <a:pt x="4550378" y="5958259"/>
                  </a:moveTo>
                  <a:lnTo>
                    <a:pt x="4279966" y="6229370"/>
                  </a:lnTo>
                  <a:lnTo>
                    <a:pt x="4551077" y="6499083"/>
                  </a:lnTo>
                  <a:lnTo>
                    <a:pt x="4815200" y="6499083"/>
                  </a:lnTo>
                  <a:lnTo>
                    <a:pt x="4544089" y="6228671"/>
                  </a:lnTo>
                  <a:lnTo>
                    <a:pt x="4814501" y="5958259"/>
                  </a:lnTo>
                  <a:close/>
                  <a:moveTo>
                    <a:pt x="169284" y="5687847"/>
                  </a:moveTo>
                  <a:lnTo>
                    <a:pt x="299249" y="5817813"/>
                  </a:lnTo>
                  <a:lnTo>
                    <a:pt x="439696" y="5958259"/>
                  </a:lnTo>
                  <a:lnTo>
                    <a:pt x="169284" y="6229370"/>
                  </a:lnTo>
                  <a:lnTo>
                    <a:pt x="433407" y="6229370"/>
                  </a:lnTo>
                  <a:lnTo>
                    <a:pt x="703819" y="5958259"/>
                  </a:lnTo>
                  <a:lnTo>
                    <a:pt x="432708" y="5687847"/>
                  </a:lnTo>
                  <a:close/>
                  <a:moveTo>
                    <a:pt x="1814814" y="5687149"/>
                  </a:moveTo>
                  <a:lnTo>
                    <a:pt x="2085925" y="5957561"/>
                  </a:lnTo>
                  <a:lnTo>
                    <a:pt x="1815513" y="6227973"/>
                  </a:lnTo>
                  <a:lnTo>
                    <a:pt x="2079636" y="6227973"/>
                  </a:lnTo>
                  <a:lnTo>
                    <a:pt x="2350049" y="5957561"/>
                  </a:lnTo>
                  <a:lnTo>
                    <a:pt x="2078937" y="5687149"/>
                  </a:lnTo>
                  <a:close/>
                  <a:moveTo>
                    <a:pt x="717095" y="5687149"/>
                  </a:moveTo>
                  <a:lnTo>
                    <a:pt x="988206" y="5957561"/>
                  </a:lnTo>
                  <a:lnTo>
                    <a:pt x="717794" y="6228671"/>
                  </a:lnTo>
                  <a:lnTo>
                    <a:pt x="981917" y="6228671"/>
                  </a:lnTo>
                  <a:lnTo>
                    <a:pt x="1252329" y="5957561"/>
                  </a:lnTo>
                  <a:lnTo>
                    <a:pt x="981219" y="5687149"/>
                  </a:lnTo>
                  <a:close/>
                  <a:moveTo>
                    <a:pt x="2363324" y="5686450"/>
                  </a:moveTo>
                  <a:lnTo>
                    <a:pt x="2634435" y="5956862"/>
                  </a:lnTo>
                  <a:lnTo>
                    <a:pt x="2364722" y="6227973"/>
                  </a:lnTo>
                  <a:lnTo>
                    <a:pt x="2628146" y="6227973"/>
                  </a:lnTo>
                  <a:lnTo>
                    <a:pt x="2898558" y="5956862"/>
                  </a:lnTo>
                  <a:lnTo>
                    <a:pt x="2764401" y="5823402"/>
                  </a:lnTo>
                  <a:lnTo>
                    <a:pt x="2627447" y="5686450"/>
                  </a:lnTo>
                  <a:close/>
                  <a:moveTo>
                    <a:pt x="2911834" y="5685751"/>
                  </a:moveTo>
                  <a:lnTo>
                    <a:pt x="2913232" y="5687149"/>
                  </a:lnTo>
                  <a:lnTo>
                    <a:pt x="3182945" y="5956163"/>
                  </a:lnTo>
                  <a:lnTo>
                    <a:pt x="2912533" y="6226575"/>
                  </a:lnTo>
                  <a:lnTo>
                    <a:pt x="3176657" y="6226575"/>
                  </a:lnTo>
                  <a:lnTo>
                    <a:pt x="3447069" y="5956163"/>
                  </a:lnTo>
                  <a:lnTo>
                    <a:pt x="3441479" y="5951272"/>
                  </a:lnTo>
                  <a:lnTo>
                    <a:pt x="3175958" y="5685751"/>
                  </a:lnTo>
                  <a:close/>
                  <a:moveTo>
                    <a:pt x="1530428" y="5685751"/>
                  </a:moveTo>
                  <a:lnTo>
                    <a:pt x="1529030" y="5686450"/>
                  </a:lnTo>
                  <a:lnTo>
                    <a:pt x="1264907" y="5686450"/>
                  </a:lnTo>
                  <a:lnTo>
                    <a:pt x="1536018" y="5956862"/>
                  </a:lnTo>
                  <a:lnTo>
                    <a:pt x="1531824" y="5961054"/>
                  </a:lnTo>
                  <a:lnTo>
                    <a:pt x="1537414" y="5958259"/>
                  </a:lnTo>
                  <a:lnTo>
                    <a:pt x="1267002" y="6229370"/>
                  </a:lnTo>
                  <a:lnTo>
                    <a:pt x="1531127" y="6229370"/>
                  </a:lnTo>
                  <a:lnTo>
                    <a:pt x="1801539" y="5958259"/>
                  </a:lnTo>
                  <a:lnTo>
                    <a:pt x="1530428" y="5687847"/>
                  </a:lnTo>
                  <a:close/>
                  <a:moveTo>
                    <a:pt x="3459646" y="5685052"/>
                  </a:moveTo>
                  <a:lnTo>
                    <a:pt x="3730757" y="5955464"/>
                  </a:lnTo>
                  <a:lnTo>
                    <a:pt x="3727962" y="5958259"/>
                  </a:lnTo>
                  <a:lnTo>
                    <a:pt x="3637825" y="6049095"/>
                  </a:lnTo>
                  <a:lnTo>
                    <a:pt x="3460345" y="6225876"/>
                  </a:lnTo>
                  <a:lnTo>
                    <a:pt x="3724468" y="6225876"/>
                  </a:lnTo>
                  <a:lnTo>
                    <a:pt x="3813907" y="6136437"/>
                  </a:lnTo>
                  <a:lnTo>
                    <a:pt x="3994880" y="5955464"/>
                  </a:lnTo>
                  <a:lnTo>
                    <a:pt x="3723769" y="5685052"/>
                  </a:lnTo>
                  <a:close/>
                  <a:moveTo>
                    <a:pt x="1807128" y="5412543"/>
                  </a:moveTo>
                  <a:lnTo>
                    <a:pt x="1536716" y="5683654"/>
                  </a:lnTo>
                  <a:lnTo>
                    <a:pt x="1807827" y="5954066"/>
                  </a:lnTo>
                  <a:lnTo>
                    <a:pt x="2071951" y="5954066"/>
                  </a:lnTo>
                  <a:lnTo>
                    <a:pt x="1800840" y="5683654"/>
                  </a:lnTo>
                  <a:lnTo>
                    <a:pt x="2071252" y="5412543"/>
                  </a:lnTo>
                  <a:close/>
                  <a:moveTo>
                    <a:pt x="709409" y="5412543"/>
                  </a:moveTo>
                  <a:lnTo>
                    <a:pt x="438997" y="5683654"/>
                  </a:lnTo>
                  <a:lnTo>
                    <a:pt x="710108" y="5954066"/>
                  </a:lnTo>
                  <a:lnTo>
                    <a:pt x="974231" y="5954066"/>
                  </a:lnTo>
                  <a:lnTo>
                    <a:pt x="703120" y="5683654"/>
                  </a:lnTo>
                  <a:lnTo>
                    <a:pt x="972833" y="5412543"/>
                  </a:lnTo>
                  <a:close/>
                  <a:moveTo>
                    <a:pt x="2904148" y="5411845"/>
                  </a:moveTo>
                  <a:lnTo>
                    <a:pt x="2723874" y="5592120"/>
                  </a:lnTo>
                  <a:lnTo>
                    <a:pt x="2634435" y="5682258"/>
                  </a:lnTo>
                  <a:lnTo>
                    <a:pt x="2768593" y="5815716"/>
                  </a:lnTo>
                  <a:lnTo>
                    <a:pt x="2905546" y="5952669"/>
                  </a:lnTo>
                  <a:lnTo>
                    <a:pt x="3169669" y="5952669"/>
                  </a:lnTo>
                  <a:lnTo>
                    <a:pt x="2898558" y="5682258"/>
                  </a:lnTo>
                  <a:lnTo>
                    <a:pt x="2899956" y="5680860"/>
                  </a:lnTo>
                  <a:lnTo>
                    <a:pt x="3168271" y="5411845"/>
                  </a:lnTo>
                  <a:close/>
                  <a:moveTo>
                    <a:pt x="2355639" y="5411845"/>
                  </a:moveTo>
                  <a:lnTo>
                    <a:pt x="2085226" y="5682955"/>
                  </a:lnTo>
                  <a:lnTo>
                    <a:pt x="2356338" y="5953367"/>
                  </a:lnTo>
                  <a:lnTo>
                    <a:pt x="2620460" y="5953367"/>
                  </a:lnTo>
                  <a:lnTo>
                    <a:pt x="2349350" y="5682955"/>
                  </a:lnTo>
                  <a:lnTo>
                    <a:pt x="2533816" y="5498489"/>
                  </a:lnTo>
                  <a:lnTo>
                    <a:pt x="2619762" y="5412543"/>
                  </a:lnTo>
                  <a:lnTo>
                    <a:pt x="2361229" y="5412543"/>
                  </a:lnTo>
                  <a:close/>
                  <a:moveTo>
                    <a:pt x="1257919" y="5411845"/>
                  </a:moveTo>
                  <a:lnTo>
                    <a:pt x="987507" y="5682955"/>
                  </a:lnTo>
                  <a:lnTo>
                    <a:pt x="1258618" y="5953367"/>
                  </a:lnTo>
                  <a:lnTo>
                    <a:pt x="1522741" y="5953367"/>
                  </a:lnTo>
                  <a:lnTo>
                    <a:pt x="1251631" y="5682955"/>
                  </a:lnTo>
                  <a:lnTo>
                    <a:pt x="1436098" y="5498489"/>
                  </a:lnTo>
                  <a:lnTo>
                    <a:pt x="1522043" y="5411845"/>
                  </a:lnTo>
                  <a:close/>
                  <a:moveTo>
                    <a:pt x="3452658" y="5411147"/>
                  </a:moveTo>
                  <a:lnTo>
                    <a:pt x="3182246" y="5682258"/>
                  </a:lnTo>
                  <a:lnTo>
                    <a:pt x="3453357" y="5952669"/>
                  </a:lnTo>
                  <a:lnTo>
                    <a:pt x="3717481" y="5952669"/>
                  </a:lnTo>
                  <a:lnTo>
                    <a:pt x="3446370" y="5682258"/>
                  </a:lnTo>
                  <a:lnTo>
                    <a:pt x="3716782" y="5411147"/>
                  </a:lnTo>
                  <a:close/>
                  <a:moveTo>
                    <a:pt x="4549679" y="5409749"/>
                  </a:moveTo>
                  <a:lnTo>
                    <a:pt x="4279267" y="5680860"/>
                  </a:lnTo>
                  <a:lnTo>
                    <a:pt x="4550378" y="5951272"/>
                  </a:lnTo>
                  <a:lnTo>
                    <a:pt x="4814501" y="5951272"/>
                  </a:lnTo>
                  <a:lnTo>
                    <a:pt x="4543391" y="5680860"/>
                  </a:lnTo>
                  <a:lnTo>
                    <a:pt x="4727858" y="5495694"/>
                  </a:lnTo>
                  <a:lnTo>
                    <a:pt x="4727159" y="5494995"/>
                  </a:lnTo>
                  <a:lnTo>
                    <a:pt x="4812405" y="5409749"/>
                  </a:lnTo>
                  <a:close/>
                  <a:moveTo>
                    <a:pt x="167886" y="5139337"/>
                  </a:moveTo>
                  <a:lnTo>
                    <a:pt x="438997" y="5409749"/>
                  </a:lnTo>
                  <a:lnTo>
                    <a:pt x="169284" y="5680860"/>
                  </a:lnTo>
                  <a:lnTo>
                    <a:pt x="432708" y="5680860"/>
                  </a:lnTo>
                  <a:lnTo>
                    <a:pt x="703120" y="5409749"/>
                  </a:lnTo>
                  <a:lnTo>
                    <a:pt x="568962" y="5276290"/>
                  </a:lnTo>
                  <a:lnTo>
                    <a:pt x="432009" y="5139337"/>
                  </a:lnTo>
                  <a:close/>
                  <a:moveTo>
                    <a:pt x="1814116" y="5138638"/>
                  </a:moveTo>
                  <a:lnTo>
                    <a:pt x="1942683" y="5267207"/>
                  </a:lnTo>
                  <a:lnTo>
                    <a:pt x="2084528" y="5409050"/>
                  </a:lnTo>
                  <a:lnTo>
                    <a:pt x="1814116" y="5680161"/>
                  </a:lnTo>
                  <a:lnTo>
                    <a:pt x="2078239" y="5680161"/>
                  </a:lnTo>
                  <a:lnTo>
                    <a:pt x="2348651" y="5409050"/>
                  </a:lnTo>
                  <a:lnTo>
                    <a:pt x="2343759" y="5404159"/>
                  </a:lnTo>
                  <a:lnTo>
                    <a:pt x="2078239" y="5138638"/>
                  </a:lnTo>
                  <a:close/>
                  <a:moveTo>
                    <a:pt x="2362625" y="5137939"/>
                  </a:moveTo>
                  <a:lnTo>
                    <a:pt x="2633736" y="5407653"/>
                  </a:lnTo>
                  <a:lnTo>
                    <a:pt x="2630942" y="5410448"/>
                  </a:lnTo>
                  <a:lnTo>
                    <a:pt x="2540804" y="5501283"/>
                  </a:lnTo>
                  <a:lnTo>
                    <a:pt x="2363324" y="5678763"/>
                  </a:lnTo>
                  <a:lnTo>
                    <a:pt x="2627447" y="5678763"/>
                  </a:lnTo>
                  <a:lnTo>
                    <a:pt x="2716886" y="5589325"/>
                  </a:lnTo>
                  <a:lnTo>
                    <a:pt x="2897859" y="5408351"/>
                  </a:lnTo>
                  <a:lnTo>
                    <a:pt x="2626749" y="5137939"/>
                  </a:lnTo>
                  <a:close/>
                  <a:moveTo>
                    <a:pt x="1264208" y="5137939"/>
                  </a:moveTo>
                  <a:lnTo>
                    <a:pt x="1535319" y="5407653"/>
                  </a:lnTo>
                  <a:lnTo>
                    <a:pt x="1532523" y="5410448"/>
                  </a:lnTo>
                  <a:lnTo>
                    <a:pt x="1442387" y="5501283"/>
                  </a:lnTo>
                  <a:lnTo>
                    <a:pt x="1264907" y="5678763"/>
                  </a:lnTo>
                  <a:lnTo>
                    <a:pt x="1529030" y="5678763"/>
                  </a:lnTo>
                  <a:lnTo>
                    <a:pt x="1618469" y="5589325"/>
                  </a:lnTo>
                  <a:lnTo>
                    <a:pt x="1799442" y="5408351"/>
                  </a:lnTo>
                  <a:lnTo>
                    <a:pt x="1528331" y="5137939"/>
                  </a:lnTo>
                  <a:close/>
                  <a:moveTo>
                    <a:pt x="715697" y="5137939"/>
                  </a:moveTo>
                  <a:lnTo>
                    <a:pt x="717095" y="5139337"/>
                  </a:lnTo>
                  <a:lnTo>
                    <a:pt x="986808" y="5408351"/>
                  </a:lnTo>
                  <a:lnTo>
                    <a:pt x="716396" y="5679462"/>
                  </a:lnTo>
                  <a:lnTo>
                    <a:pt x="980520" y="5679462"/>
                  </a:lnTo>
                  <a:lnTo>
                    <a:pt x="1250932" y="5408351"/>
                  </a:lnTo>
                  <a:lnTo>
                    <a:pt x="1245342" y="5403460"/>
                  </a:lnTo>
                  <a:lnTo>
                    <a:pt x="979821" y="5137939"/>
                  </a:lnTo>
                  <a:close/>
                  <a:moveTo>
                    <a:pt x="2911136" y="5137241"/>
                  </a:moveTo>
                  <a:lnTo>
                    <a:pt x="3041801" y="5266508"/>
                  </a:lnTo>
                  <a:lnTo>
                    <a:pt x="3182246" y="5406954"/>
                  </a:lnTo>
                  <a:lnTo>
                    <a:pt x="2911834" y="5678065"/>
                  </a:lnTo>
                  <a:lnTo>
                    <a:pt x="3175958" y="5678065"/>
                  </a:lnTo>
                  <a:lnTo>
                    <a:pt x="3446370" y="5407653"/>
                  </a:lnTo>
                  <a:lnTo>
                    <a:pt x="3175259" y="5137241"/>
                  </a:lnTo>
                  <a:close/>
                  <a:moveTo>
                    <a:pt x="3459646" y="5136542"/>
                  </a:moveTo>
                  <a:lnTo>
                    <a:pt x="3730757" y="5406954"/>
                  </a:lnTo>
                  <a:lnTo>
                    <a:pt x="3460345" y="5678065"/>
                  </a:lnTo>
                  <a:lnTo>
                    <a:pt x="3724468" y="5678065"/>
                  </a:lnTo>
                  <a:lnTo>
                    <a:pt x="3994880" y="5406954"/>
                  </a:lnTo>
                  <a:lnTo>
                    <a:pt x="3723769" y="5136542"/>
                  </a:lnTo>
                  <a:close/>
                  <a:moveTo>
                    <a:pt x="4008156" y="5135843"/>
                  </a:moveTo>
                  <a:lnTo>
                    <a:pt x="4279267" y="5406255"/>
                  </a:lnTo>
                  <a:lnTo>
                    <a:pt x="4008855" y="5677366"/>
                  </a:lnTo>
                  <a:lnTo>
                    <a:pt x="4207297" y="5677366"/>
                  </a:lnTo>
                  <a:lnTo>
                    <a:pt x="4272280" y="5677366"/>
                  </a:lnTo>
                  <a:lnTo>
                    <a:pt x="4543391" y="5406255"/>
                  </a:lnTo>
                  <a:lnTo>
                    <a:pt x="4409232" y="5272797"/>
                  </a:lnTo>
                  <a:lnTo>
                    <a:pt x="4272280" y="5135843"/>
                  </a:lnTo>
                  <a:close/>
                  <a:moveTo>
                    <a:pt x="708011" y="4864034"/>
                  </a:moveTo>
                  <a:lnTo>
                    <a:pt x="527737" y="5045007"/>
                  </a:lnTo>
                  <a:lnTo>
                    <a:pt x="438298" y="5135144"/>
                  </a:lnTo>
                  <a:lnTo>
                    <a:pt x="572456" y="5268603"/>
                  </a:lnTo>
                  <a:lnTo>
                    <a:pt x="709409" y="5405557"/>
                  </a:lnTo>
                  <a:lnTo>
                    <a:pt x="973532" y="5405557"/>
                  </a:lnTo>
                  <a:lnTo>
                    <a:pt x="702421" y="5135144"/>
                  </a:lnTo>
                  <a:lnTo>
                    <a:pt x="703819" y="5133747"/>
                  </a:lnTo>
                  <a:lnTo>
                    <a:pt x="972135" y="4864034"/>
                  </a:lnTo>
                  <a:close/>
                  <a:moveTo>
                    <a:pt x="1257220" y="4863335"/>
                  </a:moveTo>
                  <a:lnTo>
                    <a:pt x="986808" y="5134446"/>
                  </a:lnTo>
                  <a:lnTo>
                    <a:pt x="1257919" y="5404858"/>
                  </a:lnTo>
                  <a:lnTo>
                    <a:pt x="1522043" y="5404858"/>
                  </a:lnTo>
                  <a:lnTo>
                    <a:pt x="1250932" y="5134446"/>
                  </a:lnTo>
                  <a:lnTo>
                    <a:pt x="1521344" y="4863335"/>
                  </a:lnTo>
                  <a:close/>
                  <a:moveTo>
                    <a:pt x="2904148" y="4862636"/>
                  </a:moveTo>
                  <a:lnTo>
                    <a:pt x="2633736" y="5133747"/>
                  </a:lnTo>
                  <a:lnTo>
                    <a:pt x="2904847" y="5404159"/>
                  </a:lnTo>
                  <a:lnTo>
                    <a:pt x="3168271" y="5404159"/>
                  </a:lnTo>
                  <a:lnTo>
                    <a:pt x="3037607" y="5274193"/>
                  </a:lnTo>
                  <a:lnTo>
                    <a:pt x="2897162" y="5133747"/>
                  </a:lnTo>
                  <a:lnTo>
                    <a:pt x="3168271" y="4862636"/>
                  </a:lnTo>
                  <a:close/>
                  <a:moveTo>
                    <a:pt x="1805032" y="4862636"/>
                  </a:moveTo>
                  <a:lnTo>
                    <a:pt x="1534620" y="5133747"/>
                  </a:lnTo>
                  <a:lnTo>
                    <a:pt x="1805731" y="5404159"/>
                  </a:lnTo>
                  <a:lnTo>
                    <a:pt x="1807128" y="5405557"/>
                  </a:lnTo>
                  <a:lnTo>
                    <a:pt x="2071252" y="5405557"/>
                  </a:lnTo>
                  <a:lnTo>
                    <a:pt x="1939889" y="5274193"/>
                  </a:lnTo>
                  <a:lnTo>
                    <a:pt x="1802236" y="5136542"/>
                  </a:lnTo>
                  <a:lnTo>
                    <a:pt x="2071252" y="4862636"/>
                  </a:lnTo>
                  <a:close/>
                  <a:moveTo>
                    <a:pt x="3451960" y="4861938"/>
                  </a:moveTo>
                  <a:lnTo>
                    <a:pt x="3181548" y="5133048"/>
                  </a:lnTo>
                  <a:lnTo>
                    <a:pt x="3452658" y="5403460"/>
                  </a:lnTo>
                  <a:lnTo>
                    <a:pt x="3716782" y="5403460"/>
                  </a:lnTo>
                  <a:lnTo>
                    <a:pt x="3445671" y="5133048"/>
                  </a:lnTo>
                  <a:lnTo>
                    <a:pt x="3630138" y="4948581"/>
                  </a:lnTo>
                  <a:lnTo>
                    <a:pt x="3714686" y="4861938"/>
                  </a:lnTo>
                  <a:close/>
                  <a:moveTo>
                    <a:pt x="4000470" y="4861239"/>
                  </a:moveTo>
                  <a:lnTo>
                    <a:pt x="3730058" y="5132350"/>
                  </a:lnTo>
                  <a:lnTo>
                    <a:pt x="4001169" y="5402762"/>
                  </a:lnTo>
                  <a:lnTo>
                    <a:pt x="4265292" y="5402762"/>
                  </a:lnTo>
                  <a:lnTo>
                    <a:pt x="3994181" y="5132350"/>
                  </a:lnTo>
                  <a:lnTo>
                    <a:pt x="3995579" y="5130952"/>
                  </a:lnTo>
                  <a:lnTo>
                    <a:pt x="3994880" y="5130952"/>
                  </a:lnTo>
                  <a:lnTo>
                    <a:pt x="4263197" y="4861938"/>
                  </a:lnTo>
                  <a:lnTo>
                    <a:pt x="4004663" y="4861938"/>
                  </a:lnTo>
                  <a:lnTo>
                    <a:pt x="4006060" y="4861239"/>
                  </a:lnTo>
                  <a:close/>
                  <a:moveTo>
                    <a:pt x="4548281" y="4860540"/>
                  </a:moveTo>
                  <a:lnTo>
                    <a:pt x="4367308" y="5041513"/>
                  </a:lnTo>
                  <a:lnTo>
                    <a:pt x="4368007" y="5042212"/>
                  </a:lnTo>
                  <a:lnTo>
                    <a:pt x="4278568" y="5132350"/>
                  </a:lnTo>
                  <a:lnTo>
                    <a:pt x="4412727" y="5265809"/>
                  </a:lnTo>
                  <a:lnTo>
                    <a:pt x="4548980" y="5402063"/>
                  </a:lnTo>
                  <a:lnTo>
                    <a:pt x="4813104" y="5402063"/>
                  </a:lnTo>
                  <a:lnTo>
                    <a:pt x="4541993" y="5131651"/>
                  </a:lnTo>
                  <a:lnTo>
                    <a:pt x="4812405" y="4860540"/>
                  </a:lnTo>
                  <a:close/>
                  <a:moveTo>
                    <a:pt x="2621159" y="4860540"/>
                  </a:moveTo>
                  <a:lnTo>
                    <a:pt x="2354940" y="4863335"/>
                  </a:lnTo>
                  <a:lnTo>
                    <a:pt x="2084528" y="5134446"/>
                  </a:lnTo>
                  <a:lnTo>
                    <a:pt x="2355639" y="5404858"/>
                  </a:lnTo>
                  <a:lnTo>
                    <a:pt x="2619762" y="5404858"/>
                  </a:lnTo>
                  <a:lnTo>
                    <a:pt x="2348651" y="5134446"/>
                  </a:lnTo>
                  <a:close/>
                  <a:moveTo>
                    <a:pt x="166488" y="4590827"/>
                  </a:moveTo>
                  <a:lnTo>
                    <a:pt x="437599" y="4861239"/>
                  </a:lnTo>
                  <a:lnTo>
                    <a:pt x="434805" y="4864034"/>
                  </a:lnTo>
                  <a:lnTo>
                    <a:pt x="344667" y="4954870"/>
                  </a:lnTo>
                  <a:lnTo>
                    <a:pt x="167187" y="5131651"/>
                  </a:lnTo>
                  <a:lnTo>
                    <a:pt x="431311" y="5131651"/>
                  </a:lnTo>
                  <a:lnTo>
                    <a:pt x="520749" y="5042212"/>
                  </a:lnTo>
                  <a:lnTo>
                    <a:pt x="701722" y="4861239"/>
                  </a:lnTo>
                  <a:lnTo>
                    <a:pt x="430612" y="4590827"/>
                  </a:lnTo>
                  <a:close/>
                  <a:moveTo>
                    <a:pt x="715697" y="4590128"/>
                  </a:moveTo>
                  <a:lnTo>
                    <a:pt x="845663" y="4720093"/>
                  </a:lnTo>
                  <a:lnTo>
                    <a:pt x="986109" y="4859841"/>
                  </a:lnTo>
                  <a:lnTo>
                    <a:pt x="715697" y="5130952"/>
                  </a:lnTo>
                  <a:lnTo>
                    <a:pt x="979821" y="5130952"/>
                  </a:lnTo>
                  <a:lnTo>
                    <a:pt x="1250932" y="4860540"/>
                  </a:lnTo>
                  <a:lnTo>
                    <a:pt x="979821" y="4590128"/>
                  </a:lnTo>
                  <a:close/>
                  <a:moveTo>
                    <a:pt x="2911136" y="4589429"/>
                  </a:moveTo>
                  <a:lnTo>
                    <a:pt x="3040403" y="4717299"/>
                  </a:lnTo>
                  <a:lnTo>
                    <a:pt x="3040403" y="4717998"/>
                  </a:lnTo>
                  <a:lnTo>
                    <a:pt x="3182246" y="4859841"/>
                  </a:lnTo>
                  <a:lnTo>
                    <a:pt x="2911834" y="5130952"/>
                  </a:lnTo>
                  <a:lnTo>
                    <a:pt x="3175259" y="5130952"/>
                  </a:lnTo>
                  <a:lnTo>
                    <a:pt x="3445671" y="4859841"/>
                  </a:lnTo>
                  <a:lnTo>
                    <a:pt x="3440081" y="4854251"/>
                  </a:lnTo>
                  <a:lnTo>
                    <a:pt x="3439382" y="4854251"/>
                  </a:lnTo>
                  <a:lnTo>
                    <a:pt x="3173862" y="4589429"/>
                  </a:lnTo>
                  <a:close/>
                  <a:moveTo>
                    <a:pt x="1813417" y="4589429"/>
                  </a:moveTo>
                  <a:lnTo>
                    <a:pt x="1815507" y="4592217"/>
                  </a:lnTo>
                  <a:lnTo>
                    <a:pt x="1814814" y="4591526"/>
                  </a:lnTo>
                  <a:lnTo>
                    <a:pt x="1815513" y="4592225"/>
                  </a:lnTo>
                  <a:lnTo>
                    <a:pt x="1815507" y="4592217"/>
                  </a:lnTo>
                  <a:lnTo>
                    <a:pt x="2074046" y="4850059"/>
                  </a:lnTo>
                  <a:lnTo>
                    <a:pt x="2083829" y="4859142"/>
                  </a:lnTo>
                  <a:lnTo>
                    <a:pt x="2085925" y="4861239"/>
                  </a:lnTo>
                  <a:lnTo>
                    <a:pt x="1821102" y="5130952"/>
                  </a:lnTo>
                  <a:lnTo>
                    <a:pt x="2080335" y="5131651"/>
                  </a:lnTo>
                  <a:lnTo>
                    <a:pt x="2350049" y="4861239"/>
                  </a:lnTo>
                  <a:lnTo>
                    <a:pt x="2214493" y="4726382"/>
                  </a:lnTo>
                  <a:lnTo>
                    <a:pt x="2197724" y="4709612"/>
                  </a:lnTo>
                  <a:lnTo>
                    <a:pt x="2078239" y="4590827"/>
                  </a:lnTo>
                  <a:lnTo>
                    <a:pt x="2074046" y="4589429"/>
                  </a:lnTo>
                  <a:close/>
                  <a:moveTo>
                    <a:pt x="1263509" y="4589429"/>
                  </a:moveTo>
                  <a:lnTo>
                    <a:pt x="1534620" y="4859841"/>
                  </a:lnTo>
                  <a:lnTo>
                    <a:pt x="1264208" y="5130952"/>
                  </a:lnTo>
                  <a:lnTo>
                    <a:pt x="1528331" y="5130952"/>
                  </a:lnTo>
                  <a:lnTo>
                    <a:pt x="1798743" y="4859841"/>
                  </a:lnTo>
                  <a:lnTo>
                    <a:pt x="1527632" y="4589429"/>
                  </a:lnTo>
                  <a:close/>
                  <a:moveTo>
                    <a:pt x="2626749" y="4588031"/>
                  </a:moveTo>
                  <a:lnTo>
                    <a:pt x="2363324" y="4588730"/>
                  </a:lnTo>
                  <a:lnTo>
                    <a:pt x="2632339" y="4857047"/>
                  </a:lnTo>
                  <a:lnTo>
                    <a:pt x="2631641" y="4857746"/>
                  </a:lnTo>
                  <a:lnTo>
                    <a:pt x="2633038" y="4859142"/>
                  </a:lnTo>
                  <a:lnTo>
                    <a:pt x="2362625" y="5130253"/>
                  </a:lnTo>
                  <a:lnTo>
                    <a:pt x="2626749" y="5130253"/>
                  </a:lnTo>
                  <a:lnTo>
                    <a:pt x="2716886" y="5040116"/>
                  </a:lnTo>
                  <a:lnTo>
                    <a:pt x="2896463" y="4857047"/>
                  </a:lnTo>
                  <a:close/>
                  <a:moveTo>
                    <a:pt x="4006759" y="4587334"/>
                  </a:moveTo>
                  <a:lnTo>
                    <a:pt x="4136725" y="4716600"/>
                  </a:lnTo>
                  <a:lnTo>
                    <a:pt x="4277171" y="4857047"/>
                  </a:lnTo>
                  <a:lnTo>
                    <a:pt x="4184238" y="4950678"/>
                  </a:lnTo>
                  <a:lnTo>
                    <a:pt x="4184937" y="4951376"/>
                  </a:lnTo>
                  <a:lnTo>
                    <a:pt x="4008156" y="5128855"/>
                  </a:lnTo>
                  <a:lnTo>
                    <a:pt x="4270882" y="5128855"/>
                  </a:lnTo>
                  <a:lnTo>
                    <a:pt x="4541294" y="4857746"/>
                  </a:lnTo>
                  <a:lnTo>
                    <a:pt x="4270183" y="4587334"/>
                  </a:lnTo>
                  <a:close/>
                  <a:moveTo>
                    <a:pt x="3458248" y="4587334"/>
                  </a:moveTo>
                  <a:lnTo>
                    <a:pt x="3729359" y="4857746"/>
                  </a:lnTo>
                  <a:lnTo>
                    <a:pt x="3730058" y="4858443"/>
                  </a:lnTo>
                  <a:lnTo>
                    <a:pt x="3459646" y="5129554"/>
                  </a:lnTo>
                  <a:lnTo>
                    <a:pt x="3723769" y="5129554"/>
                  </a:lnTo>
                  <a:lnTo>
                    <a:pt x="3813208" y="5039418"/>
                  </a:lnTo>
                  <a:lnTo>
                    <a:pt x="3812509" y="5039418"/>
                  </a:lnTo>
                  <a:lnTo>
                    <a:pt x="3993483" y="4858443"/>
                  </a:lnTo>
                  <a:lnTo>
                    <a:pt x="3988591" y="4852854"/>
                  </a:lnTo>
                  <a:lnTo>
                    <a:pt x="3722372" y="4587334"/>
                  </a:lnTo>
                  <a:close/>
                  <a:moveTo>
                    <a:pt x="708011" y="4316223"/>
                  </a:moveTo>
                  <a:lnTo>
                    <a:pt x="437599" y="4587334"/>
                  </a:lnTo>
                  <a:lnTo>
                    <a:pt x="709409" y="4857746"/>
                  </a:lnTo>
                  <a:lnTo>
                    <a:pt x="972833" y="4857746"/>
                  </a:lnTo>
                  <a:lnTo>
                    <a:pt x="842169" y="4727779"/>
                  </a:lnTo>
                  <a:lnTo>
                    <a:pt x="701722" y="4587334"/>
                  </a:lnTo>
                  <a:lnTo>
                    <a:pt x="972135" y="4316223"/>
                  </a:lnTo>
                  <a:close/>
                  <a:moveTo>
                    <a:pt x="2354241" y="4315524"/>
                  </a:moveTo>
                  <a:lnTo>
                    <a:pt x="2083829" y="4586635"/>
                  </a:lnTo>
                  <a:lnTo>
                    <a:pt x="2353542" y="4855649"/>
                  </a:lnTo>
                  <a:lnTo>
                    <a:pt x="2616967" y="4855649"/>
                  </a:lnTo>
                  <a:lnTo>
                    <a:pt x="2347952" y="4586635"/>
                  </a:lnTo>
                  <a:lnTo>
                    <a:pt x="2348651" y="4585936"/>
                  </a:lnTo>
                  <a:lnTo>
                    <a:pt x="2347254" y="4584538"/>
                  </a:lnTo>
                  <a:lnTo>
                    <a:pt x="2615569" y="4315524"/>
                  </a:lnTo>
                  <a:close/>
                  <a:moveTo>
                    <a:pt x="1256521" y="4315524"/>
                  </a:moveTo>
                  <a:lnTo>
                    <a:pt x="986109" y="4586635"/>
                  </a:lnTo>
                  <a:lnTo>
                    <a:pt x="1257220" y="4857047"/>
                  </a:lnTo>
                  <a:lnTo>
                    <a:pt x="1521344" y="4857047"/>
                  </a:lnTo>
                  <a:lnTo>
                    <a:pt x="1250233" y="4586635"/>
                  </a:lnTo>
                  <a:lnTo>
                    <a:pt x="1520645" y="4315524"/>
                  </a:lnTo>
                  <a:lnTo>
                    <a:pt x="1392775" y="4315524"/>
                  </a:lnTo>
                  <a:close/>
                  <a:moveTo>
                    <a:pt x="1805731" y="4314825"/>
                  </a:moveTo>
                  <a:lnTo>
                    <a:pt x="1625456" y="4495798"/>
                  </a:lnTo>
                  <a:lnTo>
                    <a:pt x="1624758" y="4495798"/>
                  </a:lnTo>
                  <a:lnTo>
                    <a:pt x="1534620" y="4585936"/>
                  </a:lnTo>
                  <a:lnTo>
                    <a:pt x="1805032" y="4857047"/>
                  </a:lnTo>
                  <a:lnTo>
                    <a:pt x="2069155" y="4857047"/>
                  </a:lnTo>
                  <a:lnTo>
                    <a:pt x="1798044" y="4586635"/>
                  </a:lnTo>
                  <a:lnTo>
                    <a:pt x="1982512" y="4402167"/>
                  </a:lnTo>
                  <a:lnTo>
                    <a:pt x="1983211" y="4402167"/>
                  </a:lnTo>
                  <a:lnTo>
                    <a:pt x="2069155" y="4315524"/>
                  </a:lnTo>
                  <a:lnTo>
                    <a:pt x="1810622" y="4315524"/>
                  </a:lnTo>
                  <a:close/>
                  <a:moveTo>
                    <a:pt x="3450563" y="4313427"/>
                  </a:moveTo>
                  <a:lnTo>
                    <a:pt x="3269589" y="4495099"/>
                  </a:lnTo>
                  <a:lnTo>
                    <a:pt x="3270986" y="4495798"/>
                  </a:lnTo>
                  <a:lnTo>
                    <a:pt x="3181548" y="4585237"/>
                  </a:lnTo>
                  <a:lnTo>
                    <a:pt x="3451960" y="4854950"/>
                  </a:lnTo>
                  <a:lnTo>
                    <a:pt x="3715384" y="4854950"/>
                  </a:lnTo>
                  <a:lnTo>
                    <a:pt x="3444972" y="4585237"/>
                  </a:lnTo>
                  <a:lnTo>
                    <a:pt x="3444274" y="4584538"/>
                  </a:lnTo>
                  <a:lnTo>
                    <a:pt x="3714686" y="4313427"/>
                  </a:lnTo>
                  <a:close/>
                  <a:moveTo>
                    <a:pt x="2904847" y="4313427"/>
                  </a:moveTo>
                  <a:lnTo>
                    <a:pt x="2908341" y="4314825"/>
                  </a:lnTo>
                  <a:lnTo>
                    <a:pt x="2902751" y="4314825"/>
                  </a:lnTo>
                  <a:lnTo>
                    <a:pt x="2633736" y="4585237"/>
                  </a:lnTo>
                  <a:lnTo>
                    <a:pt x="2903449" y="4854251"/>
                  </a:lnTo>
                  <a:lnTo>
                    <a:pt x="3168271" y="4855649"/>
                  </a:lnTo>
                  <a:lnTo>
                    <a:pt x="2897162" y="4585237"/>
                  </a:lnTo>
                  <a:lnTo>
                    <a:pt x="2895764" y="4583839"/>
                  </a:lnTo>
                  <a:lnTo>
                    <a:pt x="3164778" y="4314126"/>
                  </a:lnTo>
                  <a:lnTo>
                    <a:pt x="2967035" y="4314126"/>
                  </a:lnTo>
                  <a:lnTo>
                    <a:pt x="2967733" y="4313427"/>
                  </a:lnTo>
                  <a:close/>
                  <a:moveTo>
                    <a:pt x="3999073" y="4312728"/>
                  </a:moveTo>
                  <a:lnTo>
                    <a:pt x="3728660" y="4583839"/>
                  </a:lnTo>
                  <a:lnTo>
                    <a:pt x="3999771" y="4854251"/>
                  </a:lnTo>
                  <a:lnTo>
                    <a:pt x="4263197" y="4854251"/>
                  </a:lnTo>
                  <a:lnTo>
                    <a:pt x="4133230" y="4724286"/>
                  </a:lnTo>
                  <a:lnTo>
                    <a:pt x="3992783" y="4583839"/>
                  </a:lnTo>
                  <a:lnTo>
                    <a:pt x="4263197" y="4312728"/>
                  </a:lnTo>
                  <a:close/>
                  <a:moveTo>
                    <a:pt x="4547584" y="4312030"/>
                  </a:moveTo>
                  <a:lnTo>
                    <a:pt x="4277171" y="4583140"/>
                  </a:lnTo>
                  <a:lnTo>
                    <a:pt x="4548281" y="4853552"/>
                  </a:lnTo>
                  <a:lnTo>
                    <a:pt x="4812405" y="4853552"/>
                  </a:lnTo>
                  <a:lnTo>
                    <a:pt x="4541294" y="4583140"/>
                  </a:lnTo>
                  <a:lnTo>
                    <a:pt x="4811706" y="4312030"/>
                  </a:lnTo>
                  <a:close/>
                  <a:moveTo>
                    <a:pt x="717155" y="4044465"/>
                  </a:moveTo>
                  <a:lnTo>
                    <a:pt x="986808" y="4312728"/>
                  </a:lnTo>
                  <a:lnTo>
                    <a:pt x="716396" y="4583839"/>
                  </a:lnTo>
                  <a:lnTo>
                    <a:pt x="979821" y="4583839"/>
                  </a:lnTo>
                  <a:lnTo>
                    <a:pt x="1250233" y="4312728"/>
                  </a:lnTo>
                  <a:lnTo>
                    <a:pt x="1116075" y="4179269"/>
                  </a:lnTo>
                  <a:lnTo>
                    <a:pt x="1019702" y="4082896"/>
                  </a:lnTo>
                  <a:lnTo>
                    <a:pt x="1018761" y="4082896"/>
                  </a:lnTo>
                  <a:lnTo>
                    <a:pt x="980330" y="4044465"/>
                  </a:lnTo>
                  <a:close/>
                  <a:moveTo>
                    <a:pt x="168395" y="4044465"/>
                  </a:moveTo>
                  <a:lnTo>
                    <a:pt x="206127" y="4082197"/>
                  </a:lnTo>
                  <a:lnTo>
                    <a:pt x="205772" y="4082197"/>
                  </a:lnTo>
                  <a:lnTo>
                    <a:pt x="437599" y="4313427"/>
                  </a:lnTo>
                  <a:lnTo>
                    <a:pt x="167187" y="4583839"/>
                  </a:lnTo>
                  <a:lnTo>
                    <a:pt x="431311" y="4583839"/>
                  </a:lnTo>
                  <a:lnTo>
                    <a:pt x="701722" y="4312728"/>
                  </a:lnTo>
                  <a:lnTo>
                    <a:pt x="470596" y="4082197"/>
                  </a:lnTo>
                  <a:lnTo>
                    <a:pt x="470250" y="4082197"/>
                  </a:lnTo>
                  <a:lnTo>
                    <a:pt x="432518" y="4044465"/>
                  </a:lnTo>
                  <a:close/>
                  <a:moveTo>
                    <a:pt x="1816265" y="4043766"/>
                  </a:moveTo>
                  <a:lnTo>
                    <a:pt x="1942683" y="4170186"/>
                  </a:lnTo>
                  <a:lnTo>
                    <a:pt x="2083829" y="4310632"/>
                  </a:lnTo>
                  <a:lnTo>
                    <a:pt x="1813417" y="4581743"/>
                  </a:lnTo>
                  <a:lnTo>
                    <a:pt x="2076842" y="4581743"/>
                  </a:lnTo>
                  <a:lnTo>
                    <a:pt x="2347254" y="4311331"/>
                  </a:lnTo>
                  <a:lnTo>
                    <a:pt x="2214493" y="4178570"/>
                  </a:lnTo>
                  <a:lnTo>
                    <a:pt x="2214493" y="4177872"/>
                  </a:lnTo>
                  <a:lnTo>
                    <a:pt x="2119736" y="4083594"/>
                  </a:lnTo>
                  <a:lnTo>
                    <a:pt x="2116480" y="4083594"/>
                  </a:lnTo>
                  <a:lnTo>
                    <a:pt x="2076652" y="4043766"/>
                  </a:lnTo>
                  <a:close/>
                  <a:moveTo>
                    <a:pt x="1266369" y="4043766"/>
                  </a:moveTo>
                  <a:lnTo>
                    <a:pt x="1534620" y="4310632"/>
                  </a:lnTo>
                  <a:lnTo>
                    <a:pt x="1531824" y="4313427"/>
                  </a:lnTo>
                  <a:lnTo>
                    <a:pt x="1441688" y="4404264"/>
                  </a:lnTo>
                  <a:lnTo>
                    <a:pt x="1440989" y="4404264"/>
                  </a:lnTo>
                  <a:lnTo>
                    <a:pt x="1263509" y="4582442"/>
                  </a:lnTo>
                  <a:lnTo>
                    <a:pt x="1527632" y="4582442"/>
                  </a:lnTo>
                  <a:lnTo>
                    <a:pt x="1798044" y="4312030"/>
                  </a:lnTo>
                  <a:lnTo>
                    <a:pt x="1793153" y="4307139"/>
                  </a:lnTo>
                  <a:lnTo>
                    <a:pt x="1795249" y="4307838"/>
                  </a:lnTo>
                  <a:lnTo>
                    <a:pt x="1569718" y="4082896"/>
                  </a:lnTo>
                  <a:lnTo>
                    <a:pt x="1567271" y="4082896"/>
                  </a:lnTo>
                  <a:lnTo>
                    <a:pt x="1528141" y="4043766"/>
                  </a:lnTo>
                  <a:close/>
                  <a:moveTo>
                    <a:pt x="2363377" y="4043068"/>
                  </a:moveTo>
                  <a:lnTo>
                    <a:pt x="2630942" y="4310632"/>
                  </a:lnTo>
                  <a:lnTo>
                    <a:pt x="2632339" y="4312030"/>
                  </a:lnTo>
                  <a:lnTo>
                    <a:pt x="2363324" y="4581743"/>
                  </a:lnTo>
                  <a:lnTo>
                    <a:pt x="2625352" y="4581743"/>
                  </a:lnTo>
                  <a:lnTo>
                    <a:pt x="2895065" y="4311331"/>
                  </a:lnTo>
                  <a:lnTo>
                    <a:pt x="2890873" y="4307139"/>
                  </a:lnTo>
                  <a:lnTo>
                    <a:pt x="2892968" y="4307838"/>
                  </a:lnTo>
                  <a:lnTo>
                    <a:pt x="2668140" y="4083594"/>
                  </a:lnTo>
                  <a:lnTo>
                    <a:pt x="2666387" y="4083594"/>
                  </a:lnTo>
                  <a:lnTo>
                    <a:pt x="2625861" y="4043068"/>
                  </a:lnTo>
                  <a:close/>
                  <a:moveTo>
                    <a:pt x="2911879" y="4041670"/>
                  </a:moveTo>
                  <a:lnTo>
                    <a:pt x="3179452" y="4309934"/>
                  </a:lnTo>
                  <a:lnTo>
                    <a:pt x="3087218" y="4402866"/>
                  </a:lnTo>
                  <a:lnTo>
                    <a:pt x="3087917" y="4403565"/>
                  </a:lnTo>
                  <a:lnTo>
                    <a:pt x="2911834" y="4579647"/>
                  </a:lnTo>
                  <a:lnTo>
                    <a:pt x="3108180" y="4579647"/>
                  </a:lnTo>
                  <a:lnTo>
                    <a:pt x="3107481" y="4581045"/>
                  </a:lnTo>
                  <a:lnTo>
                    <a:pt x="3173163" y="4581045"/>
                  </a:lnTo>
                  <a:lnTo>
                    <a:pt x="3443575" y="4309934"/>
                  </a:lnTo>
                  <a:lnTo>
                    <a:pt x="3215951" y="4082896"/>
                  </a:lnTo>
                  <a:lnTo>
                    <a:pt x="3215596" y="4082896"/>
                  </a:lnTo>
                  <a:lnTo>
                    <a:pt x="3174371" y="4041670"/>
                  </a:lnTo>
                  <a:close/>
                  <a:moveTo>
                    <a:pt x="3459004" y="4040971"/>
                  </a:moveTo>
                  <a:lnTo>
                    <a:pt x="3728660" y="4309934"/>
                  </a:lnTo>
                  <a:lnTo>
                    <a:pt x="3458248" y="4580346"/>
                  </a:lnTo>
                  <a:lnTo>
                    <a:pt x="3722372" y="4580346"/>
                  </a:lnTo>
                  <a:lnTo>
                    <a:pt x="3992783" y="4309934"/>
                  </a:lnTo>
                  <a:lnTo>
                    <a:pt x="3765160" y="4082896"/>
                  </a:lnTo>
                  <a:lnTo>
                    <a:pt x="3764107" y="4082896"/>
                  </a:lnTo>
                  <a:lnTo>
                    <a:pt x="3722183" y="4040971"/>
                  </a:lnTo>
                  <a:close/>
                  <a:moveTo>
                    <a:pt x="4007520" y="4040272"/>
                  </a:moveTo>
                  <a:lnTo>
                    <a:pt x="4277869" y="4308536"/>
                  </a:lnTo>
                  <a:lnTo>
                    <a:pt x="4007457" y="4579647"/>
                  </a:lnTo>
                  <a:lnTo>
                    <a:pt x="4270882" y="4579647"/>
                  </a:lnTo>
                  <a:lnTo>
                    <a:pt x="4541294" y="4308536"/>
                  </a:lnTo>
                  <a:lnTo>
                    <a:pt x="4407136" y="4175077"/>
                  </a:lnTo>
                  <a:lnTo>
                    <a:pt x="4314482" y="4082896"/>
                  </a:lnTo>
                  <a:lnTo>
                    <a:pt x="4313316" y="4082896"/>
                  </a:lnTo>
                  <a:lnTo>
                    <a:pt x="4270692" y="4040272"/>
                  </a:lnTo>
                  <a:close/>
                  <a:moveTo>
                    <a:pt x="2354051" y="3769161"/>
                  </a:moveTo>
                  <a:lnTo>
                    <a:pt x="2084461" y="4039450"/>
                  </a:lnTo>
                  <a:lnTo>
                    <a:pt x="2353542" y="4307838"/>
                  </a:lnTo>
                  <a:lnTo>
                    <a:pt x="2616967" y="4307838"/>
                  </a:lnTo>
                  <a:lnTo>
                    <a:pt x="2392140" y="4083594"/>
                  </a:lnTo>
                  <a:lnTo>
                    <a:pt x="2391783" y="4083594"/>
                  </a:lnTo>
                  <a:lnTo>
                    <a:pt x="2347762" y="4039573"/>
                  </a:lnTo>
                  <a:lnTo>
                    <a:pt x="2347884" y="4039452"/>
                  </a:lnTo>
                  <a:lnTo>
                    <a:pt x="2347254" y="4038823"/>
                  </a:lnTo>
                  <a:lnTo>
                    <a:pt x="2347952" y="4038124"/>
                  </a:lnTo>
                  <a:lnTo>
                    <a:pt x="2346555" y="4036727"/>
                  </a:lnTo>
                  <a:lnTo>
                    <a:pt x="2521938" y="3860644"/>
                  </a:lnTo>
                  <a:lnTo>
                    <a:pt x="2526691" y="3860644"/>
                  </a:lnTo>
                  <a:lnTo>
                    <a:pt x="2532230" y="3855106"/>
                  </a:lnTo>
                  <a:lnTo>
                    <a:pt x="2618174" y="3769161"/>
                  </a:lnTo>
                  <a:close/>
                  <a:moveTo>
                    <a:pt x="1804842" y="3769161"/>
                  </a:moveTo>
                  <a:lnTo>
                    <a:pt x="1535948" y="4038751"/>
                  </a:lnTo>
                  <a:lnTo>
                    <a:pt x="1805731" y="4307838"/>
                  </a:lnTo>
                  <a:lnTo>
                    <a:pt x="2069155" y="4307838"/>
                  </a:lnTo>
                  <a:lnTo>
                    <a:pt x="1939190" y="4177872"/>
                  </a:lnTo>
                  <a:lnTo>
                    <a:pt x="1844912" y="4083594"/>
                  </a:lnTo>
                  <a:lnTo>
                    <a:pt x="1841875" y="4083594"/>
                  </a:lnTo>
                  <a:lnTo>
                    <a:pt x="1798553" y="4040272"/>
                  </a:lnTo>
                  <a:lnTo>
                    <a:pt x="1800069" y="4038752"/>
                  </a:lnTo>
                  <a:lnTo>
                    <a:pt x="1798743" y="4037426"/>
                  </a:lnTo>
                  <a:lnTo>
                    <a:pt x="1974825" y="3860644"/>
                  </a:lnTo>
                  <a:lnTo>
                    <a:pt x="1977718" y="3860644"/>
                  </a:lnTo>
                  <a:lnTo>
                    <a:pt x="2068965" y="3769161"/>
                  </a:lnTo>
                  <a:close/>
                  <a:moveTo>
                    <a:pt x="1257031" y="3769161"/>
                  </a:moveTo>
                  <a:lnTo>
                    <a:pt x="987788" y="4039100"/>
                  </a:lnTo>
                  <a:lnTo>
                    <a:pt x="1257220" y="4307838"/>
                  </a:lnTo>
                  <a:lnTo>
                    <a:pt x="1519946" y="4307838"/>
                  </a:lnTo>
                  <a:lnTo>
                    <a:pt x="1294422" y="4082896"/>
                  </a:lnTo>
                  <a:lnTo>
                    <a:pt x="1293365" y="4082896"/>
                  </a:lnTo>
                  <a:lnTo>
                    <a:pt x="1250742" y="4040272"/>
                  </a:lnTo>
                  <a:lnTo>
                    <a:pt x="1251213" y="4039800"/>
                  </a:lnTo>
                  <a:lnTo>
                    <a:pt x="1249534" y="4038124"/>
                  </a:lnTo>
                  <a:lnTo>
                    <a:pt x="1250932" y="4036727"/>
                  </a:lnTo>
                  <a:lnTo>
                    <a:pt x="1426315" y="3860644"/>
                  </a:lnTo>
                  <a:lnTo>
                    <a:pt x="1429907" y="3860644"/>
                  </a:lnTo>
                  <a:lnTo>
                    <a:pt x="1521154" y="3769161"/>
                  </a:lnTo>
                  <a:close/>
                  <a:moveTo>
                    <a:pt x="709219" y="3769161"/>
                  </a:moveTo>
                  <a:lnTo>
                    <a:pt x="438807" y="4040272"/>
                  </a:lnTo>
                  <a:lnTo>
                    <a:pt x="480732" y="4082197"/>
                  </a:lnTo>
                  <a:lnTo>
                    <a:pt x="480499" y="4082197"/>
                  </a:lnTo>
                  <a:lnTo>
                    <a:pt x="708011" y="4308536"/>
                  </a:lnTo>
                  <a:lnTo>
                    <a:pt x="972135" y="4308536"/>
                  </a:lnTo>
                  <a:lnTo>
                    <a:pt x="745211" y="4082197"/>
                  </a:lnTo>
                  <a:lnTo>
                    <a:pt x="744855" y="4082197"/>
                  </a:lnTo>
                  <a:lnTo>
                    <a:pt x="702930" y="4040272"/>
                  </a:lnTo>
                  <a:lnTo>
                    <a:pt x="703053" y="4040149"/>
                  </a:lnTo>
                  <a:lnTo>
                    <a:pt x="701024" y="4038124"/>
                  </a:lnTo>
                  <a:lnTo>
                    <a:pt x="878504" y="3860644"/>
                  </a:lnTo>
                  <a:lnTo>
                    <a:pt x="882095" y="3860644"/>
                  </a:lnTo>
                  <a:lnTo>
                    <a:pt x="973342" y="3769161"/>
                  </a:lnTo>
                  <a:close/>
                  <a:moveTo>
                    <a:pt x="3451072" y="3767066"/>
                  </a:moveTo>
                  <a:lnTo>
                    <a:pt x="3181135" y="4037702"/>
                  </a:lnTo>
                  <a:lnTo>
                    <a:pt x="3312910" y="4168788"/>
                  </a:lnTo>
                  <a:lnTo>
                    <a:pt x="3312910" y="4169487"/>
                  </a:lnTo>
                  <a:lnTo>
                    <a:pt x="3450563" y="4306440"/>
                  </a:lnTo>
                  <a:lnTo>
                    <a:pt x="3714686" y="4306440"/>
                  </a:lnTo>
                  <a:lnTo>
                    <a:pt x="3490444" y="4082197"/>
                  </a:lnTo>
                  <a:lnTo>
                    <a:pt x="3489503" y="4082197"/>
                  </a:lnTo>
                  <a:lnTo>
                    <a:pt x="3444084" y="4036779"/>
                  </a:lnTo>
                  <a:lnTo>
                    <a:pt x="3444556" y="4036310"/>
                  </a:lnTo>
                  <a:lnTo>
                    <a:pt x="3444274" y="4036028"/>
                  </a:lnTo>
                  <a:lnTo>
                    <a:pt x="3618959" y="3860644"/>
                  </a:lnTo>
                  <a:lnTo>
                    <a:pt x="3621132" y="3860644"/>
                  </a:lnTo>
                  <a:lnTo>
                    <a:pt x="3715195" y="3767066"/>
                  </a:lnTo>
                  <a:close/>
                  <a:moveTo>
                    <a:pt x="3999582" y="3766367"/>
                  </a:moveTo>
                  <a:lnTo>
                    <a:pt x="3729642" y="4037004"/>
                  </a:lnTo>
                  <a:lnTo>
                    <a:pt x="3999073" y="4305741"/>
                  </a:lnTo>
                  <a:lnTo>
                    <a:pt x="4263197" y="4305741"/>
                  </a:lnTo>
                  <a:lnTo>
                    <a:pt x="4039076" y="4082197"/>
                  </a:lnTo>
                  <a:lnTo>
                    <a:pt x="4038711" y="4082197"/>
                  </a:lnTo>
                  <a:lnTo>
                    <a:pt x="3992595" y="4036080"/>
                  </a:lnTo>
                  <a:lnTo>
                    <a:pt x="3992717" y="4035958"/>
                  </a:lnTo>
                  <a:lnTo>
                    <a:pt x="3992086" y="4035329"/>
                  </a:lnTo>
                  <a:lnTo>
                    <a:pt x="4166770" y="3860644"/>
                  </a:lnTo>
                  <a:lnTo>
                    <a:pt x="4168939" y="3860644"/>
                  </a:lnTo>
                  <a:lnTo>
                    <a:pt x="4263706" y="3766367"/>
                  </a:lnTo>
                  <a:close/>
                  <a:moveTo>
                    <a:pt x="4547394" y="3765668"/>
                  </a:moveTo>
                  <a:lnTo>
                    <a:pt x="4277804" y="4035954"/>
                  </a:lnTo>
                  <a:lnTo>
                    <a:pt x="4410630" y="4168089"/>
                  </a:lnTo>
                  <a:lnTo>
                    <a:pt x="4547584" y="4305042"/>
                  </a:lnTo>
                  <a:lnTo>
                    <a:pt x="4811706" y="4305042"/>
                  </a:lnTo>
                  <a:lnTo>
                    <a:pt x="4588162" y="4081498"/>
                  </a:lnTo>
                  <a:lnTo>
                    <a:pt x="4587920" y="4081498"/>
                  </a:lnTo>
                  <a:lnTo>
                    <a:pt x="4541105" y="4035381"/>
                  </a:lnTo>
                  <a:lnTo>
                    <a:pt x="4541576" y="4034912"/>
                  </a:lnTo>
                  <a:lnTo>
                    <a:pt x="4541294" y="4034630"/>
                  </a:lnTo>
                  <a:lnTo>
                    <a:pt x="4542692" y="4033233"/>
                  </a:lnTo>
                  <a:lnTo>
                    <a:pt x="4714582" y="3860644"/>
                  </a:lnTo>
                  <a:lnTo>
                    <a:pt x="4716295" y="3860644"/>
                  </a:lnTo>
                  <a:lnTo>
                    <a:pt x="4811517" y="3765668"/>
                  </a:lnTo>
                  <a:close/>
                  <a:moveTo>
                    <a:pt x="1264018" y="3493858"/>
                  </a:moveTo>
                  <a:lnTo>
                    <a:pt x="1535828" y="3763572"/>
                  </a:lnTo>
                  <a:lnTo>
                    <a:pt x="1266165" y="4033931"/>
                  </a:lnTo>
                  <a:lnTo>
                    <a:pt x="1527632" y="4033931"/>
                  </a:lnTo>
                  <a:lnTo>
                    <a:pt x="1700221" y="3860644"/>
                  </a:lnTo>
                  <a:lnTo>
                    <a:pt x="1702878" y="3860644"/>
                  </a:lnTo>
                  <a:lnTo>
                    <a:pt x="1799252" y="3764270"/>
                  </a:lnTo>
                  <a:lnTo>
                    <a:pt x="1665094" y="3630811"/>
                  </a:lnTo>
                  <a:lnTo>
                    <a:pt x="1528141" y="3493858"/>
                  </a:lnTo>
                  <a:close/>
                  <a:moveTo>
                    <a:pt x="715508" y="3493858"/>
                  </a:moveTo>
                  <a:lnTo>
                    <a:pt x="986618" y="3764270"/>
                  </a:lnTo>
                  <a:lnTo>
                    <a:pt x="716955" y="4034630"/>
                  </a:lnTo>
                  <a:lnTo>
                    <a:pt x="979122" y="4034630"/>
                  </a:lnTo>
                  <a:lnTo>
                    <a:pt x="1067862" y="3945192"/>
                  </a:lnTo>
                  <a:lnTo>
                    <a:pt x="1152410" y="3860644"/>
                  </a:lnTo>
                  <a:lnTo>
                    <a:pt x="1154616" y="3860644"/>
                  </a:lnTo>
                  <a:lnTo>
                    <a:pt x="1250742" y="3764270"/>
                  </a:lnTo>
                  <a:lnTo>
                    <a:pt x="979631" y="3493858"/>
                  </a:lnTo>
                  <a:close/>
                  <a:moveTo>
                    <a:pt x="165601" y="3493858"/>
                  </a:moveTo>
                  <a:lnTo>
                    <a:pt x="436711" y="3764270"/>
                  </a:lnTo>
                  <a:lnTo>
                    <a:pt x="438108" y="3764969"/>
                  </a:lnTo>
                  <a:lnTo>
                    <a:pt x="169094" y="4034682"/>
                  </a:lnTo>
                  <a:lnTo>
                    <a:pt x="365440" y="4034682"/>
                  </a:lnTo>
                  <a:lnTo>
                    <a:pt x="365116" y="4035329"/>
                  </a:lnTo>
                  <a:lnTo>
                    <a:pt x="430612" y="4035329"/>
                  </a:lnTo>
                  <a:lnTo>
                    <a:pt x="604598" y="3860644"/>
                  </a:lnTo>
                  <a:lnTo>
                    <a:pt x="606802" y="3860644"/>
                  </a:lnTo>
                  <a:lnTo>
                    <a:pt x="701533" y="3765668"/>
                  </a:lnTo>
                  <a:lnTo>
                    <a:pt x="430423" y="3495256"/>
                  </a:lnTo>
                  <a:lnTo>
                    <a:pt x="362644" y="3493858"/>
                  </a:lnTo>
                  <a:close/>
                  <a:moveTo>
                    <a:pt x="2361039" y="3493160"/>
                  </a:moveTo>
                  <a:lnTo>
                    <a:pt x="2631451" y="3762174"/>
                  </a:lnTo>
                  <a:lnTo>
                    <a:pt x="2628655" y="3764969"/>
                  </a:lnTo>
                  <a:lnTo>
                    <a:pt x="2538519" y="3855806"/>
                  </a:lnTo>
                  <a:lnTo>
                    <a:pt x="2361789" y="4032535"/>
                  </a:lnTo>
                  <a:lnTo>
                    <a:pt x="2624653" y="4032535"/>
                  </a:lnTo>
                  <a:lnTo>
                    <a:pt x="2795844" y="3860644"/>
                  </a:lnTo>
                  <a:lnTo>
                    <a:pt x="2797802" y="3860644"/>
                  </a:lnTo>
                  <a:lnTo>
                    <a:pt x="2895574" y="3762873"/>
                  </a:lnTo>
                  <a:lnTo>
                    <a:pt x="2625162" y="3493160"/>
                  </a:lnTo>
                  <a:close/>
                  <a:moveTo>
                    <a:pt x="1812528" y="3493160"/>
                  </a:moveTo>
                  <a:lnTo>
                    <a:pt x="1813926" y="3494557"/>
                  </a:lnTo>
                  <a:lnTo>
                    <a:pt x="2083639" y="3763572"/>
                  </a:lnTo>
                  <a:lnTo>
                    <a:pt x="1814673" y="4033233"/>
                  </a:lnTo>
                  <a:lnTo>
                    <a:pt x="2076143" y="4033233"/>
                  </a:lnTo>
                  <a:lnTo>
                    <a:pt x="2248033" y="3860644"/>
                  </a:lnTo>
                  <a:lnTo>
                    <a:pt x="2250940" y="3860644"/>
                  </a:lnTo>
                  <a:lnTo>
                    <a:pt x="2347762" y="3763572"/>
                  </a:lnTo>
                  <a:lnTo>
                    <a:pt x="2342173" y="3758681"/>
                  </a:lnTo>
                  <a:lnTo>
                    <a:pt x="2076652" y="3493160"/>
                  </a:lnTo>
                  <a:close/>
                  <a:moveTo>
                    <a:pt x="4005871" y="3491064"/>
                  </a:moveTo>
                  <a:lnTo>
                    <a:pt x="4277680" y="3760776"/>
                  </a:lnTo>
                  <a:lnTo>
                    <a:pt x="4008016" y="4031137"/>
                  </a:lnTo>
                  <a:lnTo>
                    <a:pt x="4270183" y="4031137"/>
                  </a:lnTo>
                  <a:lnTo>
                    <a:pt x="4359622" y="3941698"/>
                  </a:lnTo>
                  <a:lnTo>
                    <a:pt x="4440676" y="3860644"/>
                  </a:lnTo>
                  <a:lnTo>
                    <a:pt x="4441937" y="3860644"/>
                  </a:lnTo>
                  <a:lnTo>
                    <a:pt x="4541105" y="3761476"/>
                  </a:lnTo>
                  <a:lnTo>
                    <a:pt x="4406947" y="3628017"/>
                  </a:lnTo>
                  <a:lnTo>
                    <a:pt x="4269994" y="3491064"/>
                  </a:lnTo>
                  <a:close/>
                  <a:moveTo>
                    <a:pt x="3721484" y="3490365"/>
                  </a:moveTo>
                  <a:lnTo>
                    <a:pt x="3457360" y="3491064"/>
                  </a:lnTo>
                  <a:lnTo>
                    <a:pt x="3728471" y="3761476"/>
                  </a:lnTo>
                  <a:lnTo>
                    <a:pt x="3458808" y="4031836"/>
                  </a:lnTo>
                  <a:lnTo>
                    <a:pt x="3721674" y="4031836"/>
                  </a:lnTo>
                  <a:lnTo>
                    <a:pt x="3892166" y="3859946"/>
                  </a:lnTo>
                  <a:lnTo>
                    <a:pt x="3893935" y="3859946"/>
                  </a:lnTo>
                  <a:lnTo>
                    <a:pt x="3992595" y="3760776"/>
                  </a:lnTo>
                  <a:close/>
                  <a:moveTo>
                    <a:pt x="707821" y="3220651"/>
                  </a:moveTo>
                  <a:lnTo>
                    <a:pt x="437409" y="3491762"/>
                  </a:lnTo>
                  <a:lnTo>
                    <a:pt x="570170" y="3623824"/>
                  </a:lnTo>
                  <a:lnTo>
                    <a:pt x="708520" y="3761476"/>
                  </a:lnTo>
                  <a:lnTo>
                    <a:pt x="972643" y="3761476"/>
                  </a:lnTo>
                  <a:lnTo>
                    <a:pt x="701533" y="3491064"/>
                  </a:lnTo>
                  <a:lnTo>
                    <a:pt x="971945" y="3220651"/>
                  </a:lnTo>
                  <a:close/>
                  <a:moveTo>
                    <a:pt x="1256332" y="3219953"/>
                  </a:moveTo>
                  <a:lnTo>
                    <a:pt x="985920" y="3491064"/>
                  </a:lnTo>
                  <a:lnTo>
                    <a:pt x="1257031" y="3761476"/>
                  </a:lnTo>
                  <a:lnTo>
                    <a:pt x="1521154" y="3760776"/>
                  </a:lnTo>
                  <a:lnTo>
                    <a:pt x="1250043" y="3490365"/>
                  </a:lnTo>
                  <a:lnTo>
                    <a:pt x="1434510" y="3305898"/>
                  </a:lnTo>
                  <a:lnTo>
                    <a:pt x="1520455" y="3219953"/>
                  </a:lnTo>
                  <a:close/>
                  <a:moveTo>
                    <a:pt x="1804143" y="3219255"/>
                  </a:moveTo>
                  <a:lnTo>
                    <a:pt x="1623869" y="3400228"/>
                  </a:lnTo>
                  <a:lnTo>
                    <a:pt x="1534430" y="3490365"/>
                  </a:lnTo>
                  <a:lnTo>
                    <a:pt x="1668588" y="3623824"/>
                  </a:lnTo>
                  <a:lnTo>
                    <a:pt x="1805541" y="3760776"/>
                  </a:lnTo>
                  <a:lnTo>
                    <a:pt x="2069664" y="3760078"/>
                  </a:lnTo>
                  <a:lnTo>
                    <a:pt x="1798553" y="3489666"/>
                  </a:lnTo>
                  <a:lnTo>
                    <a:pt x="1799951" y="3488269"/>
                  </a:lnTo>
                  <a:lnTo>
                    <a:pt x="2068266" y="3219255"/>
                  </a:lnTo>
                  <a:close/>
                  <a:moveTo>
                    <a:pt x="2353352" y="3218555"/>
                  </a:moveTo>
                  <a:lnTo>
                    <a:pt x="2082940" y="3489666"/>
                  </a:lnTo>
                  <a:lnTo>
                    <a:pt x="2354051" y="3760078"/>
                  </a:lnTo>
                  <a:lnTo>
                    <a:pt x="2618174" y="3760078"/>
                  </a:lnTo>
                  <a:lnTo>
                    <a:pt x="2347064" y="3489666"/>
                  </a:lnTo>
                  <a:lnTo>
                    <a:pt x="2617476" y="3218555"/>
                  </a:lnTo>
                  <a:close/>
                  <a:moveTo>
                    <a:pt x="3449674" y="3217158"/>
                  </a:moveTo>
                  <a:lnTo>
                    <a:pt x="3179262" y="3488269"/>
                  </a:lnTo>
                  <a:lnTo>
                    <a:pt x="3450373" y="3758681"/>
                  </a:lnTo>
                  <a:lnTo>
                    <a:pt x="3714496" y="3758681"/>
                  </a:lnTo>
                  <a:lnTo>
                    <a:pt x="3443385" y="3488269"/>
                  </a:lnTo>
                  <a:lnTo>
                    <a:pt x="3713797" y="3217158"/>
                  </a:lnTo>
                  <a:close/>
                  <a:moveTo>
                    <a:pt x="3998184" y="3216459"/>
                  </a:moveTo>
                  <a:lnTo>
                    <a:pt x="3727772" y="3487570"/>
                  </a:lnTo>
                  <a:lnTo>
                    <a:pt x="3998883" y="3757982"/>
                  </a:lnTo>
                  <a:lnTo>
                    <a:pt x="4263007" y="3757283"/>
                  </a:lnTo>
                  <a:lnTo>
                    <a:pt x="3991896" y="3486871"/>
                  </a:lnTo>
                  <a:lnTo>
                    <a:pt x="4176362" y="3302404"/>
                  </a:lnTo>
                  <a:lnTo>
                    <a:pt x="4177062" y="3302404"/>
                  </a:lnTo>
                  <a:lnTo>
                    <a:pt x="4262308" y="3216459"/>
                  </a:lnTo>
                  <a:close/>
                  <a:moveTo>
                    <a:pt x="4546695" y="3215760"/>
                  </a:moveTo>
                  <a:lnTo>
                    <a:pt x="4366420" y="3396734"/>
                  </a:lnTo>
                  <a:lnTo>
                    <a:pt x="4365722" y="3396734"/>
                  </a:lnTo>
                  <a:lnTo>
                    <a:pt x="4276282" y="3486871"/>
                  </a:lnTo>
                  <a:lnTo>
                    <a:pt x="4410440" y="3620330"/>
                  </a:lnTo>
                  <a:lnTo>
                    <a:pt x="4547394" y="3757283"/>
                  </a:lnTo>
                  <a:lnTo>
                    <a:pt x="4811517" y="3757283"/>
                  </a:lnTo>
                  <a:lnTo>
                    <a:pt x="4540406" y="3486871"/>
                  </a:lnTo>
                  <a:lnTo>
                    <a:pt x="4542503" y="3485473"/>
                  </a:lnTo>
                  <a:lnTo>
                    <a:pt x="4810119" y="3215760"/>
                  </a:lnTo>
                  <a:close/>
                  <a:moveTo>
                    <a:pt x="1263319" y="2946047"/>
                  </a:moveTo>
                  <a:lnTo>
                    <a:pt x="1534430" y="3215760"/>
                  </a:lnTo>
                  <a:lnTo>
                    <a:pt x="1531636" y="3218555"/>
                  </a:lnTo>
                  <a:lnTo>
                    <a:pt x="1441498" y="3309391"/>
                  </a:lnTo>
                  <a:lnTo>
                    <a:pt x="1264018" y="3486871"/>
                  </a:lnTo>
                  <a:lnTo>
                    <a:pt x="1528141" y="3486871"/>
                  </a:lnTo>
                  <a:lnTo>
                    <a:pt x="1617580" y="3397432"/>
                  </a:lnTo>
                  <a:lnTo>
                    <a:pt x="1798553" y="3216459"/>
                  </a:lnTo>
                  <a:lnTo>
                    <a:pt x="1527442" y="2946047"/>
                  </a:lnTo>
                  <a:close/>
                  <a:moveTo>
                    <a:pt x="714809" y="2946047"/>
                  </a:moveTo>
                  <a:lnTo>
                    <a:pt x="843377" y="3074615"/>
                  </a:lnTo>
                  <a:lnTo>
                    <a:pt x="985221" y="3216459"/>
                  </a:lnTo>
                  <a:lnTo>
                    <a:pt x="714809" y="3487570"/>
                  </a:lnTo>
                  <a:lnTo>
                    <a:pt x="978932" y="3487570"/>
                  </a:lnTo>
                  <a:lnTo>
                    <a:pt x="1249344" y="3216459"/>
                  </a:lnTo>
                  <a:lnTo>
                    <a:pt x="1244453" y="3211568"/>
                  </a:lnTo>
                  <a:lnTo>
                    <a:pt x="978932" y="2946047"/>
                  </a:lnTo>
                  <a:close/>
                  <a:moveTo>
                    <a:pt x="164902" y="2946047"/>
                  </a:moveTo>
                  <a:lnTo>
                    <a:pt x="436013" y="3215760"/>
                  </a:lnTo>
                  <a:lnTo>
                    <a:pt x="433217" y="3218555"/>
                  </a:lnTo>
                  <a:lnTo>
                    <a:pt x="343079" y="3309391"/>
                  </a:lnTo>
                  <a:lnTo>
                    <a:pt x="165601" y="3486871"/>
                  </a:lnTo>
                  <a:lnTo>
                    <a:pt x="429724" y="3486871"/>
                  </a:lnTo>
                  <a:lnTo>
                    <a:pt x="519162" y="3397432"/>
                  </a:lnTo>
                  <a:lnTo>
                    <a:pt x="700136" y="3216459"/>
                  </a:lnTo>
                  <a:lnTo>
                    <a:pt x="429025" y="2946047"/>
                  </a:lnTo>
                  <a:close/>
                  <a:moveTo>
                    <a:pt x="2908151" y="2945348"/>
                  </a:moveTo>
                  <a:lnTo>
                    <a:pt x="3179262" y="3215760"/>
                  </a:lnTo>
                  <a:lnTo>
                    <a:pt x="2908850" y="3486871"/>
                  </a:lnTo>
                  <a:lnTo>
                    <a:pt x="3107292" y="3486871"/>
                  </a:lnTo>
                  <a:lnTo>
                    <a:pt x="3103798" y="3493858"/>
                  </a:lnTo>
                  <a:lnTo>
                    <a:pt x="2908850" y="3493858"/>
                  </a:lnTo>
                  <a:lnTo>
                    <a:pt x="3038815" y="3623824"/>
                  </a:lnTo>
                  <a:lnTo>
                    <a:pt x="3035322" y="3630811"/>
                  </a:lnTo>
                  <a:lnTo>
                    <a:pt x="2894875" y="3490365"/>
                  </a:lnTo>
                  <a:lnTo>
                    <a:pt x="3165287" y="3219255"/>
                  </a:lnTo>
                  <a:lnTo>
                    <a:pt x="2901164" y="3219255"/>
                  </a:lnTo>
                  <a:lnTo>
                    <a:pt x="2630752" y="3490365"/>
                  </a:lnTo>
                  <a:lnTo>
                    <a:pt x="2901863" y="3760776"/>
                  </a:lnTo>
                  <a:lnTo>
                    <a:pt x="2970339" y="3760776"/>
                  </a:lnTo>
                  <a:lnTo>
                    <a:pt x="2966846" y="3767764"/>
                  </a:lnTo>
                  <a:lnTo>
                    <a:pt x="2901863" y="3767764"/>
                  </a:lnTo>
                  <a:lnTo>
                    <a:pt x="2721588" y="3948738"/>
                  </a:lnTo>
                  <a:lnTo>
                    <a:pt x="2633317" y="4037700"/>
                  </a:lnTo>
                  <a:lnTo>
                    <a:pt x="2902751" y="4306440"/>
                  </a:lnTo>
                  <a:lnTo>
                    <a:pt x="3165477" y="4306440"/>
                  </a:lnTo>
                  <a:lnTo>
                    <a:pt x="3036210" y="4177174"/>
                  </a:lnTo>
                  <a:lnTo>
                    <a:pt x="3036909" y="4176475"/>
                  </a:lnTo>
                  <a:lnTo>
                    <a:pt x="2942163" y="4082197"/>
                  </a:lnTo>
                  <a:lnTo>
                    <a:pt x="2940992" y="4082197"/>
                  </a:lnTo>
                  <a:lnTo>
                    <a:pt x="2896273" y="4037478"/>
                  </a:lnTo>
                  <a:lnTo>
                    <a:pt x="2896745" y="4037005"/>
                  </a:lnTo>
                  <a:lnTo>
                    <a:pt x="2895764" y="4036028"/>
                  </a:lnTo>
                  <a:lnTo>
                    <a:pt x="3070448" y="3860644"/>
                  </a:lnTo>
                  <a:lnTo>
                    <a:pt x="3072651" y="3860644"/>
                  </a:lnTo>
                  <a:lnTo>
                    <a:pt x="3165986" y="3767066"/>
                  </a:lnTo>
                  <a:lnTo>
                    <a:pt x="2967543" y="3767066"/>
                  </a:lnTo>
                  <a:lnTo>
                    <a:pt x="2971038" y="3760078"/>
                  </a:lnTo>
                  <a:lnTo>
                    <a:pt x="3165986" y="3760078"/>
                  </a:lnTo>
                  <a:lnTo>
                    <a:pt x="3036021" y="3630113"/>
                  </a:lnTo>
                  <a:lnTo>
                    <a:pt x="3039514" y="3623126"/>
                  </a:lnTo>
                  <a:lnTo>
                    <a:pt x="3179961" y="3763572"/>
                  </a:lnTo>
                  <a:lnTo>
                    <a:pt x="2912388" y="4031836"/>
                  </a:lnTo>
                  <a:lnTo>
                    <a:pt x="3173163" y="4031836"/>
                  </a:lnTo>
                  <a:lnTo>
                    <a:pt x="3262601" y="3942397"/>
                  </a:lnTo>
                  <a:lnTo>
                    <a:pt x="3344354" y="3860644"/>
                  </a:lnTo>
                  <a:lnTo>
                    <a:pt x="3347262" y="3860644"/>
                  </a:lnTo>
                  <a:lnTo>
                    <a:pt x="3444084" y="3763572"/>
                  </a:lnTo>
                  <a:lnTo>
                    <a:pt x="3172973" y="3493858"/>
                  </a:lnTo>
                  <a:lnTo>
                    <a:pt x="3104497" y="3493858"/>
                  </a:lnTo>
                  <a:lnTo>
                    <a:pt x="3107990" y="3486871"/>
                  </a:lnTo>
                  <a:lnTo>
                    <a:pt x="3172973" y="3486871"/>
                  </a:lnTo>
                  <a:lnTo>
                    <a:pt x="3443385" y="3215760"/>
                  </a:lnTo>
                  <a:lnTo>
                    <a:pt x="3309227" y="3082301"/>
                  </a:lnTo>
                  <a:lnTo>
                    <a:pt x="3172275" y="2945348"/>
                  </a:lnTo>
                  <a:close/>
                  <a:moveTo>
                    <a:pt x="1811829" y="2944649"/>
                  </a:moveTo>
                  <a:lnTo>
                    <a:pt x="1941795" y="3074615"/>
                  </a:lnTo>
                  <a:lnTo>
                    <a:pt x="2082940" y="3215061"/>
                  </a:lnTo>
                  <a:lnTo>
                    <a:pt x="1812528" y="3486172"/>
                  </a:lnTo>
                  <a:lnTo>
                    <a:pt x="2076652" y="3486172"/>
                  </a:lnTo>
                  <a:lnTo>
                    <a:pt x="2347064" y="3215061"/>
                  </a:lnTo>
                  <a:lnTo>
                    <a:pt x="2075953" y="2944649"/>
                  </a:lnTo>
                  <a:close/>
                  <a:moveTo>
                    <a:pt x="2360340" y="2943952"/>
                  </a:moveTo>
                  <a:lnTo>
                    <a:pt x="2631451" y="3214364"/>
                  </a:lnTo>
                  <a:lnTo>
                    <a:pt x="2361039" y="3485473"/>
                  </a:lnTo>
                  <a:lnTo>
                    <a:pt x="2625162" y="3485473"/>
                  </a:lnTo>
                  <a:lnTo>
                    <a:pt x="2895574" y="3214364"/>
                  </a:lnTo>
                  <a:lnTo>
                    <a:pt x="2624463" y="2943952"/>
                  </a:lnTo>
                  <a:close/>
                  <a:moveTo>
                    <a:pt x="4005871" y="2943253"/>
                  </a:moveTo>
                  <a:lnTo>
                    <a:pt x="4275584" y="3212267"/>
                  </a:lnTo>
                  <a:lnTo>
                    <a:pt x="4272789" y="3215061"/>
                  </a:lnTo>
                  <a:lnTo>
                    <a:pt x="4182652" y="3305898"/>
                  </a:lnTo>
                  <a:lnTo>
                    <a:pt x="4181952" y="3305898"/>
                  </a:lnTo>
                  <a:lnTo>
                    <a:pt x="4005172" y="3483378"/>
                  </a:lnTo>
                  <a:lnTo>
                    <a:pt x="4269295" y="3483378"/>
                  </a:lnTo>
                  <a:lnTo>
                    <a:pt x="4358734" y="3393939"/>
                  </a:lnTo>
                  <a:lnTo>
                    <a:pt x="4359432" y="3393939"/>
                  </a:lnTo>
                  <a:lnTo>
                    <a:pt x="4541105" y="3213665"/>
                  </a:lnTo>
                  <a:lnTo>
                    <a:pt x="4269994" y="2943253"/>
                  </a:lnTo>
                  <a:close/>
                  <a:moveTo>
                    <a:pt x="3457360" y="2943253"/>
                  </a:moveTo>
                  <a:lnTo>
                    <a:pt x="3458059" y="2943952"/>
                  </a:lnTo>
                  <a:lnTo>
                    <a:pt x="3458758" y="2943952"/>
                  </a:lnTo>
                  <a:lnTo>
                    <a:pt x="3727772" y="3212966"/>
                  </a:lnTo>
                  <a:lnTo>
                    <a:pt x="3457360" y="3484077"/>
                  </a:lnTo>
                  <a:lnTo>
                    <a:pt x="3721484" y="3484077"/>
                  </a:lnTo>
                  <a:lnTo>
                    <a:pt x="3991896" y="3213665"/>
                  </a:lnTo>
                  <a:lnTo>
                    <a:pt x="3987005" y="3208074"/>
                  </a:lnTo>
                  <a:lnTo>
                    <a:pt x="3721484" y="2943253"/>
                  </a:lnTo>
                  <a:close/>
                  <a:moveTo>
                    <a:pt x="1255633" y="2671443"/>
                  </a:moveTo>
                  <a:lnTo>
                    <a:pt x="985221" y="2942554"/>
                  </a:lnTo>
                  <a:lnTo>
                    <a:pt x="1256332" y="3212966"/>
                  </a:lnTo>
                  <a:lnTo>
                    <a:pt x="1520455" y="3212966"/>
                  </a:lnTo>
                  <a:lnTo>
                    <a:pt x="1249344" y="2942554"/>
                  </a:lnTo>
                  <a:lnTo>
                    <a:pt x="1519757" y="2671443"/>
                  </a:lnTo>
                  <a:close/>
                  <a:moveTo>
                    <a:pt x="1804143" y="2670744"/>
                  </a:moveTo>
                  <a:lnTo>
                    <a:pt x="1533731" y="2941855"/>
                  </a:lnTo>
                  <a:lnTo>
                    <a:pt x="1805541" y="3212267"/>
                  </a:lnTo>
                  <a:lnTo>
                    <a:pt x="2068965" y="3212267"/>
                  </a:lnTo>
                  <a:lnTo>
                    <a:pt x="1938301" y="3082301"/>
                  </a:lnTo>
                  <a:lnTo>
                    <a:pt x="1797854" y="2941855"/>
                  </a:lnTo>
                  <a:lnTo>
                    <a:pt x="2068266" y="2670744"/>
                  </a:lnTo>
                  <a:close/>
                  <a:moveTo>
                    <a:pt x="705027" y="2670744"/>
                  </a:moveTo>
                  <a:lnTo>
                    <a:pt x="434615" y="2941855"/>
                  </a:lnTo>
                  <a:lnTo>
                    <a:pt x="705726" y="3212267"/>
                  </a:lnTo>
                  <a:lnTo>
                    <a:pt x="774202" y="3212267"/>
                  </a:lnTo>
                  <a:lnTo>
                    <a:pt x="773503" y="3213665"/>
                  </a:lnTo>
                  <a:lnTo>
                    <a:pt x="971247" y="3213665"/>
                  </a:lnTo>
                  <a:lnTo>
                    <a:pt x="839884" y="3082301"/>
                  </a:lnTo>
                  <a:lnTo>
                    <a:pt x="699437" y="2941855"/>
                  </a:lnTo>
                  <a:lnTo>
                    <a:pt x="968451" y="2672142"/>
                  </a:lnTo>
                  <a:lnTo>
                    <a:pt x="772105" y="2672142"/>
                  </a:lnTo>
                  <a:lnTo>
                    <a:pt x="772804" y="2670744"/>
                  </a:lnTo>
                  <a:close/>
                  <a:moveTo>
                    <a:pt x="2352653" y="2670045"/>
                  </a:moveTo>
                  <a:lnTo>
                    <a:pt x="2082241" y="2941156"/>
                  </a:lnTo>
                  <a:lnTo>
                    <a:pt x="2353352" y="3211568"/>
                  </a:lnTo>
                  <a:lnTo>
                    <a:pt x="2617476" y="3211568"/>
                  </a:lnTo>
                  <a:lnTo>
                    <a:pt x="2346365" y="2941156"/>
                  </a:lnTo>
                  <a:lnTo>
                    <a:pt x="2616777" y="2670045"/>
                  </a:lnTo>
                  <a:close/>
                  <a:moveTo>
                    <a:pt x="3998184" y="2667949"/>
                  </a:moveTo>
                  <a:lnTo>
                    <a:pt x="3727772" y="2939060"/>
                  </a:lnTo>
                  <a:lnTo>
                    <a:pt x="3998883" y="3209471"/>
                  </a:lnTo>
                  <a:lnTo>
                    <a:pt x="4263007" y="3209471"/>
                  </a:lnTo>
                  <a:lnTo>
                    <a:pt x="3991896" y="2939060"/>
                  </a:lnTo>
                  <a:lnTo>
                    <a:pt x="4262308" y="2667949"/>
                  </a:lnTo>
                  <a:close/>
                  <a:moveTo>
                    <a:pt x="4546695" y="2667250"/>
                  </a:moveTo>
                  <a:lnTo>
                    <a:pt x="4276282" y="2938360"/>
                  </a:lnTo>
                  <a:lnTo>
                    <a:pt x="4547394" y="3208772"/>
                  </a:lnTo>
                  <a:lnTo>
                    <a:pt x="4810818" y="3208772"/>
                  </a:lnTo>
                  <a:lnTo>
                    <a:pt x="4680852" y="3078808"/>
                  </a:lnTo>
                  <a:lnTo>
                    <a:pt x="4540406" y="2938360"/>
                  </a:lnTo>
                  <a:lnTo>
                    <a:pt x="4810818" y="2667250"/>
                  </a:lnTo>
                  <a:close/>
                  <a:moveTo>
                    <a:pt x="164203" y="2397537"/>
                  </a:moveTo>
                  <a:lnTo>
                    <a:pt x="435314" y="2667949"/>
                  </a:lnTo>
                  <a:lnTo>
                    <a:pt x="164902" y="2939060"/>
                  </a:lnTo>
                  <a:lnTo>
                    <a:pt x="429025" y="2939060"/>
                  </a:lnTo>
                  <a:lnTo>
                    <a:pt x="699437" y="2667949"/>
                  </a:lnTo>
                  <a:lnTo>
                    <a:pt x="428326" y="2397537"/>
                  </a:lnTo>
                  <a:close/>
                  <a:moveTo>
                    <a:pt x="1811131" y="2396838"/>
                  </a:moveTo>
                  <a:lnTo>
                    <a:pt x="2082940" y="2667250"/>
                  </a:lnTo>
                  <a:lnTo>
                    <a:pt x="1812528" y="2938360"/>
                  </a:lnTo>
                  <a:lnTo>
                    <a:pt x="2075953" y="2938360"/>
                  </a:lnTo>
                  <a:lnTo>
                    <a:pt x="2346365" y="2667250"/>
                  </a:lnTo>
                  <a:lnTo>
                    <a:pt x="2212208" y="2533791"/>
                  </a:lnTo>
                  <a:lnTo>
                    <a:pt x="2075254" y="2396838"/>
                  </a:lnTo>
                  <a:close/>
                  <a:moveTo>
                    <a:pt x="1262620" y="2396838"/>
                  </a:moveTo>
                  <a:lnTo>
                    <a:pt x="1533731" y="2667250"/>
                  </a:lnTo>
                  <a:lnTo>
                    <a:pt x="1263319" y="2938360"/>
                  </a:lnTo>
                  <a:lnTo>
                    <a:pt x="1527442" y="2938360"/>
                  </a:lnTo>
                  <a:lnTo>
                    <a:pt x="1797854" y="2667250"/>
                  </a:lnTo>
                  <a:lnTo>
                    <a:pt x="1526744" y="2396838"/>
                  </a:lnTo>
                  <a:close/>
                  <a:moveTo>
                    <a:pt x="2359641" y="2396139"/>
                  </a:moveTo>
                  <a:lnTo>
                    <a:pt x="2361039" y="2397537"/>
                  </a:lnTo>
                  <a:lnTo>
                    <a:pt x="2629354" y="2665853"/>
                  </a:lnTo>
                  <a:lnTo>
                    <a:pt x="2358942" y="2936964"/>
                  </a:lnTo>
                  <a:lnTo>
                    <a:pt x="2623065" y="2936964"/>
                  </a:lnTo>
                  <a:lnTo>
                    <a:pt x="2893477" y="2665853"/>
                  </a:lnTo>
                  <a:lnTo>
                    <a:pt x="2888586" y="2660962"/>
                  </a:lnTo>
                  <a:lnTo>
                    <a:pt x="2906055" y="2669346"/>
                  </a:lnTo>
                  <a:lnTo>
                    <a:pt x="2900465" y="2669346"/>
                  </a:lnTo>
                  <a:lnTo>
                    <a:pt x="2630053" y="2940457"/>
                  </a:lnTo>
                  <a:lnTo>
                    <a:pt x="2901164" y="3210869"/>
                  </a:lnTo>
                  <a:lnTo>
                    <a:pt x="3165287" y="3210869"/>
                  </a:lnTo>
                  <a:lnTo>
                    <a:pt x="2894875" y="2939758"/>
                  </a:lnTo>
                  <a:lnTo>
                    <a:pt x="3079343" y="2755292"/>
                  </a:lnTo>
                  <a:lnTo>
                    <a:pt x="3165287" y="2669346"/>
                  </a:lnTo>
                  <a:lnTo>
                    <a:pt x="2906754" y="2669346"/>
                  </a:lnTo>
                  <a:lnTo>
                    <a:pt x="2889285" y="2660962"/>
                  </a:lnTo>
                  <a:lnTo>
                    <a:pt x="2623764" y="2396139"/>
                  </a:lnTo>
                  <a:close/>
                  <a:moveTo>
                    <a:pt x="713412" y="2396139"/>
                  </a:moveTo>
                  <a:lnTo>
                    <a:pt x="844775" y="2527503"/>
                  </a:lnTo>
                  <a:lnTo>
                    <a:pt x="985221" y="2667949"/>
                  </a:lnTo>
                  <a:lnTo>
                    <a:pt x="716206" y="2937662"/>
                  </a:lnTo>
                  <a:lnTo>
                    <a:pt x="912552" y="2937662"/>
                  </a:lnTo>
                  <a:lnTo>
                    <a:pt x="911853" y="2939060"/>
                  </a:lnTo>
                  <a:lnTo>
                    <a:pt x="978932" y="2939060"/>
                  </a:lnTo>
                  <a:lnTo>
                    <a:pt x="1248646" y="2667949"/>
                  </a:lnTo>
                  <a:lnTo>
                    <a:pt x="1113090" y="2533092"/>
                  </a:lnTo>
                  <a:lnTo>
                    <a:pt x="1094923" y="2514926"/>
                  </a:lnTo>
                  <a:lnTo>
                    <a:pt x="977535" y="2398236"/>
                  </a:lnTo>
                  <a:lnTo>
                    <a:pt x="909058" y="2398236"/>
                  </a:lnTo>
                  <a:lnTo>
                    <a:pt x="909757" y="2396838"/>
                  </a:lnTo>
                  <a:close/>
                  <a:moveTo>
                    <a:pt x="2907452" y="2394742"/>
                  </a:moveTo>
                  <a:lnTo>
                    <a:pt x="3178563" y="2665154"/>
                  </a:lnTo>
                  <a:lnTo>
                    <a:pt x="3175769" y="2667949"/>
                  </a:lnTo>
                  <a:lnTo>
                    <a:pt x="3085631" y="2758785"/>
                  </a:lnTo>
                  <a:lnTo>
                    <a:pt x="2908151" y="2936265"/>
                  </a:lnTo>
                  <a:lnTo>
                    <a:pt x="3172275" y="2936265"/>
                  </a:lnTo>
                  <a:lnTo>
                    <a:pt x="3262412" y="2846826"/>
                  </a:lnTo>
                  <a:lnTo>
                    <a:pt x="3442687" y="2665154"/>
                  </a:lnTo>
                  <a:lnTo>
                    <a:pt x="3171576" y="2394742"/>
                  </a:lnTo>
                  <a:close/>
                  <a:moveTo>
                    <a:pt x="4004473" y="2394044"/>
                  </a:moveTo>
                  <a:lnTo>
                    <a:pt x="4275584" y="2663757"/>
                  </a:lnTo>
                  <a:lnTo>
                    <a:pt x="4005172" y="2934868"/>
                  </a:lnTo>
                  <a:lnTo>
                    <a:pt x="4269295" y="2934868"/>
                  </a:lnTo>
                  <a:lnTo>
                    <a:pt x="4539707" y="2664456"/>
                  </a:lnTo>
                  <a:lnTo>
                    <a:pt x="4268597" y="2394044"/>
                  </a:lnTo>
                  <a:close/>
                  <a:moveTo>
                    <a:pt x="1255633" y="2122933"/>
                  </a:moveTo>
                  <a:lnTo>
                    <a:pt x="985221" y="2394044"/>
                  </a:lnTo>
                  <a:lnTo>
                    <a:pt x="1117282" y="2526105"/>
                  </a:lnTo>
                  <a:lnTo>
                    <a:pt x="1255633" y="2664456"/>
                  </a:lnTo>
                  <a:lnTo>
                    <a:pt x="1519757" y="2664456"/>
                  </a:lnTo>
                  <a:lnTo>
                    <a:pt x="1248646" y="2394044"/>
                  </a:lnTo>
                  <a:lnTo>
                    <a:pt x="1519757" y="2122933"/>
                  </a:lnTo>
                  <a:close/>
                  <a:moveTo>
                    <a:pt x="2351955" y="2122234"/>
                  </a:moveTo>
                  <a:lnTo>
                    <a:pt x="2171680" y="2303207"/>
                  </a:lnTo>
                  <a:lnTo>
                    <a:pt x="2170981" y="2303207"/>
                  </a:lnTo>
                  <a:lnTo>
                    <a:pt x="2081543" y="2392646"/>
                  </a:lnTo>
                  <a:lnTo>
                    <a:pt x="2215701" y="2526804"/>
                  </a:lnTo>
                  <a:lnTo>
                    <a:pt x="2352653" y="2663058"/>
                  </a:lnTo>
                  <a:lnTo>
                    <a:pt x="2616078" y="2663058"/>
                  </a:lnTo>
                  <a:lnTo>
                    <a:pt x="2344968" y="2392646"/>
                  </a:lnTo>
                  <a:lnTo>
                    <a:pt x="2346365" y="2391248"/>
                  </a:lnTo>
                  <a:lnTo>
                    <a:pt x="2347064" y="2391248"/>
                  </a:lnTo>
                  <a:lnTo>
                    <a:pt x="2615379" y="2122234"/>
                  </a:lnTo>
                  <a:close/>
                  <a:moveTo>
                    <a:pt x="1803445" y="2122234"/>
                  </a:moveTo>
                  <a:lnTo>
                    <a:pt x="1533032" y="2393345"/>
                  </a:lnTo>
                  <a:lnTo>
                    <a:pt x="1803445" y="2663058"/>
                  </a:lnTo>
                  <a:lnTo>
                    <a:pt x="2067568" y="2663058"/>
                  </a:lnTo>
                  <a:lnTo>
                    <a:pt x="1796458" y="2392646"/>
                  </a:lnTo>
                  <a:lnTo>
                    <a:pt x="1980924" y="2208178"/>
                  </a:lnTo>
                  <a:lnTo>
                    <a:pt x="1981623" y="2208178"/>
                  </a:lnTo>
                  <a:lnTo>
                    <a:pt x="2067568" y="2122234"/>
                  </a:lnTo>
                  <a:close/>
                  <a:moveTo>
                    <a:pt x="2900465" y="2121535"/>
                  </a:moveTo>
                  <a:lnTo>
                    <a:pt x="2630053" y="2392646"/>
                  </a:lnTo>
                  <a:lnTo>
                    <a:pt x="2901164" y="2663058"/>
                  </a:lnTo>
                  <a:lnTo>
                    <a:pt x="3165287" y="2663058"/>
                  </a:lnTo>
                  <a:lnTo>
                    <a:pt x="2894176" y="2392646"/>
                  </a:lnTo>
                  <a:lnTo>
                    <a:pt x="3164588" y="2121535"/>
                  </a:lnTo>
                  <a:close/>
                  <a:moveTo>
                    <a:pt x="3997486" y="2120137"/>
                  </a:moveTo>
                  <a:lnTo>
                    <a:pt x="3727074" y="2391248"/>
                  </a:lnTo>
                  <a:lnTo>
                    <a:pt x="3998184" y="2661660"/>
                  </a:lnTo>
                  <a:lnTo>
                    <a:pt x="4262308" y="2661660"/>
                  </a:lnTo>
                  <a:lnTo>
                    <a:pt x="3991197" y="2391248"/>
                  </a:lnTo>
                  <a:lnTo>
                    <a:pt x="4261609" y="2120137"/>
                  </a:lnTo>
                  <a:close/>
                  <a:moveTo>
                    <a:pt x="4545996" y="2119439"/>
                  </a:moveTo>
                  <a:lnTo>
                    <a:pt x="4275584" y="2390549"/>
                  </a:lnTo>
                  <a:lnTo>
                    <a:pt x="4545996" y="2660263"/>
                  </a:lnTo>
                  <a:lnTo>
                    <a:pt x="4810119" y="2660263"/>
                  </a:lnTo>
                  <a:lnTo>
                    <a:pt x="4539009" y="2389851"/>
                  </a:lnTo>
                  <a:lnTo>
                    <a:pt x="4723476" y="2205384"/>
                  </a:lnTo>
                  <a:lnTo>
                    <a:pt x="4810119" y="2119439"/>
                  </a:lnTo>
                  <a:close/>
                  <a:moveTo>
                    <a:pt x="1261921" y="1849027"/>
                  </a:moveTo>
                  <a:lnTo>
                    <a:pt x="1262620" y="1849725"/>
                  </a:lnTo>
                  <a:lnTo>
                    <a:pt x="1263319" y="1849725"/>
                  </a:lnTo>
                  <a:lnTo>
                    <a:pt x="1532333" y="2118740"/>
                  </a:lnTo>
                  <a:lnTo>
                    <a:pt x="1261921" y="2389851"/>
                  </a:lnTo>
                  <a:lnTo>
                    <a:pt x="1526046" y="2389851"/>
                  </a:lnTo>
                  <a:lnTo>
                    <a:pt x="1796458" y="2118740"/>
                  </a:lnTo>
                  <a:lnTo>
                    <a:pt x="1791566" y="2113849"/>
                  </a:lnTo>
                  <a:lnTo>
                    <a:pt x="1526046" y="1849027"/>
                  </a:lnTo>
                  <a:close/>
                  <a:moveTo>
                    <a:pt x="164203" y="1849027"/>
                  </a:moveTo>
                  <a:lnTo>
                    <a:pt x="165601" y="1850424"/>
                  </a:lnTo>
                  <a:lnTo>
                    <a:pt x="434615" y="2119439"/>
                  </a:lnTo>
                  <a:lnTo>
                    <a:pt x="164203" y="2389152"/>
                  </a:lnTo>
                  <a:lnTo>
                    <a:pt x="428326" y="2389152"/>
                  </a:lnTo>
                  <a:lnTo>
                    <a:pt x="698738" y="2118042"/>
                  </a:lnTo>
                  <a:lnTo>
                    <a:pt x="695191" y="2114493"/>
                  </a:lnTo>
                  <a:lnTo>
                    <a:pt x="709860" y="2121535"/>
                  </a:lnTo>
                  <a:lnTo>
                    <a:pt x="705726" y="2121535"/>
                  </a:lnTo>
                  <a:lnTo>
                    <a:pt x="435314" y="2392646"/>
                  </a:lnTo>
                  <a:lnTo>
                    <a:pt x="706425" y="2663058"/>
                  </a:lnTo>
                  <a:lnTo>
                    <a:pt x="970548" y="2663058"/>
                  </a:lnTo>
                  <a:lnTo>
                    <a:pt x="699437" y="2392646"/>
                  </a:lnTo>
                  <a:lnTo>
                    <a:pt x="883903" y="2208178"/>
                  </a:lnTo>
                  <a:lnTo>
                    <a:pt x="969849" y="2122234"/>
                  </a:lnTo>
                  <a:lnTo>
                    <a:pt x="711316" y="2122234"/>
                  </a:lnTo>
                  <a:lnTo>
                    <a:pt x="709860" y="2121535"/>
                  </a:lnTo>
                  <a:lnTo>
                    <a:pt x="711316" y="2121535"/>
                  </a:lnTo>
                  <a:lnTo>
                    <a:pt x="693847" y="2113150"/>
                  </a:lnTo>
                  <a:lnTo>
                    <a:pt x="695191" y="2114493"/>
                  </a:lnTo>
                  <a:lnTo>
                    <a:pt x="693847" y="2113849"/>
                  </a:lnTo>
                  <a:lnTo>
                    <a:pt x="428326" y="1849027"/>
                  </a:lnTo>
                  <a:close/>
                  <a:moveTo>
                    <a:pt x="712014" y="1848328"/>
                  </a:moveTo>
                  <a:lnTo>
                    <a:pt x="983125" y="2118042"/>
                  </a:lnTo>
                  <a:lnTo>
                    <a:pt x="980330" y="2120836"/>
                  </a:lnTo>
                  <a:lnTo>
                    <a:pt x="890192" y="2211673"/>
                  </a:lnTo>
                  <a:lnTo>
                    <a:pt x="712713" y="2389152"/>
                  </a:lnTo>
                  <a:lnTo>
                    <a:pt x="976837" y="2389152"/>
                  </a:lnTo>
                  <a:lnTo>
                    <a:pt x="1066275" y="2299714"/>
                  </a:lnTo>
                  <a:lnTo>
                    <a:pt x="1247249" y="2118740"/>
                  </a:lnTo>
                  <a:lnTo>
                    <a:pt x="1114488" y="1986679"/>
                  </a:lnTo>
                  <a:lnTo>
                    <a:pt x="976138" y="1848328"/>
                  </a:lnTo>
                  <a:close/>
                  <a:moveTo>
                    <a:pt x="2359641" y="1847630"/>
                  </a:moveTo>
                  <a:lnTo>
                    <a:pt x="2489606" y="1977595"/>
                  </a:lnTo>
                  <a:lnTo>
                    <a:pt x="2630053" y="2118042"/>
                  </a:lnTo>
                  <a:lnTo>
                    <a:pt x="2359641" y="2389152"/>
                  </a:lnTo>
                  <a:lnTo>
                    <a:pt x="2623764" y="2389152"/>
                  </a:lnTo>
                  <a:lnTo>
                    <a:pt x="2894176" y="2118042"/>
                  </a:lnTo>
                  <a:lnTo>
                    <a:pt x="2623065" y="1847630"/>
                  </a:lnTo>
                  <a:close/>
                  <a:moveTo>
                    <a:pt x="1810432" y="1847630"/>
                  </a:moveTo>
                  <a:lnTo>
                    <a:pt x="2081543" y="2118042"/>
                  </a:lnTo>
                  <a:lnTo>
                    <a:pt x="2078748" y="2120836"/>
                  </a:lnTo>
                  <a:lnTo>
                    <a:pt x="1988611" y="2211673"/>
                  </a:lnTo>
                  <a:lnTo>
                    <a:pt x="1987912" y="2211673"/>
                  </a:lnTo>
                  <a:lnTo>
                    <a:pt x="1811131" y="2389152"/>
                  </a:lnTo>
                  <a:lnTo>
                    <a:pt x="2074555" y="2388454"/>
                  </a:lnTo>
                  <a:lnTo>
                    <a:pt x="2163994" y="2299015"/>
                  </a:lnTo>
                  <a:lnTo>
                    <a:pt x="2164693" y="2299015"/>
                  </a:lnTo>
                  <a:lnTo>
                    <a:pt x="2345666" y="2118042"/>
                  </a:lnTo>
                  <a:lnTo>
                    <a:pt x="2074555" y="1847630"/>
                  </a:lnTo>
                  <a:close/>
                  <a:moveTo>
                    <a:pt x="2907452" y="1846931"/>
                  </a:moveTo>
                  <a:lnTo>
                    <a:pt x="3178563" y="2117343"/>
                  </a:lnTo>
                  <a:lnTo>
                    <a:pt x="2908151" y="2388454"/>
                  </a:lnTo>
                  <a:lnTo>
                    <a:pt x="3172275" y="2388454"/>
                  </a:lnTo>
                  <a:lnTo>
                    <a:pt x="3442687" y="2117343"/>
                  </a:lnTo>
                  <a:lnTo>
                    <a:pt x="3171576" y="1846931"/>
                  </a:lnTo>
                  <a:close/>
                  <a:moveTo>
                    <a:pt x="4004473" y="1844834"/>
                  </a:moveTo>
                  <a:lnTo>
                    <a:pt x="4005871" y="1846232"/>
                  </a:lnTo>
                  <a:lnTo>
                    <a:pt x="4274885" y="2115246"/>
                  </a:lnTo>
                  <a:lnTo>
                    <a:pt x="4004473" y="2386357"/>
                  </a:lnTo>
                  <a:lnTo>
                    <a:pt x="4268597" y="2386357"/>
                  </a:lnTo>
                  <a:lnTo>
                    <a:pt x="4539009" y="2115246"/>
                  </a:lnTo>
                  <a:lnTo>
                    <a:pt x="4534118" y="2110355"/>
                  </a:lnTo>
                  <a:lnTo>
                    <a:pt x="4268597" y="1844834"/>
                  </a:lnTo>
                  <a:close/>
                  <a:moveTo>
                    <a:pt x="705027" y="1574422"/>
                  </a:moveTo>
                  <a:lnTo>
                    <a:pt x="434615" y="1845533"/>
                  </a:lnTo>
                  <a:lnTo>
                    <a:pt x="705726" y="2115945"/>
                  </a:lnTo>
                  <a:lnTo>
                    <a:pt x="969849" y="2115945"/>
                  </a:lnTo>
                  <a:lnTo>
                    <a:pt x="698738" y="1845533"/>
                  </a:lnTo>
                  <a:lnTo>
                    <a:pt x="969150" y="1574422"/>
                  </a:lnTo>
                  <a:close/>
                  <a:moveTo>
                    <a:pt x="1802746" y="1573723"/>
                  </a:moveTo>
                  <a:lnTo>
                    <a:pt x="1532333" y="1844834"/>
                  </a:lnTo>
                  <a:lnTo>
                    <a:pt x="1803445" y="2115246"/>
                  </a:lnTo>
                  <a:lnTo>
                    <a:pt x="2067568" y="2115246"/>
                  </a:lnTo>
                  <a:lnTo>
                    <a:pt x="1796458" y="1844834"/>
                  </a:lnTo>
                  <a:lnTo>
                    <a:pt x="2066870" y="1573723"/>
                  </a:lnTo>
                  <a:close/>
                  <a:moveTo>
                    <a:pt x="1252838" y="1573723"/>
                  </a:moveTo>
                  <a:lnTo>
                    <a:pt x="983125" y="1844834"/>
                  </a:lnTo>
                  <a:lnTo>
                    <a:pt x="1183663" y="2045372"/>
                  </a:lnTo>
                  <a:lnTo>
                    <a:pt x="1254236" y="2115246"/>
                  </a:lnTo>
                  <a:lnTo>
                    <a:pt x="1322712" y="2115246"/>
                  </a:lnTo>
                  <a:lnTo>
                    <a:pt x="1322014" y="2116644"/>
                  </a:lnTo>
                  <a:lnTo>
                    <a:pt x="1519058" y="2116644"/>
                  </a:lnTo>
                  <a:lnTo>
                    <a:pt x="1247947" y="1846232"/>
                  </a:lnTo>
                  <a:lnTo>
                    <a:pt x="1248646" y="1845533"/>
                  </a:lnTo>
                  <a:lnTo>
                    <a:pt x="1246550" y="1844834"/>
                  </a:lnTo>
                  <a:lnTo>
                    <a:pt x="1516962" y="1573723"/>
                  </a:lnTo>
                  <a:close/>
                  <a:moveTo>
                    <a:pt x="2899766" y="1573024"/>
                  </a:moveTo>
                  <a:lnTo>
                    <a:pt x="2629354" y="1844135"/>
                  </a:lnTo>
                  <a:lnTo>
                    <a:pt x="2900465" y="2114547"/>
                  </a:lnTo>
                  <a:lnTo>
                    <a:pt x="3164588" y="2114547"/>
                  </a:lnTo>
                  <a:lnTo>
                    <a:pt x="2893477" y="1844135"/>
                  </a:lnTo>
                  <a:lnTo>
                    <a:pt x="3163889" y="1573024"/>
                  </a:lnTo>
                  <a:close/>
                  <a:moveTo>
                    <a:pt x="2351257" y="1573024"/>
                  </a:moveTo>
                  <a:lnTo>
                    <a:pt x="2080844" y="1844135"/>
                  </a:lnTo>
                  <a:lnTo>
                    <a:pt x="2351955" y="2114547"/>
                  </a:lnTo>
                  <a:lnTo>
                    <a:pt x="2615379" y="2114547"/>
                  </a:lnTo>
                  <a:lnTo>
                    <a:pt x="2485414" y="1984582"/>
                  </a:lnTo>
                  <a:lnTo>
                    <a:pt x="2344968" y="1844135"/>
                  </a:lnTo>
                  <a:lnTo>
                    <a:pt x="2615379" y="1573024"/>
                  </a:lnTo>
                  <a:close/>
                  <a:moveTo>
                    <a:pt x="3448276" y="1572326"/>
                  </a:moveTo>
                  <a:lnTo>
                    <a:pt x="3177864" y="1843436"/>
                  </a:lnTo>
                  <a:lnTo>
                    <a:pt x="3448975" y="2113150"/>
                  </a:lnTo>
                  <a:lnTo>
                    <a:pt x="3713099" y="2113150"/>
                  </a:lnTo>
                  <a:lnTo>
                    <a:pt x="3441988" y="1842739"/>
                  </a:lnTo>
                  <a:lnTo>
                    <a:pt x="3626455" y="1658271"/>
                  </a:lnTo>
                  <a:lnTo>
                    <a:pt x="3712400" y="1572326"/>
                  </a:lnTo>
                  <a:close/>
                  <a:moveTo>
                    <a:pt x="4545297" y="1570929"/>
                  </a:moveTo>
                  <a:lnTo>
                    <a:pt x="4274885" y="1842040"/>
                  </a:lnTo>
                  <a:lnTo>
                    <a:pt x="4545996" y="2111753"/>
                  </a:lnTo>
                  <a:lnTo>
                    <a:pt x="4810119" y="2111753"/>
                  </a:lnTo>
                  <a:lnTo>
                    <a:pt x="4539009" y="1841341"/>
                  </a:lnTo>
                  <a:lnTo>
                    <a:pt x="4809421" y="1570929"/>
                  </a:lnTo>
                  <a:close/>
                  <a:moveTo>
                    <a:pt x="164203" y="1300517"/>
                  </a:moveTo>
                  <a:lnTo>
                    <a:pt x="294168" y="1430482"/>
                  </a:lnTo>
                  <a:lnTo>
                    <a:pt x="434615" y="1570929"/>
                  </a:lnTo>
                  <a:lnTo>
                    <a:pt x="164203" y="1842040"/>
                  </a:lnTo>
                  <a:lnTo>
                    <a:pt x="428326" y="1842040"/>
                  </a:lnTo>
                  <a:lnTo>
                    <a:pt x="698738" y="1570929"/>
                  </a:lnTo>
                  <a:lnTo>
                    <a:pt x="427627" y="1300517"/>
                  </a:lnTo>
                  <a:close/>
                  <a:moveTo>
                    <a:pt x="1809733" y="1299818"/>
                  </a:moveTo>
                  <a:lnTo>
                    <a:pt x="2080844" y="1570230"/>
                  </a:lnTo>
                  <a:lnTo>
                    <a:pt x="1810432" y="1840642"/>
                  </a:lnTo>
                  <a:lnTo>
                    <a:pt x="2074555" y="1840642"/>
                  </a:lnTo>
                  <a:lnTo>
                    <a:pt x="2344968" y="1570230"/>
                  </a:lnTo>
                  <a:lnTo>
                    <a:pt x="2073856" y="1299818"/>
                  </a:lnTo>
                  <a:close/>
                  <a:moveTo>
                    <a:pt x="712014" y="1299818"/>
                  </a:moveTo>
                  <a:lnTo>
                    <a:pt x="983125" y="1570230"/>
                  </a:lnTo>
                  <a:lnTo>
                    <a:pt x="712713" y="1841341"/>
                  </a:lnTo>
                  <a:lnTo>
                    <a:pt x="976837" y="1841341"/>
                  </a:lnTo>
                  <a:lnTo>
                    <a:pt x="1247249" y="1570230"/>
                  </a:lnTo>
                  <a:lnTo>
                    <a:pt x="976138" y="1299818"/>
                  </a:lnTo>
                  <a:close/>
                  <a:moveTo>
                    <a:pt x="2358243" y="1299119"/>
                  </a:moveTo>
                  <a:lnTo>
                    <a:pt x="2629354" y="1569531"/>
                  </a:lnTo>
                  <a:lnTo>
                    <a:pt x="2359641" y="1840642"/>
                  </a:lnTo>
                  <a:lnTo>
                    <a:pt x="2623065" y="1840642"/>
                  </a:lnTo>
                  <a:lnTo>
                    <a:pt x="2893477" y="1569531"/>
                  </a:lnTo>
                  <a:lnTo>
                    <a:pt x="2759320" y="1436072"/>
                  </a:lnTo>
                  <a:lnTo>
                    <a:pt x="2622367" y="1299119"/>
                  </a:lnTo>
                  <a:close/>
                  <a:moveTo>
                    <a:pt x="2906754" y="1298421"/>
                  </a:moveTo>
                  <a:lnTo>
                    <a:pt x="2908151" y="1299818"/>
                  </a:lnTo>
                  <a:lnTo>
                    <a:pt x="3177864" y="1568832"/>
                  </a:lnTo>
                  <a:lnTo>
                    <a:pt x="2907452" y="1839244"/>
                  </a:lnTo>
                  <a:lnTo>
                    <a:pt x="3171576" y="1839244"/>
                  </a:lnTo>
                  <a:lnTo>
                    <a:pt x="3441988" y="1568832"/>
                  </a:lnTo>
                  <a:lnTo>
                    <a:pt x="3436398" y="1563941"/>
                  </a:lnTo>
                  <a:lnTo>
                    <a:pt x="3170877" y="1298421"/>
                  </a:lnTo>
                  <a:close/>
                  <a:moveTo>
                    <a:pt x="1525347" y="1298421"/>
                  </a:moveTo>
                  <a:lnTo>
                    <a:pt x="1523949" y="1299119"/>
                  </a:lnTo>
                  <a:lnTo>
                    <a:pt x="1259826" y="1299119"/>
                  </a:lnTo>
                  <a:lnTo>
                    <a:pt x="1530937" y="1569531"/>
                  </a:lnTo>
                  <a:lnTo>
                    <a:pt x="1526744" y="1573723"/>
                  </a:lnTo>
                  <a:lnTo>
                    <a:pt x="1532333" y="1570929"/>
                  </a:lnTo>
                  <a:lnTo>
                    <a:pt x="1261921" y="1842040"/>
                  </a:lnTo>
                  <a:lnTo>
                    <a:pt x="1526046" y="1842040"/>
                  </a:lnTo>
                  <a:lnTo>
                    <a:pt x="1796458" y="1570929"/>
                  </a:lnTo>
                  <a:lnTo>
                    <a:pt x="1525347" y="1300517"/>
                  </a:lnTo>
                  <a:close/>
                  <a:moveTo>
                    <a:pt x="3454565" y="1297722"/>
                  </a:moveTo>
                  <a:lnTo>
                    <a:pt x="3725676" y="1568134"/>
                  </a:lnTo>
                  <a:lnTo>
                    <a:pt x="3722882" y="1570929"/>
                  </a:lnTo>
                  <a:lnTo>
                    <a:pt x="3632744" y="1661764"/>
                  </a:lnTo>
                  <a:lnTo>
                    <a:pt x="3455264" y="1838545"/>
                  </a:lnTo>
                  <a:lnTo>
                    <a:pt x="3719387" y="1838545"/>
                  </a:lnTo>
                  <a:lnTo>
                    <a:pt x="3808826" y="1749107"/>
                  </a:lnTo>
                  <a:lnTo>
                    <a:pt x="3989799" y="1568134"/>
                  </a:lnTo>
                  <a:lnTo>
                    <a:pt x="3718688" y="1297722"/>
                  </a:lnTo>
                  <a:close/>
                  <a:moveTo>
                    <a:pt x="1802048" y="1025213"/>
                  </a:moveTo>
                  <a:lnTo>
                    <a:pt x="1531636" y="1296324"/>
                  </a:lnTo>
                  <a:lnTo>
                    <a:pt x="1802746" y="1566736"/>
                  </a:lnTo>
                  <a:lnTo>
                    <a:pt x="2066870" y="1566736"/>
                  </a:lnTo>
                  <a:lnTo>
                    <a:pt x="1795759" y="1296324"/>
                  </a:lnTo>
                  <a:lnTo>
                    <a:pt x="2066171" y="1025213"/>
                  </a:lnTo>
                  <a:close/>
                  <a:moveTo>
                    <a:pt x="704328" y="1025213"/>
                  </a:moveTo>
                  <a:lnTo>
                    <a:pt x="433916" y="1296324"/>
                  </a:lnTo>
                  <a:lnTo>
                    <a:pt x="705027" y="1566736"/>
                  </a:lnTo>
                  <a:lnTo>
                    <a:pt x="969150" y="1566736"/>
                  </a:lnTo>
                  <a:lnTo>
                    <a:pt x="698039" y="1296324"/>
                  </a:lnTo>
                  <a:lnTo>
                    <a:pt x="967752" y="1025213"/>
                  </a:lnTo>
                  <a:close/>
                  <a:moveTo>
                    <a:pt x="2899067" y="1024514"/>
                  </a:moveTo>
                  <a:lnTo>
                    <a:pt x="2718793" y="1204790"/>
                  </a:lnTo>
                  <a:lnTo>
                    <a:pt x="2629354" y="1294927"/>
                  </a:lnTo>
                  <a:lnTo>
                    <a:pt x="2763512" y="1428386"/>
                  </a:lnTo>
                  <a:lnTo>
                    <a:pt x="2900465" y="1565338"/>
                  </a:lnTo>
                  <a:lnTo>
                    <a:pt x="3164588" y="1565338"/>
                  </a:lnTo>
                  <a:lnTo>
                    <a:pt x="2893477" y="1294927"/>
                  </a:lnTo>
                  <a:lnTo>
                    <a:pt x="2894875" y="1293530"/>
                  </a:lnTo>
                  <a:lnTo>
                    <a:pt x="3163191" y="1024514"/>
                  </a:lnTo>
                  <a:close/>
                  <a:moveTo>
                    <a:pt x="2350558" y="1024514"/>
                  </a:moveTo>
                  <a:lnTo>
                    <a:pt x="2080145" y="1295625"/>
                  </a:lnTo>
                  <a:lnTo>
                    <a:pt x="2351257" y="1566037"/>
                  </a:lnTo>
                  <a:lnTo>
                    <a:pt x="2615379" y="1566037"/>
                  </a:lnTo>
                  <a:lnTo>
                    <a:pt x="2344269" y="1295625"/>
                  </a:lnTo>
                  <a:lnTo>
                    <a:pt x="2528736" y="1111159"/>
                  </a:lnTo>
                  <a:lnTo>
                    <a:pt x="2614681" y="1025213"/>
                  </a:lnTo>
                  <a:lnTo>
                    <a:pt x="2356148" y="1025213"/>
                  </a:lnTo>
                  <a:close/>
                  <a:moveTo>
                    <a:pt x="1252838" y="1024514"/>
                  </a:moveTo>
                  <a:lnTo>
                    <a:pt x="982426" y="1295625"/>
                  </a:lnTo>
                  <a:lnTo>
                    <a:pt x="1253537" y="1566037"/>
                  </a:lnTo>
                  <a:lnTo>
                    <a:pt x="1517660" y="1566037"/>
                  </a:lnTo>
                  <a:lnTo>
                    <a:pt x="1246550" y="1295625"/>
                  </a:lnTo>
                  <a:lnTo>
                    <a:pt x="1431017" y="1111159"/>
                  </a:lnTo>
                  <a:lnTo>
                    <a:pt x="1516962" y="1024514"/>
                  </a:lnTo>
                  <a:close/>
                  <a:moveTo>
                    <a:pt x="3447578" y="1023816"/>
                  </a:moveTo>
                  <a:lnTo>
                    <a:pt x="3177166" y="1294927"/>
                  </a:lnTo>
                  <a:lnTo>
                    <a:pt x="3448276" y="1565338"/>
                  </a:lnTo>
                  <a:lnTo>
                    <a:pt x="3712400" y="1565338"/>
                  </a:lnTo>
                  <a:lnTo>
                    <a:pt x="3441289" y="1294927"/>
                  </a:lnTo>
                  <a:lnTo>
                    <a:pt x="3711701" y="1023816"/>
                  </a:lnTo>
                  <a:close/>
                  <a:moveTo>
                    <a:pt x="4544598" y="1022419"/>
                  </a:moveTo>
                  <a:lnTo>
                    <a:pt x="4274186" y="1293530"/>
                  </a:lnTo>
                  <a:lnTo>
                    <a:pt x="4545297" y="1563941"/>
                  </a:lnTo>
                  <a:lnTo>
                    <a:pt x="4809421" y="1563941"/>
                  </a:lnTo>
                  <a:lnTo>
                    <a:pt x="4538310" y="1293530"/>
                  </a:lnTo>
                  <a:lnTo>
                    <a:pt x="4722777" y="1108363"/>
                  </a:lnTo>
                  <a:lnTo>
                    <a:pt x="4722078" y="1107664"/>
                  </a:lnTo>
                  <a:lnTo>
                    <a:pt x="4807324" y="1022419"/>
                  </a:lnTo>
                  <a:close/>
                  <a:moveTo>
                    <a:pt x="3995389" y="1022419"/>
                  </a:moveTo>
                  <a:lnTo>
                    <a:pt x="3724977" y="1293530"/>
                  </a:lnTo>
                  <a:lnTo>
                    <a:pt x="3996088" y="1563941"/>
                  </a:lnTo>
                  <a:lnTo>
                    <a:pt x="4064564" y="1563941"/>
                  </a:lnTo>
                  <a:lnTo>
                    <a:pt x="4061071" y="1570929"/>
                  </a:lnTo>
                  <a:lnTo>
                    <a:pt x="3996088" y="1570929"/>
                  </a:lnTo>
                  <a:lnTo>
                    <a:pt x="3815814" y="1751902"/>
                  </a:lnTo>
                  <a:lnTo>
                    <a:pt x="3726375" y="1842040"/>
                  </a:lnTo>
                  <a:lnTo>
                    <a:pt x="3859834" y="1975498"/>
                  </a:lnTo>
                  <a:lnTo>
                    <a:pt x="3857039" y="1981088"/>
                  </a:lnTo>
                  <a:lnTo>
                    <a:pt x="3857739" y="1981785"/>
                  </a:lnTo>
                  <a:lnTo>
                    <a:pt x="3857039" y="1983185"/>
                  </a:lnTo>
                  <a:lnTo>
                    <a:pt x="3720086" y="1846232"/>
                  </a:lnTo>
                  <a:lnTo>
                    <a:pt x="3455963" y="1846232"/>
                  </a:lnTo>
                  <a:lnTo>
                    <a:pt x="3727074" y="2116644"/>
                  </a:lnTo>
                  <a:lnTo>
                    <a:pt x="3456662" y="2387755"/>
                  </a:lnTo>
                  <a:lnTo>
                    <a:pt x="3654754" y="2387755"/>
                  </a:lnTo>
                  <a:lnTo>
                    <a:pt x="3652309" y="2392646"/>
                  </a:lnTo>
                  <a:lnTo>
                    <a:pt x="3652658" y="2392646"/>
                  </a:lnTo>
                  <a:lnTo>
                    <a:pt x="3651610" y="2394742"/>
                  </a:lnTo>
                  <a:lnTo>
                    <a:pt x="3456662" y="2394742"/>
                  </a:lnTo>
                  <a:lnTo>
                    <a:pt x="3586394" y="2524475"/>
                  </a:lnTo>
                  <a:lnTo>
                    <a:pt x="3583832" y="2529598"/>
                  </a:lnTo>
                  <a:lnTo>
                    <a:pt x="3584065" y="2529831"/>
                  </a:lnTo>
                  <a:lnTo>
                    <a:pt x="3583133" y="2531695"/>
                  </a:lnTo>
                  <a:lnTo>
                    <a:pt x="3442687" y="2391248"/>
                  </a:lnTo>
                  <a:lnTo>
                    <a:pt x="3713099" y="2120137"/>
                  </a:lnTo>
                  <a:lnTo>
                    <a:pt x="3448975" y="2120137"/>
                  </a:lnTo>
                  <a:lnTo>
                    <a:pt x="3178563" y="2391248"/>
                  </a:lnTo>
                  <a:lnTo>
                    <a:pt x="3448975" y="2662359"/>
                  </a:lnTo>
                  <a:lnTo>
                    <a:pt x="3517452" y="2662359"/>
                  </a:lnTo>
                  <a:lnTo>
                    <a:pt x="3513958" y="2669346"/>
                  </a:lnTo>
                  <a:lnTo>
                    <a:pt x="3448975" y="2669346"/>
                  </a:lnTo>
                  <a:lnTo>
                    <a:pt x="3268701" y="2850320"/>
                  </a:lnTo>
                  <a:lnTo>
                    <a:pt x="3179262" y="2939758"/>
                  </a:lnTo>
                  <a:lnTo>
                    <a:pt x="3312721" y="3073916"/>
                  </a:lnTo>
                  <a:lnTo>
                    <a:pt x="3451072" y="3207376"/>
                  </a:lnTo>
                  <a:lnTo>
                    <a:pt x="3715195" y="3207376"/>
                  </a:lnTo>
                  <a:lnTo>
                    <a:pt x="3444084" y="2936964"/>
                  </a:lnTo>
                  <a:lnTo>
                    <a:pt x="3445482" y="2935566"/>
                  </a:lnTo>
                  <a:lnTo>
                    <a:pt x="3713797" y="2666552"/>
                  </a:lnTo>
                  <a:lnTo>
                    <a:pt x="3515356" y="2666552"/>
                  </a:lnTo>
                  <a:lnTo>
                    <a:pt x="3518849" y="2659564"/>
                  </a:lnTo>
                  <a:lnTo>
                    <a:pt x="3713797" y="2659564"/>
                  </a:lnTo>
                  <a:lnTo>
                    <a:pt x="3584065" y="2529831"/>
                  </a:lnTo>
                  <a:lnTo>
                    <a:pt x="3586627" y="2524708"/>
                  </a:lnTo>
                  <a:lnTo>
                    <a:pt x="3586394" y="2524475"/>
                  </a:lnTo>
                  <a:lnTo>
                    <a:pt x="3587326" y="2522611"/>
                  </a:lnTo>
                  <a:lnTo>
                    <a:pt x="3727772" y="2663058"/>
                  </a:lnTo>
                  <a:lnTo>
                    <a:pt x="3457360" y="2934169"/>
                  </a:lnTo>
                  <a:lnTo>
                    <a:pt x="3721484" y="2934169"/>
                  </a:lnTo>
                  <a:lnTo>
                    <a:pt x="3991896" y="2663058"/>
                  </a:lnTo>
                  <a:lnTo>
                    <a:pt x="3720785" y="2392646"/>
                  </a:lnTo>
                  <a:lnTo>
                    <a:pt x="3652658" y="2392646"/>
                  </a:lnTo>
                  <a:lnTo>
                    <a:pt x="3655103" y="2387755"/>
                  </a:lnTo>
                  <a:lnTo>
                    <a:pt x="3654754" y="2387755"/>
                  </a:lnTo>
                  <a:lnTo>
                    <a:pt x="3655802" y="2385658"/>
                  </a:lnTo>
                  <a:lnTo>
                    <a:pt x="3720785" y="2385658"/>
                  </a:lnTo>
                  <a:lnTo>
                    <a:pt x="3991197" y="2114547"/>
                  </a:lnTo>
                  <a:lnTo>
                    <a:pt x="3857739" y="1981785"/>
                  </a:lnTo>
                  <a:lnTo>
                    <a:pt x="3860533" y="1976197"/>
                  </a:lnTo>
                  <a:lnTo>
                    <a:pt x="3859834" y="1975498"/>
                  </a:lnTo>
                  <a:lnTo>
                    <a:pt x="3860533" y="1974101"/>
                  </a:lnTo>
                  <a:lnTo>
                    <a:pt x="3997486" y="2111054"/>
                  </a:lnTo>
                  <a:lnTo>
                    <a:pt x="4261609" y="2111054"/>
                  </a:lnTo>
                  <a:lnTo>
                    <a:pt x="3990498" y="1840642"/>
                  </a:lnTo>
                  <a:lnTo>
                    <a:pt x="3991896" y="1839244"/>
                  </a:lnTo>
                  <a:lnTo>
                    <a:pt x="4260211" y="1570230"/>
                  </a:lnTo>
                  <a:lnTo>
                    <a:pt x="4061770" y="1570230"/>
                  </a:lnTo>
                  <a:lnTo>
                    <a:pt x="4065263" y="1563243"/>
                  </a:lnTo>
                  <a:lnTo>
                    <a:pt x="4260211" y="1563243"/>
                  </a:lnTo>
                  <a:lnTo>
                    <a:pt x="4130246" y="1433278"/>
                  </a:lnTo>
                  <a:lnTo>
                    <a:pt x="4133739" y="1426290"/>
                  </a:lnTo>
                  <a:lnTo>
                    <a:pt x="4274186" y="1566736"/>
                  </a:lnTo>
                  <a:lnTo>
                    <a:pt x="4003774" y="1837847"/>
                  </a:lnTo>
                  <a:lnTo>
                    <a:pt x="4267898" y="1837847"/>
                  </a:lnTo>
                  <a:lnTo>
                    <a:pt x="4538310" y="1566736"/>
                  </a:lnTo>
                  <a:lnTo>
                    <a:pt x="4267199" y="1297023"/>
                  </a:lnTo>
                  <a:lnTo>
                    <a:pt x="4198723" y="1297023"/>
                  </a:lnTo>
                  <a:lnTo>
                    <a:pt x="4003774" y="1297023"/>
                  </a:lnTo>
                  <a:lnTo>
                    <a:pt x="4133040" y="1426989"/>
                  </a:lnTo>
                  <a:lnTo>
                    <a:pt x="4129547" y="1433975"/>
                  </a:lnTo>
                  <a:lnTo>
                    <a:pt x="3989100" y="1293530"/>
                  </a:lnTo>
                  <a:lnTo>
                    <a:pt x="4259512" y="1022419"/>
                  </a:lnTo>
                  <a:close/>
                  <a:moveTo>
                    <a:pt x="162805" y="752007"/>
                  </a:moveTo>
                  <a:lnTo>
                    <a:pt x="433916" y="1022419"/>
                  </a:lnTo>
                  <a:lnTo>
                    <a:pt x="164203" y="1293530"/>
                  </a:lnTo>
                  <a:lnTo>
                    <a:pt x="427627" y="1293530"/>
                  </a:lnTo>
                  <a:lnTo>
                    <a:pt x="698039" y="1022419"/>
                  </a:lnTo>
                  <a:lnTo>
                    <a:pt x="563881" y="888959"/>
                  </a:lnTo>
                  <a:lnTo>
                    <a:pt x="426928" y="752007"/>
                  </a:lnTo>
                  <a:close/>
                  <a:moveTo>
                    <a:pt x="1809035" y="751308"/>
                  </a:moveTo>
                  <a:lnTo>
                    <a:pt x="1937603" y="879876"/>
                  </a:lnTo>
                  <a:lnTo>
                    <a:pt x="2079447" y="1021720"/>
                  </a:lnTo>
                  <a:lnTo>
                    <a:pt x="1809035" y="1292831"/>
                  </a:lnTo>
                  <a:lnTo>
                    <a:pt x="2073158" y="1292831"/>
                  </a:lnTo>
                  <a:lnTo>
                    <a:pt x="2343570" y="1021720"/>
                  </a:lnTo>
                  <a:lnTo>
                    <a:pt x="2338678" y="1016829"/>
                  </a:lnTo>
                  <a:lnTo>
                    <a:pt x="2073158" y="751308"/>
                  </a:lnTo>
                  <a:close/>
                  <a:moveTo>
                    <a:pt x="2357544" y="750609"/>
                  </a:moveTo>
                  <a:lnTo>
                    <a:pt x="2628655" y="1020322"/>
                  </a:lnTo>
                  <a:lnTo>
                    <a:pt x="2625861" y="1023118"/>
                  </a:lnTo>
                  <a:lnTo>
                    <a:pt x="2535723" y="1113953"/>
                  </a:lnTo>
                  <a:lnTo>
                    <a:pt x="2358243" y="1291433"/>
                  </a:lnTo>
                  <a:lnTo>
                    <a:pt x="2622367" y="1291433"/>
                  </a:lnTo>
                  <a:lnTo>
                    <a:pt x="2711805" y="1201994"/>
                  </a:lnTo>
                  <a:lnTo>
                    <a:pt x="2892779" y="1021021"/>
                  </a:lnTo>
                  <a:lnTo>
                    <a:pt x="2621668" y="750609"/>
                  </a:lnTo>
                  <a:close/>
                  <a:moveTo>
                    <a:pt x="1259127" y="750609"/>
                  </a:moveTo>
                  <a:lnTo>
                    <a:pt x="1530238" y="1020322"/>
                  </a:lnTo>
                  <a:lnTo>
                    <a:pt x="1527442" y="1023118"/>
                  </a:lnTo>
                  <a:lnTo>
                    <a:pt x="1437306" y="1113953"/>
                  </a:lnTo>
                  <a:lnTo>
                    <a:pt x="1259826" y="1291433"/>
                  </a:lnTo>
                  <a:lnTo>
                    <a:pt x="1523949" y="1291433"/>
                  </a:lnTo>
                  <a:lnTo>
                    <a:pt x="1613388" y="1201994"/>
                  </a:lnTo>
                  <a:lnTo>
                    <a:pt x="1794361" y="1021021"/>
                  </a:lnTo>
                  <a:lnTo>
                    <a:pt x="1523250" y="750609"/>
                  </a:lnTo>
                  <a:close/>
                  <a:moveTo>
                    <a:pt x="710617" y="750609"/>
                  </a:moveTo>
                  <a:lnTo>
                    <a:pt x="712014" y="752007"/>
                  </a:lnTo>
                  <a:lnTo>
                    <a:pt x="981727" y="1021021"/>
                  </a:lnTo>
                  <a:lnTo>
                    <a:pt x="711316" y="1292132"/>
                  </a:lnTo>
                  <a:lnTo>
                    <a:pt x="975439" y="1292132"/>
                  </a:lnTo>
                  <a:lnTo>
                    <a:pt x="1245851" y="1021021"/>
                  </a:lnTo>
                  <a:lnTo>
                    <a:pt x="1240261" y="1016130"/>
                  </a:lnTo>
                  <a:lnTo>
                    <a:pt x="974740" y="750609"/>
                  </a:lnTo>
                  <a:close/>
                  <a:moveTo>
                    <a:pt x="2906055" y="749910"/>
                  </a:moveTo>
                  <a:lnTo>
                    <a:pt x="3036720" y="879177"/>
                  </a:lnTo>
                  <a:lnTo>
                    <a:pt x="3177166" y="1019623"/>
                  </a:lnTo>
                  <a:lnTo>
                    <a:pt x="2906754" y="1290734"/>
                  </a:lnTo>
                  <a:lnTo>
                    <a:pt x="3170877" y="1290734"/>
                  </a:lnTo>
                  <a:lnTo>
                    <a:pt x="3441289" y="1020322"/>
                  </a:lnTo>
                  <a:lnTo>
                    <a:pt x="3170178" y="749910"/>
                  </a:lnTo>
                  <a:close/>
                  <a:moveTo>
                    <a:pt x="3454565" y="749211"/>
                  </a:moveTo>
                  <a:lnTo>
                    <a:pt x="3725676" y="1019623"/>
                  </a:lnTo>
                  <a:lnTo>
                    <a:pt x="3455264" y="1290734"/>
                  </a:lnTo>
                  <a:lnTo>
                    <a:pt x="3719387" y="1290734"/>
                  </a:lnTo>
                  <a:lnTo>
                    <a:pt x="3989799" y="1019623"/>
                  </a:lnTo>
                  <a:lnTo>
                    <a:pt x="3718688" y="749211"/>
                  </a:lnTo>
                  <a:close/>
                  <a:moveTo>
                    <a:pt x="4003075" y="748512"/>
                  </a:moveTo>
                  <a:lnTo>
                    <a:pt x="4274186" y="1018924"/>
                  </a:lnTo>
                  <a:lnTo>
                    <a:pt x="4003774" y="1290035"/>
                  </a:lnTo>
                  <a:lnTo>
                    <a:pt x="4202216" y="1290035"/>
                  </a:lnTo>
                  <a:lnTo>
                    <a:pt x="4267199" y="1290035"/>
                  </a:lnTo>
                  <a:lnTo>
                    <a:pt x="4538310" y="1018924"/>
                  </a:lnTo>
                  <a:lnTo>
                    <a:pt x="4404151" y="885466"/>
                  </a:lnTo>
                  <a:lnTo>
                    <a:pt x="4267199" y="748512"/>
                  </a:lnTo>
                  <a:close/>
                  <a:moveTo>
                    <a:pt x="702930" y="476704"/>
                  </a:moveTo>
                  <a:lnTo>
                    <a:pt x="522656" y="657677"/>
                  </a:lnTo>
                  <a:lnTo>
                    <a:pt x="433217" y="747814"/>
                  </a:lnTo>
                  <a:lnTo>
                    <a:pt x="567375" y="881273"/>
                  </a:lnTo>
                  <a:lnTo>
                    <a:pt x="704328" y="1018227"/>
                  </a:lnTo>
                  <a:lnTo>
                    <a:pt x="968451" y="1018227"/>
                  </a:lnTo>
                  <a:lnTo>
                    <a:pt x="697340" y="747814"/>
                  </a:lnTo>
                  <a:lnTo>
                    <a:pt x="698738" y="746417"/>
                  </a:lnTo>
                  <a:lnTo>
                    <a:pt x="967054" y="476704"/>
                  </a:lnTo>
                  <a:close/>
                  <a:moveTo>
                    <a:pt x="1252140" y="476005"/>
                  </a:moveTo>
                  <a:lnTo>
                    <a:pt x="981727" y="747116"/>
                  </a:lnTo>
                  <a:lnTo>
                    <a:pt x="1252838" y="1017528"/>
                  </a:lnTo>
                  <a:lnTo>
                    <a:pt x="1516962" y="1017528"/>
                  </a:lnTo>
                  <a:lnTo>
                    <a:pt x="1245851" y="747116"/>
                  </a:lnTo>
                  <a:lnTo>
                    <a:pt x="1516263" y="476005"/>
                  </a:lnTo>
                  <a:close/>
                  <a:moveTo>
                    <a:pt x="2899067" y="475306"/>
                  </a:moveTo>
                  <a:lnTo>
                    <a:pt x="2628655" y="746417"/>
                  </a:lnTo>
                  <a:lnTo>
                    <a:pt x="2899766" y="1016829"/>
                  </a:lnTo>
                  <a:lnTo>
                    <a:pt x="3163191" y="1016829"/>
                  </a:lnTo>
                  <a:lnTo>
                    <a:pt x="3032527" y="886863"/>
                  </a:lnTo>
                  <a:lnTo>
                    <a:pt x="2892081" y="746417"/>
                  </a:lnTo>
                  <a:lnTo>
                    <a:pt x="3163191" y="475306"/>
                  </a:lnTo>
                  <a:close/>
                  <a:moveTo>
                    <a:pt x="1799951" y="475306"/>
                  </a:moveTo>
                  <a:lnTo>
                    <a:pt x="1529539" y="746417"/>
                  </a:lnTo>
                  <a:lnTo>
                    <a:pt x="1800650" y="1016829"/>
                  </a:lnTo>
                  <a:lnTo>
                    <a:pt x="1802048" y="1018227"/>
                  </a:lnTo>
                  <a:lnTo>
                    <a:pt x="2066171" y="1018227"/>
                  </a:lnTo>
                  <a:lnTo>
                    <a:pt x="1934808" y="886863"/>
                  </a:lnTo>
                  <a:lnTo>
                    <a:pt x="1797155" y="749211"/>
                  </a:lnTo>
                  <a:lnTo>
                    <a:pt x="2066171" y="475306"/>
                  </a:lnTo>
                  <a:close/>
                  <a:moveTo>
                    <a:pt x="3446879" y="474607"/>
                  </a:moveTo>
                  <a:lnTo>
                    <a:pt x="3176467" y="745718"/>
                  </a:lnTo>
                  <a:lnTo>
                    <a:pt x="3447578" y="1016130"/>
                  </a:lnTo>
                  <a:lnTo>
                    <a:pt x="3711701" y="1016130"/>
                  </a:lnTo>
                  <a:lnTo>
                    <a:pt x="3440590" y="745718"/>
                  </a:lnTo>
                  <a:lnTo>
                    <a:pt x="3625057" y="561251"/>
                  </a:lnTo>
                  <a:lnTo>
                    <a:pt x="3709605" y="474607"/>
                  </a:lnTo>
                  <a:close/>
                  <a:moveTo>
                    <a:pt x="3995389" y="473908"/>
                  </a:moveTo>
                  <a:lnTo>
                    <a:pt x="3724977" y="745019"/>
                  </a:lnTo>
                  <a:lnTo>
                    <a:pt x="3996088" y="1015431"/>
                  </a:lnTo>
                  <a:lnTo>
                    <a:pt x="4260211" y="1015431"/>
                  </a:lnTo>
                  <a:lnTo>
                    <a:pt x="3989100" y="745019"/>
                  </a:lnTo>
                  <a:lnTo>
                    <a:pt x="3990498" y="743621"/>
                  </a:lnTo>
                  <a:lnTo>
                    <a:pt x="3989799" y="743621"/>
                  </a:lnTo>
                  <a:lnTo>
                    <a:pt x="4258116" y="474607"/>
                  </a:lnTo>
                  <a:lnTo>
                    <a:pt x="3999582" y="474607"/>
                  </a:lnTo>
                  <a:lnTo>
                    <a:pt x="4000979" y="473908"/>
                  </a:lnTo>
                  <a:close/>
                  <a:moveTo>
                    <a:pt x="4543201" y="473209"/>
                  </a:moveTo>
                  <a:lnTo>
                    <a:pt x="4362227" y="654183"/>
                  </a:lnTo>
                  <a:lnTo>
                    <a:pt x="4362926" y="654882"/>
                  </a:lnTo>
                  <a:lnTo>
                    <a:pt x="4273487" y="745019"/>
                  </a:lnTo>
                  <a:lnTo>
                    <a:pt x="4407646" y="878479"/>
                  </a:lnTo>
                  <a:lnTo>
                    <a:pt x="4543899" y="1014732"/>
                  </a:lnTo>
                  <a:lnTo>
                    <a:pt x="4808023" y="1014732"/>
                  </a:lnTo>
                  <a:lnTo>
                    <a:pt x="4536912" y="744320"/>
                  </a:lnTo>
                  <a:lnTo>
                    <a:pt x="4807324" y="473209"/>
                  </a:lnTo>
                  <a:close/>
                  <a:moveTo>
                    <a:pt x="2616078" y="473209"/>
                  </a:moveTo>
                  <a:lnTo>
                    <a:pt x="2349859" y="476005"/>
                  </a:lnTo>
                  <a:lnTo>
                    <a:pt x="2079447" y="747116"/>
                  </a:lnTo>
                  <a:lnTo>
                    <a:pt x="2350558" y="1017528"/>
                  </a:lnTo>
                  <a:lnTo>
                    <a:pt x="2614681" y="1017528"/>
                  </a:lnTo>
                  <a:lnTo>
                    <a:pt x="2343570" y="747116"/>
                  </a:lnTo>
                  <a:close/>
                  <a:moveTo>
                    <a:pt x="161407" y="203496"/>
                  </a:moveTo>
                  <a:lnTo>
                    <a:pt x="432518" y="473908"/>
                  </a:lnTo>
                  <a:lnTo>
                    <a:pt x="429724" y="476704"/>
                  </a:lnTo>
                  <a:lnTo>
                    <a:pt x="339586" y="567539"/>
                  </a:lnTo>
                  <a:lnTo>
                    <a:pt x="162106" y="744320"/>
                  </a:lnTo>
                  <a:lnTo>
                    <a:pt x="426230" y="744320"/>
                  </a:lnTo>
                  <a:lnTo>
                    <a:pt x="515668" y="654882"/>
                  </a:lnTo>
                  <a:lnTo>
                    <a:pt x="696642" y="473908"/>
                  </a:lnTo>
                  <a:lnTo>
                    <a:pt x="425531" y="203496"/>
                  </a:lnTo>
                  <a:close/>
                  <a:moveTo>
                    <a:pt x="710617" y="202798"/>
                  </a:moveTo>
                  <a:lnTo>
                    <a:pt x="840582" y="332763"/>
                  </a:lnTo>
                  <a:lnTo>
                    <a:pt x="981029" y="472511"/>
                  </a:lnTo>
                  <a:lnTo>
                    <a:pt x="710617" y="743621"/>
                  </a:lnTo>
                  <a:lnTo>
                    <a:pt x="974740" y="743621"/>
                  </a:lnTo>
                  <a:lnTo>
                    <a:pt x="1245851" y="473209"/>
                  </a:lnTo>
                  <a:lnTo>
                    <a:pt x="974740" y="202798"/>
                  </a:lnTo>
                  <a:close/>
                  <a:moveTo>
                    <a:pt x="2906055" y="202099"/>
                  </a:moveTo>
                  <a:lnTo>
                    <a:pt x="3035322" y="329968"/>
                  </a:lnTo>
                  <a:lnTo>
                    <a:pt x="3035322" y="330667"/>
                  </a:lnTo>
                  <a:lnTo>
                    <a:pt x="3177166" y="472511"/>
                  </a:lnTo>
                  <a:lnTo>
                    <a:pt x="2906754" y="743621"/>
                  </a:lnTo>
                  <a:lnTo>
                    <a:pt x="3170178" y="743621"/>
                  </a:lnTo>
                  <a:lnTo>
                    <a:pt x="3440590" y="472511"/>
                  </a:lnTo>
                  <a:lnTo>
                    <a:pt x="3435000" y="466921"/>
                  </a:lnTo>
                  <a:lnTo>
                    <a:pt x="3434301" y="466921"/>
                  </a:lnTo>
                  <a:lnTo>
                    <a:pt x="3168781" y="202099"/>
                  </a:lnTo>
                  <a:close/>
                  <a:moveTo>
                    <a:pt x="1808336" y="202099"/>
                  </a:moveTo>
                  <a:lnTo>
                    <a:pt x="1810426" y="204887"/>
                  </a:lnTo>
                  <a:lnTo>
                    <a:pt x="1809733" y="204195"/>
                  </a:lnTo>
                  <a:lnTo>
                    <a:pt x="1810432" y="204894"/>
                  </a:lnTo>
                  <a:lnTo>
                    <a:pt x="1810426" y="204887"/>
                  </a:lnTo>
                  <a:lnTo>
                    <a:pt x="2068965" y="462729"/>
                  </a:lnTo>
                  <a:lnTo>
                    <a:pt x="2078748" y="471812"/>
                  </a:lnTo>
                  <a:lnTo>
                    <a:pt x="2080844" y="473908"/>
                  </a:lnTo>
                  <a:lnTo>
                    <a:pt x="1816022" y="743621"/>
                  </a:lnTo>
                  <a:lnTo>
                    <a:pt x="2075254" y="744320"/>
                  </a:lnTo>
                  <a:lnTo>
                    <a:pt x="2344968" y="473908"/>
                  </a:lnTo>
                  <a:lnTo>
                    <a:pt x="2209412" y="339051"/>
                  </a:lnTo>
                  <a:lnTo>
                    <a:pt x="2192643" y="322282"/>
                  </a:lnTo>
                  <a:lnTo>
                    <a:pt x="2073158" y="203496"/>
                  </a:lnTo>
                  <a:lnTo>
                    <a:pt x="2068965" y="202099"/>
                  </a:lnTo>
                  <a:close/>
                  <a:moveTo>
                    <a:pt x="1258428" y="202099"/>
                  </a:moveTo>
                  <a:lnTo>
                    <a:pt x="1529539" y="472511"/>
                  </a:lnTo>
                  <a:lnTo>
                    <a:pt x="1259127" y="743621"/>
                  </a:lnTo>
                  <a:lnTo>
                    <a:pt x="1523250" y="743621"/>
                  </a:lnTo>
                  <a:lnTo>
                    <a:pt x="1793662" y="472511"/>
                  </a:lnTo>
                  <a:lnTo>
                    <a:pt x="1522551" y="202099"/>
                  </a:lnTo>
                  <a:close/>
                  <a:moveTo>
                    <a:pt x="2621668" y="200701"/>
                  </a:moveTo>
                  <a:lnTo>
                    <a:pt x="2358243" y="201400"/>
                  </a:lnTo>
                  <a:lnTo>
                    <a:pt x="2627259" y="469716"/>
                  </a:lnTo>
                  <a:lnTo>
                    <a:pt x="2626560" y="470415"/>
                  </a:lnTo>
                  <a:lnTo>
                    <a:pt x="2627957" y="471812"/>
                  </a:lnTo>
                  <a:lnTo>
                    <a:pt x="2357544" y="742923"/>
                  </a:lnTo>
                  <a:lnTo>
                    <a:pt x="2621668" y="742923"/>
                  </a:lnTo>
                  <a:lnTo>
                    <a:pt x="2711805" y="652786"/>
                  </a:lnTo>
                  <a:lnTo>
                    <a:pt x="2891382" y="469716"/>
                  </a:lnTo>
                  <a:close/>
                  <a:moveTo>
                    <a:pt x="4001678" y="200003"/>
                  </a:moveTo>
                  <a:lnTo>
                    <a:pt x="4131644" y="329269"/>
                  </a:lnTo>
                  <a:lnTo>
                    <a:pt x="4272090" y="469716"/>
                  </a:lnTo>
                  <a:lnTo>
                    <a:pt x="4179158" y="563347"/>
                  </a:lnTo>
                  <a:lnTo>
                    <a:pt x="4179856" y="564046"/>
                  </a:lnTo>
                  <a:lnTo>
                    <a:pt x="4003075" y="741525"/>
                  </a:lnTo>
                  <a:lnTo>
                    <a:pt x="4265801" y="741525"/>
                  </a:lnTo>
                  <a:lnTo>
                    <a:pt x="4536213" y="470415"/>
                  </a:lnTo>
                  <a:lnTo>
                    <a:pt x="4265102" y="200003"/>
                  </a:lnTo>
                  <a:close/>
                  <a:moveTo>
                    <a:pt x="3453167" y="200003"/>
                  </a:moveTo>
                  <a:lnTo>
                    <a:pt x="3724278" y="470415"/>
                  </a:lnTo>
                  <a:lnTo>
                    <a:pt x="3724977" y="471113"/>
                  </a:lnTo>
                  <a:lnTo>
                    <a:pt x="3454565" y="742224"/>
                  </a:lnTo>
                  <a:lnTo>
                    <a:pt x="3718688" y="742224"/>
                  </a:lnTo>
                  <a:lnTo>
                    <a:pt x="3808127" y="652087"/>
                  </a:lnTo>
                  <a:lnTo>
                    <a:pt x="3807428" y="652087"/>
                  </a:lnTo>
                  <a:lnTo>
                    <a:pt x="3988403" y="471113"/>
                  </a:lnTo>
                  <a:lnTo>
                    <a:pt x="3983511" y="465523"/>
                  </a:lnTo>
                  <a:lnTo>
                    <a:pt x="3717291" y="200003"/>
                  </a:lnTo>
                  <a:close/>
                  <a:moveTo>
                    <a:pt x="348134" y="0"/>
                  </a:moveTo>
                  <a:lnTo>
                    <a:pt x="358615" y="0"/>
                  </a:lnTo>
                  <a:lnTo>
                    <a:pt x="162106" y="196509"/>
                  </a:lnTo>
                  <a:lnTo>
                    <a:pt x="426230" y="196509"/>
                  </a:lnTo>
                  <a:lnTo>
                    <a:pt x="622232" y="0"/>
                  </a:lnTo>
                  <a:lnTo>
                    <a:pt x="632006" y="0"/>
                  </a:lnTo>
                  <a:lnTo>
                    <a:pt x="432518" y="200003"/>
                  </a:lnTo>
                  <a:lnTo>
                    <a:pt x="704328" y="470415"/>
                  </a:lnTo>
                  <a:lnTo>
                    <a:pt x="967752" y="470415"/>
                  </a:lnTo>
                  <a:lnTo>
                    <a:pt x="837089" y="340449"/>
                  </a:lnTo>
                  <a:lnTo>
                    <a:pt x="696642" y="200003"/>
                  </a:lnTo>
                  <a:lnTo>
                    <a:pt x="896129" y="0"/>
                  </a:lnTo>
                  <a:lnTo>
                    <a:pt x="907318" y="0"/>
                  </a:lnTo>
                  <a:lnTo>
                    <a:pt x="711316" y="196509"/>
                  </a:lnTo>
                  <a:lnTo>
                    <a:pt x="974740" y="196509"/>
                  </a:lnTo>
                  <a:lnTo>
                    <a:pt x="1170742" y="0"/>
                  </a:lnTo>
                  <a:lnTo>
                    <a:pt x="1179819" y="0"/>
                  </a:lnTo>
                  <a:lnTo>
                    <a:pt x="981029" y="199304"/>
                  </a:lnTo>
                  <a:lnTo>
                    <a:pt x="1252140" y="469716"/>
                  </a:lnTo>
                  <a:lnTo>
                    <a:pt x="1516263" y="469716"/>
                  </a:lnTo>
                  <a:lnTo>
                    <a:pt x="1245152" y="199304"/>
                  </a:lnTo>
                  <a:lnTo>
                    <a:pt x="1443942" y="0"/>
                  </a:lnTo>
                  <a:lnTo>
                    <a:pt x="1453410" y="0"/>
                  </a:lnTo>
                  <a:lnTo>
                    <a:pt x="1436607" y="16933"/>
                  </a:lnTo>
                  <a:lnTo>
                    <a:pt x="1435908" y="16933"/>
                  </a:lnTo>
                  <a:lnTo>
                    <a:pt x="1258428" y="195111"/>
                  </a:lnTo>
                  <a:lnTo>
                    <a:pt x="1522551" y="195111"/>
                  </a:lnTo>
                  <a:lnTo>
                    <a:pt x="1717663" y="0"/>
                  </a:lnTo>
                  <a:lnTo>
                    <a:pt x="1728424" y="0"/>
                  </a:lnTo>
                  <a:lnTo>
                    <a:pt x="1620376" y="108468"/>
                  </a:lnTo>
                  <a:lnTo>
                    <a:pt x="1619677" y="108468"/>
                  </a:lnTo>
                  <a:lnTo>
                    <a:pt x="1529539" y="198605"/>
                  </a:lnTo>
                  <a:lnTo>
                    <a:pt x="1799951" y="469716"/>
                  </a:lnTo>
                  <a:lnTo>
                    <a:pt x="2064074" y="469716"/>
                  </a:lnTo>
                  <a:lnTo>
                    <a:pt x="1792964" y="199304"/>
                  </a:lnTo>
                  <a:lnTo>
                    <a:pt x="1977431" y="14837"/>
                  </a:lnTo>
                  <a:lnTo>
                    <a:pt x="1978130" y="14837"/>
                  </a:lnTo>
                  <a:lnTo>
                    <a:pt x="1992847" y="0"/>
                  </a:lnTo>
                  <a:lnTo>
                    <a:pt x="2002247" y="0"/>
                  </a:lnTo>
                  <a:lnTo>
                    <a:pt x="1808336" y="194412"/>
                  </a:lnTo>
                  <a:lnTo>
                    <a:pt x="2071761" y="194412"/>
                  </a:lnTo>
                  <a:lnTo>
                    <a:pt x="2266173" y="0"/>
                  </a:lnTo>
                  <a:lnTo>
                    <a:pt x="2277539" y="0"/>
                  </a:lnTo>
                  <a:lnTo>
                    <a:pt x="2078748" y="199304"/>
                  </a:lnTo>
                  <a:lnTo>
                    <a:pt x="2348461" y="468319"/>
                  </a:lnTo>
                  <a:lnTo>
                    <a:pt x="2611886" y="468319"/>
                  </a:lnTo>
                  <a:lnTo>
                    <a:pt x="2342872" y="199304"/>
                  </a:lnTo>
                  <a:lnTo>
                    <a:pt x="2343570" y="198605"/>
                  </a:lnTo>
                  <a:lnTo>
                    <a:pt x="2342173" y="197208"/>
                  </a:lnTo>
                  <a:lnTo>
                    <a:pt x="2538868" y="0"/>
                  </a:lnTo>
                  <a:lnTo>
                    <a:pt x="2552152" y="0"/>
                  </a:lnTo>
                  <a:lnTo>
                    <a:pt x="2358243" y="194412"/>
                  </a:lnTo>
                  <a:lnTo>
                    <a:pt x="2620271" y="194412"/>
                  </a:lnTo>
                  <a:lnTo>
                    <a:pt x="2814181" y="0"/>
                  </a:lnTo>
                  <a:lnTo>
                    <a:pt x="2825540" y="0"/>
                  </a:lnTo>
                  <a:lnTo>
                    <a:pt x="2628655" y="197906"/>
                  </a:lnTo>
                  <a:lnTo>
                    <a:pt x="2898368" y="466921"/>
                  </a:lnTo>
                  <a:lnTo>
                    <a:pt x="3163191" y="468319"/>
                  </a:lnTo>
                  <a:lnTo>
                    <a:pt x="2892081" y="197906"/>
                  </a:lnTo>
                  <a:lnTo>
                    <a:pt x="2890683" y="196509"/>
                  </a:lnTo>
                  <a:lnTo>
                    <a:pt x="3086683" y="0"/>
                  </a:lnTo>
                  <a:lnTo>
                    <a:pt x="3097556" y="0"/>
                  </a:lnTo>
                  <a:lnTo>
                    <a:pt x="3082137" y="15536"/>
                  </a:lnTo>
                  <a:lnTo>
                    <a:pt x="3082836" y="16235"/>
                  </a:lnTo>
                  <a:lnTo>
                    <a:pt x="2906754" y="192317"/>
                  </a:lnTo>
                  <a:lnTo>
                    <a:pt x="3103099" y="192317"/>
                  </a:lnTo>
                  <a:lnTo>
                    <a:pt x="3102401" y="193714"/>
                  </a:lnTo>
                  <a:lnTo>
                    <a:pt x="3168083" y="193714"/>
                  </a:lnTo>
                  <a:lnTo>
                    <a:pt x="3361298" y="0"/>
                  </a:lnTo>
                  <a:lnTo>
                    <a:pt x="3371863" y="0"/>
                  </a:lnTo>
                  <a:lnTo>
                    <a:pt x="3264508" y="107769"/>
                  </a:lnTo>
                  <a:lnTo>
                    <a:pt x="3265906" y="108468"/>
                  </a:lnTo>
                  <a:lnTo>
                    <a:pt x="3176467" y="197906"/>
                  </a:lnTo>
                  <a:lnTo>
                    <a:pt x="3446879" y="467620"/>
                  </a:lnTo>
                  <a:lnTo>
                    <a:pt x="3710303" y="467620"/>
                  </a:lnTo>
                  <a:lnTo>
                    <a:pt x="3439891" y="197906"/>
                  </a:lnTo>
                  <a:lnTo>
                    <a:pt x="3439193" y="197208"/>
                  </a:lnTo>
                  <a:lnTo>
                    <a:pt x="3635893" y="0"/>
                  </a:lnTo>
                  <a:lnTo>
                    <a:pt x="3646183" y="0"/>
                  </a:lnTo>
                  <a:lnTo>
                    <a:pt x="3453167" y="193016"/>
                  </a:lnTo>
                  <a:lnTo>
                    <a:pt x="3717291" y="193016"/>
                  </a:lnTo>
                  <a:lnTo>
                    <a:pt x="3910306" y="0"/>
                  </a:lnTo>
                  <a:lnTo>
                    <a:pt x="3919582" y="0"/>
                  </a:lnTo>
                  <a:lnTo>
                    <a:pt x="3723579" y="196509"/>
                  </a:lnTo>
                  <a:lnTo>
                    <a:pt x="3994690" y="466921"/>
                  </a:lnTo>
                  <a:lnTo>
                    <a:pt x="4258116" y="466921"/>
                  </a:lnTo>
                  <a:lnTo>
                    <a:pt x="4128150" y="336956"/>
                  </a:lnTo>
                  <a:lnTo>
                    <a:pt x="3987703" y="196509"/>
                  </a:lnTo>
                  <a:lnTo>
                    <a:pt x="4183705" y="0"/>
                  </a:lnTo>
                  <a:lnTo>
                    <a:pt x="4194197" y="0"/>
                  </a:lnTo>
                  <a:lnTo>
                    <a:pt x="4002377" y="192317"/>
                  </a:lnTo>
                  <a:lnTo>
                    <a:pt x="4265801" y="192317"/>
                  </a:lnTo>
                  <a:lnTo>
                    <a:pt x="4457622" y="0"/>
                  </a:lnTo>
                  <a:lnTo>
                    <a:pt x="4467396" y="0"/>
                  </a:lnTo>
                  <a:lnTo>
                    <a:pt x="4272090" y="195810"/>
                  </a:lnTo>
                  <a:lnTo>
                    <a:pt x="4543201" y="466222"/>
                  </a:lnTo>
                  <a:lnTo>
                    <a:pt x="4807324" y="466222"/>
                  </a:lnTo>
                  <a:lnTo>
                    <a:pt x="4536213" y="195810"/>
                  </a:lnTo>
                  <a:lnTo>
                    <a:pt x="4731518" y="0"/>
                  </a:lnTo>
                  <a:lnTo>
                    <a:pt x="4741806" y="0"/>
                  </a:lnTo>
                  <a:lnTo>
                    <a:pt x="4549489" y="192317"/>
                  </a:lnTo>
                  <a:lnTo>
                    <a:pt x="4813613" y="192317"/>
                  </a:lnTo>
                  <a:lnTo>
                    <a:pt x="4823396" y="182534"/>
                  </a:lnTo>
                  <a:lnTo>
                    <a:pt x="4823396" y="193016"/>
                  </a:lnTo>
                  <a:lnTo>
                    <a:pt x="4820600" y="195810"/>
                  </a:lnTo>
                  <a:lnTo>
                    <a:pt x="4823396" y="198605"/>
                  </a:lnTo>
                  <a:lnTo>
                    <a:pt x="4823396" y="209086"/>
                  </a:lnTo>
                  <a:lnTo>
                    <a:pt x="4814311" y="200003"/>
                  </a:lnTo>
                  <a:lnTo>
                    <a:pt x="4550188" y="200003"/>
                  </a:lnTo>
                  <a:lnTo>
                    <a:pt x="4821299" y="470415"/>
                  </a:lnTo>
                  <a:lnTo>
                    <a:pt x="4550887" y="741525"/>
                  </a:lnTo>
                  <a:lnTo>
                    <a:pt x="4815010" y="741525"/>
                  </a:lnTo>
                  <a:lnTo>
                    <a:pt x="4823396" y="732442"/>
                  </a:lnTo>
                  <a:lnTo>
                    <a:pt x="4823396" y="742224"/>
                  </a:lnTo>
                  <a:lnTo>
                    <a:pt x="4821299" y="744320"/>
                  </a:lnTo>
                  <a:lnTo>
                    <a:pt x="4823396" y="746417"/>
                  </a:lnTo>
                  <a:lnTo>
                    <a:pt x="4823396" y="756898"/>
                  </a:lnTo>
                  <a:lnTo>
                    <a:pt x="4814311" y="747814"/>
                  </a:lnTo>
                  <a:lnTo>
                    <a:pt x="4550188" y="747814"/>
                  </a:lnTo>
                  <a:lnTo>
                    <a:pt x="4821299" y="1018227"/>
                  </a:lnTo>
                  <a:lnTo>
                    <a:pt x="4821998" y="1018924"/>
                  </a:lnTo>
                  <a:lnTo>
                    <a:pt x="4551586" y="1290035"/>
                  </a:lnTo>
                  <a:lnTo>
                    <a:pt x="4815709" y="1290035"/>
                  </a:lnTo>
                  <a:lnTo>
                    <a:pt x="4823396" y="1282349"/>
                  </a:lnTo>
                  <a:lnTo>
                    <a:pt x="4823396" y="1292831"/>
                  </a:lnTo>
                  <a:lnTo>
                    <a:pt x="4822697" y="1293530"/>
                  </a:lnTo>
                  <a:lnTo>
                    <a:pt x="4823396" y="1294228"/>
                  </a:lnTo>
                  <a:lnTo>
                    <a:pt x="4823396" y="1304010"/>
                  </a:lnTo>
                  <a:lnTo>
                    <a:pt x="4815709" y="1296324"/>
                  </a:lnTo>
                  <a:lnTo>
                    <a:pt x="4551586" y="1297023"/>
                  </a:lnTo>
                  <a:lnTo>
                    <a:pt x="4823396" y="1566736"/>
                  </a:lnTo>
                  <a:lnTo>
                    <a:pt x="4552984" y="1837847"/>
                  </a:lnTo>
                  <a:lnTo>
                    <a:pt x="4817107" y="1837847"/>
                  </a:lnTo>
                  <a:lnTo>
                    <a:pt x="4824094" y="1830859"/>
                  </a:lnTo>
                  <a:lnTo>
                    <a:pt x="4824094" y="1841341"/>
                  </a:lnTo>
                  <a:lnTo>
                    <a:pt x="4824094" y="1851822"/>
                  </a:lnTo>
                  <a:lnTo>
                    <a:pt x="4817107" y="1844834"/>
                  </a:lnTo>
                  <a:lnTo>
                    <a:pt x="4552984" y="1844834"/>
                  </a:lnTo>
                  <a:lnTo>
                    <a:pt x="4824094" y="2115246"/>
                  </a:lnTo>
                  <a:lnTo>
                    <a:pt x="4821299" y="2118042"/>
                  </a:lnTo>
                  <a:lnTo>
                    <a:pt x="4731162" y="2208877"/>
                  </a:lnTo>
                  <a:lnTo>
                    <a:pt x="4553682" y="2386357"/>
                  </a:lnTo>
                  <a:lnTo>
                    <a:pt x="4817806" y="2386357"/>
                  </a:lnTo>
                  <a:lnTo>
                    <a:pt x="4824094" y="2380068"/>
                  </a:lnTo>
                  <a:lnTo>
                    <a:pt x="4824094" y="2398934"/>
                  </a:lnTo>
                  <a:lnTo>
                    <a:pt x="4817806" y="2392646"/>
                  </a:lnTo>
                  <a:lnTo>
                    <a:pt x="4553682" y="2392646"/>
                  </a:lnTo>
                  <a:lnTo>
                    <a:pt x="4824094" y="2662359"/>
                  </a:lnTo>
                  <a:lnTo>
                    <a:pt x="4824094" y="2663757"/>
                  </a:lnTo>
                  <a:lnTo>
                    <a:pt x="4554381" y="2934169"/>
                  </a:lnTo>
                  <a:lnTo>
                    <a:pt x="4817806" y="2934169"/>
                  </a:lnTo>
                  <a:lnTo>
                    <a:pt x="4823396" y="2928579"/>
                  </a:lnTo>
                  <a:lnTo>
                    <a:pt x="4823396" y="2947445"/>
                  </a:lnTo>
                  <a:lnTo>
                    <a:pt x="4817806" y="2941855"/>
                  </a:lnTo>
                  <a:lnTo>
                    <a:pt x="4554381" y="2941855"/>
                  </a:lnTo>
                  <a:lnTo>
                    <a:pt x="4684346" y="3071820"/>
                  </a:lnTo>
                  <a:lnTo>
                    <a:pt x="4823396" y="3210869"/>
                  </a:lnTo>
                  <a:lnTo>
                    <a:pt x="4823396" y="3213665"/>
                  </a:lnTo>
                  <a:lnTo>
                    <a:pt x="4554381" y="3483378"/>
                  </a:lnTo>
                  <a:lnTo>
                    <a:pt x="4818505" y="3483378"/>
                  </a:lnTo>
                  <a:lnTo>
                    <a:pt x="4823396" y="3478487"/>
                  </a:lnTo>
                  <a:lnTo>
                    <a:pt x="4823396" y="3495256"/>
                  </a:lnTo>
                  <a:lnTo>
                    <a:pt x="4818505" y="3490365"/>
                  </a:lnTo>
                  <a:lnTo>
                    <a:pt x="4554381" y="3490365"/>
                  </a:lnTo>
                  <a:lnTo>
                    <a:pt x="4555778" y="3491762"/>
                  </a:lnTo>
                  <a:lnTo>
                    <a:pt x="4823396" y="3758681"/>
                  </a:lnTo>
                  <a:lnTo>
                    <a:pt x="4823396" y="3762174"/>
                  </a:lnTo>
                  <a:lnTo>
                    <a:pt x="4555828" y="4030438"/>
                  </a:lnTo>
                  <a:lnTo>
                    <a:pt x="4817996" y="4030438"/>
                  </a:lnTo>
                  <a:lnTo>
                    <a:pt x="4828476" y="4019957"/>
                  </a:lnTo>
                  <a:lnTo>
                    <a:pt x="4828476" y="4030438"/>
                  </a:lnTo>
                  <a:lnTo>
                    <a:pt x="4824983" y="4033931"/>
                  </a:lnTo>
                  <a:lnTo>
                    <a:pt x="4828476" y="4037426"/>
                  </a:lnTo>
                  <a:lnTo>
                    <a:pt x="4828476" y="4047906"/>
                  </a:lnTo>
                  <a:lnTo>
                    <a:pt x="4823396" y="4042826"/>
                  </a:lnTo>
                  <a:lnTo>
                    <a:pt x="4823396" y="4043068"/>
                  </a:lnTo>
                  <a:lnTo>
                    <a:pt x="4819202" y="4038876"/>
                  </a:lnTo>
                  <a:lnTo>
                    <a:pt x="4555321" y="4038876"/>
                  </a:lnTo>
                  <a:lnTo>
                    <a:pt x="4555968" y="4039522"/>
                  </a:lnTo>
                  <a:lnTo>
                    <a:pt x="4825681" y="4308536"/>
                  </a:lnTo>
                  <a:lnTo>
                    <a:pt x="4554570" y="4579647"/>
                  </a:lnTo>
                  <a:lnTo>
                    <a:pt x="4818693" y="4579647"/>
                  </a:lnTo>
                  <a:lnTo>
                    <a:pt x="4828476" y="4569864"/>
                  </a:lnTo>
                  <a:lnTo>
                    <a:pt x="4828476" y="4580346"/>
                  </a:lnTo>
                  <a:lnTo>
                    <a:pt x="4825681" y="4583140"/>
                  </a:lnTo>
                  <a:lnTo>
                    <a:pt x="4828476" y="4585936"/>
                  </a:lnTo>
                  <a:lnTo>
                    <a:pt x="4828476" y="4596417"/>
                  </a:lnTo>
                  <a:lnTo>
                    <a:pt x="4819392" y="4587334"/>
                  </a:lnTo>
                  <a:lnTo>
                    <a:pt x="4555269" y="4587334"/>
                  </a:lnTo>
                  <a:lnTo>
                    <a:pt x="4826380" y="4857746"/>
                  </a:lnTo>
                  <a:lnTo>
                    <a:pt x="4555968" y="5128855"/>
                  </a:lnTo>
                  <a:lnTo>
                    <a:pt x="4820091" y="5128855"/>
                  </a:lnTo>
                  <a:lnTo>
                    <a:pt x="4828476" y="5119772"/>
                  </a:lnTo>
                  <a:lnTo>
                    <a:pt x="4828476" y="5129554"/>
                  </a:lnTo>
                  <a:lnTo>
                    <a:pt x="4826380" y="5131651"/>
                  </a:lnTo>
                  <a:lnTo>
                    <a:pt x="4828476" y="5133747"/>
                  </a:lnTo>
                  <a:lnTo>
                    <a:pt x="4828476" y="5144228"/>
                  </a:lnTo>
                  <a:lnTo>
                    <a:pt x="4819392" y="5135144"/>
                  </a:lnTo>
                  <a:lnTo>
                    <a:pt x="4555269" y="5135144"/>
                  </a:lnTo>
                  <a:lnTo>
                    <a:pt x="4826380" y="5405557"/>
                  </a:lnTo>
                  <a:lnTo>
                    <a:pt x="4827079" y="5406255"/>
                  </a:lnTo>
                  <a:lnTo>
                    <a:pt x="4556667" y="5677366"/>
                  </a:lnTo>
                  <a:lnTo>
                    <a:pt x="4820790" y="5677366"/>
                  </a:lnTo>
                  <a:lnTo>
                    <a:pt x="4828476" y="5669679"/>
                  </a:lnTo>
                  <a:lnTo>
                    <a:pt x="4828476" y="5680161"/>
                  </a:lnTo>
                  <a:lnTo>
                    <a:pt x="4827778" y="5680860"/>
                  </a:lnTo>
                  <a:lnTo>
                    <a:pt x="4828476" y="5681559"/>
                  </a:lnTo>
                  <a:lnTo>
                    <a:pt x="4828476" y="5691341"/>
                  </a:lnTo>
                  <a:lnTo>
                    <a:pt x="4820790" y="5683654"/>
                  </a:lnTo>
                  <a:lnTo>
                    <a:pt x="4556667" y="5684353"/>
                  </a:lnTo>
                  <a:lnTo>
                    <a:pt x="4828476" y="5954066"/>
                  </a:lnTo>
                  <a:lnTo>
                    <a:pt x="4558064" y="6225177"/>
                  </a:lnTo>
                  <a:lnTo>
                    <a:pt x="4822188" y="6225177"/>
                  </a:lnTo>
                  <a:lnTo>
                    <a:pt x="4829175" y="6218190"/>
                  </a:lnTo>
                  <a:lnTo>
                    <a:pt x="4829175" y="6228671"/>
                  </a:lnTo>
                  <a:lnTo>
                    <a:pt x="4829175" y="6239152"/>
                  </a:lnTo>
                  <a:lnTo>
                    <a:pt x="4822188" y="6232165"/>
                  </a:lnTo>
                  <a:lnTo>
                    <a:pt x="4558064" y="6232165"/>
                  </a:lnTo>
                  <a:lnTo>
                    <a:pt x="4829175" y="6502577"/>
                  </a:lnTo>
                  <a:lnTo>
                    <a:pt x="4826380" y="6505372"/>
                  </a:lnTo>
                  <a:lnTo>
                    <a:pt x="4816727" y="6515100"/>
                  </a:lnTo>
                  <a:lnTo>
                    <a:pt x="4806802" y="6515100"/>
                  </a:lnTo>
                  <a:lnTo>
                    <a:pt x="4815200" y="6506770"/>
                  </a:lnTo>
                  <a:lnTo>
                    <a:pt x="4551077" y="6506770"/>
                  </a:lnTo>
                  <a:lnTo>
                    <a:pt x="4542768" y="6515100"/>
                  </a:lnTo>
                  <a:lnTo>
                    <a:pt x="4531598" y="6515100"/>
                  </a:lnTo>
                  <a:lnTo>
                    <a:pt x="4544089" y="6502577"/>
                  </a:lnTo>
                  <a:lnTo>
                    <a:pt x="4539198" y="6497686"/>
                  </a:lnTo>
                  <a:lnTo>
                    <a:pt x="4273677" y="6232165"/>
                  </a:lnTo>
                  <a:lnTo>
                    <a:pt x="4009554" y="6232165"/>
                  </a:lnTo>
                  <a:lnTo>
                    <a:pt x="4010952" y="6233562"/>
                  </a:lnTo>
                  <a:lnTo>
                    <a:pt x="4279966" y="6502577"/>
                  </a:lnTo>
                  <a:lnTo>
                    <a:pt x="4267475" y="6515100"/>
                  </a:lnTo>
                  <a:lnTo>
                    <a:pt x="4259077" y="6515100"/>
                  </a:lnTo>
                  <a:lnTo>
                    <a:pt x="4266690" y="6507468"/>
                  </a:lnTo>
                  <a:lnTo>
                    <a:pt x="4002566" y="6507468"/>
                  </a:lnTo>
                  <a:lnTo>
                    <a:pt x="3994954" y="6515100"/>
                  </a:lnTo>
                  <a:lnTo>
                    <a:pt x="3983089" y="6515100"/>
                  </a:lnTo>
                  <a:lnTo>
                    <a:pt x="3996278" y="6501878"/>
                  </a:lnTo>
                  <a:lnTo>
                    <a:pt x="3862819" y="6369115"/>
                  </a:lnTo>
                  <a:lnTo>
                    <a:pt x="3865614" y="6363527"/>
                  </a:lnTo>
                  <a:lnTo>
                    <a:pt x="3864915" y="6362829"/>
                  </a:lnTo>
                  <a:lnTo>
                    <a:pt x="3865614" y="6361432"/>
                  </a:lnTo>
                  <a:lnTo>
                    <a:pt x="4002566" y="6498385"/>
                  </a:lnTo>
                  <a:lnTo>
                    <a:pt x="4266690" y="6498385"/>
                  </a:lnTo>
                  <a:lnTo>
                    <a:pt x="3995579" y="6227973"/>
                  </a:lnTo>
                  <a:lnTo>
                    <a:pt x="3996977" y="6226575"/>
                  </a:lnTo>
                  <a:lnTo>
                    <a:pt x="4265292" y="5957561"/>
                  </a:lnTo>
                  <a:lnTo>
                    <a:pt x="4066851" y="5957561"/>
                  </a:lnTo>
                  <a:lnTo>
                    <a:pt x="4070344" y="5950573"/>
                  </a:lnTo>
                  <a:lnTo>
                    <a:pt x="4265292" y="5950573"/>
                  </a:lnTo>
                  <a:lnTo>
                    <a:pt x="4135327" y="5820608"/>
                  </a:lnTo>
                  <a:lnTo>
                    <a:pt x="4138820" y="5813620"/>
                  </a:lnTo>
                  <a:lnTo>
                    <a:pt x="4279267" y="5954066"/>
                  </a:lnTo>
                  <a:lnTo>
                    <a:pt x="4008855" y="6225177"/>
                  </a:lnTo>
                  <a:lnTo>
                    <a:pt x="4272979" y="6225177"/>
                  </a:lnTo>
                  <a:lnTo>
                    <a:pt x="4543391" y="5954066"/>
                  </a:lnTo>
                  <a:lnTo>
                    <a:pt x="4272280" y="5684353"/>
                  </a:lnTo>
                  <a:lnTo>
                    <a:pt x="4203803" y="5684353"/>
                  </a:lnTo>
                  <a:lnTo>
                    <a:pt x="4008855" y="5684353"/>
                  </a:lnTo>
                  <a:lnTo>
                    <a:pt x="4138121" y="5814319"/>
                  </a:lnTo>
                  <a:lnTo>
                    <a:pt x="4134628" y="5821306"/>
                  </a:lnTo>
                  <a:lnTo>
                    <a:pt x="3994181" y="5680860"/>
                  </a:lnTo>
                  <a:lnTo>
                    <a:pt x="4264593" y="5409749"/>
                  </a:lnTo>
                  <a:lnTo>
                    <a:pt x="4000470" y="5409749"/>
                  </a:lnTo>
                  <a:lnTo>
                    <a:pt x="3730058" y="5680860"/>
                  </a:lnTo>
                  <a:lnTo>
                    <a:pt x="4001169" y="5951272"/>
                  </a:lnTo>
                  <a:lnTo>
                    <a:pt x="4069645" y="5951272"/>
                  </a:lnTo>
                  <a:lnTo>
                    <a:pt x="4066152" y="5958259"/>
                  </a:lnTo>
                  <a:lnTo>
                    <a:pt x="4001169" y="5958259"/>
                  </a:lnTo>
                  <a:lnTo>
                    <a:pt x="3820894" y="6139233"/>
                  </a:lnTo>
                  <a:lnTo>
                    <a:pt x="3731456" y="6229370"/>
                  </a:lnTo>
                  <a:lnTo>
                    <a:pt x="3864915" y="6362829"/>
                  </a:lnTo>
                  <a:lnTo>
                    <a:pt x="3862120" y="6368418"/>
                  </a:lnTo>
                  <a:lnTo>
                    <a:pt x="3862819" y="6369115"/>
                  </a:lnTo>
                  <a:lnTo>
                    <a:pt x="3862120" y="6370515"/>
                  </a:lnTo>
                  <a:lnTo>
                    <a:pt x="3725167" y="6233562"/>
                  </a:lnTo>
                  <a:lnTo>
                    <a:pt x="3461044" y="6233562"/>
                  </a:lnTo>
                  <a:lnTo>
                    <a:pt x="3732154" y="6503974"/>
                  </a:lnTo>
                  <a:lnTo>
                    <a:pt x="3721057" y="6515100"/>
                  </a:lnTo>
                  <a:lnTo>
                    <a:pt x="3710566" y="6515100"/>
                  </a:lnTo>
                  <a:lnTo>
                    <a:pt x="3718179" y="6507468"/>
                  </a:lnTo>
                  <a:lnTo>
                    <a:pt x="3454056" y="6507468"/>
                  </a:lnTo>
                  <a:lnTo>
                    <a:pt x="3446443" y="6515100"/>
                  </a:lnTo>
                  <a:lnTo>
                    <a:pt x="3437367" y="6515100"/>
                  </a:lnTo>
                  <a:lnTo>
                    <a:pt x="3447767" y="6504673"/>
                  </a:lnTo>
                  <a:lnTo>
                    <a:pt x="3176657" y="6234261"/>
                  </a:lnTo>
                  <a:lnTo>
                    <a:pt x="2912533" y="6234261"/>
                  </a:lnTo>
                  <a:lnTo>
                    <a:pt x="3183644" y="6504673"/>
                  </a:lnTo>
                  <a:lnTo>
                    <a:pt x="3173244" y="6515100"/>
                  </a:lnTo>
                  <a:lnTo>
                    <a:pt x="3163450" y="6515100"/>
                  </a:lnTo>
                  <a:lnTo>
                    <a:pt x="3169669" y="6508865"/>
                  </a:lnTo>
                  <a:lnTo>
                    <a:pt x="2905546" y="6508865"/>
                  </a:lnTo>
                  <a:lnTo>
                    <a:pt x="2899327" y="6515100"/>
                  </a:lnTo>
                  <a:lnTo>
                    <a:pt x="2889554" y="6515100"/>
                  </a:lnTo>
                  <a:lnTo>
                    <a:pt x="2899257" y="6505372"/>
                  </a:lnTo>
                  <a:lnTo>
                    <a:pt x="2628146" y="6234960"/>
                  </a:lnTo>
                  <a:lnTo>
                    <a:pt x="2364722" y="6234960"/>
                  </a:lnTo>
                  <a:lnTo>
                    <a:pt x="2494687" y="6364925"/>
                  </a:lnTo>
                  <a:lnTo>
                    <a:pt x="2635134" y="6505372"/>
                  </a:lnTo>
                  <a:lnTo>
                    <a:pt x="2625431" y="6515100"/>
                  </a:lnTo>
                  <a:lnTo>
                    <a:pt x="2614938" y="6515100"/>
                  </a:lnTo>
                  <a:lnTo>
                    <a:pt x="2620460" y="6509564"/>
                  </a:lnTo>
                  <a:lnTo>
                    <a:pt x="2357035" y="6509564"/>
                  </a:lnTo>
                  <a:lnTo>
                    <a:pt x="2351521" y="6515100"/>
                  </a:lnTo>
                  <a:lnTo>
                    <a:pt x="2341019" y="6515100"/>
                  </a:lnTo>
                  <a:lnTo>
                    <a:pt x="2350747" y="6505372"/>
                  </a:lnTo>
                  <a:lnTo>
                    <a:pt x="2079636" y="6234960"/>
                  </a:lnTo>
                  <a:lnTo>
                    <a:pt x="1815513" y="6234960"/>
                  </a:lnTo>
                  <a:lnTo>
                    <a:pt x="2086623" y="6505372"/>
                  </a:lnTo>
                  <a:lnTo>
                    <a:pt x="2083829" y="6508166"/>
                  </a:lnTo>
                  <a:lnTo>
                    <a:pt x="2076948" y="6515100"/>
                  </a:lnTo>
                  <a:lnTo>
                    <a:pt x="2067112" y="6515100"/>
                  </a:lnTo>
                  <a:lnTo>
                    <a:pt x="2072648" y="6509564"/>
                  </a:lnTo>
                  <a:lnTo>
                    <a:pt x="1808526" y="6509564"/>
                  </a:lnTo>
                  <a:lnTo>
                    <a:pt x="1803004" y="6515100"/>
                  </a:lnTo>
                  <a:lnTo>
                    <a:pt x="1792532" y="6515100"/>
                  </a:lnTo>
                  <a:lnTo>
                    <a:pt x="1801539" y="6506071"/>
                  </a:lnTo>
                  <a:lnTo>
                    <a:pt x="1796647" y="6501179"/>
                  </a:lnTo>
                  <a:lnTo>
                    <a:pt x="1531127" y="6236358"/>
                  </a:lnTo>
                  <a:lnTo>
                    <a:pt x="1267002" y="6236358"/>
                  </a:lnTo>
                  <a:lnTo>
                    <a:pt x="1267701" y="6237056"/>
                  </a:lnTo>
                  <a:lnTo>
                    <a:pt x="1268400" y="6237056"/>
                  </a:lnTo>
                  <a:lnTo>
                    <a:pt x="1537414" y="6506071"/>
                  </a:lnTo>
                  <a:lnTo>
                    <a:pt x="1528408" y="6515100"/>
                  </a:lnTo>
                  <a:lnTo>
                    <a:pt x="1520000" y="6515100"/>
                  </a:lnTo>
                  <a:lnTo>
                    <a:pt x="1524838" y="6510263"/>
                  </a:lnTo>
                  <a:lnTo>
                    <a:pt x="1260714" y="6510263"/>
                  </a:lnTo>
                  <a:lnTo>
                    <a:pt x="1255889" y="6515100"/>
                  </a:lnTo>
                  <a:lnTo>
                    <a:pt x="1243300" y="6515100"/>
                  </a:lnTo>
                  <a:lnTo>
                    <a:pt x="1252329" y="6506071"/>
                  </a:lnTo>
                  <a:lnTo>
                    <a:pt x="1119569" y="6374009"/>
                  </a:lnTo>
                  <a:lnTo>
                    <a:pt x="981219" y="6235659"/>
                  </a:lnTo>
                  <a:lnTo>
                    <a:pt x="717095" y="6235659"/>
                  </a:lnTo>
                  <a:lnTo>
                    <a:pt x="988206" y="6505372"/>
                  </a:lnTo>
                  <a:lnTo>
                    <a:pt x="985411" y="6508166"/>
                  </a:lnTo>
                  <a:lnTo>
                    <a:pt x="978530" y="6515100"/>
                  </a:lnTo>
                  <a:lnTo>
                    <a:pt x="969394" y="6515100"/>
                  </a:lnTo>
                  <a:lnTo>
                    <a:pt x="974930" y="6509564"/>
                  </a:lnTo>
                  <a:lnTo>
                    <a:pt x="716396" y="6509564"/>
                  </a:lnTo>
                  <a:lnTo>
                    <a:pt x="714941" y="6508865"/>
                  </a:lnTo>
                  <a:lnTo>
                    <a:pt x="716396" y="6508865"/>
                  </a:lnTo>
                  <a:lnTo>
                    <a:pt x="698928" y="6500480"/>
                  </a:lnTo>
                  <a:lnTo>
                    <a:pt x="700271" y="6501824"/>
                  </a:lnTo>
                  <a:lnTo>
                    <a:pt x="698928" y="6501179"/>
                  </a:lnTo>
                  <a:lnTo>
                    <a:pt x="433407" y="6236358"/>
                  </a:lnTo>
                  <a:lnTo>
                    <a:pt x="169284" y="6236358"/>
                  </a:lnTo>
                  <a:lnTo>
                    <a:pt x="170681" y="6237754"/>
                  </a:lnTo>
                  <a:lnTo>
                    <a:pt x="439696" y="6506770"/>
                  </a:lnTo>
                  <a:lnTo>
                    <a:pt x="431344" y="6515100"/>
                  </a:lnTo>
                  <a:lnTo>
                    <a:pt x="420908" y="6515100"/>
                  </a:lnTo>
                  <a:lnTo>
                    <a:pt x="425721" y="6510263"/>
                  </a:lnTo>
                  <a:lnTo>
                    <a:pt x="161597" y="6510263"/>
                  </a:lnTo>
                  <a:lnTo>
                    <a:pt x="156781" y="6515100"/>
                  </a:lnTo>
                  <a:lnTo>
                    <a:pt x="146978" y="6515100"/>
                  </a:lnTo>
                  <a:lnTo>
                    <a:pt x="155309" y="6506770"/>
                  </a:lnTo>
                  <a:lnTo>
                    <a:pt x="21150" y="6373310"/>
                  </a:lnTo>
                  <a:lnTo>
                    <a:pt x="5080" y="6357239"/>
                  </a:lnTo>
                  <a:lnTo>
                    <a:pt x="5080" y="6347457"/>
                  </a:lnTo>
                  <a:lnTo>
                    <a:pt x="24645" y="6367022"/>
                  </a:lnTo>
                  <a:lnTo>
                    <a:pt x="161597" y="6503275"/>
                  </a:lnTo>
                  <a:lnTo>
                    <a:pt x="425721" y="6503275"/>
                  </a:lnTo>
                  <a:lnTo>
                    <a:pt x="154610" y="6232863"/>
                  </a:lnTo>
                  <a:lnTo>
                    <a:pt x="156008" y="6231466"/>
                  </a:lnTo>
                  <a:lnTo>
                    <a:pt x="156706" y="6231466"/>
                  </a:lnTo>
                  <a:lnTo>
                    <a:pt x="425022" y="5962452"/>
                  </a:lnTo>
                  <a:lnTo>
                    <a:pt x="161597" y="5962452"/>
                  </a:lnTo>
                  <a:lnTo>
                    <a:pt x="5080" y="6118969"/>
                  </a:lnTo>
                  <a:lnTo>
                    <a:pt x="5080" y="6108488"/>
                  </a:lnTo>
                  <a:lnTo>
                    <a:pt x="154610" y="5958957"/>
                  </a:lnTo>
                  <a:lnTo>
                    <a:pt x="5080" y="5809427"/>
                  </a:lnTo>
                  <a:lnTo>
                    <a:pt x="5080" y="5798947"/>
                  </a:lnTo>
                  <a:lnTo>
                    <a:pt x="161597" y="5954765"/>
                  </a:lnTo>
                  <a:lnTo>
                    <a:pt x="425022" y="5954765"/>
                  </a:lnTo>
                  <a:lnTo>
                    <a:pt x="295057" y="5824800"/>
                  </a:lnTo>
                  <a:lnTo>
                    <a:pt x="154610" y="5684353"/>
                  </a:lnTo>
                  <a:lnTo>
                    <a:pt x="425022" y="5413941"/>
                  </a:lnTo>
                  <a:lnTo>
                    <a:pt x="160898" y="5413941"/>
                  </a:lnTo>
                  <a:lnTo>
                    <a:pt x="5080" y="5569760"/>
                  </a:lnTo>
                  <a:lnTo>
                    <a:pt x="5080" y="5559279"/>
                  </a:lnTo>
                  <a:lnTo>
                    <a:pt x="153911" y="5410448"/>
                  </a:lnTo>
                  <a:lnTo>
                    <a:pt x="5080" y="5261616"/>
                  </a:lnTo>
                  <a:lnTo>
                    <a:pt x="5080" y="5251135"/>
                  </a:lnTo>
                  <a:lnTo>
                    <a:pt x="160898" y="5406255"/>
                  </a:lnTo>
                  <a:lnTo>
                    <a:pt x="425022" y="5406255"/>
                  </a:lnTo>
                  <a:lnTo>
                    <a:pt x="153911" y="5135843"/>
                  </a:lnTo>
                  <a:lnTo>
                    <a:pt x="338378" y="4951376"/>
                  </a:lnTo>
                  <a:lnTo>
                    <a:pt x="424323" y="4865431"/>
                  </a:lnTo>
                  <a:lnTo>
                    <a:pt x="160200" y="4865431"/>
                  </a:lnTo>
                  <a:lnTo>
                    <a:pt x="5080" y="5020552"/>
                  </a:lnTo>
                  <a:lnTo>
                    <a:pt x="5080" y="5010070"/>
                  </a:lnTo>
                  <a:lnTo>
                    <a:pt x="153212" y="4861239"/>
                  </a:lnTo>
                  <a:lnTo>
                    <a:pt x="148321" y="4856348"/>
                  </a:lnTo>
                  <a:lnTo>
                    <a:pt x="5080" y="4713804"/>
                  </a:lnTo>
                  <a:lnTo>
                    <a:pt x="5080" y="4704023"/>
                  </a:lnTo>
                  <a:lnTo>
                    <a:pt x="160200" y="4858443"/>
                  </a:lnTo>
                  <a:lnTo>
                    <a:pt x="424323" y="4857746"/>
                  </a:lnTo>
                  <a:lnTo>
                    <a:pt x="153212" y="4587334"/>
                  </a:lnTo>
                  <a:lnTo>
                    <a:pt x="423624" y="4316922"/>
                  </a:lnTo>
                  <a:lnTo>
                    <a:pt x="159501" y="4316922"/>
                  </a:lnTo>
                  <a:lnTo>
                    <a:pt x="5080" y="4471342"/>
                  </a:lnTo>
                  <a:lnTo>
                    <a:pt x="5080" y="4460862"/>
                  </a:lnTo>
                  <a:lnTo>
                    <a:pt x="152513" y="4312728"/>
                  </a:lnTo>
                  <a:lnTo>
                    <a:pt x="5080" y="4165993"/>
                  </a:lnTo>
                  <a:lnTo>
                    <a:pt x="5080" y="4155512"/>
                  </a:lnTo>
                  <a:lnTo>
                    <a:pt x="159501" y="4309235"/>
                  </a:lnTo>
                  <a:lnTo>
                    <a:pt x="423624" y="4309235"/>
                  </a:lnTo>
                  <a:lnTo>
                    <a:pt x="152513" y="4039522"/>
                  </a:lnTo>
                  <a:lnTo>
                    <a:pt x="331391" y="3860644"/>
                  </a:lnTo>
                  <a:lnTo>
                    <a:pt x="331489" y="3860644"/>
                  </a:lnTo>
                  <a:lnTo>
                    <a:pt x="422038" y="3769860"/>
                  </a:lnTo>
                  <a:lnTo>
                    <a:pt x="225692" y="3769860"/>
                  </a:lnTo>
                  <a:lnTo>
                    <a:pt x="226391" y="3768464"/>
                  </a:lnTo>
                  <a:lnTo>
                    <a:pt x="158613" y="3768464"/>
                  </a:lnTo>
                  <a:lnTo>
                    <a:pt x="0" y="3927075"/>
                  </a:lnTo>
                  <a:lnTo>
                    <a:pt x="0" y="3917294"/>
                  </a:lnTo>
                  <a:lnTo>
                    <a:pt x="152324" y="3764969"/>
                  </a:lnTo>
                  <a:lnTo>
                    <a:pt x="0" y="3613344"/>
                  </a:lnTo>
                  <a:lnTo>
                    <a:pt x="0" y="3602863"/>
                  </a:lnTo>
                  <a:lnTo>
                    <a:pt x="159312" y="3760776"/>
                  </a:lnTo>
                  <a:lnTo>
                    <a:pt x="423435" y="3760776"/>
                  </a:lnTo>
                  <a:lnTo>
                    <a:pt x="294168" y="3632209"/>
                  </a:lnTo>
                  <a:lnTo>
                    <a:pt x="152324" y="3491064"/>
                  </a:lnTo>
                  <a:lnTo>
                    <a:pt x="336093" y="3305898"/>
                  </a:lnTo>
                  <a:lnTo>
                    <a:pt x="422038" y="3219953"/>
                  </a:lnTo>
                  <a:lnTo>
                    <a:pt x="157914" y="3219953"/>
                  </a:lnTo>
                  <a:lnTo>
                    <a:pt x="0" y="3378566"/>
                  </a:lnTo>
                  <a:lnTo>
                    <a:pt x="0" y="3368084"/>
                  </a:lnTo>
                  <a:lnTo>
                    <a:pt x="152324" y="3216459"/>
                  </a:lnTo>
                  <a:lnTo>
                    <a:pt x="146735" y="3211568"/>
                  </a:lnTo>
                  <a:lnTo>
                    <a:pt x="0" y="3065532"/>
                  </a:lnTo>
                  <a:lnTo>
                    <a:pt x="0" y="3055052"/>
                  </a:lnTo>
                  <a:lnTo>
                    <a:pt x="157914" y="3212966"/>
                  </a:lnTo>
                  <a:lnTo>
                    <a:pt x="422038" y="3212966"/>
                  </a:lnTo>
                  <a:lnTo>
                    <a:pt x="150927" y="2942554"/>
                  </a:lnTo>
                  <a:lnTo>
                    <a:pt x="421339" y="2671443"/>
                  </a:lnTo>
                  <a:lnTo>
                    <a:pt x="157215" y="2671443"/>
                  </a:lnTo>
                  <a:lnTo>
                    <a:pt x="0" y="2829357"/>
                  </a:lnTo>
                  <a:lnTo>
                    <a:pt x="0" y="2818875"/>
                  </a:lnTo>
                  <a:lnTo>
                    <a:pt x="150927" y="2667949"/>
                  </a:lnTo>
                  <a:lnTo>
                    <a:pt x="0" y="2517721"/>
                  </a:lnTo>
                  <a:lnTo>
                    <a:pt x="0" y="2507939"/>
                  </a:lnTo>
                  <a:lnTo>
                    <a:pt x="157914" y="2664456"/>
                  </a:lnTo>
                  <a:lnTo>
                    <a:pt x="422038" y="2664456"/>
                  </a:lnTo>
                  <a:lnTo>
                    <a:pt x="150927" y="2394044"/>
                  </a:lnTo>
                  <a:lnTo>
                    <a:pt x="420640" y="2122933"/>
                  </a:lnTo>
                  <a:lnTo>
                    <a:pt x="156517" y="2122933"/>
                  </a:lnTo>
                  <a:lnTo>
                    <a:pt x="0" y="2280148"/>
                  </a:lnTo>
                  <a:lnTo>
                    <a:pt x="0" y="2269667"/>
                  </a:lnTo>
                  <a:lnTo>
                    <a:pt x="150228" y="2119439"/>
                  </a:lnTo>
                  <a:lnTo>
                    <a:pt x="16070" y="1985980"/>
                  </a:lnTo>
                  <a:lnTo>
                    <a:pt x="0" y="1969909"/>
                  </a:lnTo>
                  <a:lnTo>
                    <a:pt x="0" y="1960127"/>
                  </a:lnTo>
                  <a:lnTo>
                    <a:pt x="19564" y="1979691"/>
                  </a:lnTo>
                  <a:lnTo>
                    <a:pt x="156517" y="2115945"/>
                  </a:lnTo>
                  <a:lnTo>
                    <a:pt x="420640" y="2115945"/>
                  </a:lnTo>
                  <a:lnTo>
                    <a:pt x="149529" y="1845533"/>
                  </a:lnTo>
                  <a:lnTo>
                    <a:pt x="150927" y="1844135"/>
                  </a:lnTo>
                  <a:lnTo>
                    <a:pt x="151626" y="1844135"/>
                  </a:lnTo>
                  <a:lnTo>
                    <a:pt x="419941" y="1575121"/>
                  </a:lnTo>
                  <a:lnTo>
                    <a:pt x="156517" y="1575121"/>
                  </a:lnTo>
                  <a:lnTo>
                    <a:pt x="0" y="1731637"/>
                  </a:lnTo>
                  <a:lnTo>
                    <a:pt x="0" y="1721157"/>
                  </a:lnTo>
                  <a:lnTo>
                    <a:pt x="149529" y="1571627"/>
                  </a:lnTo>
                  <a:lnTo>
                    <a:pt x="0" y="1422098"/>
                  </a:lnTo>
                  <a:lnTo>
                    <a:pt x="0" y="1411617"/>
                  </a:lnTo>
                  <a:lnTo>
                    <a:pt x="156517" y="1567435"/>
                  </a:lnTo>
                  <a:lnTo>
                    <a:pt x="419941" y="1567435"/>
                  </a:lnTo>
                  <a:lnTo>
                    <a:pt x="289976" y="1437470"/>
                  </a:lnTo>
                  <a:lnTo>
                    <a:pt x="149529" y="1297023"/>
                  </a:lnTo>
                  <a:lnTo>
                    <a:pt x="419941" y="1026611"/>
                  </a:lnTo>
                  <a:lnTo>
                    <a:pt x="155818" y="1026611"/>
                  </a:lnTo>
                  <a:lnTo>
                    <a:pt x="0" y="1182428"/>
                  </a:lnTo>
                  <a:lnTo>
                    <a:pt x="0" y="1171948"/>
                  </a:lnTo>
                  <a:lnTo>
                    <a:pt x="148830" y="1023118"/>
                  </a:lnTo>
                  <a:lnTo>
                    <a:pt x="0" y="874286"/>
                  </a:lnTo>
                  <a:lnTo>
                    <a:pt x="0" y="863806"/>
                  </a:lnTo>
                  <a:lnTo>
                    <a:pt x="155818" y="1018924"/>
                  </a:lnTo>
                  <a:lnTo>
                    <a:pt x="419941" y="1018924"/>
                  </a:lnTo>
                  <a:lnTo>
                    <a:pt x="148830" y="748512"/>
                  </a:lnTo>
                  <a:lnTo>
                    <a:pt x="333298" y="564046"/>
                  </a:lnTo>
                  <a:lnTo>
                    <a:pt x="419242" y="478100"/>
                  </a:lnTo>
                  <a:lnTo>
                    <a:pt x="155119" y="478100"/>
                  </a:lnTo>
                  <a:lnTo>
                    <a:pt x="0" y="633220"/>
                  </a:lnTo>
                  <a:lnTo>
                    <a:pt x="0" y="622738"/>
                  </a:lnTo>
                  <a:lnTo>
                    <a:pt x="148131" y="473908"/>
                  </a:lnTo>
                  <a:lnTo>
                    <a:pt x="143240" y="469017"/>
                  </a:lnTo>
                  <a:lnTo>
                    <a:pt x="0" y="326475"/>
                  </a:lnTo>
                  <a:lnTo>
                    <a:pt x="0" y="316693"/>
                  </a:lnTo>
                  <a:lnTo>
                    <a:pt x="155119" y="471113"/>
                  </a:lnTo>
                  <a:lnTo>
                    <a:pt x="419242" y="470415"/>
                  </a:lnTo>
                  <a:lnTo>
                    <a:pt x="148131" y="200003"/>
                  </a:lnTo>
                  <a:close/>
                  <a:moveTo>
                    <a:pt x="73183" y="0"/>
                  </a:moveTo>
                  <a:lnTo>
                    <a:pt x="84011" y="0"/>
                  </a:lnTo>
                  <a:lnTo>
                    <a:pt x="0" y="84011"/>
                  </a:lnTo>
                  <a:lnTo>
                    <a:pt x="0" y="7353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8" name="Rectangle 7">
              <a:extLst>
                <a:ext uri="{FF2B5EF4-FFF2-40B4-BE49-F238E27FC236}">
                  <a16:creationId xmlns:a16="http://schemas.microsoft.com/office/drawing/2014/main" id="{898BB275-D13C-4C6A-B58E-3A7FE558C7B6}"/>
                </a:ext>
              </a:extLst>
            </p:cNvPr>
            <p:cNvSpPr/>
            <p:nvPr/>
          </p:nvSpPr>
          <p:spPr>
            <a:xfrm>
              <a:off x="1846833" y="0"/>
              <a:ext cx="4829175" cy="6515100"/>
            </a:xfrm>
            <a:prstGeom prst="rect">
              <a:avLst/>
            </a:prstGeom>
            <a:gradFill flip="none" rotWithShape="1">
              <a:gsLst>
                <a:gs pos="7000">
                  <a:schemeClr val="bg1"/>
                </a:gs>
                <a:gs pos="100000">
                  <a:schemeClr val="bg1">
                    <a:shade val="100000"/>
                    <a:satMod val="115000"/>
                    <a:alpha val="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0000"/>
                </a:solidFill>
              </a:endParaRPr>
            </a:p>
          </p:txBody>
        </p:sp>
      </p:grpSp>
      <p:sp>
        <p:nvSpPr>
          <p:cNvPr id="3" name="Rectangle 2" hidden="1">
            <a:extLst>
              <a:ext uri="{FF2B5EF4-FFF2-40B4-BE49-F238E27FC236}">
                <a16:creationId xmlns:a16="http://schemas.microsoft.com/office/drawing/2014/main" id="{EB495991-1E07-4639-8B3E-0877E9367090}"/>
              </a:ext>
            </a:extLst>
          </p:cNvPr>
          <p:cNvSpPr/>
          <p:nvPr>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19" name="Picture Placeholder 18">
            <a:extLst>
              <a:ext uri="{FF2B5EF4-FFF2-40B4-BE49-F238E27FC236}">
                <a16:creationId xmlns:a16="http://schemas.microsoft.com/office/drawing/2014/main" id="{5DBCA4AE-28E9-4125-AA65-A01EAE2C95E9}"/>
              </a:ext>
            </a:extLst>
          </p:cNvPr>
          <p:cNvSpPr>
            <a:spLocks noGrp="1"/>
          </p:cNvSpPr>
          <p:nvPr>
            <p:ph type="pic" sz="quarter" idx="10"/>
          </p:nvPr>
        </p:nvSpPr>
        <p:spPr>
          <a:xfrm>
            <a:off x="5194301" y="0"/>
            <a:ext cx="6997700" cy="4826000"/>
          </a:xfrm>
        </p:spPr>
        <p:txBody>
          <a:bodyPr/>
          <a:lstStyle/>
          <a:p>
            <a:r>
              <a:rPr lang="en-US" dirty="0"/>
              <a:t>Click icon to add picture</a:t>
            </a:r>
          </a:p>
        </p:txBody>
      </p:sp>
      <p:sp>
        <p:nvSpPr>
          <p:cNvPr id="21" name="Rectangle 20">
            <a:extLst>
              <a:ext uri="{FF2B5EF4-FFF2-40B4-BE49-F238E27FC236}">
                <a16:creationId xmlns:a16="http://schemas.microsoft.com/office/drawing/2014/main" id="{DF389211-E886-422A-8D4B-CD3FDC4197A3}"/>
              </a:ext>
            </a:extLst>
          </p:cNvPr>
          <p:cNvSpPr/>
          <p:nvPr/>
        </p:nvSpPr>
        <p:spPr>
          <a:xfrm>
            <a:off x="0" y="4829649"/>
            <a:ext cx="12192000" cy="168544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2" name="Title 1"/>
          <p:cNvSpPr>
            <a:spLocks noGrp="1"/>
          </p:cNvSpPr>
          <p:nvPr>
            <p:ph type="title"/>
          </p:nvPr>
        </p:nvSpPr>
        <p:spPr>
          <a:xfrm>
            <a:off x="457201" y="358140"/>
            <a:ext cx="4737099" cy="2156460"/>
          </a:xfrm>
        </p:spPr>
        <p:txBody>
          <a:bodyPr vert="horz" lIns="0" anchor="t" anchorCtr="0"/>
          <a:lstStyle>
            <a:lvl1pPr>
              <a:defRPr sz="3200">
                <a:solidFill>
                  <a:schemeClr val="accent1"/>
                </a:solidFill>
              </a:defRPr>
            </a:lvl1pPr>
          </a:lstStyle>
          <a:p>
            <a:r>
              <a:rPr lang="en-US" dirty="0"/>
              <a:t>Click to edit Master title style</a:t>
            </a:r>
          </a:p>
        </p:txBody>
      </p:sp>
      <p:sp>
        <p:nvSpPr>
          <p:cNvPr id="14" name="Rectangle 13" hidden="1">
            <a:extLst>
              <a:ext uri="{FF2B5EF4-FFF2-40B4-BE49-F238E27FC236}">
                <a16:creationId xmlns:a16="http://schemas.microsoft.com/office/drawing/2014/main" id="{8ECEEACC-403A-4878-ACAA-BB9FC11003AF}"/>
              </a:ext>
            </a:extLst>
          </p:cNvPr>
          <p:cNvSpPr/>
          <p:nvPr userDrawn="1">
            <p:custDataLst>
              <p:tags r:id="rId3"/>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15" name="Rectangle 14">
            <a:extLst>
              <a:ext uri="{FF2B5EF4-FFF2-40B4-BE49-F238E27FC236}">
                <a16:creationId xmlns:a16="http://schemas.microsoft.com/office/drawing/2014/main" id="{64F8C175-AB42-4A9D-A795-BD4859B5BAEA}"/>
              </a:ext>
            </a:extLst>
          </p:cNvPr>
          <p:cNvSpPr/>
          <p:nvPr userDrawn="1"/>
        </p:nvSpPr>
        <p:spPr>
          <a:xfrm>
            <a:off x="0" y="4829649"/>
            <a:ext cx="12192000" cy="1685449"/>
          </a:xfrm>
          <a:prstGeom prst="rect">
            <a:avLst/>
          </a:prstGeom>
          <a:solidFill>
            <a:srgbClr val="EB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Tree>
    <p:extLst>
      <p:ext uri="{BB962C8B-B14F-4D97-AF65-F5344CB8AC3E}">
        <p14:creationId xmlns:p14="http://schemas.microsoft.com/office/powerpoint/2010/main" val="1076127591"/>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2_No Line Dark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4146552470"/>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CCBEC1A1-9DAE-421F-BEB1-6A2E3CB246B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DCFEFD1D-D1D9-4610-A6A3-708197C1FB91}"/>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Rectangle 3">
            <a:extLst>
              <a:ext uri="{FF2B5EF4-FFF2-40B4-BE49-F238E27FC236}">
                <a16:creationId xmlns:a16="http://schemas.microsoft.com/office/drawing/2014/main" id="{D101A2CC-AC51-446C-B70F-C6C49C636C06}"/>
              </a:ext>
            </a:extLst>
          </p:cNvPr>
          <p:cNvSpPr/>
          <p:nvPr userDrawn="1"/>
        </p:nvSpPr>
        <p:spPr>
          <a:xfrm>
            <a:off x="2" y="3"/>
            <a:ext cx="12191999" cy="65129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j-lt"/>
              <a:ea typeface="+mn-ea"/>
              <a:cs typeface="+mn-cs"/>
            </a:endParaRPr>
          </a:p>
        </p:txBody>
      </p:sp>
      <p:sp>
        <p:nvSpPr>
          <p:cNvPr id="17" name="Title 16">
            <a:extLst>
              <a:ext uri="{FF2B5EF4-FFF2-40B4-BE49-F238E27FC236}">
                <a16:creationId xmlns:a16="http://schemas.microsoft.com/office/drawing/2014/main" id="{7346B5CE-33D5-48E4-B6E5-19D00D2A676B}"/>
              </a:ext>
            </a:extLst>
          </p:cNvPr>
          <p:cNvSpPr>
            <a:spLocks noGrp="1"/>
          </p:cNvSpPr>
          <p:nvPr>
            <p:ph type="title"/>
          </p:nvPr>
        </p:nvSpPr>
        <p:spPr bwMode="white">
          <a:xfrm>
            <a:off x="457200" y="310896"/>
            <a:ext cx="4873752" cy="1600200"/>
          </a:xfrm>
        </p:spPr>
        <p:txBody>
          <a:bodyPr vert="horz" anchor="ctr" anchorCtr="0"/>
          <a:lstStyle>
            <a:lvl1pPr>
              <a:defRPr sz="3200" b="0">
                <a:solidFill>
                  <a:schemeClr val="bg1"/>
                </a:solidFill>
              </a:defRPr>
            </a:lvl1pPr>
          </a:lstStyle>
          <a:p>
            <a:r>
              <a:rPr lang="en-US" dirty="0"/>
              <a:t>Click to edit Master title style</a:t>
            </a:r>
          </a:p>
        </p:txBody>
      </p:sp>
      <p:cxnSp>
        <p:nvCxnSpPr>
          <p:cNvPr id="19" name="Straight Connector 18">
            <a:extLst>
              <a:ext uri="{FF2B5EF4-FFF2-40B4-BE49-F238E27FC236}">
                <a16:creationId xmlns:a16="http://schemas.microsoft.com/office/drawing/2014/main" id="{0A9DCB26-F32D-45E8-8D8A-8C55B0434268}"/>
              </a:ext>
            </a:extLst>
          </p:cNvPr>
          <p:cNvCxnSpPr>
            <a:cxnSpLocks/>
          </p:cNvCxnSpPr>
          <p:nvPr userDrawn="1"/>
        </p:nvCxnSpPr>
        <p:spPr bwMode="white">
          <a:xfrm>
            <a:off x="5331013" y="428198"/>
            <a:ext cx="0" cy="137160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3C12EF41-0F86-415A-A9E8-26E6E6E65C24}"/>
              </a:ext>
            </a:extLst>
          </p:cNvPr>
          <p:cNvSpPr>
            <a:spLocks noGrp="1"/>
          </p:cNvSpPr>
          <p:nvPr>
            <p:ph type="body" sz="quarter" idx="10"/>
          </p:nvPr>
        </p:nvSpPr>
        <p:spPr bwMode="white">
          <a:xfrm>
            <a:off x="5330952" y="310896"/>
            <a:ext cx="5440680" cy="1600200"/>
          </a:xfrm>
        </p:spPr>
        <p:txBody>
          <a:bodyPr anchor="ct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a:t>
            </a:r>
          </a:p>
        </p:txBody>
      </p:sp>
    </p:spTree>
    <p:extLst>
      <p:ext uri="{BB962C8B-B14F-4D97-AF65-F5344CB8AC3E}">
        <p14:creationId xmlns:p14="http://schemas.microsoft.com/office/powerpoint/2010/main" val="360309917"/>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5_Introductions 16up">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1131787941"/>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C387E408-6B3E-4AD1-80E5-3AD5AA76B2E0}"/>
              </a:ext>
            </a:extLst>
          </p:cNvPr>
          <p:cNvGrpSpPr/>
          <p:nvPr userDrawn="1"/>
        </p:nvGrpSpPr>
        <p:grpSpPr>
          <a:xfrm>
            <a:off x="0" y="42672"/>
            <a:ext cx="6676008" cy="6457188"/>
            <a:chOff x="0" y="0"/>
            <a:chExt cx="6676008" cy="6515100"/>
          </a:xfrm>
        </p:grpSpPr>
        <p:sp>
          <p:nvSpPr>
            <p:cNvPr id="31" name="Freeform: Shape 30">
              <a:extLst>
                <a:ext uri="{FF2B5EF4-FFF2-40B4-BE49-F238E27FC236}">
                  <a16:creationId xmlns:a16="http://schemas.microsoft.com/office/drawing/2014/main" id="{9FC786FB-6EA8-44F9-937E-B72B8FD05680}"/>
                </a:ext>
              </a:extLst>
            </p:cNvPr>
            <p:cNvSpPr/>
            <p:nvPr/>
          </p:nvSpPr>
          <p:spPr>
            <a:xfrm>
              <a:off x="0" y="0"/>
              <a:ext cx="4829175" cy="6515100"/>
            </a:xfrm>
            <a:custGeom>
              <a:avLst/>
              <a:gdLst>
                <a:gd name="connsiteX0" fmla="*/ 700271 w 4829175"/>
                <a:gd name="connsiteY0" fmla="*/ 6501824 h 6515100"/>
                <a:gd name="connsiteX1" fmla="*/ 714941 w 4829175"/>
                <a:gd name="connsiteY1" fmla="*/ 6508865 h 6515100"/>
                <a:gd name="connsiteX2" fmla="*/ 710807 w 4829175"/>
                <a:gd name="connsiteY2" fmla="*/ 6508865 h 6515100"/>
                <a:gd name="connsiteX3" fmla="*/ 704588 w 4829175"/>
                <a:gd name="connsiteY3" fmla="*/ 6515100 h 6515100"/>
                <a:gd name="connsiteX4" fmla="*/ 694116 w 4829175"/>
                <a:gd name="connsiteY4" fmla="*/ 6515100 h 6515100"/>
                <a:gd name="connsiteX5" fmla="*/ 703819 w 4829175"/>
                <a:gd name="connsiteY5" fmla="*/ 6505372 h 6515100"/>
                <a:gd name="connsiteX6" fmla="*/ 710108 w 4829175"/>
                <a:gd name="connsiteY6" fmla="*/ 5961753 h 6515100"/>
                <a:gd name="connsiteX7" fmla="*/ 439696 w 4829175"/>
                <a:gd name="connsiteY7" fmla="*/ 6232863 h 6515100"/>
                <a:gd name="connsiteX8" fmla="*/ 710807 w 4829175"/>
                <a:gd name="connsiteY8" fmla="*/ 6503275 h 6515100"/>
                <a:gd name="connsiteX9" fmla="*/ 974930 w 4829175"/>
                <a:gd name="connsiteY9" fmla="*/ 6503275 h 6515100"/>
                <a:gd name="connsiteX10" fmla="*/ 703819 w 4829175"/>
                <a:gd name="connsiteY10" fmla="*/ 6232863 h 6515100"/>
                <a:gd name="connsiteX11" fmla="*/ 974231 w 4829175"/>
                <a:gd name="connsiteY11" fmla="*/ 5961753 h 6515100"/>
                <a:gd name="connsiteX12" fmla="*/ 1807827 w 4829175"/>
                <a:gd name="connsiteY12" fmla="*/ 5961054 h 6515100"/>
                <a:gd name="connsiteX13" fmla="*/ 1537414 w 4829175"/>
                <a:gd name="connsiteY13" fmla="*/ 6232165 h 6515100"/>
                <a:gd name="connsiteX14" fmla="*/ 1808526 w 4829175"/>
                <a:gd name="connsiteY14" fmla="*/ 6502577 h 6515100"/>
                <a:gd name="connsiteX15" fmla="*/ 2072648 w 4829175"/>
                <a:gd name="connsiteY15" fmla="*/ 6502577 h 6515100"/>
                <a:gd name="connsiteX16" fmla="*/ 1801539 w 4829175"/>
                <a:gd name="connsiteY16" fmla="*/ 6232165 h 6515100"/>
                <a:gd name="connsiteX17" fmla="*/ 2071951 w 4829175"/>
                <a:gd name="connsiteY17" fmla="*/ 5961054 h 6515100"/>
                <a:gd name="connsiteX18" fmla="*/ 1257919 w 4829175"/>
                <a:gd name="connsiteY18" fmla="*/ 5961054 h 6515100"/>
                <a:gd name="connsiteX19" fmla="*/ 988206 w 4829175"/>
                <a:gd name="connsiteY19" fmla="*/ 6232165 h 6515100"/>
                <a:gd name="connsiteX20" fmla="*/ 1188744 w 4829175"/>
                <a:gd name="connsiteY20" fmla="*/ 6432703 h 6515100"/>
                <a:gd name="connsiteX21" fmla="*/ 1259317 w 4829175"/>
                <a:gd name="connsiteY21" fmla="*/ 6502577 h 6515100"/>
                <a:gd name="connsiteX22" fmla="*/ 1327793 w 4829175"/>
                <a:gd name="connsiteY22" fmla="*/ 6502577 h 6515100"/>
                <a:gd name="connsiteX23" fmla="*/ 1327094 w 4829175"/>
                <a:gd name="connsiteY23" fmla="*/ 6503974 h 6515100"/>
                <a:gd name="connsiteX24" fmla="*/ 1524139 w 4829175"/>
                <a:gd name="connsiteY24" fmla="*/ 6503974 h 6515100"/>
                <a:gd name="connsiteX25" fmla="*/ 1253028 w 4829175"/>
                <a:gd name="connsiteY25" fmla="*/ 6233562 h 6515100"/>
                <a:gd name="connsiteX26" fmla="*/ 1253727 w 4829175"/>
                <a:gd name="connsiteY26" fmla="*/ 6232863 h 6515100"/>
                <a:gd name="connsiteX27" fmla="*/ 1251631 w 4829175"/>
                <a:gd name="connsiteY27" fmla="*/ 6232165 h 6515100"/>
                <a:gd name="connsiteX28" fmla="*/ 1522043 w 4829175"/>
                <a:gd name="connsiteY28" fmla="*/ 5961054 h 6515100"/>
                <a:gd name="connsiteX29" fmla="*/ 2904847 w 4829175"/>
                <a:gd name="connsiteY29" fmla="*/ 5960355 h 6515100"/>
                <a:gd name="connsiteX30" fmla="*/ 2634435 w 4829175"/>
                <a:gd name="connsiteY30" fmla="*/ 6231466 h 6515100"/>
                <a:gd name="connsiteX31" fmla="*/ 2905546 w 4829175"/>
                <a:gd name="connsiteY31" fmla="*/ 6501878 h 6515100"/>
                <a:gd name="connsiteX32" fmla="*/ 3169669 w 4829175"/>
                <a:gd name="connsiteY32" fmla="*/ 6501878 h 6515100"/>
                <a:gd name="connsiteX33" fmla="*/ 2898558 w 4829175"/>
                <a:gd name="connsiteY33" fmla="*/ 6231466 h 6515100"/>
                <a:gd name="connsiteX34" fmla="*/ 3168970 w 4829175"/>
                <a:gd name="connsiteY34" fmla="*/ 5960355 h 6515100"/>
                <a:gd name="connsiteX35" fmla="*/ 2356338 w 4829175"/>
                <a:gd name="connsiteY35" fmla="*/ 5960355 h 6515100"/>
                <a:gd name="connsiteX36" fmla="*/ 2085925 w 4829175"/>
                <a:gd name="connsiteY36" fmla="*/ 6231466 h 6515100"/>
                <a:gd name="connsiteX37" fmla="*/ 2357035 w 4829175"/>
                <a:gd name="connsiteY37" fmla="*/ 6501878 h 6515100"/>
                <a:gd name="connsiteX38" fmla="*/ 2620460 w 4829175"/>
                <a:gd name="connsiteY38" fmla="*/ 6501878 h 6515100"/>
                <a:gd name="connsiteX39" fmla="*/ 2490495 w 4829175"/>
                <a:gd name="connsiteY39" fmla="*/ 6371913 h 6515100"/>
                <a:gd name="connsiteX40" fmla="*/ 2350049 w 4829175"/>
                <a:gd name="connsiteY40" fmla="*/ 6231466 h 6515100"/>
                <a:gd name="connsiteX41" fmla="*/ 2620460 w 4829175"/>
                <a:gd name="connsiteY41" fmla="*/ 5960355 h 6515100"/>
                <a:gd name="connsiteX42" fmla="*/ 3453357 w 4829175"/>
                <a:gd name="connsiteY42" fmla="*/ 5959656 h 6515100"/>
                <a:gd name="connsiteX43" fmla="*/ 3182945 w 4829175"/>
                <a:gd name="connsiteY43" fmla="*/ 6230767 h 6515100"/>
                <a:gd name="connsiteX44" fmla="*/ 3454056 w 4829175"/>
                <a:gd name="connsiteY44" fmla="*/ 6500480 h 6515100"/>
                <a:gd name="connsiteX45" fmla="*/ 3718179 w 4829175"/>
                <a:gd name="connsiteY45" fmla="*/ 6500480 h 6515100"/>
                <a:gd name="connsiteX46" fmla="*/ 3447069 w 4829175"/>
                <a:gd name="connsiteY46" fmla="*/ 6230069 h 6515100"/>
                <a:gd name="connsiteX47" fmla="*/ 3631536 w 4829175"/>
                <a:gd name="connsiteY47" fmla="*/ 6045602 h 6515100"/>
                <a:gd name="connsiteX48" fmla="*/ 3717481 w 4829175"/>
                <a:gd name="connsiteY48" fmla="*/ 5959656 h 6515100"/>
                <a:gd name="connsiteX49" fmla="*/ 4550378 w 4829175"/>
                <a:gd name="connsiteY49" fmla="*/ 5958259 h 6515100"/>
                <a:gd name="connsiteX50" fmla="*/ 4279966 w 4829175"/>
                <a:gd name="connsiteY50" fmla="*/ 6229370 h 6515100"/>
                <a:gd name="connsiteX51" fmla="*/ 4551077 w 4829175"/>
                <a:gd name="connsiteY51" fmla="*/ 6499083 h 6515100"/>
                <a:gd name="connsiteX52" fmla="*/ 4815200 w 4829175"/>
                <a:gd name="connsiteY52" fmla="*/ 6499083 h 6515100"/>
                <a:gd name="connsiteX53" fmla="*/ 4544089 w 4829175"/>
                <a:gd name="connsiteY53" fmla="*/ 6228671 h 6515100"/>
                <a:gd name="connsiteX54" fmla="*/ 4814501 w 4829175"/>
                <a:gd name="connsiteY54" fmla="*/ 5958259 h 6515100"/>
                <a:gd name="connsiteX55" fmla="*/ 169284 w 4829175"/>
                <a:gd name="connsiteY55" fmla="*/ 5687847 h 6515100"/>
                <a:gd name="connsiteX56" fmla="*/ 299249 w 4829175"/>
                <a:gd name="connsiteY56" fmla="*/ 5817813 h 6515100"/>
                <a:gd name="connsiteX57" fmla="*/ 439696 w 4829175"/>
                <a:gd name="connsiteY57" fmla="*/ 5958259 h 6515100"/>
                <a:gd name="connsiteX58" fmla="*/ 169284 w 4829175"/>
                <a:gd name="connsiteY58" fmla="*/ 6229370 h 6515100"/>
                <a:gd name="connsiteX59" fmla="*/ 433407 w 4829175"/>
                <a:gd name="connsiteY59" fmla="*/ 6229370 h 6515100"/>
                <a:gd name="connsiteX60" fmla="*/ 703819 w 4829175"/>
                <a:gd name="connsiteY60" fmla="*/ 5958259 h 6515100"/>
                <a:gd name="connsiteX61" fmla="*/ 432708 w 4829175"/>
                <a:gd name="connsiteY61" fmla="*/ 5687847 h 6515100"/>
                <a:gd name="connsiteX62" fmla="*/ 1814814 w 4829175"/>
                <a:gd name="connsiteY62" fmla="*/ 5687149 h 6515100"/>
                <a:gd name="connsiteX63" fmla="*/ 2085925 w 4829175"/>
                <a:gd name="connsiteY63" fmla="*/ 5957561 h 6515100"/>
                <a:gd name="connsiteX64" fmla="*/ 1815513 w 4829175"/>
                <a:gd name="connsiteY64" fmla="*/ 6227973 h 6515100"/>
                <a:gd name="connsiteX65" fmla="*/ 2079636 w 4829175"/>
                <a:gd name="connsiteY65" fmla="*/ 6227973 h 6515100"/>
                <a:gd name="connsiteX66" fmla="*/ 2350049 w 4829175"/>
                <a:gd name="connsiteY66" fmla="*/ 5957561 h 6515100"/>
                <a:gd name="connsiteX67" fmla="*/ 2078937 w 4829175"/>
                <a:gd name="connsiteY67" fmla="*/ 5687149 h 6515100"/>
                <a:gd name="connsiteX68" fmla="*/ 717095 w 4829175"/>
                <a:gd name="connsiteY68" fmla="*/ 5687149 h 6515100"/>
                <a:gd name="connsiteX69" fmla="*/ 988206 w 4829175"/>
                <a:gd name="connsiteY69" fmla="*/ 5957561 h 6515100"/>
                <a:gd name="connsiteX70" fmla="*/ 717794 w 4829175"/>
                <a:gd name="connsiteY70" fmla="*/ 6228671 h 6515100"/>
                <a:gd name="connsiteX71" fmla="*/ 981917 w 4829175"/>
                <a:gd name="connsiteY71" fmla="*/ 6228671 h 6515100"/>
                <a:gd name="connsiteX72" fmla="*/ 1252329 w 4829175"/>
                <a:gd name="connsiteY72" fmla="*/ 5957561 h 6515100"/>
                <a:gd name="connsiteX73" fmla="*/ 981219 w 4829175"/>
                <a:gd name="connsiteY73" fmla="*/ 5687149 h 6515100"/>
                <a:gd name="connsiteX74" fmla="*/ 2363324 w 4829175"/>
                <a:gd name="connsiteY74" fmla="*/ 5686450 h 6515100"/>
                <a:gd name="connsiteX75" fmla="*/ 2634435 w 4829175"/>
                <a:gd name="connsiteY75" fmla="*/ 5956862 h 6515100"/>
                <a:gd name="connsiteX76" fmla="*/ 2364722 w 4829175"/>
                <a:gd name="connsiteY76" fmla="*/ 6227973 h 6515100"/>
                <a:gd name="connsiteX77" fmla="*/ 2628146 w 4829175"/>
                <a:gd name="connsiteY77" fmla="*/ 6227973 h 6515100"/>
                <a:gd name="connsiteX78" fmla="*/ 2898558 w 4829175"/>
                <a:gd name="connsiteY78" fmla="*/ 5956862 h 6515100"/>
                <a:gd name="connsiteX79" fmla="*/ 2764401 w 4829175"/>
                <a:gd name="connsiteY79" fmla="*/ 5823402 h 6515100"/>
                <a:gd name="connsiteX80" fmla="*/ 2627447 w 4829175"/>
                <a:gd name="connsiteY80" fmla="*/ 5686450 h 6515100"/>
                <a:gd name="connsiteX81" fmla="*/ 2911834 w 4829175"/>
                <a:gd name="connsiteY81" fmla="*/ 5685751 h 6515100"/>
                <a:gd name="connsiteX82" fmla="*/ 2913232 w 4829175"/>
                <a:gd name="connsiteY82" fmla="*/ 5687149 h 6515100"/>
                <a:gd name="connsiteX83" fmla="*/ 3182945 w 4829175"/>
                <a:gd name="connsiteY83" fmla="*/ 5956163 h 6515100"/>
                <a:gd name="connsiteX84" fmla="*/ 2912533 w 4829175"/>
                <a:gd name="connsiteY84" fmla="*/ 6226575 h 6515100"/>
                <a:gd name="connsiteX85" fmla="*/ 3176657 w 4829175"/>
                <a:gd name="connsiteY85" fmla="*/ 6226575 h 6515100"/>
                <a:gd name="connsiteX86" fmla="*/ 3447069 w 4829175"/>
                <a:gd name="connsiteY86" fmla="*/ 5956163 h 6515100"/>
                <a:gd name="connsiteX87" fmla="*/ 3441479 w 4829175"/>
                <a:gd name="connsiteY87" fmla="*/ 5951272 h 6515100"/>
                <a:gd name="connsiteX88" fmla="*/ 3175958 w 4829175"/>
                <a:gd name="connsiteY88" fmla="*/ 5685751 h 6515100"/>
                <a:gd name="connsiteX89" fmla="*/ 1530428 w 4829175"/>
                <a:gd name="connsiteY89" fmla="*/ 5685751 h 6515100"/>
                <a:gd name="connsiteX90" fmla="*/ 1529030 w 4829175"/>
                <a:gd name="connsiteY90" fmla="*/ 5686450 h 6515100"/>
                <a:gd name="connsiteX91" fmla="*/ 1264907 w 4829175"/>
                <a:gd name="connsiteY91" fmla="*/ 5686450 h 6515100"/>
                <a:gd name="connsiteX92" fmla="*/ 1536018 w 4829175"/>
                <a:gd name="connsiteY92" fmla="*/ 5956862 h 6515100"/>
                <a:gd name="connsiteX93" fmla="*/ 1531824 w 4829175"/>
                <a:gd name="connsiteY93" fmla="*/ 5961054 h 6515100"/>
                <a:gd name="connsiteX94" fmla="*/ 1537414 w 4829175"/>
                <a:gd name="connsiteY94" fmla="*/ 5958259 h 6515100"/>
                <a:gd name="connsiteX95" fmla="*/ 1267002 w 4829175"/>
                <a:gd name="connsiteY95" fmla="*/ 6229370 h 6515100"/>
                <a:gd name="connsiteX96" fmla="*/ 1531127 w 4829175"/>
                <a:gd name="connsiteY96" fmla="*/ 6229370 h 6515100"/>
                <a:gd name="connsiteX97" fmla="*/ 1801539 w 4829175"/>
                <a:gd name="connsiteY97" fmla="*/ 5958259 h 6515100"/>
                <a:gd name="connsiteX98" fmla="*/ 1530428 w 4829175"/>
                <a:gd name="connsiteY98" fmla="*/ 5687847 h 6515100"/>
                <a:gd name="connsiteX99" fmla="*/ 3459646 w 4829175"/>
                <a:gd name="connsiteY99" fmla="*/ 5685052 h 6515100"/>
                <a:gd name="connsiteX100" fmla="*/ 3730757 w 4829175"/>
                <a:gd name="connsiteY100" fmla="*/ 5955464 h 6515100"/>
                <a:gd name="connsiteX101" fmla="*/ 3727962 w 4829175"/>
                <a:gd name="connsiteY101" fmla="*/ 5958259 h 6515100"/>
                <a:gd name="connsiteX102" fmla="*/ 3637825 w 4829175"/>
                <a:gd name="connsiteY102" fmla="*/ 6049095 h 6515100"/>
                <a:gd name="connsiteX103" fmla="*/ 3460345 w 4829175"/>
                <a:gd name="connsiteY103" fmla="*/ 6225876 h 6515100"/>
                <a:gd name="connsiteX104" fmla="*/ 3724468 w 4829175"/>
                <a:gd name="connsiteY104" fmla="*/ 6225876 h 6515100"/>
                <a:gd name="connsiteX105" fmla="*/ 3813907 w 4829175"/>
                <a:gd name="connsiteY105" fmla="*/ 6136437 h 6515100"/>
                <a:gd name="connsiteX106" fmla="*/ 3994880 w 4829175"/>
                <a:gd name="connsiteY106" fmla="*/ 5955464 h 6515100"/>
                <a:gd name="connsiteX107" fmla="*/ 3723769 w 4829175"/>
                <a:gd name="connsiteY107" fmla="*/ 5685052 h 6515100"/>
                <a:gd name="connsiteX108" fmla="*/ 1807128 w 4829175"/>
                <a:gd name="connsiteY108" fmla="*/ 5412543 h 6515100"/>
                <a:gd name="connsiteX109" fmla="*/ 1536716 w 4829175"/>
                <a:gd name="connsiteY109" fmla="*/ 5683654 h 6515100"/>
                <a:gd name="connsiteX110" fmla="*/ 1807827 w 4829175"/>
                <a:gd name="connsiteY110" fmla="*/ 5954066 h 6515100"/>
                <a:gd name="connsiteX111" fmla="*/ 2071951 w 4829175"/>
                <a:gd name="connsiteY111" fmla="*/ 5954066 h 6515100"/>
                <a:gd name="connsiteX112" fmla="*/ 1800840 w 4829175"/>
                <a:gd name="connsiteY112" fmla="*/ 5683654 h 6515100"/>
                <a:gd name="connsiteX113" fmla="*/ 2071252 w 4829175"/>
                <a:gd name="connsiteY113" fmla="*/ 5412543 h 6515100"/>
                <a:gd name="connsiteX114" fmla="*/ 709409 w 4829175"/>
                <a:gd name="connsiteY114" fmla="*/ 5412543 h 6515100"/>
                <a:gd name="connsiteX115" fmla="*/ 438997 w 4829175"/>
                <a:gd name="connsiteY115" fmla="*/ 5683654 h 6515100"/>
                <a:gd name="connsiteX116" fmla="*/ 710108 w 4829175"/>
                <a:gd name="connsiteY116" fmla="*/ 5954066 h 6515100"/>
                <a:gd name="connsiteX117" fmla="*/ 974231 w 4829175"/>
                <a:gd name="connsiteY117" fmla="*/ 5954066 h 6515100"/>
                <a:gd name="connsiteX118" fmla="*/ 703120 w 4829175"/>
                <a:gd name="connsiteY118" fmla="*/ 5683654 h 6515100"/>
                <a:gd name="connsiteX119" fmla="*/ 972833 w 4829175"/>
                <a:gd name="connsiteY119" fmla="*/ 5412543 h 6515100"/>
                <a:gd name="connsiteX120" fmla="*/ 2904148 w 4829175"/>
                <a:gd name="connsiteY120" fmla="*/ 5411845 h 6515100"/>
                <a:gd name="connsiteX121" fmla="*/ 2723874 w 4829175"/>
                <a:gd name="connsiteY121" fmla="*/ 5592120 h 6515100"/>
                <a:gd name="connsiteX122" fmla="*/ 2634435 w 4829175"/>
                <a:gd name="connsiteY122" fmla="*/ 5682258 h 6515100"/>
                <a:gd name="connsiteX123" fmla="*/ 2768593 w 4829175"/>
                <a:gd name="connsiteY123" fmla="*/ 5815716 h 6515100"/>
                <a:gd name="connsiteX124" fmla="*/ 2905546 w 4829175"/>
                <a:gd name="connsiteY124" fmla="*/ 5952669 h 6515100"/>
                <a:gd name="connsiteX125" fmla="*/ 3169669 w 4829175"/>
                <a:gd name="connsiteY125" fmla="*/ 5952669 h 6515100"/>
                <a:gd name="connsiteX126" fmla="*/ 2898558 w 4829175"/>
                <a:gd name="connsiteY126" fmla="*/ 5682258 h 6515100"/>
                <a:gd name="connsiteX127" fmla="*/ 2899956 w 4829175"/>
                <a:gd name="connsiteY127" fmla="*/ 5680860 h 6515100"/>
                <a:gd name="connsiteX128" fmla="*/ 3168271 w 4829175"/>
                <a:gd name="connsiteY128" fmla="*/ 5411845 h 6515100"/>
                <a:gd name="connsiteX129" fmla="*/ 2355639 w 4829175"/>
                <a:gd name="connsiteY129" fmla="*/ 5411845 h 6515100"/>
                <a:gd name="connsiteX130" fmla="*/ 2085226 w 4829175"/>
                <a:gd name="connsiteY130" fmla="*/ 5682955 h 6515100"/>
                <a:gd name="connsiteX131" fmla="*/ 2356338 w 4829175"/>
                <a:gd name="connsiteY131" fmla="*/ 5953367 h 6515100"/>
                <a:gd name="connsiteX132" fmla="*/ 2620460 w 4829175"/>
                <a:gd name="connsiteY132" fmla="*/ 5953367 h 6515100"/>
                <a:gd name="connsiteX133" fmla="*/ 2349350 w 4829175"/>
                <a:gd name="connsiteY133" fmla="*/ 5682955 h 6515100"/>
                <a:gd name="connsiteX134" fmla="*/ 2533816 w 4829175"/>
                <a:gd name="connsiteY134" fmla="*/ 5498489 h 6515100"/>
                <a:gd name="connsiteX135" fmla="*/ 2619762 w 4829175"/>
                <a:gd name="connsiteY135" fmla="*/ 5412543 h 6515100"/>
                <a:gd name="connsiteX136" fmla="*/ 2361229 w 4829175"/>
                <a:gd name="connsiteY136" fmla="*/ 5412543 h 6515100"/>
                <a:gd name="connsiteX137" fmla="*/ 1257919 w 4829175"/>
                <a:gd name="connsiteY137" fmla="*/ 5411845 h 6515100"/>
                <a:gd name="connsiteX138" fmla="*/ 987507 w 4829175"/>
                <a:gd name="connsiteY138" fmla="*/ 5682955 h 6515100"/>
                <a:gd name="connsiteX139" fmla="*/ 1258618 w 4829175"/>
                <a:gd name="connsiteY139" fmla="*/ 5953367 h 6515100"/>
                <a:gd name="connsiteX140" fmla="*/ 1522741 w 4829175"/>
                <a:gd name="connsiteY140" fmla="*/ 5953367 h 6515100"/>
                <a:gd name="connsiteX141" fmla="*/ 1251631 w 4829175"/>
                <a:gd name="connsiteY141" fmla="*/ 5682955 h 6515100"/>
                <a:gd name="connsiteX142" fmla="*/ 1436098 w 4829175"/>
                <a:gd name="connsiteY142" fmla="*/ 5498489 h 6515100"/>
                <a:gd name="connsiteX143" fmla="*/ 1522043 w 4829175"/>
                <a:gd name="connsiteY143" fmla="*/ 5411845 h 6515100"/>
                <a:gd name="connsiteX144" fmla="*/ 3452658 w 4829175"/>
                <a:gd name="connsiteY144" fmla="*/ 5411147 h 6515100"/>
                <a:gd name="connsiteX145" fmla="*/ 3182246 w 4829175"/>
                <a:gd name="connsiteY145" fmla="*/ 5682258 h 6515100"/>
                <a:gd name="connsiteX146" fmla="*/ 3453357 w 4829175"/>
                <a:gd name="connsiteY146" fmla="*/ 5952669 h 6515100"/>
                <a:gd name="connsiteX147" fmla="*/ 3717481 w 4829175"/>
                <a:gd name="connsiteY147" fmla="*/ 5952669 h 6515100"/>
                <a:gd name="connsiteX148" fmla="*/ 3446370 w 4829175"/>
                <a:gd name="connsiteY148" fmla="*/ 5682258 h 6515100"/>
                <a:gd name="connsiteX149" fmla="*/ 3716782 w 4829175"/>
                <a:gd name="connsiteY149" fmla="*/ 5411147 h 6515100"/>
                <a:gd name="connsiteX150" fmla="*/ 4549679 w 4829175"/>
                <a:gd name="connsiteY150" fmla="*/ 5409749 h 6515100"/>
                <a:gd name="connsiteX151" fmla="*/ 4279267 w 4829175"/>
                <a:gd name="connsiteY151" fmla="*/ 5680860 h 6515100"/>
                <a:gd name="connsiteX152" fmla="*/ 4550378 w 4829175"/>
                <a:gd name="connsiteY152" fmla="*/ 5951272 h 6515100"/>
                <a:gd name="connsiteX153" fmla="*/ 4814501 w 4829175"/>
                <a:gd name="connsiteY153" fmla="*/ 5951272 h 6515100"/>
                <a:gd name="connsiteX154" fmla="*/ 4543391 w 4829175"/>
                <a:gd name="connsiteY154" fmla="*/ 5680860 h 6515100"/>
                <a:gd name="connsiteX155" fmla="*/ 4727858 w 4829175"/>
                <a:gd name="connsiteY155" fmla="*/ 5495694 h 6515100"/>
                <a:gd name="connsiteX156" fmla="*/ 4727159 w 4829175"/>
                <a:gd name="connsiteY156" fmla="*/ 5494995 h 6515100"/>
                <a:gd name="connsiteX157" fmla="*/ 4812405 w 4829175"/>
                <a:gd name="connsiteY157" fmla="*/ 5409749 h 6515100"/>
                <a:gd name="connsiteX158" fmla="*/ 167886 w 4829175"/>
                <a:gd name="connsiteY158" fmla="*/ 5139337 h 6515100"/>
                <a:gd name="connsiteX159" fmla="*/ 438997 w 4829175"/>
                <a:gd name="connsiteY159" fmla="*/ 5409749 h 6515100"/>
                <a:gd name="connsiteX160" fmla="*/ 169284 w 4829175"/>
                <a:gd name="connsiteY160" fmla="*/ 5680860 h 6515100"/>
                <a:gd name="connsiteX161" fmla="*/ 432708 w 4829175"/>
                <a:gd name="connsiteY161" fmla="*/ 5680860 h 6515100"/>
                <a:gd name="connsiteX162" fmla="*/ 703120 w 4829175"/>
                <a:gd name="connsiteY162" fmla="*/ 5409749 h 6515100"/>
                <a:gd name="connsiteX163" fmla="*/ 568962 w 4829175"/>
                <a:gd name="connsiteY163" fmla="*/ 5276290 h 6515100"/>
                <a:gd name="connsiteX164" fmla="*/ 432009 w 4829175"/>
                <a:gd name="connsiteY164" fmla="*/ 5139337 h 6515100"/>
                <a:gd name="connsiteX165" fmla="*/ 1814116 w 4829175"/>
                <a:gd name="connsiteY165" fmla="*/ 5138638 h 6515100"/>
                <a:gd name="connsiteX166" fmla="*/ 1942683 w 4829175"/>
                <a:gd name="connsiteY166" fmla="*/ 5267207 h 6515100"/>
                <a:gd name="connsiteX167" fmla="*/ 2084528 w 4829175"/>
                <a:gd name="connsiteY167" fmla="*/ 5409050 h 6515100"/>
                <a:gd name="connsiteX168" fmla="*/ 1814116 w 4829175"/>
                <a:gd name="connsiteY168" fmla="*/ 5680161 h 6515100"/>
                <a:gd name="connsiteX169" fmla="*/ 2078239 w 4829175"/>
                <a:gd name="connsiteY169" fmla="*/ 5680161 h 6515100"/>
                <a:gd name="connsiteX170" fmla="*/ 2348651 w 4829175"/>
                <a:gd name="connsiteY170" fmla="*/ 5409050 h 6515100"/>
                <a:gd name="connsiteX171" fmla="*/ 2343759 w 4829175"/>
                <a:gd name="connsiteY171" fmla="*/ 5404159 h 6515100"/>
                <a:gd name="connsiteX172" fmla="*/ 2078239 w 4829175"/>
                <a:gd name="connsiteY172" fmla="*/ 5138638 h 6515100"/>
                <a:gd name="connsiteX173" fmla="*/ 2362625 w 4829175"/>
                <a:gd name="connsiteY173" fmla="*/ 5137939 h 6515100"/>
                <a:gd name="connsiteX174" fmla="*/ 2633736 w 4829175"/>
                <a:gd name="connsiteY174" fmla="*/ 5407653 h 6515100"/>
                <a:gd name="connsiteX175" fmla="*/ 2630942 w 4829175"/>
                <a:gd name="connsiteY175" fmla="*/ 5410448 h 6515100"/>
                <a:gd name="connsiteX176" fmla="*/ 2540804 w 4829175"/>
                <a:gd name="connsiteY176" fmla="*/ 5501283 h 6515100"/>
                <a:gd name="connsiteX177" fmla="*/ 2363324 w 4829175"/>
                <a:gd name="connsiteY177" fmla="*/ 5678763 h 6515100"/>
                <a:gd name="connsiteX178" fmla="*/ 2627447 w 4829175"/>
                <a:gd name="connsiteY178" fmla="*/ 5678763 h 6515100"/>
                <a:gd name="connsiteX179" fmla="*/ 2716886 w 4829175"/>
                <a:gd name="connsiteY179" fmla="*/ 5589325 h 6515100"/>
                <a:gd name="connsiteX180" fmla="*/ 2897859 w 4829175"/>
                <a:gd name="connsiteY180" fmla="*/ 5408351 h 6515100"/>
                <a:gd name="connsiteX181" fmla="*/ 2626749 w 4829175"/>
                <a:gd name="connsiteY181" fmla="*/ 5137939 h 6515100"/>
                <a:gd name="connsiteX182" fmla="*/ 1264208 w 4829175"/>
                <a:gd name="connsiteY182" fmla="*/ 5137939 h 6515100"/>
                <a:gd name="connsiteX183" fmla="*/ 1535319 w 4829175"/>
                <a:gd name="connsiteY183" fmla="*/ 5407653 h 6515100"/>
                <a:gd name="connsiteX184" fmla="*/ 1532523 w 4829175"/>
                <a:gd name="connsiteY184" fmla="*/ 5410448 h 6515100"/>
                <a:gd name="connsiteX185" fmla="*/ 1442387 w 4829175"/>
                <a:gd name="connsiteY185" fmla="*/ 5501283 h 6515100"/>
                <a:gd name="connsiteX186" fmla="*/ 1264907 w 4829175"/>
                <a:gd name="connsiteY186" fmla="*/ 5678763 h 6515100"/>
                <a:gd name="connsiteX187" fmla="*/ 1529030 w 4829175"/>
                <a:gd name="connsiteY187" fmla="*/ 5678763 h 6515100"/>
                <a:gd name="connsiteX188" fmla="*/ 1618469 w 4829175"/>
                <a:gd name="connsiteY188" fmla="*/ 5589325 h 6515100"/>
                <a:gd name="connsiteX189" fmla="*/ 1799442 w 4829175"/>
                <a:gd name="connsiteY189" fmla="*/ 5408351 h 6515100"/>
                <a:gd name="connsiteX190" fmla="*/ 1528331 w 4829175"/>
                <a:gd name="connsiteY190" fmla="*/ 5137939 h 6515100"/>
                <a:gd name="connsiteX191" fmla="*/ 715697 w 4829175"/>
                <a:gd name="connsiteY191" fmla="*/ 5137939 h 6515100"/>
                <a:gd name="connsiteX192" fmla="*/ 717095 w 4829175"/>
                <a:gd name="connsiteY192" fmla="*/ 5139337 h 6515100"/>
                <a:gd name="connsiteX193" fmla="*/ 986808 w 4829175"/>
                <a:gd name="connsiteY193" fmla="*/ 5408351 h 6515100"/>
                <a:gd name="connsiteX194" fmla="*/ 716396 w 4829175"/>
                <a:gd name="connsiteY194" fmla="*/ 5679462 h 6515100"/>
                <a:gd name="connsiteX195" fmla="*/ 980520 w 4829175"/>
                <a:gd name="connsiteY195" fmla="*/ 5679462 h 6515100"/>
                <a:gd name="connsiteX196" fmla="*/ 1250932 w 4829175"/>
                <a:gd name="connsiteY196" fmla="*/ 5408351 h 6515100"/>
                <a:gd name="connsiteX197" fmla="*/ 1245342 w 4829175"/>
                <a:gd name="connsiteY197" fmla="*/ 5403460 h 6515100"/>
                <a:gd name="connsiteX198" fmla="*/ 979821 w 4829175"/>
                <a:gd name="connsiteY198" fmla="*/ 5137939 h 6515100"/>
                <a:gd name="connsiteX199" fmla="*/ 2911136 w 4829175"/>
                <a:gd name="connsiteY199" fmla="*/ 5137241 h 6515100"/>
                <a:gd name="connsiteX200" fmla="*/ 3041801 w 4829175"/>
                <a:gd name="connsiteY200" fmla="*/ 5266508 h 6515100"/>
                <a:gd name="connsiteX201" fmla="*/ 3182246 w 4829175"/>
                <a:gd name="connsiteY201" fmla="*/ 5406954 h 6515100"/>
                <a:gd name="connsiteX202" fmla="*/ 2911834 w 4829175"/>
                <a:gd name="connsiteY202" fmla="*/ 5678065 h 6515100"/>
                <a:gd name="connsiteX203" fmla="*/ 3175958 w 4829175"/>
                <a:gd name="connsiteY203" fmla="*/ 5678065 h 6515100"/>
                <a:gd name="connsiteX204" fmla="*/ 3446370 w 4829175"/>
                <a:gd name="connsiteY204" fmla="*/ 5407653 h 6515100"/>
                <a:gd name="connsiteX205" fmla="*/ 3175259 w 4829175"/>
                <a:gd name="connsiteY205" fmla="*/ 5137241 h 6515100"/>
                <a:gd name="connsiteX206" fmla="*/ 3459646 w 4829175"/>
                <a:gd name="connsiteY206" fmla="*/ 5136542 h 6515100"/>
                <a:gd name="connsiteX207" fmla="*/ 3730757 w 4829175"/>
                <a:gd name="connsiteY207" fmla="*/ 5406954 h 6515100"/>
                <a:gd name="connsiteX208" fmla="*/ 3460345 w 4829175"/>
                <a:gd name="connsiteY208" fmla="*/ 5678065 h 6515100"/>
                <a:gd name="connsiteX209" fmla="*/ 3724468 w 4829175"/>
                <a:gd name="connsiteY209" fmla="*/ 5678065 h 6515100"/>
                <a:gd name="connsiteX210" fmla="*/ 3994880 w 4829175"/>
                <a:gd name="connsiteY210" fmla="*/ 5406954 h 6515100"/>
                <a:gd name="connsiteX211" fmla="*/ 3723769 w 4829175"/>
                <a:gd name="connsiteY211" fmla="*/ 5136542 h 6515100"/>
                <a:gd name="connsiteX212" fmla="*/ 4008156 w 4829175"/>
                <a:gd name="connsiteY212" fmla="*/ 5135843 h 6515100"/>
                <a:gd name="connsiteX213" fmla="*/ 4279267 w 4829175"/>
                <a:gd name="connsiteY213" fmla="*/ 5406255 h 6515100"/>
                <a:gd name="connsiteX214" fmla="*/ 4008855 w 4829175"/>
                <a:gd name="connsiteY214" fmla="*/ 5677366 h 6515100"/>
                <a:gd name="connsiteX215" fmla="*/ 4207297 w 4829175"/>
                <a:gd name="connsiteY215" fmla="*/ 5677366 h 6515100"/>
                <a:gd name="connsiteX216" fmla="*/ 4272280 w 4829175"/>
                <a:gd name="connsiteY216" fmla="*/ 5677366 h 6515100"/>
                <a:gd name="connsiteX217" fmla="*/ 4543391 w 4829175"/>
                <a:gd name="connsiteY217" fmla="*/ 5406255 h 6515100"/>
                <a:gd name="connsiteX218" fmla="*/ 4409232 w 4829175"/>
                <a:gd name="connsiteY218" fmla="*/ 5272797 h 6515100"/>
                <a:gd name="connsiteX219" fmla="*/ 4272280 w 4829175"/>
                <a:gd name="connsiteY219" fmla="*/ 5135843 h 6515100"/>
                <a:gd name="connsiteX220" fmla="*/ 708011 w 4829175"/>
                <a:gd name="connsiteY220" fmla="*/ 4864034 h 6515100"/>
                <a:gd name="connsiteX221" fmla="*/ 527737 w 4829175"/>
                <a:gd name="connsiteY221" fmla="*/ 5045007 h 6515100"/>
                <a:gd name="connsiteX222" fmla="*/ 438298 w 4829175"/>
                <a:gd name="connsiteY222" fmla="*/ 5135144 h 6515100"/>
                <a:gd name="connsiteX223" fmla="*/ 572456 w 4829175"/>
                <a:gd name="connsiteY223" fmla="*/ 5268603 h 6515100"/>
                <a:gd name="connsiteX224" fmla="*/ 709409 w 4829175"/>
                <a:gd name="connsiteY224" fmla="*/ 5405557 h 6515100"/>
                <a:gd name="connsiteX225" fmla="*/ 973532 w 4829175"/>
                <a:gd name="connsiteY225" fmla="*/ 5405557 h 6515100"/>
                <a:gd name="connsiteX226" fmla="*/ 702421 w 4829175"/>
                <a:gd name="connsiteY226" fmla="*/ 5135144 h 6515100"/>
                <a:gd name="connsiteX227" fmla="*/ 703819 w 4829175"/>
                <a:gd name="connsiteY227" fmla="*/ 5133747 h 6515100"/>
                <a:gd name="connsiteX228" fmla="*/ 972135 w 4829175"/>
                <a:gd name="connsiteY228" fmla="*/ 4864034 h 6515100"/>
                <a:gd name="connsiteX229" fmla="*/ 1257220 w 4829175"/>
                <a:gd name="connsiteY229" fmla="*/ 4863335 h 6515100"/>
                <a:gd name="connsiteX230" fmla="*/ 986808 w 4829175"/>
                <a:gd name="connsiteY230" fmla="*/ 5134446 h 6515100"/>
                <a:gd name="connsiteX231" fmla="*/ 1257919 w 4829175"/>
                <a:gd name="connsiteY231" fmla="*/ 5404858 h 6515100"/>
                <a:gd name="connsiteX232" fmla="*/ 1522043 w 4829175"/>
                <a:gd name="connsiteY232" fmla="*/ 5404858 h 6515100"/>
                <a:gd name="connsiteX233" fmla="*/ 1250932 w 4829175"/>
                <a:gd name="connsiteY233" fmla="*/ 5134446 h 6515100"/>
                <a:gd name="connsiteX234" fmla="*/ 1521344 w 4829175"/>
                <a:gd name="connsiteY234" fmla="*/ 4863335 h 6515100"/>
                <a:gd name="connsiteX235" fmla="*/ 2904148 w 4829175"/>
                <a:gd name="connsiteY235" fmla="*/ 4862636 h 6515100"/>
                <a:gd name="connsiteX236" fmla="*/ 2633736 w 4829175"/>
                <a:gd name="connsiteY236" fmla="*/ 5133747 h 6515100"/>
                <a:gd name="connsiteX237" fmla="*/ 2904847 w 4829175"/>
                <a:gd name="connsiteY237" fmla="*/ 5404159 h 6515100"/>
                <a:gd name="connsiteX238" fmla="*/ 3168271 w 4829175"/>
                <a:gd name="connsiteY238" fmla="*/ 5404159 h 6515100"/>
                <a:gd name="connsiteX239" fmla="*/ 3037607 w 4829175"/>
                <a:gd name="connsiteY239" fmla="*/ 5274193 h 6515100"/>
                <a:gd name="connsiteX240" fmla="*/ 2897162 w 4829175"/>
                <a:gd name="connsiteY240" fmla="*/ 5133747 h 6515100"/>
                <a:gd name="connsiteX241" fmla="*/ 3168271 w 4829175"/>
                <a:gd name="connsiteY241" fmla="*/ 4862636 h 6515100"/>
                <a:gd name="connsiteX242" fmla="*/ 1805032 w 4829175"/>
                <a:gd name="connsiteY242" fmla="*/ 4862636 h 6515100"/>
                <a:gd name="connsiteX243" fmla="*/ 1534620 w 4829175"/>
                <a:gd name="connsiteY243" fmla="*/ 5133747 h 6515100"/>
                <a:gd name="connsiteX244" fmla="*/ 1805731 w 4829175"/>
                <a:gd name="connsiteY244" fmla="*/ 5404159 h 6515100"/>
                <a:gd name="connsiteX245" fmla="*/ 1807128 w 4829175"/>
                <a:gd name="connsiteY245" fmla="*/ 5405557 h 6515100"/>
                <a:gd name="connsiteX246" fmla="*/ 2071252 w 4829175"/>
                <a:gd name="connsiteY246" fmla="*/ 5405557 h 6515100"/>
                <a:gd name="connsiteX247" fmla="*/ 1939889 w 4829175"/>
                <a:gd name="connsiteY247" fmla="*/ 5274193 h 6515100"/>
                <a:gd name="connsiteX248" fmla="*/ 1802236 w 4829175"/>
                <a:gd name="connsiteY248" fmla="*/ 5136542 h 6515100"/>
                <a:gd name="connsiteX249" fmla="*/ 2071252 w 4829175"/>
                <a:gd name="connsiteY249" fmla="*/ 4862636 h 6515100"/>
                <a:gd name="connsiteX250" fmla="*/ 3451960 w 4829175"/>
                <a:gd name="connsiteY250" fmla="*/ 4861938 h 6515100"/>
                <a:gd name="connsiteX251" fmla="*/ 3181548 w 4829175"/>
                <a:gd name="connsiteY251" fmla="*/ 5133048 h 6515100"/>
                <a:gd name="connsiteX252" fmla="*/ 3452658 w 4829175"/>
                <a:gd name="connsiteY252" fmla="*/ 5403460 h 6515100"/>
                <a:gd name="connsiteX253" fmla="*/ 3716782 w 4829175"/>
                <a:gd name="connsiteY253" fmla="*/ 5403460 h 6515100"/>
                <a:gd name="connsiteX254" fmla="*/ 3445671 w 4829175"/>
                <a:gd name="connsiteY254" fmla="*/ 5133048 h 6515100"/>
                <a:gd name="connsiteX255" fmla="*/ 3630138 w 4829175"/>
                <a:gd name="connsiteY255" fmla="*/ 4948581 h 6515100"/>
                <a:gd name="connsiteX256" fmla="*/ 3714686 w 4829175"/>
                <a:gd name="connsiteY256" fmla="*/ 4861938 h 6515100"/>
                <a:gd name="connsiteX257" fmla="*/ 4000470 w 4829175"/>
                <a:gd name="connsiteY257" fmla="*/ 4861239 h 6515100"/>
                <a:gd name="connsiteX258" fmla="*/ 3730058 w 4829175"/>
                <a:gd name="connsiteY258" fmla="*/ 5132350 h 6515100"/>
                <a:gd name="connsiteX259" fmla="*/ 4001169 w 4829175"/>
                <a:gd name="connsiteY259" fmla="*/ 5402762 h 6515100"/>
                <a:gd name="connsiteX260" fmla="*/ 4265292 w 4829175"/>
                <a:gd name="connsiteY260" fmla="*/ 5402762 h 6515100"/>
                <a:gd name="connsiteX261" fmla="*/ 3994181 w 4829175"/>
                <a:gd name="connsiteY261" fmla="*/ 5132350 h 6515100"/>
                <a:gd name="connsiteX262" fmla="*/ 3995579 w 4829175"/>
                <a:gd name="connsiteY262" fmla="*/ 5130952 h 6515100"/>
                <a:gd name="connsiteX263" fmla="*/ 3994880 w 4829175"/>
                <a:gd name="connsiteY263" fmla="*/ 5130952 h 6515100"/>
                <a:gd name="connsiteX264" fmla="*/ 4263197 w 4829175"/>
                <a:gd name="connsiteY264" fmla="*/ 4861938 h 6515100"/>
                <a:gd name="connsiteX265" fmla="*/ 4004663 w 4829175"/>
                <a:gd name="connsiteY265" fmla="*/ 4861938 h 6515100"/>
                <a:gd name="connsiteX266" fmla="*/ 4006060 w 4829175"/>
                <a:gd name="connsiteY266" fmla="*/ 4861239 h 6515100"/>
                <a:gd name="connsiteX267" fmla="*/ 4548281 w 4829175"/>
                <a:gd name="connsiteY267" fmla="*/ 4860540 h 6515100"/>
                <a:gd name="connsiteX268" fmla="*/ 4367308 w 4829175"/>
                <a:gd name="connsiteY268" fmla="*/ 5041513 h 6515100"/>
                <a:gd name="connsiteX269" fmla="*/ 4368007 w 4829175"/>
                <a:gd name="connsiteY269" fmla="*/ 5042212 h 6515100"/>
                <a:gd name="connsiteX270" fmla="*/ 4278568 w 4829175"/>
                <a:gd name="connsiteY270" fmla="*/ 5132350 h 6515100"/>
                <a:gd name="connsiteX271" fmla="*/ 4412727 w 4829175"/>
                <a:gd name="connsiteY271" fmla="*/ 5265809 h 6515100"/>
                <a:gd name="connsiteX272" fmla="*/ 4548980 w 4829175"/>
                <a:gd name="connsiteY272" fmla="*/ 5402063 h 6515100"/>
                <a:gd name="connsiteX273" fmla="*/ 4813104 w 4829175"/>
                <a:gd name="connsiteY273" fmla="*/ 5402063 h 6515100"/>
                <a:gd name="connsiteX274" fmla="*/ 4541993 w 4829175"/>
                <a:gd name="connsiteY274" fmla="*/ 5131651 h 6515100"/>
                <a:gd name="connsiteX275" fmla="*/ 4812405 w 4829175"/>
                <a:gd name="connsiteY275" fmla="*/ 4860540 h 6515100"/>
                <a:gd name="connsiteX276" fmla="*/ 2621159 w 4829175"/>
                <a:gd name="connsiteY276" fmla="*/ 4860540 h 6515100"/>
                <a:gd name="connsiteX277" fmla="*/ 2354940 w 4829175"/>
                <a:gd name="connsiteY277" fmla="*/ 4863335 h 6515100"/>
                <a:gd name="connsiteX278" fmla="*/ 2084528 w 4829175"/>
                <a:gd name="connsiteY278" fmla="*/ 5134446 h 6515100"/>
                <a:gd name="connsiteX279" fmla="*/ 2355639 w 4829175"/>
                <a:gd name="connsiteY279" fmla="*/ 5404858 h 6515100"/>
                <a:gd name="connsiteX280" fmla="*/ 2619762 w 4829175"/>
                <a:gd name="connsiteY280" fmla="*/ 5404858 h 6515100"/>
                <a:gd name="connsiteX281" fmla="*/ 2348651 w 4829175"/>
                <a:gd name="connsiteY281" fmla="*/ 5134446 h 6515100"/>
                <a:gd name="connsiteX282" fmla="*/ 166488 w 4829175"/>
                <a:gd name="connsiteY282" fmla="*/ 4590827 h 6515100"/>
                <a:gd name="connsiteX283" fmla="*/ 437599 w 4829175"/>
                <a:gd name="connsiteY283" fmla="*/ 4861239 h 6515100"/>
                <a:gd name="connsiteX284" fmla="*/ 434805 w 4829175"/>
                <a:gd name="connsiteY284" fmla="*/ 4864034 h 6515100"/>
                <a:gd name="connsiteX285" fmla="*/ 344667 w 4829175"/>
                <a:gd name="connsiteY285" fmla="*/ 4954870 h 6515100"/>
                <a:gd name="connsiteX286" fmla="*/ 167187 w 4829175"/>
                <a:gd name="connsiteY286" fmla="*/ 5131651 h 6515100"/>
                <a:gd name="connsiteX287" fmla="*/ 431311 w 4829175"/>
                <a:gd name="connsiteY287" fmla="*/ 5131651 h 6515100"/>
                <a:gd name="connsiteX288" fmla="*/ 520749 w 4829175"/>
                <a:gd name="connsiteY288" fmla="*/ 5042212 h 6515100"/>
                <a:gd name="connsiteX289" fmla="*/ 701722 w 4829175"/>
                <a:gd name="connsiteY289" fmla="*/ 4861239 h 6515100"/>
                <a:gd name="connsiteX290" fmla="*/ 430612 w 4829175"/>
                <a:gd name="connsiteY290" fmla="*/ 4590827 h 6515100"/>
                <a:gd name="connsiteX291" fmla="*/ 715697 w 4829175"/>
                <a:gd name="connsiteY291" fmla="*/ 4590128 h 6515100"/>
                <a:gd name="connsiteX292" fmla="*/ 845663 w 4829175"/>
                <a:gd name="connsiteY292" fmla="*/ 4720093 h 6515100"/>
                <a:gd name="connsiteX293" fmla="*/ 986109 w 4829175"/>
                <a:gd name="connsiteY293" fmla="*/ 4859841 h 6515100"/>
                <a:gd name="connsiteX294" fmla="*/ 715697 w 4829175"/>
                <a:gd name="connsiteY294" fmla="*/ 5130952 h 6515100"/>
                <a:gd name="connsiteX295" fmla="*/ 979821 w 4829175"/>
                <a:gd name="connsiteY295" fmla="*/ 5130952 h 6515100"/>
                <a:gd name="connsiteX296" fmla="*/ 1250932 w 4829175"/>
                <a:gd name="connsiteY296" fmla="*/ 4860540 h 6515100"/>
                <a:gd name="connsiteX297" fmla="*/ 979821 w 4829175"/>
                <a:gd name="connsiteY297" fmla="*/ 4590128 h 6515100"/>
                <a:gd name="connsiteX298" fmla="*/ 2911136 w 4829175"/>
                <a:gd name="connsiteY298" fmla="*/ 4589429 h 6515100"/>
                <a:gd name="connsiteX299" fmla="*/ 3040403 w 4829175"/>
                <a:gd name="connsiteY299" fmla="*/ 4717299 h 6515100"/>
                <a:gd name="connsiteX300" fmla="*/ 3040403 w 4829175"/>
                <a:gd name="connsiteY300" fmla="*/ 4717998 h 6515100"/>
                <a:gd name="connsiteX301" fmla="*/ 3182246 w 4829175"/>
                <a:gd name="connsiteY301" fmla="*/ 4859841 h 6515100"/>
                <a:gd name="connsiteX302" fmla="*/ 2911834 w 4829175"/>
                <a:gd name="connsiteY302" fmla="*/ 5130952 h 6515100"/>
                <a:gd name="connsiteX303" fmla="*/ 3175259 w 4829175"/>
                <a:gd name="connsiteY303" fmla="*/ 5130952 h 6515100"/>
                <a:gd name="connsiteX304" fmla="*/ 3445671 w 4829175"/>
                <a:gd name="connsiteY304" fmla="*/ 4859841 h 6515100"/>
                <a:gd name="connsiteX305" fmla="*/ 3440081 w 4829175"/>
                <a:gd name="connsiteY305" fmla="*/ 4854251 h 6515100"/>
                <a:gd name="connsiteX306" fmla="*/ 3439382 w 4829175"/>
                <a:gd name="connsiteY306" fmla="*/ 4854251 h 6515100"/>
                <a:gd name="connsiteX307" fmla="*/ 3173862 w 4829175"/>
                <a:gd name="connsiteY307" fmla="*/ 4589429 h 6515100"/>
                <a:gd name="connsiteX308" fmla="*/ 1813417 w 4829175"/>
                <a:gd name="connsiteY308" fmla="*/ 4589429 h 6515100"/>
                <a:gd name="connsiteX309" fmla="*/ 1815507 w 4829175"/>
                <a:gd name="connsiteY309" fmla="*/ 4592217 h 6515100"/>
                <a:gd name="connsiteX310" fmla="*/ 1814814 w 4829175"/>
                <a:gd name="connsiteY310" fmla="*/ 4591526 h 6515100"/>
                <a:gd name="connsiteX311" fmla="*/ 1815513 w 4829175"/>
                <a:gd name="connsiteY311" fmla="*/ 4592225 h 6515100"/>
                <a:gd name="connsiteX312" fmla="*/ 1815507 w 4829175"/>
                <a:gd name="connsiteY312" fmla="*/ 4592217 h 6515100"/>
                <a:gd name="connsiteX313" fmla="*/ 2074046 w 4829175"/>
                <a:gd name="connsiteY313" fmla="*/ 4850059 h 6515100"/>
                <a:gd name="connsiteX314" fmla="*/ 2083829 w 4829175"/>
                <a:gd name="connsiteY314" fmla="*/ 4859142 h 6515100"/>
                <a:gd name="connsiteX315" fmla="*/ 2085925 w 4829175"/>
                <a:gd name="connsiteY315" fmla="*/ 4861239 h 6515100"/>
                <a:gd name="connsiteX316" fmla="*/ 1821102 w 4829175"/>
                <a:gd name="connsiteY316" fmla="*/ 5130952 h 6515100"/>
                <a:gd name="connsiteX317" fmla="*/ 2080335 w 4829175"/>
                <a:gd name="connsiteY317" fmla="*/ 5131651 h 6515100"/>
                <a:gd name="connsiteX318" fmla="*/ 2350049 w 4829175"/>
                <a:gd name="connsiteY318" fmla="*/ 4861239 h 6515100"/>
                <a:gd name="connsiteX319" fmla="*/ 2214493 w 4829175"/>
                <a:gd name="connsiteY319" fmla="*/ 4726382 h 6515100"/>
                <a:gd name="connsiteX320" fmla="*/ 2197724 w 4829175"/>
                <a:gd name="connsiteY320" fmla="*/ 4709612 h 6515100"/>
                <a:gd name="connsiteX321" fmla="*/ 2078239 w 4829175"/>
                <a:gd name="connsiteY321" fmla="*/ 4590827 h 6515100"/>
                <a:gd name="connsiteX322" fmla="*/ 2074046 w 4829175"/>
                <a:gd name="connsiteY322" fmla="*/ 4589429 h 6515100"/>
                <a:gd name="connsiteX323" fmla="*/ 1263509 w 4829175"/>
                <a:gd name="connsiteY323" fmla="*/ 4589429 h 6515100"/>
                <a:gd name="connsiteX324" fmla="*/ 1534620 w 4829175"/>
                <a:gd name="connsiteY324" fmla="*/ 4859841 h 6515100"/>
                <a:gd name="connsiteX325" fmla="*/ 1264208 w 4829175"/>
                <a:gd name="connsiteY325" fmla="*/ 5130952 h 6515100"/>
                <a:gd name="connsiteX326" fmla="*/ 1528331 w 4829175"/>
                <a:gd name="connsiteY326" fmla="*/ 5130952 h 6515100"/>
                <a:gd name="connsiteX327" fmla="*/ 1798743 w 4829175"/>
                <a:gd name="connsiteY327" fmla="*/ 4859841 h 6515100"/>
                <a:gd name="connsiteX328" fmla="*/ 1527632 w 4829175"/>
                <a:gd name="connsiteY328" fmla="*/ 4589429 h 6515100"/>
                <a:gd name="connsiteX329" fmla="*/ 2626749 w 4829175"/>
                <a:gd name="connsiteY329" fmla="*/ 4588031 h 6515100"/>
                <a:gd name="connsiteX330" fmla="*/ 2363324 w 4829175"/>
                <a:gd name="connsiteY330" fmla="*/ 4588730 h 6515100"/>
                <a:gd name="connsiteX331" fmla="*/ 2632339 w 4829175"/>
                <a:gd name="connsiteY331" fmla="*/ 4857047 h 6515100"/>
                <a:gd name="connsiteX332" fmla="*/ 2631641 w 4829175"/>
                <a:gd name="connsiteY332" fmla="*/ 4857746 h 6515100"/>
                <a:gd name="connsiteX333" fmla="*/ 2633038 w 4829175"/>
                <a:gd name="connsiteY333" fmla="*/ 4859142 h 6515100"/>
                <a:gd name="connsiteX334" fmla="*/ 2362625 w 4829175"/>
                <a:gd name="connsiteY334" fmla="*/ 5130253 h 6515100"/>
                <a:gd name="connsiteX335" fmla="*/ 2626749 w 4829175"/>
                <a:gd name="connsiteY335" fmla="*/ 5130253 h 6515100"/>
                <a:gd name="connsiteX336" fmla="*/ 2716886 w 4829175"/>
                <a:gd name="connsiteY336" fmla="*/ 5040116 h 6515100"/>
                <a:gd name="connsiteX337" fmla="*/ 2896463 w 4829175"/>
                <a:gd name="connsiteY337" fmla="*/ 4857047 h 6515100"/>
                <a:gd name="connsiteX338" fmla="*/ 4006759 w 4829175"/>
                <a:gd name="connsiteY338" fmla="*/ 4587334 h 6515100"/>
                <a:gd name="connsiteX339" fmla="*/ 4136725 w 4829175"/>
                <a:gd name="connsiteY339" fmla="*/ 4716600 h 6515100"/>
                <a:gd name="connsiteX340" fmla="*/ 4277171 w 4829175"/>
                <a:gd name="connsiteY340" fmla="*/ 4857047 h 6515100"/>
                <a:gd name="connsiteX341" fmla="*/ 4184238 w 4829175"/>
                <a:gd name="connsiteY341" fmla="*/ 4950678 h 6515100"/>
                <a:gd name="connsiteX342" fmla="*/ 4184937 w 4829175"/>
                <a:gd name="connsiteY342" fmla="*/ 4951376 h 6515100"/>
                <a:gd name="connsiteX343" fmla="*/ 4008156 w 4829175"/>
                <a:gd name="connsiteY343" fmla="*/ 5128855 h 6515100"/>
                <a:gd name="connsiteX344" fmla="*/ 4270882 w 4829175"/>
                <a:gd name="connsiteY344" fmla="*/ 5128855 h 6515100"/>
                <a:gd name="connsiteX345" fmla="*/ 4541294 w 4829175"/>
                <a:gd name="connsiteY345" fmla="*/ 4857746 h 6515100"/>
                <a:gd name="connsiteX346" fmla="*/ 4270183 w 4829175"/>
                <a:gd name="connsiteY346" fmla="*/ 4587334 h 6515100"/>
                <a:gd name="connsiteX347" fmla="*/ 3458248 w 4829175"/>
                <a:gd name="connsiteY347" fmla="*/ 4587334 h 6515100"/>
                <a:gd name="connsiteX348" fmla="*/ 3729359 w 4829175"/>
                <a:gd name="connsiteY348" fmla="*/ 4857746 h 6515100"/>
                <a:gd name="connsiteX349" fmla="*/ 3730058 w 4829175"/>
                <a:gd name="connsiteY349" fmla="*/ 4858443 h 6515100"/>
                <a:gd name="connsiteX350" fmla="*/ 3459646 w 4829175"/>
                <a:gd name="connsiteY350" fmla="*/ 5129554 h 6515100"/>
                <a:gd name="connsiteX351" fmla="*/ 3723769 w 4829175"/>
                <a:gd name="connsiteY351" fmla="*/ 5129554 h 6515100"/>
                <a:gd name="connsiteX352" fmla="*/ 3813208 w 4829175"/>
                <a:gd name="connsiteY352" fmla="*/ 5039418 h 6515100"/>
                <a:gd name="connsiteX353" fmla="*/ 3812509 w 4829175"/>
                <a:gd name="connsiteY353" fmla="*/ 5039418 h 6515100"/>
                <a:gd name="connsiteX354" fmla="*/ 3993483 w 4829175"/>
                <a:gd name="connsiteY354" fmla="*/ 4858443 h 6515100"/>
                <a:gd name="connsiteX355" fmla="*/ 3988591 w 4829175"/>
                <a:gd name="connsiteY355" fmla="*/ 4852854 h 6515100"/>
                <a:gd name="connsiteX356" fmla="*/ 3722372 w 4829175"/>
                <a:gd name="connsiteY356" fmla="*/ 4587334 h 6515100"/>
                <a:gd name="connsiteX357" fmla="*/ 708011 w 4829175"/>
                <a:gd name="connsiteY357" fmla="*/ 4316223 h 6515100"/>
                <a:gd name="connsiteX358" fmla="*/ 437599 w 4829175"/>
                <a:gd name="connsiteY358" fmla="*/ 4587334 h 6515100"/>
                <a:gd name="connsiteX359" fmla="*/ 709409 w 4829175"/>
                <a:gd name="connsiteY359" fmla="*/ 4857746 h 6515100"/>
                <a:gd name="connsiteX360" fmla="*/ 972833 w 4829175"/>
                <a:gd name="connsiteY360" fmla="*/ 4857746 h 6515100"/>
                <a:gd name="connsiteX361" fmla="*/ 842169 w 4829175"/>
                <a:gd name="connsiteY361" fmla="*/ 4727779 h 6515100"/>
                <a:gd name="connsiteX362" fmla="*/ 701722 w 4829175"/>
                <a:gd name="connsiteY362" fmla="*/ 4587334 h 6515100"/>
                <a:gd name="connsiteX363" fmla="*/ 972135 w 4829175"/>
                <a:gd name="connsiteY363" fmla="*/ 4316223 h 6515100"/>
                <a:gd name="connsiteX364" fmla="*/ 2354241 w 4829175"/>
                <a:gd name="connsiteY364" fmla="*/ 4315524 h 6515100"/>
                <a:gd name="connsiteX365" fmla="*/ 2083829 w 4829175"/>
                <a:gd name="connsiteY365" fmla="*/ 4586635 h 6515100"/>
                <a:gd name="connsiteX366" fmla="*/ 2353542 w 4829175"/>
                <a:gd name="connsiteY366" fmla="*/ 4855649 h 6515100"/>
                <a:gd name="connsiteX367" fmla="*/ 2616967 w 4829175"/>
                <a:gd name="connsiteY367" fmla="*/ 4855649 h 6515100"/>
                <a:gd name="connsiteX368" fmla="*/ 2347952 w 4829175"/>
                <a:gd name="connsiteY368" fmla="*/ 4586635 h 6515100"/>
                <a:gd name="connsiteX369" fmla="*/ 2348651 w 4829175"/>
                <a:gd name="connsiteY369" fmla="*/ 4585936 h 6515100"/>
                <a:gd name="connsiteX370" fmla="*/ 2347254 w 4829175"/>
                <a:gd name="connsiteY370" fmla="*/ 4584538 h 6515100"/>
                <a:gd name="connsiteX371" fmla="*/ 2615569 w 4829175"/>
                <a:gd name="connsiteY371" fmla="*/ 4315524 h 6515100"/>
                <a:gd name="connsiteX372" fmla="*/ 1256521 w 4829175"/>
                <a:gd name="connsiteY372" fmla="*/ 4315524 h 6515100"/>
                <a:gd name="connsiteX373" fmla="*/ 986109 w 4829175"/>
                <a:gd name="connsiteY373" fmla="*/ 4586635 h 6515100"/>
                <a:gd name="connsiteX374" fmla="*/ 1257220 w 4829175"/>
                <a:gd name="connsiteY374" fmla="*/ 4857047 h 6515100"/>
                <a:gd name="connsiteX375" fmla="*/ 1521344 w 4829175"/>
                <a:gd name="connsiteY375" fmla="*/ 4857047 h 6515100"/>
                <a:gd name="connsiteX376" fmla="*/ 1250233 w 4829175"/>
                <a:gd name="connsiteY376" fmla="*/ 4586635 h 6515100"/>
                <a:gd name="connsiteX377" fmla="*/ 1520645 w 4829175"/>
                <a:gd name="connsiteY377" fmla="*/ 4315524 h 6515100"/>
                <a:gd name="connsiteX378" fmla="*/ 1392775 w 4829175"/>
                <a:gd name="connsiteY378" fmla="*/ 4315524 h 6515100"/>
                <a:gd name="connsiteX379" fmla="*/ 1805731 w 4829175"/>
                <a:gd name="connsiteY379" fmla="*/ 4314825 h 6515100"/>
                <a:gd name="connsiteX380" fmla="*/ 1625456 w 4829175"/>
                <a:gd name="connsiteY380" fmla="*/ 4495798 h 6515100"/>
                <a:gd name="connsiteX381" fmla="*/ 1624758 w 4829175"/>
                <a:gd name="connsiteY381" fmla="*/ 4495798 h 6515100"/>
                <a:gd name="connsiteX382" fmla="*/ 1534620 w 4829175"/>
                <a:gd name="connsiteY382" fmla="*/ 4585936 h 6515100"/>
                <a:gd name="connsiteX383" fmla="*/ 1805032 w 4829175"/>
                <a:gd name="connsiteY383" fmla="*/ 4857047 h 6515100"/>
                <a:gd name="connsiteX384" fmla="*/ 2069155 w 4829175"/>
                <a:gd name="connsiteY384" fmla="*/ 4857047 h 6515100"/>
                <a:gd name="connsiteX385" fmla="*/ 1798044 w 4829175"/>
                <a:gd name="connsiteY385" fmla="*/ 4586635 h 6515100"/>
                <a:gd name="connsiteX386" fmla="*/ 1982512 w 4829175"/>
                <a:gd name="connsiteY386" fmla="*/ 4402167 h 6515100"/>
                <a:gd name="connsiteX387" fmla="*/ 1983211 w 4829175"/>
                <a:gd name="connsiteY387" fmla="*/ 4402167 h 6515100"/>
                <a:gd name="connsiteX388" fmla="*/ 2069155 w 4829175"/>
                <a:gd name="connsiteY388" fmla="*/ 4315524 h 6515100"/>
                <a:gd name="connsiteX389" fmla="*/ 1810622 w 4829175"/>
                <a:gd name="connsiteY389" fmla="*/ 4315524 h 6515100"/>
                <a:gd name="connsiteX390" fmla="*/ 3450563 w 4829175"/>
                <a:gd name="connsiteY390" fmla="*/ 4313427 h 6515100"/>
                <a:gd name="connsiteX391" fmla="*/ 3269589 w 4829175"/>
                <a:gd name="connsiteY391" fmla="*/ 4495099 h 6515100"/>
                <a:gd name="connsiteX392" fmla="*/ 3270986 w 4829175"/>
                <a:gd name="connsiteY392" fmla="*/ 4495798 h 6515100"/>
                <a:gd name="connsiteX393" fmla="*/ 3181548 w 4829175"/>
                <a:gd name="connsiteY393" fmla="*/ 4585237 h 6515100"/>
                <a:gd name="connsiteX394" fmla="*/ 3451960 w 4829175"/>
                <a:gd name="connsiteY394" fmla="*/ 4854950 h 6515100"/>
                <a:gd name="connsiteX395" fmla="*/ 3715384 w 4829175"/>
                <a:gd name="connsiteY395" fmla="*/ 4854950 h 6515100"/>
                <a:gd name="connsiteX396" fmla="*/ 3444972 w 4829175"/>
                <a:gd name="connsiteY396" fmla="*/ 4585237 h 6515100"/>
                <a:gd name="connsiteX397" fmla="*/ 3444274 w 4829175"/>
                <a:gd name="connsiteY397" fmla="*/ 4584538 h 6515100"/>
                <a:gd name="connsiteX398" fmla="*/ 3714686 w 4829175"/>
                <a:gd name="connsiteY398" fmla="*/ 4313427 h 6515100"/>
                <a:gd name="connsiteX399" fmla="*/ 2904847 w 4829175"/>
                <a:gd name="connsiteY399" fmla="*/ 4313427 h 6515100"/>
                <a:gd name="connsiteX400" fmla="*/ 2908341 w 4829175"/>
                <a:gd name="connsiteY400" fmla="*/ 4314825 h 6515100"/>
                <a:gd name="connsiteX401" fmla="*/ 2902751 w 4829175"/>
                <a:gd name="connsiteY401" fmla="*/ 4314825 h 6515100"/>
                <a:gd name="connsiteX402" fmla="*/ 2633736 w 4829175"/>
                <a:gd name="connsiteY402" fmla="*/ 4585237 h 6515100"/>
                <a:gd name="connsiteX403" fmla="*/ 2903449 w 4829175"/>
                <a:gd name="connsiteY403" fmla="*/ 4854251 h 6515100"/>
                <a:gd name="connsiteX404" fmla="*/ 3168271 w 4829175"/>
                <a:gd name="connsiteY404" fmla="*/ 4855649 h 6515100"/>
                <a:gd name="connsiteX405" fmla="*/ 2897162 w 4829175"/>
                <a:gd name="connsiteY405" fmla="*/ 4585237 h 6515100"/>
                <a:gd name="connsiteX406" fmla="*/ 2895764 w 4829175"/>
                <a:gd name="connsiteY406" fmla="*/ 4583839 h 6515100"/>
                <a:gd name="connsiteX407" fmla="*/ 3164778 w 4829175"/>
                <a:gd name="connsiteY407" fmla="*/ 4314126 h 6515100"/>
                <a:gd name="connsiteX408" fmla="*/ 2967035 w 4829175"/>
                <a:gd name="connsiteY408" fmla="*/ 4314126 h 6515100"/>
                <a:gd name="connsiteX409" fmla="*/ 2967733 w 4829175"/>
                <a:gd name="connsiteY409" fmla="*/ 4313427 h 6515100"/>
                <a:gd name="connsiteX410" fmla="*/ 3999073 w 4829175"/>
                <a:gd name="connsiteY410" fmla="*/ 4312728 h 6515100"/>
                <a:gd name="connsiteX411" fmla="*/ 3728660 w 4829175"/>
                <a:gd name="connsiteY411" fmla="*/ 4583839 h 6515100"/>
                <a:gd name="connsiteX412" fmla="*/ 3999771 w 4829175"/>
                <a:gd name="connsiteY412" fmla="*/ 4854251 h 6515100"/>
                <a:gd name="connsiteX413" fmla="*/ 4263197 w 4829175"/>
                <a:gd name="connsiteY413" fmla="*/ 4854251 h 6515100"/>
                <a:gd name="connsiteX414" fmla="*/ 4133230 w 4829175"/>
                <a:gd name="connsiteY414" fmla="*/ 4724286 h 6515100"/>
                <a:gd name="connsiteX415" fmla="*/ 3992783 w 4829175"/>
                <a:gd name="connsiteY415" fmla="*/ 4583839 h 6515100"/>
                <a:gd name="connsiteX416" fmla="*/ 4263197 w 4829175"/>
                <a:gd name="connsiteY416" fmla="*/ 4312728 h 6515100"/>
                <a:gd name="connsiteX417" fmla="*/ 4547584 w 4829175"/>
                <a:gd name="connsiteY417" fmla="*/ 4312030 h 6515100"/>
                <a:gd name="connsiteX418" fmla="*/ 4277171 w 4829175"/>
                <a:gd name="connsiteY418" fmla="*/ 4583140 h 6515100"/>
                <a:gd name="connsiteX419" fmla="*/ 4548281 w 4829175"/>
                <a:gd name="connsiteY419" fmla="*/ 4853552 h 6515100"/>
                <a:gd name="connsiteX420" fmla="*/ 4812405 w 4829175"/>
                <a:gd name="connsiteY420" fmla="*/ 4853552 h 6515100"/>
                <a:gd name="connsiteX421" fmla="*/ 4541294 w 4829175"/>
                <a:gd name="connsiteY421" fmla="*/ 4583140 h 6515100"/>
                <a:gd name="connsiteX422" fmla="*/ 4811706 w 4829175"/>
                <a:gd name="connsiteY422" fmla="*/ 4312030 h 6515100"/>
                <a:gd name="connsiteX423" fmla="*/ 717155 w 4829175"/>
                <a:gd name="connsiteY423" fmla="*/ 4044465 h 6515100"/>
                <a:gd name="connsiteX424" fmla="*/ 986808 w 4829175"/>
                <a:gd name="connsiteY424" fmla="*/ 4312728 h 6515100"/>
                <a:gd name="connsiteX425" fmla="*/ 716396 w 4829175"/>
                <a:gd name="connsiteY425" fmla="*/ 4583839 h 6515100"/>
                <a:gd name="connsiteX426" fmla="*/ 979821 w 4829175"/>
                <a:gd name="connsiteY426" fmla="*/ 4583839 h 6515100"/>
                <a:gd name="connsiteX427" fmla="*/ 1250233 w 4829175"/>
                <a:gd name="connsiteY427" fmla="*/ 4312728 h 6515100"/>
                <a:gd name="connsiteX428" fmla="*/ 1116075 w 4829175"/>
                <a:gd name="connsiteY428" fmla="*/ 4179269 h 6515100"/>
                <a:gd name="connsiteX429" fmla="*/ 1019702 w 4829175"/>
                <a:gd name="connsiteY429" fmla="*/ 4082896 h 6515100"/>
                <a:gd name="connsiteX430" fmla="*/ 1018761 w 4829175"/>
                <a:gd name="connsiteY430" fmla="*/ 4082896 h 6515100"/>
                <a:gd name="connsiteX431" fmla="*/ 980330 w 4829175"/>
                <a:gd name="connsiteY431" fmla="*/ 4044465 h 6515100"/>
                <a:gd name="connsiteX432" fmla="*/ 168395 w 4829175"/>
                <a:gd name="connsiteY432" fmla="*/ 4044465 h 6515100"/>
                <a:gd name="connsiteX433" fmla="*/ 206127 w 4829175"/>
                <a:gd name="connsiteY433" fmla="*/ 4082197 h 6515100"/>
                <a:gd name="connsiteX434" fmla="*/ 205772 w 4829175"/>
                <a:gd name="connsiteY434" fmla="*/ 4082197 h 6515100"/>
                <a:gd name="connsiteX435" fmla="*/ 437599 w 4829175"/>
                <a:gd name="connsiteY435" fmla="*/ 4313427 h 6515100"/>
                <a:gd name="connsiteX436" fmla="*/ 167187 w 4829175"/>
                <a:gd name="connsiteY436" fmla="*/ 4583839 h 6515100"/>
                <a:gd name="connsiteX437" fmla="*/ 431311 w 4829175"/>
                <a:gd name="connsiteY437" fmla="*/ 4583839 h 6515100"/>
                <a:gd name="connsiteX438" fmla="*/ 701722 w 4829175"/>
                <a:gd name="connsiteY438" fmla="*/ 4312728 h 6515100"/>
                <a:gd name="connsiteX439" fmla="*/ 470596 w 4829175"/>
                <a:gd name="connsiteY439" fmla="*/ 4082197 h 6515100"/>
                <a:gd name="connsiteX440" fmla="*/ 470250 w 4829175"/>
                <a:gd name="connsiteY440" fmla="*/ 4082197 h 6515100"/>
                <a:gd name="connsiteX441" fmla="*/ 432518 w 4829175"/>
                <a:gd name="connsiteY441" fmla="*/ 4044465 h 6515100"/>
                <a:gd name="connsiteX442" fmla="*/ 1816265 w 4829175"/>
                <a:gd name="connsiteY442" fmla="*/ 4043766 h 6515100"/>
                <a:gd name="connsiteX443" fmla="*/ 1942683 w 4829175"/>
                <a:gd name="connsiteY443" fmla="*/ 4170186 h 6515100"/>
                <a:gd name="connsiteX444" fmla="*/ 2083829 w 4829175"/>
                <a:gd name="connsiteY444" fmla="*/ 4310632 h 6515100"/>
                <a:gd name="connsiteX445" fmla="*/ 1813417 w 4829175"/>
                <a:gd name="connsiteY445" fmla="*/ 4581743 h 6515100"/>
                <a:gd name="connsiteX446" fmla="*/ 2076842 w 4829175"/>
                <a:gd name="connsiteY446" fmla="*/ 4581743 h 6515100"/>
                <a:gd name="connsiteX447" fmla="*/ 2347254 w 4829175"/>
                <a:gd name="connsiteY447" fmla="*/ 4311331 h 6515100"/>
                <a:gd name="connsiteX448" fmla="*/ 2214493 w 4829175"/>
                <a:gd name="connsiteY448" fmla="*/ 4178570 h 6515100"/>
                <a:gd name="connsiteX449" fmla="*/ 2214493 w 4829175"/>
                <a:gd name="connsiteY449" fmla="*/ 4177872 h 6515100"/>
                <a:gd name="connsiteX450" fmla="*/ 2119736 w 4829175"/>
                <a:gd name="connsiteY450" fmla="*/ 4083594 h 6515100"/>
                <a:gd name="connsiteX451" fmla="*/ 2116480 w 4829175"/>
                <a:gd name="connsiteY451" fmla="*/ 4083594 h 6515100"/>
                <a:gd name="connsiteX452" fmla="*/ 2076652 w 4829175"/>
                <a:gd name="connsiteY452" fmla="*/ 4043766 h 6515100"/>
                <a:gd name="connsiteX453" fmla="*/ 1266369 w 4829175"/>
                <a:gd name="connsiteY453" fmla="*/ 4043766 h 6515100"/>
                <a:gd name="connsiteX454" fmla="*/ 1534620 w 4829175"/>
                <a:gd name="connsiteY454" fmla="*/ 4310632 h 6515100"/>
                <a:gd name="connsiteX455" fmla="*/ 1531824 w 4829175"/>
                <a:gd name="connsiteY455" fmla="*/ 4313427 h 6515100"/>
                <a:gd name="connsiteX456" fmla="*/ 1441688 w 4829175"/>
                <a:gd name="connsiteY456" fmla="*/ 4404264 h 6515100"/>
                <a:gd name="connsiteX457" fmla="*/ 1440989 w 4829175"/>
                <a:gd name="connsiteY457" fmla="*/ 4404264 h 6515100"/>
                <a:gd name="connsiteX458" fmla="*/ 1263509 w 4829175"/>
                <a:gd name="connsiteY458" fmla="*/ 4582442 h 6515100"/>
                <a:gd name="connsiteX459" fmla="*/ 1527632 w 4829175"/>
                <a:gd name="connsiteY459" fmla="*/ 4582442 h 6515100"/>
                <a:gd name="connsiteX460" fmla="*/ 1798044 w 4829175"/>
                <a:gd name="connsiteY460" fmla="*/ 4312030 h 6515100"/>
                <a:gd name="connsiteX461" fmla="*/ 1793153 w 4829175"/>
                <a:gd name="connsiteY461" fmla="*/ 4307139 h 6515100"/>
                <a:gd name="connsiteX462" fmla="*/ 1795249 w 4829175"/>
                <a:gd name="connsiteY462" fmla="*/ 4307838 h 6515100"/>
                <a:gd name="connsiteX463" fmla="*/ 1569718 w 4829175"/>
                <a:gd name="connsiteY463" fmla="*/ 4082896 h 6515100"/>
                <a:gd name="connsiteX464" fmla="*/ 1567271 w 4829175"/>
                <a:gd name="connsiteY464" fmla="*/ 4082896 h 6515100"/>
                <a:gd name="connsiteX465" fmla="*/ 1528141 w 4829175"/>
                <a:gd name="connsiteY465" fmla="*/ 4043766 h 6515100"/>
                <a:gd name="connsiteX466" fmla="*/ 2363377 w 4829175"/>
                <a:gd name="connsiteY466" fmla="*/ 4043068 h 6515100"/>
                <a:gd name="connsiteX467" fmla="*/ 2630942 w 4829175"/>
                <a:gd name="connsiteY467" fmla="*/ 4310632 h 6515100"/>
                <a:gd name="connsiteX468" fmla="*/ 2632339 w 4829175"/>
                <a:gd name="connsiteY468" fmla="*/ 4312030 h 6515100"/>
                <a:gd name="connsiteX469" fmla="*/ 2363324 w 4829175"/>
                <a:gd name="connsiteY469" fmla="*/ 4581743 h 6515100"/>
                <a:gd name="connsiteX470" fmla="*/ 2625352 w 4829175"/>
                <a:gd name="connsiteY470" fmla="*/ 4581743 h 6515100"/>
                <a:gd name="connsiteX471" fmla="*/ 2895065 w 4829175"/>
                <a:gd name="connsiteY471" fmla="*/ 4311331 h 6515100"/>
                <a:gd name="connsiteX472" fmla="*/ 2890873 w 4829175"/>
                <a:gd name="connsiteY472" fmla="*/ 4307139 h 6515100"/>
                <a:gd name="connsiteX473" fmla="*/ 2892968 w 4829175"/>
                <a:gd name="connsiteY473" fmla="*/ 4307838 h 6515100"/>
                <a:gd name="connsiteX474" fmla="*/ 2668140 w 4829175"/>
                <a:gd name="connsiteY474" fmla="*/ 4083594 h 6515100"/>
                <a:gd name="connsiteX475" fmla="*/ 2666387 w 4829175"/>
                <a:gd name="connsiteY475" fmla="*/ 4083594 h 6515100"/>
                <a:gd name="connsiteX476" fmla="*/ 2625861 w 4829175"/>
                <a:gd name="connsiteY476" fmla="*/ 4043068 h 6515100"/>
                <a:gd name="connsiteX477" fmla="*/ 2911879 w 4829175"/>
                <a:gd name="connsiteY477" fmla="*/ 4041670 h 6515100"/>
                <a:gd name="connsiteX478" fmla="*/ 3179452 w 4829175"/>
                <a:gd name="connsiteY478" fmla="*/ 4309934 h 6515100"/>
                <a:gd name="connsiteX479" fmla="*/ 3087218 w 4829175"/>
                <a:gd name="connsiteY479" fmla="*/ 4402866 h 6515100"/>
                <a:gd name="connsiteX480" fmla="*/ 3087917 w 4829175"/>
                <a:gd name="connsiteY480" fmla="*/ 4403565 h 6515100"/>
                <a:gd name="connsiteX481" fmla="*/ 2911834 w 4829175"/>
                <a:gd name="connsiteY481" fmla="*/ 4579647 h 6515100"/>
                <a:gd name="connsiteX482" fmla="*/ 3108180 w 4829175"/>
                <a:gd name="connsiteY482" fmla="*/ 4579647 h 6515100"/>
                <a:gd name="connsiteX483" fmla="*/ 3107481 w 4829175"/>
                <a:gd name="connsiteY483" fmla="*/ 4581045 h 6515100"/>
                <a:gd name="connsiteX484" fmla="*/ 3173163 w 4829175"/>
                <a:gd name="connsiteY484" fmla="*/ 4581045 h 6515100"/>
                <a:gd name="connsiteX485" fmla="*/ 3443575 w 4829175"/>
                <a:gd name="connsiteY485" fmla="*/ 4309934 h 6515100"/>
                <a:gd name="connsiteX486" fmla="*/ 3215951 w 4829175"/>
                <a:gd name="connsiteY486" fmla="*/ 4082896 h 6515100"/>
                <a:gd name="connsiteX487" fmla="*/ 3215596 w 4829175"/>
                <a:gd name="connsiteY487" fmla="*/ 4082896 h 6515100"/>
                <a:gd name="connsiteX488" fmla="*/ 3174371 w 4829175"/>
                <a:gd name="connsiteY488" fmla="*/ 4041670 h 6515100"/>
                <a:gd name="connsiteX489" fmla="*/ 3459004 w 4829175"/>
                <a:gd name="connsiteY489" fmla="*/ 4040971 h 6515100"/>
                <a:gd name="connsiteX490" fmla="*/ 3728660 w 4829175"/>
                <a:gd name="connsiteY490" fmla="*/ 4309934 h 6515100"/>
                <a:gd name="connsiteX491" fmla="*/ 3458248 w 4829175"/>
                <a:gd name="connsiteY491" fmla="*/ 4580346 h 6515100"/>
                <a:gd name="connsiteX492" fmla="*/ 3722372 w 4829175"/>
                <a:gd name="connsiteY492" fmla="*/ 4580346 h 6515100"/>
                <a:gd name="connsiteX493" fmla="*/ 3992783 w 4829175"/>
                <a:gd name="connsiteY493" fmla="*/ 4309934 h 6515100"/>
                <a:gd name="connsiteX494" fmla="*/ 3765160 w 4829175"/>
                <a:gd name="connsiteY494" fmla="*/ 4082896 h 6515100"/>
                <a:gd name="connsiteX495" fmla="*/ 3764107 w 4829175"/>
                <a:gd name="connsiteY495" fmla="*/ 4082896 h 6515100"/>
                <a:gd name="connsiteX496" fmla="*/ 3722183 w 4829175"/>
                <a:gd name="connsiteY496" fmla="*/ 4040971 h 6515100"/>
                <a:gd name="connsiteX497" fmla="*/ 4007520 w 4829175"/>
                <a:gd name="connsiteY497" fmla="*/ 4040272 h 6515100"/>
                <a:gd name="connsiteX498" fmla="*/ 4277869 w 4829175"/>
                <a:gd name="connsiteY498" fmla="*/ 4308536 h 6515100"/>
                <a:gd name="connsiteX499" fmla="*/ 4007457 w 4829175"/>
                <a:gd name="connsiteY499" fmla="*/ 4579647 h 6515100"/>
                <a:gd name="connsiteX500" fmla="*/ 4270882 w 4829175"/>
                <a:gd name="connsiteY500" fmla="*/ 4579647 h 6515100"/>
                <a:gd name="connsiteX501" fmla="*/ 4541294 w 4829175"/>
                <a:gd name="connsiteY501" fmla="*/ 4308536 h 6515100"/>
                <a:gd name="connsiteX502" fmla="*/ 4407136 w 4829175"/>
                <a:gd name="connsiteY502" fmla="*/ 4175077 h 6515100"/>
                <a:gd name="connsiteX503" fmla="*/ 4314482 w 4829175"/>
                <a:gd name="connsiteY503" fmla="*/ 4082896 h 6515100"/>
                <a:gd name="connsiteX504" fmla="*/ 4313316 w 4829175"/>
                <a:gd name="connsiteY504" fmla="*/ 4082896 h 6515100"/>
                <a:gd name="connsiteX505" fmla="*/ 4270692 w 4829175"/>
                <a:gd name="connsiteY505" fmla="*/ 4040272 h 6515100"/>
                <a:gd name="connsiteX506" fmla="*/ 2354051 w 4829175"/>
                <a:gd name="connsiteY506" fmla="*/ 3769161 h 6515100"/>
                <a:gd name="connsiteX507" fmla="*/ 2084461 w 4829175"/>
                <a:gd name="connsiteY507" fmla="*/ 4039450 h 6515100"/>
                <a:gd name="connsiteX508" fmla="*/ 2353542 w 4829175"/>
                <a:gd name="connsiteY508" fmla="*/ 4307838 h 6515100"/>
                <a:gd name="connsiteX509" fmla="*/ 2616967 w 4829175"/>
                <a:gd name="connsiteY509" fmla="*/ 4307838 h 6515100"/>
                <a:gd name="connsiteX510" fmla="*/ 2392140 w 4829175"/>
                <a:gd name="connsiteY510" fmla="*/ 4083594 h 6515100"/>
                <a:gd name="connsiteX511" fmla="*/ 2391783 w 4829175"/>
                <a:gd name="connsiteY511" fmla="*/ 4083594 h 6515100"/>
                <a:gd name="connsiteX512" fmla="*/ 2347762 w 4829175"/>
                <a:gd name="connsiteY512" fmla="*/ 4039573 h 6515100"/>
                <a:gd name="connsiteX513" fmla="*/ 2347884 w 4829175"/>
                <a:gd name="connsiteY513" fmla="*/ 4039452 h 6515100"/>
                <a:gd name="connsiteX514" fmla="*/ 2347254 w 4829175"/>
                <a:gd name="connsiteY514" fmla="*/ 4038823 h 6515100"/>
                <a:gd name="connsiteX515" fmla="*/ 2347952 w 4829175"/>
                <a:gd name="connsiteY515" fmla="*/ 4038124 h 6515100"/>
                <a:gd name="connsiteX516" fmla="*/ 2346555 w 4829175"/>
                <a:gd name="connsiteY516" fmla="*/ 4036727 h 6515100"/>
                <a:gd name="connsiteX517" fmla="*/ 2521938 w 4829175"/>
                <a:gd name="connsiteY517" fmla="*/ 3860644 h 6515100"/>
                <a:gd name="connsiteX518" fmla="*/ 2526691 w 4829175"/>
                <a:gd name="connsiteY518" fmla="*/ 3860644 h 6515100"/>
                <a:gd name="connsiteX519" fmla="*/ 2532230 w 4829175"/>
                <a:gd name="connsiteY519" fmla="*/ 3855106 h 6515100"/>
                <a:gd name="connsiteX520" fmla="*/ 2618174 w 4829175"/>
                <a:gd name="connsiteY520" fmla="*/ 3769161 h 6515100"/>
                <a:gd name="connsiteX521" fmla="*/ 1804842 w 4829175"/>
                <a:gd name="connsiteY521" fmla="*/ 3769161 h 6515100"/>
                <a:gd name="connsiteX522" fmla="*/ 1535948 w 4829175"/>
                <a:gd name="connsiteY522" fmla="*/ 4038751 h 6515100"/>
                <a:gd name="connsiteX523" fmla="*/ 1805731 w 4829175"/>
                <a:gd name="connsiteY523" fmla="*/ 4307838 h 6515100"/>
                <a:gd name="connsiteX524" fmla="*/ 2069155 w 4829175"/>
                <a:gd name="connsiteY524" fmla="*/ 4307838 h 6515100"/>
                <a:gd name="connsiteX525" fmla="*/ 1939190 w 4829175"/>
                <a:gd name="connsiteY525" fmla="*/ 4177872 h 6515100"/>
                <a:gd name="connsiteX526" fmla="*/ 1844912 w 4829175"/>
                <a:gd name="connsiteY526" fmla="*/ 4083594 h 6515100"/>
                <a:gd name="connsiteX527" fmla="*/ 1841875 w 4829175"/>
                <a:gd name="connsiteY527" fmla="*/ 4083594 h 6515100"/>
                <a:gd name="connsiteX528" fmla="*/ 1798553 w 4829175"/>
                <a:gd name="connsiteY528" fmla="*/ 4040272 h 6515100"/>
                <a:gd name="connsiteX529" fmla="*/ 1800069 w 4829175"/>
                <a:gd name="connsiteY529" fmla="*/ 4038752 h 6515100"/>
                <a:gd name="connsiteX530" fmla="*/ 1798743 w 4829175"/>
                <a:gd name="connsiteY530" fmla="*/ 4037426 h 6515100"/>
                <a:gd name="connsiteX531" fmla="*/ 1974825 w 4829175"/>
                <a:gd name="connsiteY531" fmla="*/ 3860644 h 6515100"/>
                <a:gd name="connsiteX532" fmla="*/ 1977718 w 4829175"/>
                <a:gd name="connsiteY532" fmla="*/ 3860644 h 6515100"/>
                <a:gd name="connsiteX533" fmla="*/ 2068965 w 4829175"/>
                <a:gd name="connsiteY533" fmla="*/ 3769161 h 6515100"/>
                <a:gd name="connsiteX534" fmla="*/ 1257031 w 4829175"/>
                <a:gd name="connsiteY534" fmla="*/ 3769161 h 6515100"/>
                <a:gd name="connsiteX535" fmla="*/ 987788 w 4829175"/>
                <a:gd name="connsiteY535" fmla="*/ 4039100 h 6515100"/>
                <a:gd name="connsiteX536" fmla="*/ 1257220 w 4829175"/>
                <a:gd name="connsiteY536" fmla="*/ 4307838 h 6515100"/>
                <a:gd name="connsiteX537" fmla="*/ 1519946 w 4829175"/>
                <a:gd name="connsiteY537" fmla="*/ 4307838 h 6515100"/>
                <a:gd name="connsiteX538" fmla="*/ 1294422 w 4829175"/>
                <a:gd name="connsiteY538" fmla="*/ 4082896 h 6515100"/>
                <a:gd name="connsiteX539" fmla="*/ 1293365 w 4829175"/>
                <a:gd name="connsiteY539" fmla="*/ 4082896 h 6515100"/>
                <a:gd name="connsiteX540" fmla="*/ 1250742 w 4829175"/>
                <a:gd name="connsiteY540" fmla="*/ 4040272 h 6515100"/>
                <a:gd name="connsiteX541" fmla="*/ 1251213 w 4829175"/>
                <a:gd name="connsiteY541" fmla="*/ 4039800 h 6515100"/>
                <a:gd name="connsiteX542" fmla="*/ 1249534 w 4829175"/>
                <a:gd name="connsiteY542" fmla="*/ 4038124 h 6515100"/>
                <a:gd name="connsiteX543" fmla="*/ 1250932 w 4829175"/>
                <a:gd name="connsiteY543" fmla="*/ 4036727 h 6515100"/>
                <a:gd name="connsiteX544" fmla="*/ 1426315 w 4829175"/>
                <a:gd name="connsiteY544" fmla="*/ 3860644 h 6515100"/>
                <a:gd name="connsiteX545" fmla="*/ 1429907 w 4829175"/>
                <a:gd name="connsiteY545" fmla="*/ 3860644 h 6515100"/>
                <a:gd name="connsiteX546" fmla="*/ 1521154 w 4829175"/>
                <a:gd name="connsiteY546" fmla="*/ 3769161 h 6515100"/>
                <a:gd name="connsiteX547" fmla="*/ 709219 w 4829175"/>
                <a:gd name="connsiteY547" fmla="*/ 3769161 h 6515100"/>
                <a:gd name="connsiteX548" fmla="*/ 438807 w 4829175"/>
                <a:gd name="connsiteY548" fmla="*/ 4040272 h 6515100"/>
                <a:gd name="connsiteX549" fmla="*/ 480732 w 4829175"/>
                <a:gd name="connsiteY549" fmla="*/ 4082197 h 6515100"/>
                <a:gd name="connsiteX550" fmla="*/ 480499 w 4829175"/>
                <a:gd name="connsiteY550" fmla="*/ 4082197 h 6515100"/>
                <a:gd name="connsiteX551" fmla="*/ 708011 w 4829175"/>
                <a:gd name="connsiteY551" fmla="*/ 4308536 h 6515100"/>
                <a:gd name="connsiteX552" fmla="*/ 972135 w 4829175"/>
                <a:gd name="connsiteY552" fmla="*/ 4308536 h 6515100"/>
                <a:gd name="connsiteX553" fmla="*/ 745211 w 4829175"/>
                <a:gd name="connsiteY553" fmla="*/ 4082197 h 6515100"/>
                <a:gd name="connsiteX554" fmla="*/ 744855 w 4829175"/>
                <a:gd name="connsiteY554" fmla="*/ 4082197 h 6515100"/>
                <a:gd name="connsiteX555" fmla="*/ 702930 w 4829175"/>
                <a:gd name="connsiteY555" fmla="*/ 4040272 h 6515100"/>
                <a:gd name="connsiteX556" fmla="*/ 703053 w 4829175"/>
                <a:gd name="connsiteY556" fmla="*/ 4040149 h 6515100"/>
                <a:gd name="connsiteX557" fmla="*/ 701024 w 4829175"/>
                <a:gd name="connsiteY557" fmla="*/ 4038124 h 6515100"/>
                <a:gd name="connsiteX558" fmla="*/ 878504 w 4829175"/>
                <a:gd name="connsiteY558" fmla="*/ 3860644 h 6515100"/>
                <a:gd name="connsiteX559" fmla="*/ 882095 w 4829175"/>
                <a:gd name="connsiteY559" fmla="*/ 3860644 h 6515100"/>
                <a:gd name="connsiteX560" fmla="*/ 973342 w 4829175"/>
                <a:gd name="connsiteY560" fmla="*/ 3769161 h 6515100"/>
                <a:gd name="connsiteX561" fmla="*/ 3451072 w 4829175"/>
                <a:gd name="connsiteY561" fmla="*/ 3767066 h 6515100"/>
                <a:gd name="connsiteX562" fmla="*/ 3181135 w 4829175"/>
                <a:gd name="connsiteY562" fmla="*/ 4037702 h 6515100"/>
                <a:gd name="connsiteX563" fmla="*/ 3312910 w 4829175"/>
                <a:gd name="connsiteY563" fmla="*/ 4168788 h 6515100"/>
                <a:gd name="connsiteX564" fmla="*/ 3312910 w 4829175"/>
                <a:gd name="connsiteY564" fmla="*/ 4169487 h 6515100"/>
                <a:gd name="connsiteX565" fmla="*/ 3450563 w 4829175"/>
                <a:gd name="connsiteY565" fmla="*/ 4306440 h 6515100"/>
                <a:gd name="connsiteX566" fmla="*/ 3714686 w 4829175"/>
                <a:gd name="connsiteY566" fmla="*/ 4306440 h 6515100"/>
                <a:gd name="connsiteX567" fmla="*/ 3490444 w 4829175"/>
                <a:gd name="connsiteY567" fmla="*/ 4082197 h 6515100"/>
                <a:gd name="connsiteX568" fmla="*/ 3489503 w 4829175"/>
                <a:gd name="connsiteY568" fmla="*/ 4082197 h 6515100"/>
                <a:gd name="connsiteX569" fmla="*/ 3444084 w 4829175"/>
                <a:gd name="connsiteY569" fmla="*/ 4036779 h 6515100"/>
                <a:gd name="connsiteX570" fmla="*/ 3444556 w 4829175"/>
                <a:gd name="connsiteY570" fmla="*/ 4036310 h 6515100"/>
                <a:gd name="connsiteX571" fmla="*/ 3444274 w 4829175"/>
                <a:gd name="connsiteY571" fmla="*/ 4036028 h 6515100"/>
                <a:gd name="connsiteX572" fmla="*/ 3618959 w 4829175"/>
                <a:gd name="connsiteY572" fmla="*/ 3860644 h 6515100"/>
                <a:gd name="connsiteX573" fmla="*/ 3621132 w 4829175"/>
                <a:gd name="connsiteY573" fmla="*/ 3860644 h 6515100"/>
                <a:gd name="connsiteX574" fmla="*/ 3715195 w 4829175"/>
                <a:gd name="connsiteY574" fmla="*/ 3767066 h 6515100"/>
                <a:gd name="connsiteX575" fmla="*/ 3999582 w 4829175"/>
                <a:gd name="connsiteY575" fmla="*/ 3766367 h 6515100"/>
                <a:gd name="connsiteX576" fmla="*/ 3729642 w 4829175"/>
                <a:gd name="connsiteY576" fmla="*/ 4037004 h 6515100"/>
                <a:gd name="connsiteX577" fmla="*/ 3999073 w 4829175"/>
                <a:gd name="connsiteY577" fmla="*/ 4305741 h 6515100"/>
                <a:gd name="connsiteX578" fmla="*/ 4263197 w 4829175"/>
                <a:gd name="connsiteY578" fmla="*/ 4305741 h 6515100"/>
                <a:gd name="connsiteX579" fmla="*/ 4039076 w 4829175"/>
                <a:gd name="connsiteY579" fmla="*/ 4082197 h 6515100"/>
                <a:gd name="connsiteX580" fmla="*/ 4038711 w 4829175"/>
                <a:gd name="connsiteY580" fmla="*/ 4082197 h 6515100"/>
                <a:gd name="connsiteX581" fmla="*/ 3992595 w 4829175"/>
                <a:gd name="connsiteY581" fmla="*/ 4036080 h 6515100"/>
                <a:gd name="connsiteX582" fmla="*/ 3992717 w 4829175"/>
                <a:gd name="connsiteY582" fmla="*/ 4035958 h 6515100"/>
                <a:gd name="connsiteX583" fmla="*/ 3992086 w 4829175"/>
                <a:gd name="connsiteY583" fmla="*/ 4035329 h 6515100"/>
                <a:gd name="connsiteX584" fmla="*/ 4166770 w 4829175"/>
                <a:gd name="connsiteY584" fmla="*/ 3860644 h 6515100"/>
                <a:gd name="connsiteX585" fmla="*/ 4168939 w 4829175"/>
                <a:gd name="connsiteY585" fmla="*/ 3860644 h 6515100"/>
                <a:gd name="connsiteX586" fmla="*/ 4263706 w 4829175"/>
                <a:gd name="connsiteY586" fmla="*/ 3766367 h 6515100"/>
                <a:gd name="connsiteX587" fmla="*/ 4547394 w 4829175"/>
                <a:gd name="connsiteY587" fmla="*/ 3765668 h 6515100"/>
                <a:gd name="connsiteX588" fmla="*/ 4277804 w 4829175"/>
                <a:gd name="connsiteY588" fmla="*/ 4035954 h 6515100"/>
                <a:gd name="connsiteX589" fmla="*/ 4410630 w 4829175"/>
                <a:gd name="connsiteY589" fmla="*/ 4168089 h 6515100"/>
                <a:gd name="connsiteX590" fmla="*/ 4547584 w 4829175"/>
                <a:gd name="connsiteY590" fmla="*/ 4305042 h 6515100"/>
                <a:gd name="connsiteX591" fmla="*/ 4811706 w 4829175"/>
                <a:gd name="connsiteY591" fmla="*/ 4305042 h 6515100"/>
                <a:gd name="connsiteX592" fmla="*/ 4588162 w 4829175"/>
                <a:gd name="connsiteY592" fmla="*/ 4081498 h 6515100"/>
                <a:gd name="connsiteX593" fmla="*/ 4587920 w 4829175"/>
                <a:gd name="connsiteY593" fmla="*/ 4081498 h 6515100"/>
                <a:gd name="connsiteX594" fmla="*/ 4541105 w 4829175"/>
                <a:gd name="connsiteY594" fmla="*/ 4035381 h 6515100"/>
                <a:gd name="connsiteX595" fmla="*/ 4541576 w 4829175"/>
                <a:gd name="connsiteY595" fmla="*/ 4034912 h 6515100"/>
                <a:gd name="connsiteX596" fmla="*/ 4541294 w 4829175"/>
                <a:gd name="connsiteY596" fmla="*/ 4034630 h 6515100"/>
                <a:gd name="connsiteX597" fmla="*/ 4542692 w 4829175"/>
                <a:gd name="connsiteY597" fmla="*/ 4033233 h 6515100"/>
                <a:gd name="connsiteX598" fmla="*/ 4714582 w 4829175"/>
                <a:gd name="connsiteY598" fmla="*/ 3860644 h 6515100"/>
                <a:gd name="connsiteX599" fmla="*/ 4716295 w 4829175"/>
                <a:gd name="connsiteY599" fmla="*/ 3860644 h 6515100"/>
                <a:gd name="connsiteX600" fmla="*/ 4811517 w 4829175"/>
                <a:gd name="connsiteY600" fmla="*/ 3765668 h 6515100"/>
                <a:gd name="connsiteX601" fmla="*/ 1264018 w 4829175"/>
                <a:gd name="connsiteY601" fmla="*/ 3493858 h 6515100"/>
                <a:gd name="connsiteX602" fmla="*/ 1535828 w 4829175"/>
                <a:gd name="connsiteY602" fmla="*/ 3763572 h 6515100"/>
                <a:gd name="connsiteX603" fmla="*/ 1266165 w 4829175"/>
                <a:gd name="connsiteY603" fmla="*/ 4033931 h 6515100"/>
                <a:gd name="connsiteX604" fmla="*/ 1527632 w 4829175"/>
                <a:gd name="connsiteY604" fmla="*/ 4033931 h 6515100"/>
                <a:gd name="connsiteX605" fmla="*/ 1700221 w 4829175"/>
                <a:gd name="connsiteY605" fmla="*/ 3860644 h 6515100"/>
                <a:gd name="connsiteX606" fmla="*/ 1702878 w 4829175"/>
                <a:gd name="connsiteY606" fmla="*/ 3860644 h 6515100"/>
                <a:gd name="connsiteX607" fmla="*/ 1799252 w 4829175"/>
                <a:gd name="connsiteY607" fmla="*/ 3764270 h 6515100"/>
                <a:gd name="connsiteX608" fmla="*/ 1665094 w 4829175"/>
                <a:gd name="connsiteY608" fmla="*/ 3630811 h 6515100"/>
                <a:gd name="connsiteX609" fmla="*/ 1528141 w 4829175"/>
                <a:gd name="connsiteY609" fmla="*/ 3493858 h 6515100"/>
                <a:gd name="connsiteX610" fmla="*/ 715508 w 4829175"/>
                <a:gd name="connsiteY610" fmla="*/ 3493858 h 6515100"/>
                <a:gd name="connsiteX611" fmla="*/ 986618 w 4829175"/>
                <a:gd name="connsiteY611" fmla="*/ 3764270 h 6515100"/>
                <a:gd name="connsiteX612" fmla="*/ 716955 w 4829175"/>
                <a:gd name="connsiteY612" fmla="*/ 4034630 h 6515100"/>
                <a:gd name="connsiteX613" fmla="*/ 979122 w 4829175"/>
                <a:gd name="connsiteY613" fmla="*/ 4034630 h 6515100"/>
                <a:gd name="connsiteX614" fmla="*/ 1067862 w 4829175"/>
                <a:gd name="connsiteY614" fmla="*/ 3945192 h 6515100"/>
                <a:gd name="connsiteX615" fmla="*/ 1152410 w 4829175"/>
                <a:gd name="connsiteY615" fmla="*/ 3860644 h 6515100"/>
                <a:gd name="connsiteX616" fmla="*/ 1154616 w 4829175"/>
                <a:gd name="connsiteY616" fmla="*/ 3860644 h 6515100"/>
                <a:gd name="connsiteX617" fmla="*/ 1250742 w 4829175"/>
                <a:gd name="connsiteY617" fmla="*/ 3764270 h 6515100"/>
                <a:gd name="connsiteX618" fmla="*/ 979631 w 4829175"/>
                <a:gd name="connsiteY618" fmla="*/ 3493858 h 6515100"/>
                <a:gd name="connsiteX619" fmla="*/ 165601 w 4829175"/>
                <a:gd name="connsiteY619" fmla="*/ 3493858 h 6515100"/>
                <a:gd name="connsiteX620" fmla="*/ 436711 w 4829175"/>
                <a:gd name="connsiteY620" fmla="*/ 3764270 h 6515100"/>
                <a:gd name="connsiteX621" fmla="*/ 438108 w 4829175"/>
                <a:gd name="connsiteY621" fmla="*/ 3764969 h 6515100"/>
                <a:gd name="connsiteX622" fmla="*/ 169094 w 4829175"/>
                <a:gd name="connsiteY622" fmla="*/ 4034682 h 6515100"/>
                <a:gd name="connsiteX623" fmla="*/ 365440 w 4829175"/>
                <a:gd name="connsiteY623" fmla="*/ 4034682 h 6515100"/>
                <a:gd name="connsiteX624" fmla="*/ 365116 w 4829175"/>
                <a:gd name="connsiteY624" fmla="*/ 4035329 h 6515100"/>
                <a:gd name="connsiteX625" fmla="*/ 430612 w 4829175"/>
                <a:gd name="connsiteY625" fmla="*/ 4035329 h 6515100"/>
                <a:gd name="connsiteX626" fmla="*/ 604598 w 4829175"/>
                <a:gd name="connsiteY626" fmla="*/ 3860644 h 6515100"/>
                <a:gd name="connsiteX627" fmla="*/ 606802 w 4829175"/>
                <a:gd name="connsiteY627" fmla="*/ 3860644 h 6515100"/>
                <a:gd name="connsiteX628" fmla="*/ 701533 w 4829175"/>
                <a:gd name="connsiteY628" fmla="*/ 3765668 h 6515100"/>
                <a:gd name="connsiteX629" fmla="*/ 430423 w 4829175"/>
                <a:gd name="connsiteY629" fmla="*/ 3495256 h 6515100"/>
                <a:gd name="connsiteX630" fmla="*/ 362644 w 4829175"/>
                <a:gd name="connsiteY630" fmla="*/ 3493858 h 6515100"/>
                <a:gd name="connsiteX631" fmla="*/ 2361039 w 4829175"/>
                <a:gd name="connsiteY631" fmla="*/ 3493160 h 6515100"/>
                <a:gd name="connsiteX632" fmla="*/ 2631451 w 4829175"/>
                <a:gd name="connsiteY632" fmla="*/ 3762174 h 6515100"/>
                <a:gd name="connsiteX633" fmla="*/ 2628655 w 4829175"/>
                <a:gd name="connsiteY633" fmla="*/ 3764969 h 6515100"/>
                <a:gd name="connsiteX634" fmla="*/ 2538519 w 4829175"/>
                <a:gd name="connsiteY634" fmla="*/ 3855806 h 6515100"/>
                <a:gd name="connsiteX635" fmla="*/ 2361789 w 4829175"/>
                <a:gd name="connsiteY635" fmla="*/ 4032535 h 6515100"/>
                <a:gd name="connsiteX636" fmla="*/ 2624653 w 4829175"/>
                <a:gd name="connsiteY636" fmla="*/ 4032535 h 6515100"/>
                <a:gd name="connsiteX637" fmla="*/ 2795844 w 4829175"/>
                <a:gd name="connsiteY637" fmla="*/ 3860644 h 6515100"/>
                <a:gd name="connsiteX638" fmla="*/ 2797802 w 4829175"/>
                <a:gd name="connsiteY638" fmla="*/ 3860644 h 6515100"/>
                <a:gd name="connsiteX639" fmla="*/ 2895574 w 4829175"/>
                <a:gd name="connsiteY639" fmla="*/ 3762873 h 6515100"/>
                <a:gd name="connsiteX640" fmla="*/ 2625162 w 4829175"/>
                <a:gd name="connsiteY640" fmla="*/ 3493160 h 6515100"/>
                <a:gd name="connsiteX641" fmla="*/ 1812528 w 4829175"/>
                <a:gd name="connsiteY641" fmla="*/ 3493160 h 6515100"/>
                <a:gd name="connsiteX642" fmla="*/ 1813926 w 4829175"/>
                <a:gd name="connsiteY642" fmla="*/ 3494557 h 6515100"/>
                <a:gd name="connsiteX643" fmla="*/ 2083639 w 4829175"/>
                <a:gd name="connsiteY643" fmla="*/ 3763572 h 6515100"/>
                <a:gd name="connsiteX644" fmla="*/ 1814673 w 4829175"/>
                <a:gd name="connsiteY644" fmla="*/ 4033233 h 6515100"/>
                <a:gd name="connsiteX645" fmla="*/ 2076143 w 4829175"/>
                <a:gd name="connsiteY645" fmla="*/ 4033233 h 6515100"/>
                <a:gd name="connsiteX646" fmla="*/ 2248033 w 4829175"/>
                <a:gd name="connsiteY646" fmla="*/ 3860644 h 6515100"/>
                <a:gd name="connsiteX647" fmla="*/ 2250940 w 4829175"/>
                <a:gd name="connsiteY647" fmla="*/ 3860644 h 6515100"/>
                <a:gd name="connsiteX648" fmla="*/ 2347762 w 4829175"/>
                <a:gd name="connsiteY648" fmla="*/ 3763572 h 6515100"/>
                <a:gd name="connsiteX649" fmla="*/ 2342173 w 4829175"/>
                <a:gd name="connsiteY649" fmla="*/ 3758681 h 6515100"/>
                <a:gd name="connsiteX650" fmla="*/ 2076652 w 4829175"/>
                <a:gd name="connsiteY650" fmla="*/ 3493160 h 6515100"/>
                <a:gd name="connsiteX651" fmla="*/ 4005871 w 4829175"/>
                <a:gd name="connsiteY651" fmla="*/ 3491064 h 6515100"/>
                <a:gd name="connsiteX652" fmla="*/ 4277680 w 4829175"/>
                <a:gd name="connsiteY652" fmla="*/ 3760776 h 6515100"/>
                <a:gd name="connsiteX653" fmla="*/ 4008016 w 4829175"/>
                <a:gd name="connsiteY653" fmla="*/ 4031137 h 6515100"/>
                <a:gd name="connsiteX654" fmla="*/ 4270183 w 4829175"/>
                <a:gd name="connsiteY654" fmla="*/ 4031137 h 6515100"/>
                <a:gd name="connsiteX655" fmla="*/ 4359622 w 4829175"/>
                <a:gd name="connsiteY655" fmla="*/ 3941698 h 6515100"/>
                <a:gd name="connsiteX656" fmla="*/ 4440676 w 4829175"/>
                <a:gd name="connsiteY656" fmla="*/ 3860644 h 6515100"/>
                <a:gd name="connsiteX657" fmla="*/ 4441937 w 4829175"/>
                <a:gd name="connsiteY657" fmla="*/ 3860644 h 6515100"/>
                <a:gd name="connsiteX658" fmla="*/ 4541105 w 4829175"/>
                <a:gd name="connsiteY658" fmla="*/ 3761476 h 6515100"/>
                <a:gd name="connsiteX659" fmla="*/ 4406947 w 4829175"/>
                <a:gd name="connsiteY659" fmla="*/ 3628017 h 6515100"/>
                <a:gd name="connsiteX660" fmla="*/ 4269994 w 4829175"/>
                <a:gd name="connsiteY660" fmla="*/ 3491064 h 6515100"/>
                <a:gd name="connsiteX661" fmla="*/ 3721484 w 4829175"/>
                <a:gd name="connsiteY661" fmla="*/ 3490365 h 6515100"/>
                <a:gd name="connsiteX662" fmla="*/ 3457360 w 4829175"/>
                <a:gd name="connsiteY662" fmla="*/ 3491064 h 6515100"/>
                <a:gd name="connsiteX663" fmla="*/ 3728471 w 4829175"/>
                <a:gd name="connsiteY663" fmla="*/ 3761476 h 6515100"/>
                <a:gd name="connsiteX664" fmla="*/ 3458808 w 4829175"/>
                <a:gd name="connsiteY664" fmla="*/ 4031836 h 6515100"/>
                <a:gd name="connsiteX665" fmla="*/ 3721674 w 4829175"/>
                <a:gd name="connsiteY665" fmla="*/ 4031836 h 6515100"/>
                <a:gd name="connsiteX666" fmla="*/ 3892166 w 4829175"/>
                <a:gd name="connsiteY666" fmla="*/ 3859946 h 6515100"/>
                <a:gd name="connsiteX667" fmla="*/ 3893935 w 4829175"/>
                <a:gd name="connsiteY667" fmla="*/ 3859946 h 6515100"/>
                <a:gd name="connsiteX668" fmla="*/ 3992595 w 4829175"/>
                <a:gd name="connsiteY668" fmla="*/ 3760776 h 6515100"/>
                <a:gd name="connsiteX669" fmla="*/ 707821 w 4829175"/>
                <a:gd name="connsiteY669" fmla="*/ 3220651 h 6515100"/>
                <a:gd name="connsiteX670" fmla="*/ 437409 w 4829175"/>
                <a:gd name="connsiteY670" fmla="*/ 3491762 h 6515100"/>
                <a:gd name="connsiteX671" fmla="*/ 570170 w 4829175"/>
                <a:gd name="connsiteY671" fmla="*/ 3623824 h 6515100"/>
                <a:gd name="connsiteX672" fmla="*/ 708520 w 4829175"/>
                <a:gd name="connsiteY672" fmla="*/ 3761476 h 6515100"/>
                <a:gd name="connsiteX673" fmla="*/ 972643 w 4829175"/>
                <a:gd name="connsiteY673" fmla="*/ 3761476 h 6515100"/>
                <a:gd name="connsiteX674" fmla="*/ 701533 w 4829175"/>
                <a:gd name="connsiteY674" fmla="*/ 3491064 h 6515100"/>
                <a:gd name="connsiteX675" fmla="*/ 971945 w 4829175"/>
                <a:gd name="connsiteY675" fmla="*/ 3220651 h 6515100"/>
                <a:gd name="connsiteX676" fmla="*/ 1256332 w 4829175"/>
                <a:gd name="connsiteY676" fmla="*/ 3219953 h 6515100"/>
                <a:gd name="connsiteX677" fmla="*/ 985920 w 4829175"/>
                <a:gd name="connsiteY677" fmla="*/ 3491064 h 6515100"/>
                <a:gd name="connsiteX678" fmla="*/ 1257031 w 4829175"/>
                <a:gd name="connsiteY678" fmla="*/ 3761476 h 6515100"/>
                <a:gd name="connsiteX679" fmla="*/ 1521154 w 4829175"/>
                <a:gd name="connsiteY679" fmla="*/ 3760776 h 6515100"/>
                <a:gd name="connsiteX680" fmla="*/ 1250043 w 4829175"/>
                <a:gd name="connsiteY680" fmla="*/ 3490365 h 6515100"/>
                <a:gd name="connsiteX681" fmla="*/ 1434510 w 4829175"/>
                <a:gd name="connsiteY681" fmla="*/ 3305898 h 6515100"/>
                <a:gd name="connsiteX682" fmla="*/ 1520455 w 4829175"/>
                <a:gd name="connsiteY682" fmla="*/ 3219953 h 6515100"/>
                <a:gd name="connsiteX683" fmla="*/ 1804143 w 4829175"/>
                <a:gd name="connsiteY683" fmla="*/ 3219255 h 6515100"/>
                <a:gd name="connsiteX684" fmla="*/ 1623869 w 4829175"/>
                <a:gd name="connsiteY684" fmla="*/ 3400228 h 6515100"/>
                <a:gd name="connsiteX685" fmla="*/ 1534430 w 4829175"/>
                <a:gd name="connsiteY685" fmla="*/ 3490365 h 6515100"/>
                <a:gd name="connsiteX686" fmla="*/ 1668588 w 4829175"/>
                <a:gd name="connsiteY686" fmla="*/ 3623824 h 6515100"/>
                <a:gd name="connsiteX687" fmla="*/ 1805541 w 4829175"/>
                <a:gd name="connsiteY687" fmla="*/ 3760776 h 6515100"/>
                <a:gd name="connsiteX688" fmla="*/ 2069664 w 4829175"/>
                <a:gd name="connsiteY688" fmla="*/ 3760078 h 6515100"/>
                <a:gd name="connsiteX689" fmla="*/ 1798553 w 4829175"/>
                <a:gd name="connsiteY689" fmla="*/ 3489666 h 6515100"/>
                <a:gd name="connsiteX690" fmla="*/ 1799951 w 4829175"/>
                <a:gd name="connsiteY690" fmla="*/ 3488269 h 6515100"/>
                <a:gd name="connsiteX691" fmla="*/ 2068266 w 4829175"/>
                <a:gd name="connsiteY691" fmla="*/ 3219255 h 6515100"/>
                <a:gd name="connsiteX692" fmla="*/ 2353352 w 4829175"/>
                <a:gd name="connsiteY692" fmla="*/ 3218555 h 6515100"/>
                <a:gd name="connsiteX693" fmla="*/ 2082940 w 4829175"/>
                <a:gd name="connsiteY693" fmla="*/ 3489666 h 6515100"/>
                <a:gd name="connsiteX694" fmla="*/ 2354051 w 4829175"/>
                <a:gd name="connsiteY694" fmla="*/ 3760078 h 6515100"/>
                <a:gd name="connsiteX695" fmla="*/ 2618174 w 4829175"/>
                <a:gd name="connsiteY695" fmla="*/ 3760078 h 6515100"/>
                <a:gd name="connsiteX696" fmla="*/ 2347064 w 4829175"/>
                <a:gd name="connsiteY696" fmla="*/ 3489666 h 6515100"/>
                <a:gd name="connsiteX697" fmla="*/ 2617476 w 4829175"/>
                <a:gd name="connsiteY697" fmla="*/ 3218555 h 6515100"/>
                <a:gd name="connsiteX698" fmla="*/ 3449674 w 4829175"/>
                <a:gd name="connsiteY698" fmla="*/ 3217158 h 6515100"/>
                <a:gd name="connsiteX699" fmla="*/ 3179262 w 4829175"/>
                <a:gd name="connsiteY699" fmla="*/ 3488269 h 6515100"/>
                <a:gd name="connsiteX700" fmla="*/ 3450373 w 4829175"/>
                <a:gd name="connsiteY700" fmla="*/ 3758681 h 6515100"/>
                <a:gd name="connsiteX701" fmla="*/ 3714496 w 4829175"/>
                <a:gd name="connsiteY701" fmla="*/ 3758681 h 6515100"/>
                <a:gd name="connsiteX702" fmla="*/ 3443385 w 4829175"/>
                <a:gd name="connsiteY702" fmla="*/ 3488269 h 6515100"/>
                <a:gd name="connsiteX703" fmla="*/ 3713797 w 4829175"/>
                <a:gd name="connsiteY703" fmla="*/ 3217158 h 6515100"/>
                <a:gd name="connsiteX704" fmla="*/ 3998184 w 4829175"/>
                <a:gd name="connsiteY704" fmla="*/ 3216459 h 6515100"/>
                <a:gd name="connsiteX705" fmla="*/ 3727772 w 4829175"/>
                <a:gd name="connsiteY705" fmla="*/ 3487570 h 6515100"/>
                <a:gd name="connsiteX706" fmla="*/ 3998883 w 4829175"/>
                <a:gd name="connsiteY706" fmla="*/ 3757982 h 6515100"/>
                <a:gd name="connsiteX707" fmla="*/ 4263007 w 4829175"/>
                <a:gd name="connsiteY707" fmla="*/ 3757283 h 6515100"/>
                <a:gd name="connsiteX708" fmla="*/ 3991896 w 4829175"/>
                <a:gd name="connsiteY708" fmla="*/ 3486871 h 6515100"/>
                <a:gd name="connsiteX709" fmla="*/ 4176362 w 4829175"/>
                <a:gd name="connsiteY709" fmla="*/ 3302404 h 6515100"/>
                <a:gd name="connsiteX710" fmla="*/ 4177062 w 4829175"/>
                <a:gd name="connsiteY710" fmla="*/ 3302404 h 6515100"/>
                <a:gd name="connsiteX711" fmla="*/ 4262308 w 4829175"/>
                <a:gd name="connsiteY711" fmla="*/ 3216459 h 6515100"/>
                <a:gd name="connsiteX712" fmla="*/ 4546695 w 4829175"/>
                <a:gd name="connsiteY712" fmla="*/ 3215760 h 6515100"/>
                <a:gd name="connsiteX713" fmla="*/ 4366420 w 4829175"/>
                <a:gd name="connsiteY713" fmla="*/ 3396734 h 6515100"/>
                <a:gd name="connsiteX714" fmla="*/ 4365722 w 4829175"/>
                <a:gd name="connsiteY714" fmla="*/ 3396734 h 6515100"/>
                <a:gd name="connsiteX715" fmla="*/ 4276282 w 4829175"/>
                <a:gd name="connsiteY715" fmla="*/ 3486871 h 6515100"/>
                <a:gd name="connsiteX716" fmla="*/ 4410440 w 4829175"/>
                <a:gd name="connsiteY716" fmla="*/ 3620330 h 6515100"/>
                <a:gd name="connsiteX717" fmla="*/ 4547394 w 4829175"/>
                <a:gd name="connsiteY717" fmla="*/ 3757283 h 6515100"/>
                <a:gd name="connsiteX718" fmla="*/ 4811517 w 4829175"/>
                <a:gd name="connsiteY718" fmla="*/ 3757283 h 6515100"/>
                <a:gd name="connsiteX719" fmla="*/ 4540406 w 4829175"/>
                <a:gd name="connsiteY719" fmla="*/ 3486871 h 6515100"/>
                <a:gd name="connsiteX720" fmla="*/ 4542503 w 4829175"/>
                <a:gd name="connsiteY720" fmla="*/ 3485473 h 6515100"/>
                <a:gd name="connsiteX721" fmla="*/ 4810119 w 4829175"/>
                <a:gd name="connsiteY721" fmla="*/ 3215760 h 6515100"/>
                <a:gd name="connsiteX722" fmla="*/ 1263319 w 4829175"/>
                <a:gd name="connsiteY722" fmla="*/ 2946047 h 6515100"/>
                <a:gd name="connsiteX723" fmla="*/ 1534430 w 4829175"/>
                <a:gd name="connsiteY723" fmla="*/ 3215760 h 6515100"/>
                <a:gd name="connsiteX724" fmla="*/ 1531636 w 4829175"/>
                <a:gd name="connsiteY724" fmla="*/ 3218555 h 6515100"/>
                <a:gd name="connsiteX725" fmla="*/ 1441498 w 4829175"/>
                <a:gd name="connsiteY725" fmla="*/ 3309391 h 6515100"/>
                <a:gd name="connsiteX726" fmla="*/ 1264018 w 4829175"/>
                <a:gd name="connsiteY726" fmla="*/ 3486871 h 6515100"/>
                <a:gd name="connsiteX727" fmla="*/ 1528141 w 4829175"/>
                <a:gd name="connsiteY727" fmla="*/ 3486871 h 6515100"/>
                <a:gd name="connsiteX728" fmla="*/ 1617580 w 4829175"/>
                <a:gd name="connsiteY728" fmla="*/ 3397432 h 6515100"/>
                <a:gd name="connsiteX729" fmla="*/ 1798553 w 4829175"/>
                <a:gd name="connsiteY729" fmla="*/ 3216459 h 6515100"/>
                <a:gd name="connsiteX730" fmla="*/ 1527442 w 4829175"/>
                <a:gd name="connsiteY730" fmla="*/ 2946047 h 6515100"/>
                <a:gd name="connsiteX731" fmla="*/ 714809 w 4829175"/>
                <a:gd name="connsiteY731" fmla="*/ 2946047 h 6515100"/>
                <a:gd name="connsiteX732" fmla="*/ 843377 w 4829175"/>
                <a:gd name="connsiteY732" fmla="*/ 3074615 h 6515100"/>
                <a:gd name="connsiteX733" fmla="*/ 985221 w 4829175"/>
                <a:gd name="connsiteY733" fmla="*/ 3216459 h 6515100"/>
                <a:gd name="connsiteX734" fmla="*/ 714809 w 4829175"/>
                <a:gd name="connsiteY734" fmla="*/ 3487570 h 6515100"/>
                <a:gd name="connsiteX735" fmla="*/ 978932 w 4829175"/>
                <a:gd name="connsiteY735" fmla="*/ 3487570 h 6515100"/>
                <a:gd name="connsiteX736" fmla="*/ 1249344 w 4829175"/>
                <a:gd name="connsiteY736" fmla="*/ 3216459 h 6515100"/>
                <a:gd name="connsiteX737" fmla="*/ 1244453 w 4829175"/>
                <a:gd name="connsiteY737" fmla="*/ 3211568 h 6515100"/>
                <a:gd name="connsiteX738" fmla="*/ 978932 w 4829175"/>
                <a:gd name="connsiteY738" fmla="*/ 2946047 h 6515100"/>
                <a:gd name="connsiteX739" fmla="*/ 164902 w 4829175"/>
                <a:gd name="connsiteY739" fmla="*/ 2946047 h 6515100"/>
                <a:gd name="connsiteX740" fmla="*/ 436013 w 4829175"/>
                <a:gd name="connsiteY740" fmla="*/ 3215760 h 6515100"/>
                <a:gd name="connsiteX741" fmla="*/ 433217 w 4829175"/>
                <a:gd name="connsiteY741" fmla="*/ 3218555 h 6515100"/>
                <a:gd name="connsiteX742" fmla="*/ 343079 w 4829175"/>
                <a:gd name="connsiteY742" fmla="*/ 3309391 h 6515100"/>
                <a:gd name="connsiteX743" fmla="*/ 165601 w 4829175"/>
                <a:gd name="connsiteY743" fmla="*/ 3486871 h 6515100"/>
                <a:gd name="connsiteX744" fmla="*/ 429724 w 4829175"/>
                <a:gd name="connsiteY744" fmla="*/ 3486871 h 6515100"/>
                <a:gd name="connsiteX745" fmla="*/ 519162 w 4829175"/>
                <a:gd name="connsiteY745" fmla="*/ 3397432 h 6515100"/>
                <a:gd name="connsiteX746" fmla="*/ 700136 w 4829175"/>
                <a:gd name="connsiteY746" fmla="*/ 3216459 h 6515100"/>
                <a:gd name="connsiteX747" fmla="*/ 429025 w 4829175"/>
                <a:gd name="connsiteY747" fmla="*/ 2946047 h 6515100"/>
                <a:gd name="connsiteX748" fmla="*/ 2908151 w 4829175"/>
                <a:gd name="connsiteY748" fmla="*/ 2945348 h 6515100"/>
                <a:gd name="connsiteX749" fmla="*/ 3179262 w 4829175"/>
                <a:gd name="connsiteY749" fmla="*/ 3215760 h 6515100"/>
                <a:gd name="connsiteX750" fmla="*/ 2908850 w 4829175"/>
                <a:gd name="connsiteY750" fmla="*/ 3486871 h 6515100"/>
                <a:gd name="connsiteX751" fmla="*/ 3107292 w 4829175"/>
                <a:gd name="connsiteY751" fmla="*/ 3486871 h 6515100"/>
                <a:gd name="connsiteX752" fmla="*/ 3103798 w 4829175"/>
                <a:gd name="connsiteY752" fmla="*/ 3493858 h 6515100"/>
                <a:gd name="connsiteX753" fmla="*/ 2908850 w 4829175"/>
                <a:gd name="connsiteY753" fmla="*/ 3493858 h 6515100"/>
                <a:gd name="connsiteX754" fmla="*/ 3038815 w 4829175"/>
                <a:gd name="connsiteY754" fmla="*/ 3623824 h 6515100"/>
                <a:gd name="connsiteX755" fmla="*/ 3035322 w 4829175"/>
                <a:gd name="connsiteY755" fmla="*/ 3630811 h 6515100"/>
                <a:gd name="connsiteX756" fmla="*/ 2894875 w 4829175"/>
                <a:gd name="connsiteY756" fmla="*/ 3490365 h 6515100"/>
                <a:gd name="connsiteX757" fmla="*/ 3165287 w 4829175"/>
                <a:gd name="connsiteY757" fmla="*/ 3219255 h 6515100"/>
                <a:gd name="connsiteX758" fmla="*/ 2901164 w 4829175"/>
                <a:gd name="connsiteY758" fmla="*/ 3219255 h 6515100"/>
                <a:gd name="connsiteX759" fmla="*/ 2630752 w 4829175"/>
                <a:gd name="connsiteY759" fmla="*/ 3490365 h 6515100"/>
                <a:gd name="connsiteX760" fmla="*/ 2901863 w 4829175"/>
                <a:gd name="connsiteY760" fmla="*/ 3760776 h 6515100"/>
                <a:gd name="connsiteX761" fmla="*/ 2970339 w 4829175"/>
                <a:gd name="connsiteY761" fmla="*/ 3760776 h 6515100"/>
                <a:gd name="connsiteX762" fmla="*/ 2966846 w 4829175"/>
                <a:gd name="connsiteY762" fmla="*/ 3767764 h 6515100"/>
                <a:gd name="connsiteX763" fmla="*/ 2901863 w 4829175"/>
                <a:gd name="connsiteY763" fmla="*/ 3767764 h 6515100"/>
                <a:gd name="connsiteX764" fmla="*/ 2721588 w 4829175"/>
                <a:gd name="connsiteY764" fmla="*/ 3948738 h 6515100"/>
                <a:gd name="connsiteX765" fmla="*/ 2633317 w 4829175"/>
                <a:gd name="connsiteY765" fmla="*/ 4037700 h 6515100"/>
                <a:gd name="connsiteX766" fmla="*/ 2902751 w 4829175"/>
                <a:gd name="connsiteY766" fmla="*/ 4306440 h 6515100"/>
                <a:gd name="connsiteX767" fmla="*/ 3165477 w 4829175"/>
                <a:gd name="connsiteY767" fmla="*/ 4306440 h 6515100"/>
                <a:gd name="connsiteX768" fmla="*/ 3036210 w 4829175"/>
                <a:gd name="connsiteY768" fmla="*/ 4177174 h 6515100"/>
                <a:gd name="connsiteX769" fmla="*/ 3036909 w 4829175"/>
                <a:gd name="connsiteY769" fmla="*/ 4176475 h 6515100"/>
                <a:gd name="connsiteX770" fmla="*/ 2942163 w 4829175"/>
                <a:gd name="connsiteY770" fmla="*/ 4082197 h 6515100"/>
                <a:gd name="connsiteX771" fmla="*/ 2940992 w 4829175"/>
                <a:gd name="connsiteY771" fmla="*/ 4082197 h 6515100"/>
                <a:gd name="connsiteX772" fmla="*/ 2896273 w 4829175"/>
                <a:gd name="connsiteY772" fmla="*/ 4037478 h 6515100"/>
                <a:gd name="connsiteX773" fmla="*/ 2896745 w 4829175"/>
                <a:gd name="connsiteY773" fmla="*/ 4037005 h 6515100"/>
                <a:gd name="connsiteX774" fmla="*/ 2895764 w 4829175"/>
                <a:gd name="connsiteY774" fmla="*/ 4036028 h 6515100"/>
                <a:gd name="connsiteX775" fmla="*/ 3070448 w 4829175"/>
                <a:gd name="connsiteY775" fmla="*/ 3860644 h 6515100"/>
                <a:gd name="connsiteX776" fmla="*/ 3072651 w 4829175"/>
                <a:gd name="connsiteY776" fmla="*/ 3860644 h 6515100"/>
                <a:gd name="connsiteX777" fmla="*/ 3165986 w 4829175"/>
                <a:gd name="connsiteY777" fmla="*/ 3767066 h 6515100"/>
                <a:gd name="connsiteX778" fmla="*/ 2967543 w 4829175"/>
                <a:gd name="connsiteY778" fmla="*/ 3767066 h 6515100"/>
                <a:gd name="connsiteX779" fmla="*/ 2971038 w 4829175"/>
                <a:gd name="connsiteY779" fmla="*/ 3760078 h 6515100"/>
                <a:gd name="connsiteX780" fmla="*/ 3165986 w 4829175"/>
                <a:gd name="connsiteY780" fmla="*/ 3760078 h 6515100"/>
                <a:gd name="connsiteX781" fmla="*/ 3036021 w 4829175"/>
                <a:gd name="connsiteY781" fmla="*/ 3630113 h 6515100"/>
                <a:gd name="connsiteX782" fmla="*/ 3039514 w 4829175"/>
                <a:gd name="connsiteY782" fmla="*/ 3623126 h 6515100"/>
                <a:gd name="connsiteX783" fmla="*/ 3179961 w 4829175"/>
                <a:gd name="connsiteY783" fmla="*/ 3763572 h 6515100"/>
                <a:gd name="connsiteX784" fmla="*/ 2912388 w 4829175"/>
                <a:gd name="connsiteY784" fmla="*/ 4031836 h 6515100"/>
                <a:gd name="connsiteX785" fmla="*/ 3173163 w 4829175"/>
                <a:gd name="connsiteY785" fmla="*/ 4031836 h 6515100"/>
                <a:gd name="connsiteX786" fmla="*/ 3262601 w 4829175"/>
                <a:gd name="connsiteY786" fmla="*/ 3942397 h 6515100"/>
                <a:gd name="connsiteX787" fmla="*/ 3344354 w 4829175"/>
                <a:gd name="connsiteY787" fmla="*/ 3860644 h 6515100"/>
                <a:gd name="connsiteX788" fmla="*/ 3347262 w 4829175"/>
                <a:gd name="connsiteY788" fmla="*/ 3860644 h 6515100"/>
                <a:gd name="connsiteX789" fmla="*/ 3444084 w 4829175"/>
                <a:gd name="connsiteY789" fmla="*/ 3763572 h 6515100"/>
                <a:gd name="connsiteX790" fmla="*/ 3172973 w 4829175"/>
                <a:gd name="connsiteY790" fmla="*/ 3493858 h 6515100"/>
                <a:gd name="connsiteX791" fmla="*/ 3104497 w 4829175"/>
                <a:gd name="connsiteY791" fmla="*/ 3493858 h 6515100"/>
                <a:gd name="connsiteX792" fmla="*/ 3107990 w 4829175"/>
                <a:gd name="connsiteY792" fmla="*/ 3486871 h 6515100"/>
                <a:gd name="connsiteX793" fmla="*/ 3172973 w 4829175"/>
                <a:gd name="connsiteY793" fmla="*/ 3486871 h 6515100"/>
                <a:gd name="connsiteX794" fmla="*/ 3443385 w 4829175"/>
                <a:gd name="connsiteY794" fmla="*/ 3215760 h 6515100"/>
                <a:gd name="connsiteX795" fmla="*/ 3309227 w 4829175"/>
                <a:gd name="connsiteY795" fmla="*/ 3082301 h 6515100"/>
                <a:gd name="connsiteX796" fmla="*/ 3172275 w 4829175"/>
                <a:gd name="connsiteY796" fmla="*/ 2945348 h 6515100"/>
                <a:gd name="connsiteX797" fmla="*/ 1811829 w 4829175"/>
                <a:gd name="connsiteY797" fmla="*/ 2944649 h 6515100"/>
                <a:gd name="connsiteX798" fmla="*/ 1941795 w 4829175"/>
                <a:gd name="connsiteY798" fmla="*/ 3074615 h 6515100"/>
                <a:gd name="connsiteX799" fmla="*/ 2082940 w 4829175"/>
                <a:gd name="connsiteY799" fmla="*/ 3215061 h 6515100"/>
                <a:gd name="connsiteX800" fmla="*/ 1812528 w 4829175"/>
                <a:gd name="connsiteY800" fmla="*/ 3486172 h 6515100"/>
                <a:gd name="connsiteX801" fmla="*/ 2076652 w 4829175"/>
                <a:gd name="connsiteY801" fmla="*/ 3486172 h 6515100"/>
                <a:gd name="connsiteX802" fmla="*/ 2347064 w 4829175"/>
                <a:gd name="connsiteY802" fmla="*/ 3215061 h 6515100"/>
                <a:gd name="connsiteX803" fmla="*/ 2075953 w 4829175"/>
                <a:gd name="connsiteY803" fmla="*/ 2944649 h 6515100"/>
                <a:gd name="connsiteX804" fmla="*/ 2360340 w 4829175"/>
                <a:gd name="connsiteY804" fmla="*/ 2943952 h 6515100"/>
                <a:gd name="connsiteX805" fmla="*/ 2631451 w 4829175"/>
                <a:gd name="connsiteY805" fmla="*/ 3214364 h 6515100"/>
                <a:gd name="connsiteX806" fmla="*/ 2361039 w 4829175"/>
                <a:gd name="connsiteY806" fmla="*/ 3485473 h 6515100"/>
                <a:gd name="connsiteX807" fmla="*/ 2625162 w 4829175"/>
                <a:gd name="connsiteY807" fmla="*/ 3485473 h 6515100"/>
                <a:gd name="connsiteX808" fmla="*/ 2895574 w 4829175"/>
                <a:gd name="connsiteY808" fmla="*/ 3214364 h 6515100"/>
                <a:gd name="connsiteX809" fmla="*/ 2624463 w 4829175"/>
                <a:gd name="connsiteY809" fmla="*/ 2943952 h 6515100"/>
                <a:gd name="connsiteX810" fmla="*/ 4005871 w 4829175"/>
                <a:gd name="connsiteY810" fmla="*/ 2943253 h 6515100"/>
                <a:gd name="connsiteX811" fmla="*/ 4275584 w 4829175"/>
                <a:gd name="connsiteY811" fmla="*/ 3212267 h 6515100"/>
                <a:gd name="connsiteX812" fmla="*/ 4272789 w 4829175"/>
                <a:gd name="connsiteY812" fmla="*/ 3215061 h 6515100"/>
                <a:gd name="connsiteX813" fmla="*/ 4182652 w 4829175"/>
                <a:gd name="connsiteY813" fmla="*/ 3305898 h 6515100"/>
                <a:gd name="connsiteX814" fmla="*/ 4181952 w 4829175"/>
                <a:gd name="connsiteY814" fmla="*/ 3305898 h 6515100"/>
                <a:gd name="connsiteX815" fmla="*/ 4005172 w 4829175"/>
                <a:gd name="connsiteY815" fmla="*/ 3483378 h 6515100"/>
                <a:gd name="connsiteX816" fmla="*/ 4269295 w 4829175"/>
                <a:gd name="connsiteY816" fmla="*/ 3483378 h 6515100"/>
                <a:gd name="connsiteX817" fmla="*/ 4358734 w 4829175"/>
                <a:gd name="connsiteY817" fmla="*/ 3393939 h 6515100"/>
                <a:gd name="connsiteX818" fmla="*/ 4359432 w 4829175"/>
                <a:gd name="connsiteY818" fmla="*/ 3393939 h 6515100"/>
                <a:gd name="connsiteX819" fmla="*/ 4541105 w 4829175"/>
                <a:gd name="connsiteY819" fmla="*/ 3213665 h 6515100"/>
                <a:gd name="connsiteX820" fmla="*/ 4269994 w 4829175"/>
                <a:gd name="connsiteY820" fmla="*/ 2943253 h 6515100"/>
                <a:gd name="connsiteX821" fmla="*/ 3457360 w 4829175"/>
                <a:gd name="connsiteY821" fmla="*/ 2943253 h 6515100"/>
                <a:gd name="connsiteX822" fmla="*/ 3458059 w 4829175"/>
                <a:gd name="connsiteY822" fmla="*/ 2943952 h 6515100"/>
                <a:gd name="connsiteX823" fmla="*/ 3458758 w 4829175"/>
                <a:gd name="connsiteY823" fmla="*/ 2943952 h 6515100"/>
                <a:gd name="connsiteX824" fmla="*/ 3727772 w 4829175"/>
                <a:gd name="connsiteY824" fmla="*/ 3212966 h 6515100"/>
                <a:gd name="connsiteX825" fmla="*/ 3457360 w 4829175"/>
                <a:gd name="connsiteY825" fmla="*/ 3484077 h 6515100"/>
                <a:gd name="connsiteX826" fmla="*/ 3721484 w 4829175"/>
                <a:gd name="connsiteY826" fmla="*/ 3484077 h 6515100"/>
                <a:gd name="connsiteX827" fmla="*/ 3991896 w 4829175"/>
                <a:gd name="connsiteY827" fmla="*/ 3213665 h 6515100"/>
                <a:gd name="connsiteX828" fmla="*/ 3987005 w 4829175"/>
                <a:gd name="connsiteY828" fmla="*/ 3208074 h 6515100"/>
                <a:gd name="connsiteX829" fmla="*/ 3721484 w 4829175"/>
                <a:gd name="connsiteY829" fmla="*/ 2943253 h 6515100"/>
                <a:gd name="connsiteX830" fmla="*/ 1255633 w 4829175"/>
                <a:gd name="connsiteY830" fmla="*/ 2671443 h 6515100"/>
                <a:gd name="connsiteX831" fmla="*/ 985221 w 4829175"/>
                <a:gd name="connsiteY831" fmla="*/ 2942554 h 6515100"/>
                <a:gd name="connsiteX832" fmla="*/ 1256332 w 4829175"/>
                <a:gd name="connsiteY832" fmla="*/ 3212966 h 6515100"/>
                <a:gd name="connsiteX833" fmla="*/ 1520455 w 4829175"/>
                <a:gd name="connsiteY833" fmla="*/ 3212966 h 6515100"/>
                <a:gd name="connsiteX834" fmla="*/ 1249344 w 4829175"/>
                <a:gd name="connsiteY834" fmla="*/ 2942554 h 6515100"/>
                <a:gd name="connsiteX835" fmla="*/ 1519757 w 4829175"/>
                <a:gd name="connsiteY835" fmla="*/ 2671443 h 6515100"/>
                <a:gd name="connsiteX836" fmla="*/ 1804143 w 4829175"/>
                <a:gd name="connsiteY836" fmla="*/ 2670744 h 6515100"/>
                <a:gd name="connsiteX837" fmla="*/ 1533731 w 4829175"/>
                <a:gd name="connsiteY837" fmla="*/ 2941855 h 6515100"/>
                <a:gd name="connsiteX838" fmla="*/ 1805541 w 4829175"/>
                <a:gd name="connsiteY838" fmla="*/ 3212267 h 6515100"/>
                <a:gd name="connsiteX839" fmla="*/ 2068965 w 4829175"/>
                <a:gd name="connsiteY839" fmla="*/ 3212267 h 6515100"/>
                <a:gd name="connsiteX840" fmla="*/ 1938301 w 4829175"/>
                <a:gd name="connsiteY840" fmla="*/ 3082301 h 6515100"/>
                <a:gd name="connsiteX841" fmla="*/ 1797854 w 4829175"/>
                <a:gd name="connsiteY841" fmla="*/ 2941855 h 6515100"/>
                <a:gd name="connsiteX842" fmla="*/ 2068266 w 4829175"/>
                <a:gd name="connsiteY842" fmla="*/ 2670744 h 6515100"/>
                <a:gd name="connsiteX843" fmla="*/ 705027 w 4829175"/>
                <a:gd name="connsiteY843" fmla="*/ 2670744 h 6515100"/>
                <a:gd name="connsiteX844" fmla="*/ 434615 w 4829175"/>
                <a:gd name="connsiteY844" fmla="*/ 2941855 h 6515100"/>
                <a:gd name="connsiteX845" fmla="*/ 705726 w 4829175"/>
                <a:gd name="connsiteY845" fmla="*/ 3212267 h 6515100"/>
                <a:gd name="connsiteX846" fmla="*/ 774202 w 4829175"/>
                <a:gd name="connsiteY846" fmla="*/ 3212267 h 6515100"/>
                <a:gd name="connsiteX847" fmla="*/ 773503 w 4829175"/>
                <a:gd name="connsiteY847" fmla="*/ 3213665 h 6515100"/>
                <a:gd name="connsiteX848" fmla="*/ 971247 w 4829175"/>
                <a:gd name="connsiteY848" fmla="*/ 3213665 h 6515100"/>
                <a:gd name="connsiteX849" fmla="*/ 839884 w 4829175"/>
                <a:gd name="connsiteY849" fmla="*/ 3082301 h 6515100"/>
                <a:gd name="connsiteX850" fmla="*/ 699437 w 4829175"/>
                <a:gd name="connsiteY850" fmla="*/ 2941855 h 6515100"/>
                <a:gd name="connsiteX851" fmla="*/ 968451 w 4829175"/>
                <a:gd name="connsiteY851" fmla="*/ 2672142 h 6515100"/>
                <a:gd name="connsiteX852" fmla="*/ 772105 w 4829175"/>
                <a:gd name="connsiteY852" fmla="*/ 2672142 h 6515100"/>
                <a:gd name="connsiteX853" fmla="*/ 772804 w 4829175"/>
                <a:gd name="connsiteY853" fmla="*/ 2670744 h 6515100"/>
                <a:gd name="connsiteX854" fmla="*/ 2352653 w 4829175"/>
                <a:gd name="connsiteY854" fmla="*/ 2670045 h 6515100"/>
                <a:gd name="connsiteX855" fmla="*/ 2082241 w 4829175"/>
                <a:gd name="connsiteY855" fmla="*/ 2941156 h 6515100"/>
                <a:gd name="connsiteX856" fmla="*/ 2353352 w 4829175"/>
                <a:gd name="connsiteY856" fmla="*/ 3211568 h 6515100"/>
                <a:gd name="connsiteX857" fmla="*/ 2617476 w 4829175"/>
                <a:gd name="connsiteY857" fmla="*/ 3211568 h 6515100"/>
                <a:gd name="connsiteX858" fmla="*/ 2346365 w 4829175"/>
                <a:gd name="connsiteY858" fmla="*/ 2941156 h 6515100"/>
                <a:gd name="connsiteX859" fmla="*/ 2616777 w 4829175"/>
                <a:gd name="connsiteY859" fmla="*/ 2670045 h 6515100"/>
                <a:gd name="connsiteX860" fmla="*/ 3998184 w 4829175"/>
                <a:gd name="connsiteY860" fmla="*/ 2667949 h 6515100"/>
                <a:gd name="connsiteX861" fmla="*/ 3727772 w 4829175"/>
                <a:gd name="connsiteY861" fmla="*/ 2939060 h 6515100"/>
                <a:gd name="connsiteX862" fmla="*/ 3998883 w 4829175"/>
                <a:gd name="connsiteY862" fmla="*/ 3209471 h 6515100"/>
                <a:gd name="connsiteX863" fmla="*/ 4263007 w 4829175"/>
                <a:gd name="connsiteY863" fmla="*/ 3209471 h 6515100"/>
                <a:gd name="connsiteX864" fmla="*/ 3991896 w 4829175"/>
                <a:gd name="connsiteY864" fmla="*/ 2939060 h 6515100"/>
                <a:gd name="connsiteX865" fmla="*/ 4262308 w 4829175"/>
                <a:gd name="connsiteY865" fmla="*/ 2667949 h 6515100"/>
                <a:gd name="connsiteX866" fmla="*/ 4546695 w 4829175"/>
                <a:gd name="connsiteY866" fmla="*/ 2667250 h 6515100"/>
                <a:gd name="connsiteX867" fmla="*/ 4276282 w 4829175"/>
                <a:gd name="connsiteY867" fmla="*/ 2938360 h 6515100"/>
                <a:gd name="connsiteX868" fmla="*/ 4547394 w 4829175"/>
                <a:gd name="connsiteY868" fmla="*/ 3208772 h 6515100"/>
                <a:gd name="connsiteX869" fmla="*/ 4810818 w 4829175"/>
                <a:gd name="connsiteY869" fmla="*/ 3208772 h 6515100"/>
                <a:gd name="connsiteX870" fmla="*/ 4680852 w 4829175"/>
                <a:gd name="connsiteY870" fmla="*/ 3078808 h 6515100"/>
                <a:gd name="connsiteX871" fmla="*/ 4540406 w 4829175"/>
                <a:gd name="connsiteY871" fmla="*/ 2938360 h 6515100"/>
                <a:gd name="connsiteX872" fmla="*/ 4810818 w 4829175"/>
                <a:gd name="connsiteY872" fmla="*/ 2667250 h 6515100"/>
                <a:gd name="connsiteX873" fmla="*/ 164203 w 4829175"/>
                <a:gd name="connsiteY873" fmla="*/ 2397537 h 6515100"/>
                <a:gd name="connsiteX874" fmla="*/ 435314 w 4829175"/>
                <a:gd name="connsiteY874" fmla="*/ 2667949 h 6515100"/>
                <a:gd name="connsiteX875" fmla="*/ 164902 w 4829175"/>
                <a:gd name="connsiteY875" fmla="*/ 2939060 h 6515100"/>
                <a:gd name="connsiteX876" fmla="*/ 429025 w 4829175"/>
                <a:gd name="connsiteY876" fmla="*/ 2939060 h 6515100"/>
                <a:gd name="connsiteX877" fmla="*/ 699437 w 4829175"/>
                <a:gd name="connsiteY877" fmla="*/ 2667949 h 6515100"/>
                <a:gd name="connsiteX878" fmla="*/ 428326 w 4829175"/>
                <a:gd name="connsiteY878" fmla="*/ 2397537 h 6515100"/>
                <a:gd name="connsiteX879" fmla="*/ 1811131 w 4829175"/>
                <a:gd name="connsiteY879" fmla="*/ 2396838 h 6515100"/>
                <a:gd name="connsiteX880" fmla="*/ 2082940 w 4829175"/>
                <a:gd name="connsiteY880" fmla="*/ 2667250 h 6515100"/>
                <a:gd name="connsiteX881" fmla="*/ 1812528 w 4829175"/>
                <a:gd name="connsiteY881" fmla="*/ 2938360 h 6515100"/>
                <a:gd name="connsiteX882" fmla="*/ 2075953 w 4829175"/>
                <a:gd name="connsiteY882" fmla="*/ 2938360 h 6515100"/>
                <a:gd name="connsiteX883" fmla="*/ 2346365 w 4829175"/>
                <a:gd name="connsiteY883" fmla="*/ 2667250 h 6515100"/>
                <a:gd name="connsiteX884" fmla="*/ 2212208 w 4829175"/>
                <a:gd name="connsiteY884" fmla="*/ 2533791 h 6515100"/>
                <a:gd name="connsiteX885" fmla="*/ 2075254 w 4829175"/>
                <a:gd name="connsiteY885" fmla="*/ 2396838 h 6515100"/>
                <a:gd name="connsiteX886" fmla="*/ 1262620 w 4829175"/>
                <a:gd name="connsiteY886" fmla="*/ 2396838 h 6515100"/>
                <a:gd name="connsiteX887" fmla="*/ 1533731 w 4829175"/>
                <a:gd name="connsiteY887" fmla="*/ 2667250 h 6515100"/>
                <a:gd name="connsiteX888" fmla="*/ 1263319 w 4829175"/>
                <a:gd name="connsiteY888" fmla="*/ 2938360 h 6515100"/>
                <a:gd name="connsiteX889" fmla="*/ 1527442 w 4829175"/>
                <a:gd name="connsiteY889" fmla="*/ 2938360 h 6515100"/>
                <a:gd name="connsiteX890" fmla="*/ 1797854 w 4829175"/>
                <a:gd name="connsiteY890" fmla="*/ 2667250 h 6515100"/>
                <a:gd name="connsiteX891" fmla="*/ 1526744 w 4829175"/>
                <a:gd name="connsiteY891" fmla="*/ 2396838 h 6515100"/>
                <a:gd name="connsiteX892" fmla="*/ 2359641 w 4829175"/>
                <a:gd name="connsiteY892" fmla="*/ 2396139 h 6515100"/>
                <a:gd name="connsiteX893" fmla="*/ 2361039 w 4829175"/>
                <a:gd name="connsiteY893" fmla="*/ 2397537 h 6515100"/>
                <a:gd name="connsiteX894" fmla="*/ 2629354 w 4829175"/>
                <a:gd name="connsiteY894" fmla="*/ 2665853 h 6515100"/>
                <a:gd name="connsiteX895" fmla="*/ 2358942 w 4829175"/>
                <a:gd name="connsiteY895" fmla="*/ 2936964 h 6515100"/>
                <a:gd name="connsiteX896" fmla="*/ 2623065 w 4829175"/>
                <a:gd name="connsiteY896" fmla="*/ 2936964 h 6515100"/>
                <a:gd name="connsiteX897" fmla="*/ 2893477 w 4829175"/>
                <a:gd name="connsiteY897" fmla="*/ 2665853 h 6515100"/>
                <a:gd name="connsiteX898" fmla="*/ 2888586 w 4829175"/>
                <a:gd name="connsiteY898" fmla="*/ 2660962 h 6515100"/>
                <a:gd name="connsiteX899" fmla="*/ 2906055 w 4829175"/>
                <a:gd name="connsiteY899" fmla="*/ 2669346 h 6515100"/>
                <a:gd name="connsiteX900" fmla="*/ 2900465 w 4829175"/>
                <a:gd name="connsiteY900" fmla="*/ 2669346 h 6515100"/>
                <a:gd name="connsiteX901" fmla="*/ 2630053 w 4829175"/>
                <a:gd name="connsiteY901" fmla="*/ 2940457 h 6515100"/>
                <a:gd name="connsiteX902" fmla="*/ 2901164 w 4829175"/>
                <a:gd name="connsiteY902" fmla="*/ 3210869 h 6515100"/>
                <a:gd name="connsiteX903" fmla="*/ 3165287 w 4829175"/>
                <a:gd name="connsiteY903" fmla="*/ 3210869 h 6515100"/>
                <a:gd name="connsiteX904" fmla="*/ 2894875 w 4829175"/>
                <a:gd name="connsiteY904" fmla="*/ 2939758 h 6515100"/>
                <a:gd name="connsiteX905" fmla="*/ 3079343 w 4829175"/>
                <a:gd name="connsiteY905" fmla="*/ 2755292 h 6515100"/>
                <a:gd name="connsiteX906" fmla="*/ 3165287 w 4829175"/>
                <a:gd name="connsiteY906" fmla="*/ 2669346 h 6515100"/>
                <a:gd name="connsiteX907" fmla="*/ 2906754 w 4829175"/>
                <a:gd name="connsiteY907" fmla="*/ 2669346 h 6515100"/>
                <a:gd name="connsiteX908" fmla="*/ 2889285 w 4829175"/>
                <a:gd name="connsiteY908" fmla="*/ 2660962 h 6515100"/>
                <a:gd name="connsiteX909" fmla="*/ 2623764 w 4829175"/>
                <a:gd name="connsiteY909" fmla="*/ 2396139 h 6515100"/>
                <a:gd name="connsiteX910" fmla="*/ 713412 w 4829175"/>
                <a:gd name="connsiteY910" fmla="*/ 2396139 h 6515100"/>
                <a:gd name="connsiteX911" fmla="*/ 844775 w 4829175"/>
                <a:gd name="connsiteY911" fmla="*/ 2527503 h 6515100"/>
                <a:gd name="connsiteX912" fmla="*/ 985221 w 4829175"/>
                <a:gd name="connsiteY912" fmla="*/ 2667949 h 6515100"/>
                <a:gd name="connsiteX913" fmla="*/ 716206 w 4829175"/>
                <a:gd name="connsiteY913" fmla="*/ 2937662 h 6515100"/>
                <a:gd name="connsiteX914" fmla="*/ 912552 w 4829175"/>
                <a:gd name="connsiteY914" fmla="*/ 2937662 h 6515100"/>
                <a:gd name="connsiteX915" fmla="*/ 911853 w 4829175"/>
                <a:gd name="connsiteY915" fmla="*/ 2939060 h 6515100"/>
                <a:gd name="connsiteX916" fmla="*/ 978932 w 4829175"/>
                <a:gd name="connsiteY916" fmla="*/ 2939060 h 6515100"/>
                <a:gd name="connsiteX917" fmla="*/ 1248646 w 4829175"/>
                <a:gd name="connsiteY917" fmla="*/ 2667949 h 6515100"/>
                <a:gd name="connsiteX918" fmla="*/ 1113090 w 4829175"/>
                <a:gd name="connsiteY918" fmla="*/ 2533092 h 6515100"/>
                <a:gd name="connsiteX919" fmla="*/ 1094923 w 4829175"/>
                <a:gd name="connsiteY919" fmla="*/ 2514926 h 6515100"/>
                <a:gd name="connsiteX920" fmla="*/ 977535 w 4829175"/>
                <a:gd name="connsiteY920" fmla="*/ 2398236 h 6515100"/>
                <a:gd name="connsiteX921" fmla="*/ 909058 w 4829175"/>
                <a:gd name="connsiteY921" fmla="*/ 2398236 h 6515100"/>
                <a:gd name="connsiteX922" fmla="*/ 909757 w 4829175"/>
                <a:gd name="connsiteY922" fmla="*/ 2396838 h 6515100"/>
                <a:gd name="connsiteX923" fmla="*/ 2907452 w 4829175"/>
                <a:gd name="connsiteY923" fmla="*/ 2394742 h 6515100"/>
                <a:gd name="connsiteX924" fmla="*/ 3178563 w 4829175"/>
                <a:gd name="connsiteY924" fmla="*/ 2665154 h 6515100"/>
                <a:gd name="connsiteX925" fmla="*/ 3175769 w 4829175"/>
                <a:gd name="connsiteY925" fmla="*/ 2667949 h 6515100"/>
                <a:gd name="connsiteX926" fmla="*/ 3085631 w 4829175"/>
                <a:gd name="connsiteY926" fmla="*/ 2758785 h 6515100"/>
                <a:gd name="connsiteX927" fmla="*/ 2908151 w 4829175"/>
                <a:gd name="connsiteY927" fmla="*/ 2936265 h 6515100"/>
                <a:gd name="connsiteX928" fmla="*/ 3172275 w 4829175"/>
                <a:gd name="connsiteY928" fmla="*/ 2936265 h 6515100"/>
                <a:gd name="connsiteX929" fmla="*/ 3262412 w 4829175"/>
                <a:gd name="connsiteY929" fmla="*/ 2846826 h 6515100"/>
                <a:gd name="connsiteX930" fmla="*/ 3442687 w 4829175"/>
                <a:gd name="connsiteY930" fmla="*/ 2665154 h 6515100"/>
                <a:gd name="connsiteX931" fmla="*/ 3171576 w 4829175"/>
                <a:gd name="connsiteY931" fmla="*/ 2394742 h 6515100"/>
                <a:gd name="connsiteX932" fmla="*/ 4004473 w 4829175"/>
                <a:gd name="connsiteY932" fmla="*/ 2394044 h 6515100"/>
                <a:gd name="connsiteX933" fmla="*/ 4275584 w 4829175"/>
                <a:gd name="connsiteY933" fmla="*/ 2663757 h 6515100"/>
                <a:gd name="connsiteX934" fmla="*/ 4005172 w 4829175"/>
                <a:gd name="connsiteY934" fmla="*/ 2934868 h 6515100"/>
                <a:gd name="connsiteX935" fmla="*/ 4269295 w 4829175"/>
                <a:gd name="connsiteY935" fmla="*/ 2934868 h 6515100"/>
                <a:gd name="connsiteX936" fmla="*/ 4539707 w 4829175"/>
                <a:gd name="connsiteY936" fmla="*/ 2664456 h 6515100"/>
                <a:gd name="connsiteX937" fmla="*/ 4268597 w 4829175"/>
                <a:gd name="connsiteY937" fmla="*/ 2394044 h 6515100"/>
                <a:gd name="connsiteX938" fmla="*/ 1255633 w 4829175"/>
                <a:gd name="connsiteY938" fmla="*/ 2122933 h 6515100"/>
                <a:gd name="connsiteX939" fmla="*/ 985221 w 4829175"/>
                <a:gd name="connsiteY939" fmla="*/ 2394044 h 6515100"/>
                <a:gd name="connsiteX940" fmla="*/ 1117282 w 4829175"/>
                <a:gd name="connsiteY940" fmla="*/ 2526105 h 6515100"/>
                <a:gd name="connsiteX941" fmla="*/ 1255633 w 4829175"/>
                <a:gd name="connsiteY941" fmla="*/ 2664456 h 6515100"/>
                <a:gd name="connsiteX942" fmla="*/ 1519757 w 4829175"/>
                <a:gd name="connsiteY942" fmla="*/ 2664456 h 6515100"/>
                <a:gd name="connsiteX943" fmla="*/ 1248646 w 4829175"/>
                <a:gd name="connsiteY943" fmla="*/ 2394044 h 6515100"/>
                <a:gd name="connsiteX944" fmla="*/ 1519757 w 4829175"/>
                <a:gd name="connsiteY944" fmla="*/ 2122933 h 6515100"/>
                <a:gd name="connsiteX945" fmla="*/ 2351955 w 4829175"/>
                <a:gd name="connsiteY945" fmla="*/ 2122234 h 6515100"/>
                <a:gd name="connsiteX946" fmla="*/ 2171680 w 4829175"/>
                <a:gd name="connsiteY946" fmla="*/ 2303207 h 6515100"/>
                <a:gd name="connsiteX947" fmla="*/ 2170981 w 4829175"/>
                <a:gd name="connsiteY947" fmla="*/ 2303207 h 6515100"/>
                <a:gd name="connsiteX948" fmla="*/ 2081543 w 4829175"/>
                <a:gd name="connsiteY948" fmla="*/ 2392646 h 6515100"/>
                <a:gd name="connsiteX949" fmla="*/ 2215701 w 4829175"/>
                <a:gd name="connsiteY949" fmla="*/ 2526804 h 6515100"/>
                <a:gd name="connsiteX950" fmla="*/ 2352653 w 4829175"/>
                <a:gd name="connsiteY950" fmla="*/ 2663058 h 6515100"/>
                <a:gd name="connsiteX951" fmla="*/ 2616078 w 4829175"/>
                <a:gd name="connsiteY951" fmla="*/ 2663058 h 6515100"/>
                <a:gd name="connsiteX952" fmla="*/ 2344968 w 4829175"/>
                <a:gd name="connsiteY952" fmla="*/ 2392646 h 6515100"/>
                <a:gd name="connsiteX953" fmla="*/ 2346365 w 4829175"/>
                <a:gd name="connsiteY953" fmla="*/ 2391248 h 6515100"/>
                <a:gd name="connsiteX954" fmla="*/ 2347064 w 4829175"/>
                <a:gd name="connsiteY954" fmla="*/ 2391248 h 6515100"/>
                <a:gd name="connsiteX955" fmla="*/ 2615379 w 4829175"/>
                <a:gd name="connsiteY955" fmla="*/ 2122234 h 6515100"/>
                <a:gd name="connsiteX956" fmla="*/ 1803445 w 4829175"/>
                <a:gd name="connsiteY956" fmla="*/ 2122234 h 6515100"/>
                <a:gd name="connsiteX957" fmla="*/ 1533032 w 4829175"/>
                <a:gd name="connsiteY957" fmla="*/ 2393345 h 6515100"/>
                <a:gd name="connsiteX958" fmla="*/ 1803445 w 4829175"/>
                <a:gd name="connsiteY958" fmla="*/ 2663058 h 6515100"/>
                <a:gd name="connsiteX959" fmla="*/ 2067568 w 4829175"/>
                <a:gd name="connsiteY959" fmla="*/ 2663058 h 6515100"/>
                <a:gd name="connsiteX960" fmla="*/ 1796458 w 4829175"/>
                <a:gd name="connsiteY960" fmla="*/ 2392646 h 6515100"/>
                <a:gd name="connsiteX961" fmla="*/ 1980924 w 4829175"/>
                <a:gd name="connsiteY961" fmla="*/ 2208178 h 6515100"/>
                <a:gd name="connsiteX962" fmla="*/ 1981623 w 4829175"/>
                <a:gd name="connsiteY962" fmla="*/ 2208178 h 6515100"/>
                <a:gd name="connsiteX963" fmla="*/ 2067568 w 4829175"/>
                <a:gd name="connsiteY963" fmla="*/ 2122234 h 6515100"/>
                <a:gd name="connsiteX964" fmla="*/ 2900465 w 4829175"/>
                <a:gd name="connsiteY964" fmla="*/ 2121535 h 6515100"/>
                <a:gd name="connsiteX965" fmla="*/ 2630053 w 4829175"/>
                <a:gd name="connsiteY965" fmla="*/ 2392646 h 6515100"/>
                <a:gd name="connsiteX966" fmla="*/ 2901164 w 4829175"/>
                <a:gd name="connsiteY966" fmla="*/ 2663058 h 6515100"/>
                <a:gd name="connsiteX967" fmla="*/ 3165287 w 4829175"/>
                <a:gd name="connsiteY967" fmla="*/ 2663058 h 6515100"/>
                <a:gd name="connsiteX968" fmla="*/ 2894176 w 4829175"/>
                <a:gd name="connsiteY968" fmla="*/ 2392646 h 6515100"/>
                <a:gd name="connsiteX969" fmla="*/ 3164588 w 4829175"/>
                <a:gd name="connsiteY969" fmla="*/ 2121535 h 6515100"/>
                <a:gd name="connsiteX970" fmla="*/ 3997486 w 4829175"/>
                <a:gd name="connsiteY970" fmla="*/ 2120137 h 6515100"/>
                <a:gd name="connsiteX971" fmla="*/ 3727074 w 4829175"/>
                <a:gd name="connsiteY971" fmla="*/ 2391248 h 6515100"/>
                <a:gd name="connsiteX972" fmla="*/ 3998184 w 4829175"/>
                <a:gd name="connsiteY972" fmla="*/ 2661660 h 6515100"/>
                <a:gd name="connsiteX973" fmla="*/ 4262308 w 4829175"/>
                <a:gd name="connsiteY973" fmla="*/ 2661660 h 6515100"/>
                <a:gd name="connsiteX974" fmla="*/ 3991197 w 4829175"/>
                <a:gd name="connsiteY974" fmla="*/ 2391248 h 6515100"/>
                <a:gd name="connsiteX975" fmla="*/ 4261609 w 4829175"/>
                <a:gd name="connsiteY975" fmla="*/ 2120137 h 6515100"/>
                <a:gd name="connsiteX976" fmla="*/ 4545996 w 4829175"/>
                <a:gd name="connsiteY976" fmla="*/ 2119439 h 6515100"/>
                <a:gd name="connsiteX977" fmla="*/ 4275584 w 4829175"/>
                <a:gd name="connsiteY977" fmla="*/ 2390549 h 6515100"/>
                <a:gd name="connsiteX978" fmla="*/ 4545996 w 4829175"/>
                <a:gd name="connsiteY978" fmla="*/ 2660263 h 6515100"/>
                <a:gd name="connsiteX979" fmla="*/ 4810119 w 4829175"/>
                <a:gd name="connsiteY979" fmla="*/ 2660263 h 6515100"/>
                <a:gd name="connsiteX980" fmla="*/ 4539009 w 4829175"/>
                <a:gd name="connsiteY980" fmla="*/ 2389851 h 6515100"/>
                <a:gd name="connsiteX981" fmla="*/ 4723476 w 4829175"/>
                <a:gd name="connsiteY981" fmla="*/ 2205384 h 6515100"/>
                <a:gd name="connsiteX982" fmla="*/ 4810119 w 4829175"/>
                <a:gd name="connsiteY982" fmla="*/ 2119439 h 6515100"/>
                <a:gd name="connsiteX983" fmla="*/ 1261921 w 4829175"/>
                <a:gd name="connsiteY983" fmla="*/ 1849027 h 6515100"/>
                <a:gd name="connsiteX984" fmla="*/ 1262620 w 4829175"/>
                <a:gd name="connsiteY984" fmla="*/ 1849725 h 6515100"/>
                <a:gd name="connsiteX985" fmla="*/ 1263319 w 4829175"/>
                <a:gd name="connsiteY985" fmla="*/ 1849725 h 6515100"/>
                <a:gd name="connsiteX986" fmla="*/ 1532333 w 4829175"/>
                <a:gd name="connsiteY986" fmla="*/ 2118740 h 6515100"/>
                <a:gd name="connsiteX987" fmla="*/ 1261921 w 4829175"/>
                <a:gd name="connsiteY987" fmla="*/ 2389851 h 6515100"/>
                <a:gd name="connsiteX988" fmla="*/ 1526046 w 4829175"/>
                <a:gd name="connsiteY988" fmla="*/ 2389851 h 6515100"/>
                <a:gd name="connsiteX989" fmla="*/ 1796458 w 4829175"/>
                <a:gd name="connsiteY989" fmla="*/ 2118740 h 6515100"/>
                <a:gd name="connsiteX990" fmla="*/ 1791566 w 4829175"/>
                <a:gd name="connsiteY990" fmla="*/ 2113849 h 6515100"/>
                <a:gd name="connsiteX991" fmla="*/ 1526046 w 4829175"/>
                <a:gd name="connsiteY991" fmla="*/ 1849027 h 6515100"/>
                <a:gd name="connsiteX992" fmla="*/ 164203 w 4829175"/>
                <a:gd name="connsiteY992" fmla="*/ 1849027 h 6515100"/>
                <a:gd name="connsiteX993" fmla="*/ 165601 w 4829175"/>
                <a:gd name="connsiteY993" fmla="*/ 1850424 h 6515100"/>
                <a:gd name="connsiteX994" fmla="*/ 434615 w 4829175"/>
                <a:gd name="connsiteY994" fmla="*/ 2119439 h 6515100"/>
                <a:gd name="connsiteX995" fmla="*/ 164203 w 4829175"/>
                <a:gd name="connsiteY995" fmla="*/ 2389152 h 6515100"/>
                <a:gd name="connsiteX996" fmla="*/ 428326 w 4829175"/>
                <a:gd name="connsiteY996" fmla="*/ 2389152 h 6515100"/>
                <a:gd name="connsiteX997" fmla="*/ 698738 w 4829175"/>
                <a:gd name="connsiteY997" fmla="*/ 2118042 h 6515100"/>
                <a:gd name="connsiteX998" fmla="*/ 695191 w 4829175"/>
                <a:gd name="connsiteY998" fmla="*/ 2114493 h 6515100"/>
                <a:gd name="connsiteX999" fmla="*/ 709860 w 4829175"/>
                <a:gd name="connsiteY999" fmla="*/ 2121535 h 6515100"/>
                <a:gd name="connsiteX1000" fmla="*/ 705726 w 4829175"/>
                <a:gd name="connsiteY1000" fmla="*/ 2121535 h 6515100"/>
                <a:gd name="connsiteX1001" fmla="*/ 435314 w 4829175"/>
                <a:gd name="connsiteY1001" fmla="*/ 2392646 h 6515100"/>
                <a:gd name="connsiteX1002" fmla="*/ 706425 w 4829175"/>
                <a:gd name="connsiteY1002" fmla="*/ 2663058 h 6515100"/>
                <a:gd name="connsiteX1003" fmla="*/ 970548 w 4829175"/>
                <a:gd name="connsiteY1003" fmla="*/ 2663058 h 6515100"/>
                <a:gd name="connsiteX1004" fmla="*/ 699437 w 4829175"/>
                <a:gd name="connsiteY1004" fmla="*/ 2392646 h 6515100"/>
                <a:gd name="connsiteX1005" fmla="*/ 883903 w 4829175"/>
                <a:gd name="connsiteY1005" fmla="*/ 2208178 h 6515100"/>
                <a:gd name="connsiteX1006" fmla="*/ 969849 w 4829175"/>
                <a:gd name="connsiteY1006" fmla="*/ 2122234 h 6515100"/>
                <a:gd name="connsiteX1007" fmla="*/ 711316 w 4829175"/>
                <a:gd name="connsiteY1007" fmla="*/ 2122234 h 6515100"/>
                <a:gd name="connsiteX1008" fmla="*/ 709860 w 4829175"/>
                <a:gd name="connsiteY1008" fmla="*/ 2121535 h 6515100"/>
                <a:gd name="connsiteX1009" fmla="*/ 711316 w 4829175"/>
                <a:gd name="connsiteY1009" fmla="*/ 2121535 h 6515100"/>
                <a:gd name="connsiteX1010" fmla="*/ 693847 w 4829175"/>
                <a:gd name="connsiteY1010" fmla="*/ 2113150 h 6515100"/>
                <a:gd name="connsiteX1011" fmla="*/ 695191 w 4829175"/>
                <a:gd name="connsiteY1011" fmla="*/ 2114493 h 6515100"/>
                <a:gd name="connsiteX1012" fmla="*/ 693847 w 4829175"/>
                <a:gd name="connsiteY1012" fmla="*/ 2113849 h 6515100"/>
                <a:gd name="connsiteX1013" fmla="*/ 428326 w 4829175"/>
                <a:gd name="connsiteY1013" fmla="*/ 1849027 h 6515100"/>
                <a:gd name="connsiteX1014" fmla="*/ 712014 w 4829175"/>
                <a:gd name="connsiteY1014" fmla="*/ 1848328 h 6515100"/>
                <a:gd name="connsiteX1015" fmla="*/ 983125 w 4829175"/>
                <a:gd name="connsiteY1015" fmla="*/ 2118042 h 6515100"/>
                <a:gd name="connsiteX1016" fmla="*/ 980330 w 4829175"/>
                <a:gd name="connsiteY1016" fmla="*/ 2120836 h 6515100"/>
                <a:gd name="connsiteX1017" fmla="*/ 890192 w 4829175"/>
                <a:gd name="connsiteY1017" fmla="*/ 2211673 h 6515100"/>
                <a:gd name="connsiteX1018" fmla="*/ 712713 w 4829175"/>
                <a:gd name="connsiteY1018" fmla="*/ 2389152 h 6515100"/>
                <a:gd name="connsiteX1019" fmla="*/ 976837 w 4829175"/>
                <a:gd name="connsiteY1019" fmla="*/ 2389152 h 6515100"/>
                <a:gd name="connsiteX1020" fmla="*/ 1066275 w 4829175"/>
                <a:gd name="connsiteY1020" fmla="*/ 2299714 h 6515100"/>
                <a:gd name="connsiteX1021" fmla="*/ 1247249 w 4829175"/>
                <a:gd name="connsiteY1021" fmla="*/ 2118740 h 6515100"/>
                <a:gd name="connsiteX1022" fmla="*/ 1114488 w 4829175"/>
                <a:gd name="connsiteY1022" fmla="*/ 1986679 h 6515100"/>
                <a:gd name="connsiteX1023" fmla="*/ 976138 w 4829175"/>
                <a:gd name="connsiteY1023" fmla="*/ 1848328 h 6515100"/>
                <a:gd name="connsiteX1024" fmla="*/ 2359641 w 4829175"/>
                <a:gd name="connsiteY1024" fmla="*/ 1847630 h 6515100"/>
                <a:gd name="connsiteX1025" fmla="*/ 2489606 w 4829175"/>
                <a:gd name="connsiteY1025" fmla="*/ 1977595 h 6515100"/>
                <a:gd name="connsiteX1026" fmla="*/ 2630053 w 4829175"/>
                <a:gd name="connsiteY1026" fmla="*/ 2118042 h 6515100"/>
                <a:gd name="connsiteX1027" fmla="*/ 2359641 w 4829175"/>
                <a:gd name="connsiteY1027" fmla="*/ 2389152 h 6515100"/>
                <a:gd name="connsiteX1028" fmla="*/ 2623764 w 4829175"/>
                <a:gd name="connsiteY1028" fmla="*/ 2389152 h 6515100"/>
                <a:gd name="connsiteX1029" fmla="*/ 2894176 w 4829175"/>
                <a:gd name="connsiteY1029" fmla="*/ 2118042 h 6515100"/>
                <a:gd name="connsiteX1030" fmla="*/ 2623065 w 4829175"/>
                <a:gd name="connsiteY1030" fmla="*/ 1847630 h 6515100"/>
                <a:gd name="connsiteX1031" fmla="*/ 1810432 w 4829175"/>
                <a:gd name="connsiteY1031" fmla="*/ 1847630 h 6515100"/>
                <a:gd name="connsiteX1032" fmla="*/ 2081543 w 4829175"/>
                <a:gd name="connsiteY1032" fmla="*/ 2118042 h 6515100"/>
                <a:gd name="connsiteX1033" fmla="*/ 2078748 w 4829175"/>
                <a:gd name="connsiteY1033" fmla="*/ 2120836 h 6515100"/>
                <a:gd name="connsiteX1034" fmla="*/ 1988611 w 4829175"/>
                <a:gd name="connsiteY1034" fmla="*/ 2211673 h 6515100"/>
                <a:gd name="connsiteX1035" fmla="*/ 1987912 w 4829175"/>
                <a:gd name="connsiteY1035" fmla="*/ 2211673 h 6515100"/>
                <a:gd name="connsiteX1036" fmla="*/ 1811131 w 4829175"/>
                <a:gd name="connsiteY1036" fmla="*/ 2389152 h 6515100"/>
                <a:gd name="connsiteX1037" fmla="*/ 2074555 w 4829175"/>
                <a:gd name="connsiteY1037" fmla="*/ 2388454 h 6515100"/>
                <a:gd name="connsiteX1038" fmla="*/ 2163994 w 4829175"/>
                <a:gd name="connsiteY1038" fmla="*/ 2299015 h 6515100"/>
                <a:gd name="connsiteX1039" fmla="*/ 2164693 w 4829175"/>
                <a:gd name="connsiteY1039" fmla="*/ 2299015 h 6515100"/>
                <a:gd name="connsiteX1040" fmla="*/ 2345666 w 4829175"/>
                <a:gd name="connsiteY1040" fmla="*/ 2118042 h 6515100"/>
                <a:gd name="connsiteX1041" fmla="*/ 2074555 w 4829175"/>
                <a:gd name="connsiteY1041" fmla="*/ 1847630 h 6515100"/>
                <a:gd name="connsiteX1042" fmla="*/ 2907452 w 4829175"/>
                <a:gd name="connsiteY1042" fmla="*/ 1846931 h 6515100"/>
                <a:gd name="connsiteX1043" fmla="*/ 3178563 w 4829175"/>
                <a:gd name="connsiteY1043" fmla="*/ 2117343 h 6515100"/>
                <a:gd name="connsiteX1044" fmla="*/ 2908151 w 4829175"/>
                <a:gd name="connsiteY1044" fmla="*/ 2388454 h 6515100"/>
                <a:gd name="connsiteX1045" fmla="*/ 3172275 w 4829175"/>
                <a:gd name="connsiteY1045" fmla="*/ 2388454 h 6515100"/>
                <a:gd name="connsiteX1046" fmla="*/ 3442687 w 4829175"/>
                <a:gd name="connsiteY1046" fmla="*/ 2117343 h 6515100"/>
                <a:gd name="connsiteX1047" fmla="*/ 3171576 w 4829175"/>
                <a:gd name="connsiteY1047" fmla="*/ 1846931 h 6515100"/>
                <a:gd name="connsiteX1048" fmla="*/ 4004473 w 4829175"/>
                <a:gd name="connsiteY1048" fmla="*/ 1844834 h 6515100"/>
                <a:gd name="connsiteX1049" fmla="*/ 4005871 w 4829175"/>
                <a:gd name="connsiteY1049" fmla="*/ 1846232 h 6515100"/>
                <a:gd name="connsiteX1050" fmla="*/ 4274885 w 4829175"/>
                <a:gd name="connsiteY1050" fmla="*/ 2115246 h 6515100"/>
                <a:gd name="connsiteX1051" fmla="*/ 4004473 w 4829175"/>
                <a:gd name="connsiteY1051" fmla="*/ 2386357 h 6515100"/>
                <a:gd name="connsiteX1052" fmla="*/ 4268597 w 4829175"/>
                <a:gd name="connsiteY1052" fmla="*/ 2386357 h 6515100"/>
                <a:gd name="connsiteX1053" fmla="*/ 4539009 w 4829175"/>
                <a:gd name="connsiteY1053" fmla="*/ 2115246 h 6515100"/>
                <a:gd name="connsiteX1054" fmla="*/ 4534118 w 4829175"/>
                <a:gd name="connsiteY1054" fmla="*/ 2110355 h 6515100"/>
                <a:gd name="connsiteX1055" fmla="*/ 4268597 w 4829175"/>
                <a:gd name="connsiteY1055" fmla="*/ 1844834 h 6515100"/>
                <a:gd name="connsiteX1056" fmla="*/ 705027 w 4829175"/>
                <a:gd name="connsiteY1056" fmla="*/ 1574422 h 6515100"/>
                <a:gd name="connsiteX1057" fmla="*/ 434615 w 4829175"/>
                <a:gd name="connsiteY1057" fmla="*/ 1845533 h 6515100"/>
                <a:gd name="connsiteX1058" fmla="*/ 705726 w 4829175"/>
                <a:gd name="connsiteY1058" fmla="*/ 2115945 h 6515100"/>
                <a:gd name="connsiteX1059" fmla="*/ 969849 w 4829175"/>
                <a:gd name="connsiteY1059" fmla="*/ 2115945 h 6515100"/>
                <a:gd name="connsiteX1060" fmla="*/ 698738 w 4829175"/>
                <a:gd name="connsiteY1060" fmla="*/ 1845533 h 6515100"/>
                <a:gd name="connsiteX1061" fmla="*/ 969150 w 4829175"/>
                <a:gd name="connsiteY1061" fmla="*/ 1574422 h 6515100"/>
                <a:gd name="connsiteX1062" fmla="*/ 1802746 w 4829175"/>
                <a:gd name="connsiteY1062" fmla="*/ 1573723 h 6515100"/>
                <a:gd name="connsiteX1063" fmla="*/ 1532333 w 4829175"/>
                <a:gd name="connsiteY1063" fmla="*/ 1844834 h 6515100"/>
                <a:gd name="connsiteX1064" fmla="*/ 1803445 w 4829175"/>
                <a:gd name="connsiteY1064" fmla="*/ 2115246 h 6515100"/>
                <a:gd name="connsiteX1065" fmla="*/ 2067568 w 4829175"/>
                <a:gd name="connsiteY1065" fmla="*/ 2115246 h 6515100"/>
                <a:gd name="connsiteX1066" fmla="*/ 1796458 w 4829175"/>
                <a:gd name="connsiteY1066" fmla="*/ 1844834 h 6515100"/>
                <a:gd name="connsiteX1067" fmla="*/ 2066870 w 4829175"/>
                <a:gd name="connsiteY1067" fmla="*/ 1573723 h 6515100"/>
                <a:gd name="connsiteX1068" fmla="*/ 1252838 w 4829175"/>
                <a:gd name="connsiteY1068" fmla="*/ 1573723 h 6515100"/>
                <a:gd name="connsiteX1069" fmla="*/ 983125 w 4829175"/>
                <a:gd name="connsiteY1069" fmla="*/ 1844834 h 6515100"/>
                <a:gd name="connsiteX1070" fmla="*/ 1183663 w 4829175"/>
                <a:gd name="connsiteY1070" fmla="*/ 2045372 h 6515100"/>
                <a:gd name="connsiteX1071" fmla="*/ 1254236 w 4829175"/>
                <a:gd name="connsiteY1071" fmla="*/ 2115246 h 6515100"/>
                <a:gd name="connsiteX1072" fmla="*/ 1322712 w 4829175"/>
                <a:gd name="connsiteY1072" fmla="*/ 2115246 h 6515100"/>
                <a:gd name="connsiteX1073" fmla="*/ 1322014 w 4829175"/>
                <a:gd name="connsiteY1073" fmla="*/ 2116644 h 6515100"/>
                <a:gd name="connsiteX1074" fmla="*/ 1519058 w 4829175"/>
                <a:gd name="connsiteY1074" fmla="*/ 2116644 h 6515100"/>
                <a:gd name="connsiteX1075" fmla="*/ 1247947 w 4829175"/>
                <a:gd name="connsiteY1075" fmla="*/ 1846232 h 6515100"/>
                <a:gd name="connsiteX1076" fmla="*/ 1248646 w 4829175"/>
                <a:gd name="connsiteY1076" fmla="*/ 1845533 h 6515100"/>
                <a:gd name="connsiteX1077" fmla="*/ 1246550 w 4829175"/>
                <a:gd name="connsiteY1077" fmla="*/ 1844834 h 6515100"/>
                <a:gd name="connsiteX1078" fmla="*/ 1516962 w 4829175"/>
                <a:gd name="connsiteY1078" fmla="*/ 1573723 h 6515100"/>
                <a:gd name="connsiteX1079" fmla="*/ 2899766 w 4829175"/>
                <a:gd name="connsiteY1079" fmla="*/ 1573024 h 6515100"/>
                <a:gd name="connsiteX1080" fmla="*/ 2629354 w 4829175"/>
                <a:gd name="connsiteY1080" fmla="*/ 1844135 h 6515100"/>
                <a:gd name="connsiteX1081" fmla="*/ 2900465 w 4829175"/>
                <a:gd name="connsiteY1081" fmla="*/ 2114547 h 6515100"/>
                <a:gd name="connsiteX1082" fmla="*/ 3164588 w 4829175"/>
                <a:gd name="connsiteY1082" fmla="*/ 2114547 h 6515100"/>
                <a:gd name="connsiteX1083" fmla="*/ 2893477 w 4829175"/>
                <a:gd name="connsiteY1083" fmla="*/ 1844135 h 6515100"/>
                <a:gd name="connsiteX1084" fmla="*/ 3163889 w 4829175"/>
                <a:gd name="connsiteY1084" fmla="*/ 1573024 h 6515100"/>
                <a:gd name="connsiteX1085" fmla="*/ 2351257 w 4829175"/>
                <a:gd name="connsiteY1085" fmla="*/ 1573024 h 6515100"/>
                <a:gd name="connsiteX1086" fmla="*/ 2080844 w 4829175"/>
                <a:gd name="connsiteY1086" fmla="*/ 1844135 h 6515100"/>
                <a:gd name="connsiteX1087" fmla="*/ 2351955 w 4829175"/>
                <a:gd name="connsiteY1087" fmla="*/ 2114547 h 6515100"/>
                <a:gd name="connsiteX1088" fmla="*/ 2615379 w 4829175"/>
                <a:gd name="connsiteY1088" fmla="*/ 2114547 h 6515100"/>
                <a:gd name="connsiteX1089" fmla="*/ 2485414 w 4829175"/>
                <a:gd name="connsiteY1089" fmla="*/ 1984582 h 6515100"/>
                <a:gd name="connsiteX1090" fmla="*/ 2344968 w 4829175"/>
                <a:gd name="connsiteY1090" fmla="*/ 1844135 h 6515100"/>
                <a:gd name="connsiteX1091" fmla="*/ 2615379 w 4829175"/>
                <a:gd name="connsiteY1091" fmla="*/ 1573024 h 6515100"/>
                <a:gd name="connsiteX1092" fmla="*/ 3448276 w 4829175"/>
                <a:gd name="connsiteY1092" fmla="*/ 1572326 h 6515100"/>
                <a:gd name="connsiteX1093" fmla="*/ 3177864 w 4829175"/>
                <a:gd name="connsiteY1093" fmla="*/ 1843436 h 6515100"/>
                <a:gd name="connsiteX1094" fmla="*/ 3448975 w 4829175"/>
                <a:gd name="connsiteY1094" fmla="*/ 2113150 h 6515100"/>
                <a:gd name="connsiteX1095" fmla="*/ 3713099 w 4829175"/>
                <a:gd name="connsiteY1095" fmla="*/ 2113150 h 6515100"/>
                <a:gd name="connsiteX1096" fmla="*/ 3441988 w 4829175"/>
                <a:gd name="connsiteY1096" fmla="*/ 1842739 h 6515100"/>
                <a:gd name="connsiteX1097" fmla="*/ 3626455 w 4829175"/>
                <a:gd name="connsiteY1097" fmla="*/ 1658271 h 6515100"/>
                <a:gd name="connsiteX1098" fmla="*/ 3712400 w 4829175"/>
                <a:gd name="connsiteY1098" fmla="*/ 1572326 h 6515100"/>
                <a:gd name="connsiteX1099" fmla="*/ 4545297 w 4829175"/>
                <a:gd name="connsiteY1099" fmla="*/ 1570929 h 6515100"/>
                <a:gd name="connsiteX1100" fmla="*/ 4274885 w 4829175"/>
                <a:gd name="connsiteY1100" fmla="*/ 1842040 h 6515100"/>
                <a:gd name="connsiteX1101" fmla="*/ 4545996 w 4829175"/>
                <a:gd name="connsiteY1101" fmla="*/ 2111753 h 6515100"/>
                <a:gd name="connsiteX1102" fmla="*/ 4810119 w 4829175"/>
                <a:gd name="connsiteY1102" fmla="*/ 2111753 h 6515100"/>
                <a:gd name="connsiteX1103" fmla="*/ 4539009 w 4829175"/>
                <a:gd name="connsiteY1103" fmla="*/ 1841341 h 6515100"/>
                <a:gd name="connsiteX1104" fmla="*/ 4809421 w 4829175"/>
                <a:gd name="connsiteY1104" fmla="*/ 1570929 h 6515100"/>
                <a:gd name="connsiteX1105" fmla="*/ 164203 w 4829175"/>
                <a:gd name="connsiteY1105" fmla="*/ 1300517 h 6515100"/>
                <a:gd name="connsiteX1106" fmla="*/ 294168 w 4829175"/>
                <a:gd name="connsiteY1106" fmla="*/ 1430482 h 6515100"/>
                <a:gd name="connsiteX1107" fmla="*/ 434615 w 4829175"/>
                <a:gd name="connsiteY1107" fmla="*/ 1570929 h 6515100"/>
                <a:gd name="connsiteX1108" fmla="*/ 164203 w 4829175"/>
                <a:gd name="connsiteY1108" fmla="*/ 1842040 h 6515100"/>
                <a:gd name="connsiteX1109" fmla="*/ 428326 w 4829175"/>
                <a:gd name="connsiteY1109" fmla="*/ 1842040 h 6515100"/>
                <a:gd name="connsiteX1110" fmla="*/ 698738 w 4829175"/>
                <a:gd name="connsiteY1110" fmla="*/ 1570929 h 6515100"/>
                <a:gd name="connsiteX1111" fmla="*/ 427627 w 4829175"/>
                <a:gd name="connsiteY1111" fmla="*/ 1300517 h 6515100"/>
                <a:gd name="connsiteX1112" fmla="*/ 1809733 w 4829175"/>
                <a:gd name="connsiteY1112" fmla="*/ 1299818 h 6515100"/>
                <a:gd name="connsiteX1113" fmla="*/ 2080844 w 4829175"/>
                <a:gd name="connsiteY1113" fmla="*/ 1570230 h 6515100"/>
                <a:gd name="connsiteX1114" fmla="*/ 1810432 w 4829175"/>
                <a:gd name="connsiteY1114" fmla="*/ 1840642 h 6515100"/>
                <a:gd name="connsiteX1115" fmla="*/ 2074555 w 4829175"/>
                <a:gd name="connsiteY1115" fmla="*/ 1840642 h 6515100"/>
                <a:gd name="connsiteX1116" fmla="*/ 2344968 w 4829175"/>
                <a:gd name="connsiteY1116" fmla="*/ 1570230 h 6515100"/>
                <a:gd name="connsiteX1117" fmla="*/ 2073856 w 4829175"/>
                <a:gd name="connsiteY1117" fmla="*/ 1299818 h 6515100"/>
                <a:gd name="connsiteX1118" fmla="*/ 712014 w 4829175"/>
                <a:gd name="connsiteY1118" fmla="*/ 1299818 h 6515100"/>
                <a:gd name="connsiteX1119" fmla="*/ 983125 w 4829175"/>
                <a:gd name="connsiteY1119" fmla="*/ 1570230 h 6515100"/>
                <a:gd name="connsiteX1120" fmla="*/ 712713 w 4829175"/>
                <a:gd name="connsiteY1120" fmla="*/ 1841341 h 6515100"/>
                <a:gd name="connsiteX1121" fmla="*/ 976837 w 4829175"/>
                <a:gd name="connsiteY1121" fmla="*/ 1841341 h 6515100"/>
                <a:gd name="connsiteX1122" fmla="*/ 1247249 w 4829175"/>
                <a:gd name="connsiteY1122" fmla="*/ 1570230 h 6515100"/>
                <a:gd name="connsiteX1123" fmla="*/ 976138 w 4829175"/>
                <a:gd name="connsiteY1123" fmla="*/ 1299818 h 6515100"/>
                <a:gd name="connsiteX1124" fmla="*/ 2358243 w 4829175"/>
                <a:gd name="connsiteY1124" fmla="*/ 1299119 h 6515100"/>
                <a:gd name="connsiteX1125" fmla="*/ 2629354 w 4829175"/>
                <a:gd name="connsiteY1125" fmla="*/ 1569531 h 6515100"/>
                <a:gd name="connsiteX1126" fmla="*/ 2359641 w 4829175"/>
                <a:gd name="connsiteY1126" fmla="*/ 1840642 h 6515100"/>
                <a:gd name="connsiteX1127" fmla="*/ 2623065 w 4829175"/>
                <a:gd name="connsiteY1127" fmla="*/ 1840642 h 6515100"/>
                <a:gd name="connsiteX1128" fmla="*/ 2893477 w 4829175"/>
                <a:gd name="connsiteY1128" fmla="*/ 1569531 h 6515100"/>
                <a:gd name="connsiteX1129" fmla="*/ 2759320 w 4829175"/>
                <a:gd name="connsiteY1129" fmla="*/ 1436072 h 6515100"/>
                <a:gd name="connsiteX1130" fmla="*/ 2622367 w 4829175"/>
                <a:gd name="connsiteY1130" fmla="*/ 1299119 h 6515100"/>
                <a:gd name="connsiteX1131" fmla="*/ 2906754 w 4829175"/>
                <a:gd name="connsiteY1131" fmla="*/ 1298421 h 6515100"/>
                <a:gd name="connsiteX1132" fmla="*/ 2908151 w 4829175"/>
                <a:gd name="connsiteY1132" fmla="*/ 1299818 h 6515100"/>
                <a:gd name="connsiteX1133" fmla="*/ 3177864 w 4829175"/>
                <a:gd name="connsiteY1133" fmla="*/ 1568832 h 6515100"/>
                <a:gd name="connsiteX1134" fmla="*/ 2907452 w 4829175"/>
                <a:gd name="connsiteY1134" fmla="*/ 1839244 h 6515100"/>
                <a:gd name="connsiteX1135" fmla="*/ 3171576 w 4829175"/>
                <a:gd name="connsiteY1135" fmla="*/ 1839244 h 6515100"/>
                <a:gd name="connsiteX1136" fmla="*/ 3441988 w 4829175"/>
                <a:gd name="connsiteY1136" fmla="*/ 1568832 h 6515100"/>
                <a:gd name="connsiteX1137" fmla="*/ 3436398 w 4829175"/>
                <a:gd name="connsiteY1137" fmla="*/ 1563941 h 6515100"/>
                <a:gd name="connsiteX1138" fmla="*/ 3170877 w 4829175"/>
                <a:gd name="connsiteY1138" fmla="*/ 1298421 h 6515100"/>
                <a:gd name="connsiteX1139" fmla="*/ 1525347 w 4829175"/>
                <a:gd name="connsiteY1139" fmla="*/ 1298421 h 6515100"/>
                <a:gd name="connsiteX1140" fmla="*/ 1523949 w 4829175"/>
                <a:gd name="connsiteY1140" fmla="*/ 1299119 h 6515100"/>
                <a:gd name="connsiteX1141" fmla="*/ 1259826 w 4829175"/>
                <a:gd name="connsiteY1141" fmla="*/ 1299119 h 6515100"/>
                <a:gd name="connsiteX1142" fmla="*/ 1530937 w 4829175"/>
                <a:gd name="connsiteY1142" fmla="*/ 1569531 h 6515100"/>
                <a:gd name="connsiteX1143" fmla="*/ 1526744 w 4829175"/>
                <a:gd name="connsiteY1143" fmla="*/ 1573723 h 6515100"/>
                <a:gd name="connsiteX1144" fmla="*/ 1532333 w 4829175"/>
                <a:gd name="connsiteY1144" fmla="*/ 1570929 h 6515100"/>
                <a:gd name="connsiteX1145" fmla="*/ 1261921 w 4829175"/>
                <a:gd name="connsiteY1145" fmla="*/ 1842040 h 6515100"/>
                <a:gd name="connsiteX1146" fmla="*/ 1526046 w 4829175"/>
                <a:gd name="connsiteY1146" fmla="*/ 1842040 h 6515100"/>
                <a:gd name="connsiteX1147" fmla="*/ 1796458 w 4829175"/>
                <a:gd name="connsiteY1147" fmla="*/ 1570929 h 6515100"/>
                <a:gd name="connsiteX1148" fmla="*/ 1525347 w 4829175"/>
                <a:gd name="connsiteY1148" fmla="*/ 1300517 h 6515100"/>
                <a:gd name="connsiteX1149" fmla="*/ 3454565 w 4829175"/>
                <a:gd name="connsiteY1149" fmla="*/ 1297722 h 6515100"/>
                <a:gd name="connsiteX1150" fmla="*/ 3725676 w 4829175"/>
                <a:gd name="connsiteY1150" fmla="*/ 1568134 h 6515100"/>
                <a:gd name="connsiteX1151" fmla="*/ 3722882 w 4829175"/>
                <a:gd name="connsiteY1151" fmla="*/ 1570929 h 6515100"/>
                <a:gd name="connsiteX1152" fmla="*/ 3632744 w 4829175"/>
                <a:gd name="connsiteY1152" fmla="*/ 1661764 h 6515100"/>
                <a:gd name="connsiteX1153" fmla="*/ 3455264 w 4829175"/>
                <a:gd name="connsiteY1153" fmla="*/ 1838545 h 6515100"/>
                <a:gd name="connsiteX1154" fmla="*/ 3719387 w 4829175"/>
                <a:gd name="connsiteY1154" fmla="*/ 1838545 h 6515100"/>
                <a:gd name="connsiteX1155" fmla="*/ 3808826 w 4829175"/>
                <a:gd name="connsiteY1155" fmla="*/ 1749107 h 6515100"/>
                <a:gd name="connsiteX1156" fmla="*/ 3989799 w 4829175"/>
                <a:gd name="connsiteY1156" fmla="*/ 1568134 h 6515100"/>
                <a:gd name="connsiteX1157" fmla="*/ 3718688 w 4829175"/>
                <a:gd name="connsiteY1157" fmla="*/ 1297722 h 6515100"/>
                <a:gd name="connsiteX1158" fmla="*/ 1802048 w 4829175"/>
                <a:gd name="connsiteY1158" fmla="*/ 1025213 h 6515100"/>
                <a:gd name="connsiteX1159" fmla="*/ 1531636 w 4829175"/>
                <a:gd name="connsiteY1159" fmla="*/ 1296324 h 6515100"/>
                <a:gd name="connsiteX1160" fmla="*/ 1802746 w 4829175"/>
                <a:gd name="connsiteY1160" fmla="*/ 1566736 h 6515100"/>
                <a:gd name="connsiteX1161" fmla="*/ 2066870 w 4829175"/>
                <a:gd name="connsiteY1161" fmla="*/ 1566736 h 6515100"/>
                <a:gd name="connsiteX1162" fmla="*/ 1795759 w 4829175"/>
                <a:gd name="connsiteY1162" fmla="*/ 1296324 h 6515100"/>
                <a:gd name="connsiteX1163" fmla="*/ 2066171 w 4829175"/>
                <a:gd name="connsiteY1163" fmla="*/ 1025213 h 6515100"/>
                <a:gd name="connsiteX1164" fmla="*/ 704328 w 4829175"/>
                <a:gd name="connsiteY1164" fmla="*/ 1025213 h 6515100"/>
                <a:gd name="connsiteX1165" fmla="*/ 433916 w 4829175"/>
                <a:gd name="connsiteY1165" fmla="*/ 1296324 h 6515100"/>
                <a:gd name="connsiteX1166" fmla="*/ 705027 w 4829175"/>
                <a:gd name="connsiteY1166" fmla="*/ 1566736 h 6515100"/>
                <a:gd name="connsiteX1167" fmla="*/ 969150 w 4829175"/>
                <a:gd name="connsiteY1167" fmla="*/ 1566736 h 6515100"/>
                <a:gd name="connsiteX1168" fmla="*/ 698039 w 4829175"/>
                <a:gd name="connsiteY1168" fmla="*/ 1296324 h 6515100"/>
                <a:gd name="connsiteX1169" fmla="*/ 967752 w 4829175"/>
                <a:gd name="connsiteY1169" fmla="*/ 1025213 h 6515100"/>
                <a:gd name="connsiteX1170" fmla="*/ 2899067 w 4829175"/>
                <a:gd name="connsiteY1170" fmla="*/ 1024514 h 6515100"/>
                <a:gd name="connsiteX1171" fmla="*/ 2718793 w 4829175"/>
                <a:gd name="connsiteY1171" fmla="*/ 1204790 h 6515100"/>
                <a:gd name="connsiteX1172" fmla="*/ 2629354 w 4829175"/>
                <a:gd name="connsiteY1172" fmla="*/ 1294927 h 6515100"/>
                <a:gd name="connsiteX1173" fmla="*/ 2763512 w 4829175"/>
                <a:gd name="connsiteY1173" fmla="*/ 1428386 h 6515100"/>
                <a:gd name="connsiteX1174" fmla="*/ 2900465 w 4829175"/>
                <a:gd name="connsiteY1174" fmla="*/ 1565338 h 6515100"/>
                <a:gd name="connsiteX1175" fmla="*/ 3164588 w 4829175"/>
                <a:gd name="connsiteY1175" fmla="*/ 1565338 h 6515100"/>
                <a:gd name="connsiteX1176" fmla="*/ 2893477 w 4829175"/>
                <a:gd name="connsiteY1176" fmla="*/ 1294927 h 6515100"/>
                <a:gd name="connsiteX1177" fmla="*/ 2894875 w 4829175"/>
                <a:gd name="connsiteY1177" fmla="*/ 1293530 h 6515100"/>
                <a:gd name="connsiteX1178" fmla="*/ 3163191 w 4829175"/>
                <a:gd name="connsiteY1178" fmla="*/ 1024514 h 6515100"/>
                <a:gd name="connsiteX1179" fmla="*/ 2350558 w 4829175"/>
                <a:gd name="connsiteY1179" fmla="*/ 1024514 h 6515100"/>
                <a:gd name="connsiteX1180" fmla="*/ 2080145 w 4829175"/>
                <a:gd name="connsiteY1180" fmla="*/ 1295625 h 6515100"/>
                <a:gd name="connsiteX1181" fmla="*/ 2351257 w 4829175"/>
                <a:gd name="connsiteY1181" fmla="*/ 1566037 h 6515100"/>
                <a:gd name="connsiteX1182" fmla="*/ 2615379 w 4829175"/>
                <a:gd name="connsiteY1182" fmla="*/ 1566037 h 6515100"/>
                <a:gd name="connsiteX1183" fmla="*/ 2344269 w 4829175"/>
                <a:gd name="connsiteY1183" fmla="*/ 1295625 h 6515100"/>
                <a:gd name="connsiteX1184" fmla="*/ 2528736 w 4829175"/>
                <a:gd name="connsiteY1184" fmla="*/ 1111159 h 6515100"/>
                <a:gd name="connsiteX1185" fmla="*/ 2614681 w 4829175"/>
                <a:gd name="connsiteY1185" fmla="*/ 1025213 h 6515100"/>
                <a:gd name="connsiteX1186" fmla="*/ 2356148 w 4829175"/>
                <a:gd name="connsiteY1186" fmla="*/ 1025213 h 6515100"/>
                <a:gd name="connsiteX1187" fmla="*/ 1252838 w 4829175"/>
                <a:gd name="connsiteY1187" fmla="*/ 1024514 h 6515100"/>
                <a:gd name="connsiteX1188" fmla="*/ 982426 w 4829175"/>
                <a:gd name="connsiteY1188" fmla="*/ 1295625 h 6515100"/>
                <a:gd name="connsiteX1189" fmla="*/ 1253537 w 4829175"/>
                <a:gd name="connsiteY1189" fmla="*/ 1566037 h 6515100"/>
                <a:gd name="connsiteX1190" fmla="*/ 1517660 w 4829175"/>
                <a:gd name="connsiteY1190" fmla="*/ 1566037 h 6515100"/>
                <a:gd name="connsiteX1191" fmla="*/ 1246550 w 4829175"/>
                <a:gd name="connsiteY1191" fmla="*/ 1295625 h 6515100"/>
                <a:gd name="connsiteX1192" fmla="*/ 1431017 w 4829175"/>
                <a:gd name="connsiteY1192" fmla="*/ 1111159 h 6515100"/>
                <a:gd name="connsiteX1193" fmla="*/ 1516962 w 4829175"/>
                <a:gd name="connsiteY1193" fmla="*/ 1024514 h 6515100"/>
                <a:gd name="connsiteX1194" fmla="*/ 3447578 w 4829175"/>
                <a:gd name="connsiteY1194" fmla="*/ 1023816 h 6515100"/>
                <a:gd name="connsiteX1195" fmla="*/ 3177166 w 4829175"/>
                <a:gd name="connsiteY1195" fmla="*/ 1294927 h 6515100"/>
                <a:gd name="connsiteX1196" fmla="*/ 3448276 w 4829175"/>
                <a:gd name="connsiteY1196" fmla="*/ 1565338 h 6515100"/>
                <a:gd name="connsiteX1197" fmla="*/ 3712400 w 4829175"/>
                <a:gd name="connsiteY1197" fmla="*/ 1565338 h 6515100"/>
                <a:gd name="connsiteX1198" fmla="*/ 3441289 w 4829175"/>
                <a:gd name="connsiteY1198" fmla="*/ 1294927 h 6515100"/>
                <a:gd name="connsiteX1199" fmla="*/ 3711701 w 4829175"/>
                <a:gd name="connsiteY1199" fmla="*/ 1023816 h 6515100"/>
                <a:gd name="connsiteX1200" fmla="*/ 4544598 w 4829175"/>
                <a:gd name="connsiteY1200" fmla="*/ 1022419 h 6515100"/>
                <a:gd name="connsiteX1201" fmla="*/ 4274186 w 4829175"/>
                <a:gd name="connsiteY1201" fmla="*/ 1293530 h 6515100"/>
                <a:gd name="connsiteX1202" fmla="*/ 4545297 w 4829175"/>
                <a:gd name="connsiteY1202" fmla="*/ 1563941 h 6515100"/>
                <a:gd name="connsiteX1203" fmla="*/ 4809421 w 4829175"/>
                <a:gd name="connsiteY1203" fmla="*/ 1563941 h 6515100"/>
                <a:gd name="connsiteX1204" fmla="*/ 4538310 w 4829175"/>
                <a:gd name="connsiteY1204" fmla="*/ 1293530 h 6515100"/>
                <a:gd name="connsiteX1205" fmla="*/ 4722777 w 4829175"/>
                <a:gd name="connsiteY1205" fmla="*/ 1108363 h 6515100"/>
                <a:gd name="connsiteX1206" fmla="*/ 4722078 w 4829175"/>
                <a:gd name="connsiteY1206" fmla="*/ 1107664 h 6515100"/>
                <a:gd name="connsiteX1207" fmla="*/ 4807324 w 4829175"/>
                <a:gd name="connsiteY1207" fmla="*/ 1022419 h 6515100"/>
                <a:gd name="connsiteX1208" fmla="*/ 3995389 w 4829175"/>
                <a:gd name="connsiteY1208" fmla="*/ 1022419 h 6515100"/>
                <a:gd name="connsiteX1209" fmla="*/ 3724977 w 4829175"/>
                <a:gd name="connsiteY1209" fmla="*/ 1293530 h 6515100"/>
                <a:gd name="connsiteX1210" fmla="*/ 3996088 w 4829175"/>
                <a:gd name="connsiteY1210" fmla="*/ 1563941 h 6515100"/>
                <a:gd name="connsiteX1211" fmla="*/ 4064564 w 4829175"/>
                <a:gd name="connsiteY1211" fmla="*/ 1563941 h 6515100"/>
                <a:gd name="connsiteX1212" fmla="*/ 4061071 w 4829175"/>
                <a:gd name="connsiteY1212" fmla="*/ 1570929 h 6515100"/>
                <a:gd name="connsiteX1213" fmla="*/ 3996088 w 4829175"/>
                <a:gd name="connsiteY1213" fmla="*/ 1570929 h 6515100"/>
                <a:gd name="connsiteX1214" fmla="*/ 3815814 w 4829175"/>
                <a:gd name="connsiteY1214" fmla="*/ 1751902 h 6515100"/>
                <a:gd name="connsiteX1215" fmla="*/ 3726375 w 4829175"/>
                <a:gd name="connsiteY1215" fmla="*/ 1842040 h 6515100"/>
                <a:gd name="connsiteX1216" fmla="*/ 3859834 w 4829175"/>
                <a:gd name="connsiteY1216" fmla="*/ 1975498 h 6515100"/>
                <a:gd name="connsiteX1217" fmla="*/ 3857039 w 4829175"/>
                <a:gd name="connsiteY1217" fmla="*/ 1981088 h 6515100"/>
                <a:gd name="connsiteX1218" fmla="*/ 3857739 w 4829175"/>
                <a:gd name="connsiteY1218" fmla="*/ 1981785 h 6515100"/>
                <a:gd name="connsiteX1219" fmla="*/ 3857039 w 4829175"/>
                <a:gd name="connsiteY1219" fmla="*/ 1983185 h 6515100"/>
                <a:gd name="connsiteX1220" fmla="*/ 3720086 w 4829175"/>
                <a:gd name="connsiteY1220" fmla="*/ 1846232 h 6515100"/>
                <a:gd name="connsiteX1221" fmla="*/ 3455963 w 4829175"/>
                <a:gd name="connsiteY1221" fmla="*/ 1846232 h 6515100"/>
                <a:gd name="connsiteX1222" fmla="*/ 3727074 w 4829175"/>
                <a:gd name="connsiteY1222" fmla="*/ 2116644 h 6515100"/>
                <a:gd name="connsiteX1223" fmla="*/ 3456662 w 4829175"/>
                <a:gd name="connsiteY1223" fmla="*/ 2387755 h 6515100"/>
                <a:gd name="connsiteX1224" fmla="*/ 3654754 w 4829175"/>
                <a:gd name="connsiteY1224" fmla="*/ 2387755 h 6515100"/>
                <a:gd name="connsiteX1225" fmla="*/ 3652309 w 4829175"/>
                <a:gd name="connsiteY1225" fmla="*/ 2392646 h 6515100"/>
                <a:gd name="connsiteX1226" fmla="*/ 3652658 w 4829175"/>
                <a:gd name="connsiteY1226" fmla="*/ 2392646 h 6515100"/>
                <a:gd name="connsiteX1227" fmla="*/ 3651610 w 4829175"/>
                <a:gd name="connsiteY1227" fmla="*/ 2394742 h 6515100"/>
                <a:gd name="connsiteX1228" fmla="*/ 3456662 w 4829175"/>
                <a:gd name="connsiteY1228" fmla="*/ 2394742 h 6515100"/>
                <a:gd name="connsiteX1229" fmla="*/ 3586394 w 4829175"/>
                <a:gd name="connsiteY1229" fmla="*/ 2524475 h 6515100"/>
                <a:gd name="connsiteX1230" fmla="*/ 3583832 w 4829175"/>
                <a:gd name="connsiteY1230" fmla="*/ 2529598 h 6515100"/>
                <a:gd name="connsiteX1231" fmla="*/ 3584065 w 4829175"/>
                <a:gd name="connsiteY1231" fmla="*/ 2529831 h 6515100"/>
                <a:gd name="connsiteX1232" fmla="*/ 3583133 w 4829175"/>
                <a:gd name="connsiteY1232" fmla="*/ 2531695 h 6515100"/>
                <a:gd name="connsiteX1233" fmla="*/ 3442687 w 4829175"/>
                <a:gd name="connsiteY1233" fmla="*/ 2391248 h 6515100"/>
                <a:gd name="connsiteX1234" fmla="*/ 3713099 w 4829175"/>
                <a:gd name="connsiteY1234" fmla="*/ 2120137 h 6515100"/>
                <a:gd name="connsiteX1235" fmla="*/ 3448975 w 4829175"/>
                <a:gd name="connsiteY1235" fmla="*/ 2120137 h 6515100"/>
                <a:gd name="connsiteX1236" fmla="*/ 3178563 w 4829175"/>
                <a:gd name="connsiteY1236" fmla="*/ 2391248 h 6515100"/>
                <a:gd name="connsiteX1237" fmla="*/ 3448975 w 4829175"/>
                <a:gd name="connsiteY1237" fmla="*/ 2662359 h 6515100"/>
                <a:gd name="connsiteX1238" fmla="*/ 3517452 w 4829175"/>
                <a:gd name="connsiteY1238" fmla="*/ 2662359 h 6515100"/>
                <a:gd name="connsiteX1239" fmla="*/ 3513958 w 4829175"/>
                <a:gd name="connsiteY1239" fmla="*/ 2669346 h 6515100"/>
                <a:gd name="connsiteX1240" fmla="*/ 3448975 w 4829175"/>
                <a:gd name="connsiteY1240" fmla="*/ 2669346 h 6515100"/>
                <a:gd name="connsiteX1241" fmla="*/ 3268701 w 4829175"/>
                <a:gd name="connsiteY1241" fmla="*/ 2850320 h 6515100"/>
                <a:gd name="connsiteX1242" fmla="*/ 3179262 w 4829175"/>
                <a:gd name="connsiteY1242" fmla="*/ 2939758 h 6515100"/>
                <a:gd name="connsiteX1243" fmla="*/ 3312721 w 4829175"/>
                <a:gd name="connsiteY1243" fmla="*/ 3073916 h 6515100"/>
                <a:gd name="connsiteX1244" fmla="*/ 3451072 w 4829175"/>
                <a:gd name="connsiteY1244" fmla="*/ 3207376 h 6515100"/>
                <a:gd name="connsiteX1245" fmla="*/ 3715195 w 4829175"/>
                <a:gd name="connsiteY1245" fmla="*/ 3207376 h 6515100"/>
                <a:gd name="connsiteX1246" fmla="*/ 3444084 w 4829175"/>
                <a:gd name="connsiteY1246" fmla="*/ 2936964 h 6515100"/>
                <a:gd name="connsiteX1247" fmla="*/ 3445482 w 4829175"/>
                <a:gd name="connsiteY1247" fmla="*/ 2935566 h 6515100"/>
                <a:gd name="connsiteX1248" fmla="*/ 3713797 w 4829175"/>
                <a:gd name="connsiteY1248" fmla="*/ 2666552 h 6515100"/>
                <a:gd name="connsiteX1249" fmla="*/ 3515356 w 4829175"/>
                <a:gd name="connsiteY1249" fmla="*/ 2666552 h 6515100"/>
                <a:gd name="connsiteX1250" fmla="*/ 3518849 w 4829175"/>
                <a:gd name="connsiteY1250" fmla="*/ 2659564 h 6515100"/>
                <a:gd name="connsiteX1251" fmla="*/ 3713797 w 4829175"/>
                <a:gd name="connsiteY1251" fmla="*/ 2659564 h 6515100"/>
                <a:gd name="connsiteX1252" fmla="*/ 3584065 w 4829175"/>
                <a:gd name="connsiteY1252" fmla="*/ 2529831 h 6515100"/>
                <a:gd name="connsiteX1253" fmla="*/ 3586627 w 4829175"/>
                <a:gd name="connsiteY1253" fmla="*/ 2524708 h 6515100"/>
                <a:gd name="connsiteX1254" fmla="*/ 3586394 w 4829175"/>
                <a:gd name="connsiteY1254" fmla="*/ 2524475 h 6515100"/>
                <a:gd name="connsiteX1255" fmla="*/ 3587326 w 4829175"/>
                <a:gd name="connsiteY1255" fmla="*/ 2522611 h 6515100"/>
                <a:gd name="connsiteX1256" fmla="*/ 3727772 w 4829175"/>
                <a:gd name="connsiteY1256" fmla="*/ 2663058 h 6515100"/>
                <a:gd name="connsiteX1257" fmla="*/ 3457360 w 4829175"/>
                <a:gd name="connsiteY1257" fmla="*/ 2934169 h 6515100"/>
                <a:gd name="connsiteX1258" fmla="*/ 3721484 w 4829175"/>
                <a:gd name="connsiteY1258" fmla="*/ 2934169 h 6515100"/>
                <a:gd name="connsiteX1259" fmla="*/ 3991896 w 4829175"/>
                <a:gd name="connsiteY1259" fmla="*/ 2663058 h 6515100"/>
                <a:gd name="connsiteX1260" fmla="*/ 3720785 w 4829175"/>
                <a:gd name="connsiteY1260" fmla="*/ 2392646 h 6515100"/>
                <a:gd name="connsiteX1261" fmla="*/ 3652658 w 4829175"/>
                <a:gd name="connsiteY1261" fmla="*/ 2392646 h 6515100"/>
                <a:gd name="connsiteX1262" fmla="*/ 3655103 w 4829175"/>
                <a:gd name="connsiteY1262" fmla="*/ 2387755 h 6515100"/>
                <a:gd name="connsiteX1263" fmla="*/ 3654754 w 4829175"/>
                <a:gd name="connsiteY1263" fmla="*/ 2387755 h 6515100"/>
                <a:gd name="connsiteX1264" fmla="*/ 3655802 w 4829175"/>
                <a:gd name="connsiteY1264" fmla="*/ 2385658 h 6515100"/>
                <a:gd name="connsiteX1265" fmla="*/ 3720785 w 4829175"/>
                <a:gd name="connsiteY1265" fmla="*/ 2385658 h 6515100"/>
                <a:gd name="connsiteX1266" fmla="*/ 3991197 w 4829175"/>
                <a:gd name="connsiteY1266" fmla="*/ 2114547 h 6515100"/>
                <a:gd name="connsiteX1267" fmla="*/ 3857739 w 4829175"/>
                <a:gd name="connsiteY1267" fmla="*/ 1981785 h 6515100"/>
                <a:gd name="connsiteX1268" fmla="*/ 3860533 w 4829175"/>
                <a:gd name="connsiteY1268" fmla="*/ 1976197 h 6515100"/>
                <a:gd name="connsiteX1269" fmla="*/ 3859834 w 4829175"/>
                <a:gd name="connsiteY1269" fmla="*/ 1975498 h 6515100"/>
                <a:gd name="connsiteX1270" fmla="*/ 3860533 w 4829175"/>
                <a:gd name="connsiteY1270" fmla="*/ 1974101 h 6515100"/>
                <a:gd name="connsiteX1271" fmla="*/ 3997486 w 4829175"/>
                <a:gd name="connsiteY1271" fmla="*/ 2111054 h 6515100"/>
                <a:gd name="connsiteX1272" fmla="*/ 4261609 w 4829175"/>
                <a:gd name="connsiteY1272" fmla="*/ 2111054 h 6515100"/>
                <a:gd name="connsiteX1273" fmla="*/ 3990498 w 4829175"/>
                <a:gd name="connsiteY1273" fmla="*/ 1840642 h 6515100"/>
                <a:gd name="connsiteX1274" fmla="*/ 3991896 w 4829175"/>
                <a:gd name="connsiteY1274" fmla="*/ 1839244 h 6515100"/>
                <a:gd name="connsiteX1275" fmla="*/ 4260211 w 4829175"/>
                <a:gd name="connsiteY1275" fmla="*/ 1570230 h 6515100"/>
                <a:gd name="connsiteX1276" fmla="*/ 4061770 w 4829175"/>
                <a:gd name="connsiteY1276" fmla="*/ 1570230 h 6515100"/>
                <a:gd name="connsiteX1277" fmla="*/ 4065263 w 4829175"/>
                <a:gd name="connsiteY1277" fmla="*/ 1563243 h 6515100"/>
                <a:gd name="connsiteX1278" fmla="*/ 4260211 w 4829175"/>
                <a:gd name="connsiteY1278" fmla="*/ 1563243 h 6515100"/>
                <a:gd name="connsiteX1279" fmla="*/ 4130246 w 4829175"/>
                <a:gd name="connsiteY1279" fmla="*/ 1433278 h 6515100"/>
                <a:gd name="connsiteX1280" fmla="*/ 4133739 w 4829175"/>
                <a:gd name="connsiteY1280" fmla="*/ 1426290 h 6515100"/>
                <a:gd name="connsiteX1281" fmla="*/ 4274186 w 4829175"/>
                <a:gd name="connsiteY1281" fmla="*/ 1566736 h 6515100"/>
                <a:gd name="connsiteX1282" fmla="*/ 4003774 w 4829175"/>
                <a:gd name="connsiteY1282" fmla="*/ 1837847 h 6515100"/>
                <a:gd name="connsiteX1283" fmla="*/ 4267898 w 4829175"/>
                <a:gd name="connsiteY1283" fmla="*/ 1837847 h 6515100"/>
                <a:gd name="connsiteX1284" fmla="*/ 4538310 w 4829175"/>
                <a:gd name="connsiteY1284" fmla="*/ 1566736 h 6515100"/>
                <a:gd name="connsiteX1285" fmla="*/ 4267199 w 4829175"/>
                <a:gd name="connsiteY1285" fmla="*/ 1297023 h 6515100"/>
                <a:gd name="connsiteX1286" fmla="*/ 4198723 w 4829175"/>
                <a:gd name="connsiteY1286" fmla="*/ 1297023 h 6515100"/>
                <a:gd name="connsiteX1287" fmla="*/ 4003774 w 4829175"/>
                <a:gd name="connsiteY1287" fmla="*/ 1297023 h 6515100"/>
                <a:gd name="connsiteX1288" fmla="*/ 4133040 w 4829175"/>
                <a:gd name="connsiteY1288" fmla="*/ 1426989 h 6515100"/>
                <a:gd name="connsiteX1289" fmla="*/ 4129547 w 4829175"/>
                <a:gd name="connsiteY1289" fmla="*/ 1433975 h 6515100"/>
                <a:gd name="connsiteX1290" fmla="*/ 3989100 w 4829175"/>
                <a:gd name="connsiteY1290" fmla="*/ 1293530 h 6515100"/>
                <a:gd name="connsiteX1291" fmla="*/ 4259512 w 4829175"/>
                <a:gd name="connsiteY1291" fmla="*/ 1022419 h 6515100"/>
                <a:gd name="connsiteX1292" fmla="*/ 162805 w 4829175"/>
                <a:gd name="connsiteY1292" fmla="*/ 752007 h 6515100"/>
                <a:gd name="connsiteX1293" fmla="*/ 433916 w 4829175"/>
                <a:gd name="connsiteY1293" fmla="*/ 1022419 h 6515100"/>
                <a:gd name="connsiteX1294" fmla="*/ 164203 w 4829175"/>
                <a:gd name="connsiteY1294" fmla="*/ 1293530 h 6515100"/>
                <a:gd name="connsiteX1295" fmla="*/ 427627 w 4829175"/>
                <a:gd name="connsiteY1295" fmla="*/ 1293530 h 6515100"/>
                <a:gd name="connsiteX1296" fmla="*/ 698039 w 4829175"/>
                <a:gd name="connsiteY1296" fmla="*/ 1022419 h 6515100"/>
                <a:gd name="connsiteX1297" fmla="*/ 563881 w 4829175"/>
                <a:gd name="connsiteY1297" fmla="*/ 888959 h 6515100"/>
                <a:gd name="connsiteX1298" fmla="*/ 426928 w 4829175"/>
                <a:gd name="connsiteY1298" fmla="*/ 752007 h 6515100"/>
                <a:gd name="connsiteX1299" fmla="*/ 1809035 w 4829175"/>
                <a:gd name="connsiteY1299" fmla="*/ 751308 h 6515100"/>
                <a:gd name="connsiteX1300" fmla="*/ 1937603 w 4829175"/>
                <a:gd name="connsiteY1300" fmla="*/ 879876 h 6515100"/>
                <a:gd name="connsiteX1301" fmla="*/ 2079447 w 4829175"/>
                <a:gd name="connsiteY1301" fmla="*/ 1021720 h 6515100"/>
                <a:gd name="connsiteX1302" fmla="*/ 1809035 w 4829175"/>
                <a:gd name="connsiteY1302" fmla="*/ 1292831 h 6515100"/>
                <a:gd name="connsiteX1303" fmla="*/ 2073158 w 4829175"/>
                <a:gd name="connsiteY1303" fmla="*/ 1292831 h 6515100"/>
                <a:gd name="connsiteX1304" fmla="*/ 2343570 w 4829175"/>
                <a:gd name="connsiteY1304" fmla="*/ 1021720 h 6515100"/>
                <a:gd name="connsiteX1305" fmla="*/ 2338678 w 4829175"/>
                <a:gd name="connsiteY1305" fmla="*/ 1016829 h 6515100"/>
                <a:gd name="connsiteX1306" fmla="*/ 2073158 w 4829175"/>
                <a:gd name="connsiteY1306" fmla="*/ 751308 h 6515100"/>
                <a:gd name="connsiteX1307" fmla="*/ 2357544 w 4829175"/>
                <a:gd name="connsiteY1307" fmla="*/ 750609 h 6515100"/>
                <a:gd name="connsiteX1308" fmla="*/ 2628655 w 4829175"/>
                <a:gd name="connsiteY1308" fmla="*/ 1020322 h 6515100"/>
                <a:gd name="connsiteX1309" fmla="*/ 2625861 w 4829175"/>
                <a:gd name="connsiteY1309" fmla="*/ 1023118 h 6515100"/>
                <a:gd name="connsiteX1310" fmla="*/ 2535723 w 4829175"/>
                <a:gd name="connsiteY1310" fmla="*/ 1113953 h 6515100"/>
                <a:gd name="connsiteX1311" fmla="*/ 2358243 w 4829175"/>
                <a:gd name="connsiteY1311" fmla="*/ 1291433 h 6515100"/>
                <a:gd name="connsiteX1312" fmla="*/ 2622367 w 4829175"/>
                <a:gd name="connsiteY1312" fmla="*/ 1291433 h 6515100"/>
                <a:gd name="connsiteX1313" fmla="*/ 2711805 w 4829175"/>
                <a:gd name="connsiteY1313" fmla="*/ 1201994 h 6515100"/>
                <a:gd name="connsiteX1314" fmla="*/ 2892779 w 4829175"/>
                <a:gd name="connsiteY1314" fmla="*/ 1021021 h 6515100"/>
                <a:gd name="connsiteX1315" fmla="*/ 2621668 w 4829175"/>
                <a:gd name="connsiteY1315" fmla="*/ 750609 h 6515100"/>
                <a:gd name="connsiteX1316" fmla="*/ 1259127 w 4829175"/>
                <a:gd name="connsiteY1316" fmla="*/ 750609 h 6515100"/>
                <a:gd name="connsiteX1317" fmla="*/ 1530238 w 4829175"/>
                <a:gd name="connsiteY1317" fmla="*/ 1020322 h 6515100"/>
                <a:gd name="connsiteX1318" fmla="*/ 1527442 w 4829175"/>
                <a:gd name="connsiteY1318" fmla="*/ 1023118 h 6515100"/>
                <a:gd name="connsiteX1319" fmla="*/ 1437306 w 4829175"/>
                <a:gd name="connsiteY1319" fmla="*/ 1113953 h 6515100"/>
                <a:gd name="connsiteX1320" fmla="*/ 1259826 w 4829175"/>
                <a:gd name="connsiteY1320" fmla="*/ 1291433 h 6515100"/>
                <a:gd name="connsiteX1321" fmla="*/ 1523949 w 4829175"/>
                <a:gd name="connsiteY1321" fmla="*/ 1291433 h 6515100"/>
                <a:gd name="connsiteX1322" fmla="*/ 1613388 w 4829175"/>
                <a:gd name="connsiteY1322" fmla="*/ 1201994 h 6515100"/>
                <a:gd name="connsiteX1323" fmla="*/ 1794361 w 4829175"/>
                <a:gd name="connsiteY1323" fmla="*/ 1021021 h 6515100"/>
                <a:gd name="connsiteX1324" fmla="*/ 1523250 w 4829175"/>
                <a:gd name="connsiteY1324" fmla="*/ 750609 h 6515100"/>
                <a:gd name="connsiteX1325" fmla="*/ 710617 w 4829175"/>
                <a:gd name="connsiteY1325" fmla="*/ 750609 h 6515100"/>
                <a:gd name="connsiteX1326" fmla="*/ 712014 w 4829175"/>
                <a:gd name="connsiteY1326" fmla="*/ 752007 h 6515100"/>
                <a:gd name="connsiteX1327" fmla="*/ 981727 w 4829175"/>
                <a:gd name="connsiteY1327" fmla="*/ 1021021 h 6515100"/>
                <a:gd name="connsiteX1328" fmla="*/ 711316 w 4829175"/>
                <a:gd name="connsiteY1328" fmla="*/ 1292132 h 6515100"/>
                <a:gd name="connsiteX1329" fmla="*/ 975439 w 4829175"/>
                <a:gd name="connsiteY1329" fmla="*/ 1292132 h 6515100"/>
                <a:gd name="connsiteX1330" fmla="*/ 1245851 w 4829175"/>
                <a:gd name="connsiteY1330" fmla="*/ 1021021 h 6515100"/>
                <a:gd name="connsiteX1331" fmla="*/ 1240261 w 4829175"/>
                <a:gd name="connsiteY1331" fmla="*/ 1016130 h 6515100"/>
                <a:gd name="connsiteX1332" fmla="*/ 974740 w 4829175"/>
                <a:gd name="connsiteY1332" fmla="*/ 750609 h 6515100"/>
                <a:gd name="connsiteX1333" fmla="*/ 2906055 w 4829175"/>
                <a:gd name="connsiteY1333" fmla="*/ 749910 h 6515100"/>
                <a:gd name="connsiteX1334" fmla="*/ 3036720 w 4829175"/>
                <a:gd name="connsiteY1334" fmla="*/ 879177 h 6515100"/>
                <a:gd name="connsiteX1335" fmla="*/ 3177166 w 4829175"/>
                <a:gd name="connsiteY1335" fmla="*/ 1019623 h 6515100"/>
                <a:gd name="connsiteX1336" fmla="*/ 2906754 w 4829175"/>
                <a:gd name="connsiteY1336" fmla="*/ 1290734 h 6515100"/>
                <a:gd name="connsiteX1337" fmla="*/ 3170877 w 4829175"/>
                <a:gd name="connsiteY1337" fmla="*/ 1290734 h 6515100"/>
                <a:gd name="connsiteX1338" fmla="*/ 3441289 w 4829175"/>
                <a:gd name="connsiteY1338" fmla="*/ 1020322 h 6515100"/>
                <a:gd name="connsiteX1339" fmla="*/ 3170178 w 4829175"/>
                <a:gd name="connsiteY1339" fmla="*/ 749910 h 6515100"/>
                <a:gd name="connsiteX1340" fmla="*/ 3454565 w 4829175"/>
                <a:gd name="connsiteY1340" fmla="*/ 749211 h 6515100"/>
                <a:gd name="connsiteX1341" fmla="*/ 3725676 w 4829175"/>
                <a:gd name="connsiteY1341" fmla="*/ 1019623 h 6515100"/>
                <a:gd name="connsiteX1342" fmla="*/ 3455264 w 4829175"/>
                <a:gd name="connsiteY1342" fmla="*/ 1290734 h 6515100"/>
                <a:gd name="connsiteX1343" fmla="*/ 3719387 w 4829175"/>
                <a:gd name="connsiteY1343" fmla="*/ 1290734 h 6515100"/>
                <a:gd name="connsiteX1344" fmla="*/ 3989799 w 4829175"/>
                <a:gd name="connsiteY1344" fmla="*/ 1019623 h 6515100"/>
                <a:gd name="connsiteX1345" fmla="*/ 3718688 w 4829175"/>
                <a:gd name="connsiteY1345" fmla="*/ 749211 h 6515100"/>
                <a:gd name="connsiteX1346" fmla="*/ 4003075 w 4829175"/>
                <a:gd name="connsiteY1346" fmla="*/ 748512 h 6515100"/>
                <a:gd name="connsiteX1347" fmla="*/ 4274186 w 4829175"/>
                <a:gd name="connsiteY1347" fmla="*/ 1018924 h 6515100"/>
                <a:gd name="connsiteX1348" fmla="*/ 4003774 w 4829175"/>
                <a:gd name="connsiteY1348" fmla="*/ 1290035 h 6515100"/>
                <a:gd name="connsiteX1349" fmla="*/ 4202216 w 4829175"/>
                <a:gd name="connsiteY1349" fmla="*/ 1290035 h 6515100"/>
                <a:gd name="connsiteX1350" fmla="*/ 4267199 w 4829175"/>
                <a:gd name="connsiteY1350" fmla="*/ 1290035 h 6515100"/>
                <a:gd name="connsiteX1351" fmla="*/ 4538310 w 4829175"/>
                <a:gd name="connsiteY1351" fmla="*/ 1018924 h 6515100"/>
                <a:gd name="connsiteX1352" fmla="*/ 4404151 w 4829175"/>
                <a:gd name="connsiteY1352" fmla="*/ 885466 h 6515100"/>
                <a:gd name="connsiteX1353" fmla="*/ 4267199 w 4829175"/>
                <a:gd name="connsiteY1353" fmla="*/ 748512 h 6515100"/>
                <a:gd name="connsiteX1354" fmla="*/ 702930 w 4829175"/>
                <a:gd name="connsiteY1354" fmla="*/ 476704 h 6515100"/>
                <a:gd name="connsiteX1355" fmla="*/ 522656 w 4829175"/>
                <a:gd name="connsiteY1355" fmla="*/ 657677 h 6515100"/>
                <a:gd name="connsiteX1356" fmla="*/ 433217 w 4829175"/>
                <a:gd name="connsiteY1356" fmla="*/ 747814 h 6515100"/>
                <a:gd name="connsiteX1357" fmla="*/ 567375 w 4829175"/>
                <a:gd name="connsiteY1357" fmla="*/ 881273 h 6515100"/>
                <a:gd name="connsiteX1358" fmla="*/ 704328 w 4829175"/>
                <a:gd name="connsiteY1358" fmla="*/ 1018227 h 6515100"/>
                <a:gd name="connsiteX1359" fmla="*/ 968451 w 4829175"/>
                <a:gd name="connsiteY1359" fmla="*/ 1018227 h 6515100"/>
                <a:gd name="connsiteX1360" fmla="*/ 697340 w 4829175"/>
                <a:gd name="connsiteY1360" fmla="*/ 747814 h 6515100"/>
                <a:gd name="connsiteX1361" fmla="*/ 698738 w 4829175"/>
                <a:gd name="connsiteY1361" fmla="*/ 746417 h 6515100"/>
                <a:gd name="connsiteX1362" fmla="*/ 967054 w 4829175"/>
                <a:gd name="connsiteY1362" fmla="*/ 476704 h 6515100"/>
                <a:gd name="connsiteX1363" fmla="*/ 1252140 w 4829175"/>
                <a:gd name="connsiteY1363" fmla="*/ 476005 h 6515100"/>
                <a:gd name="connsiteX1364" fmla="*/ 981727 w 4829175"/>
                <a:gd name="connsiteY1364" fmla="*/ 747116 h 6515100"/>
                <a:gd name="connsiteX1365" fmla="*/ 1252838 w 4829175"/>
                <a:gd name="connsiteY1365" fmla="*/ 1017528 h 6515100"/>
                <a:gd name="connsiteX1366" fmla="*/ 1516962 w 4829175"/>
                <a:gd name="connsiteY1366" fmla="*/ 1017528 h 6515100"/>
                <a:gd name="connsiteX1367" fmla="*/ 1245851 w 4829175"/>
                <a:gd name="connsiteY1367" fmla="*/ 747116 h 6515100"/>
                <a:gd name="connsiteX1368" fmla="*/ 1516263 w 4829175"/>
                <a:gd name="connsiteY1368" fmla="*/ 476005 h 6515100"/>
                <a:gd name="connsiteX1369" fmla="*/ 2899067 w 4829175"/>
                <a:gd name="connsiteY1369" fmla="*/ 475306 h 6515100"/>
                <a:gd name="connsiteX1370" fmla="*/ 2628655 w 4829175"/>
                <a:gd name="connsiteY1370" fmla="*/ 746417 h 6515100"/>
                <a:gd name="connsiteX1371" fmla="*/ 2899766 w 4829175"/>
                <a:gd name="connsiteY1371" fmla="*/ 1016829 h 6515100"/>
                <a:gd name="connsiteX1372" fmla="*/ 3163191 w 4829175"/>
                <a:gd name="connsiteY1372" fmla="*/ 1016829 h 6515100"/>
                <a:gd name="connsiteX1373" fmla="*/ 3032527 w 4829175"/>
                <a:gd name="connsiteY1373" fmla="*/ 886863 h 6515100"/>
                <a:gd name="connsiteX1374" fmla="*/ 2892081 w 4829175"/>
                <a:gd name="connsiteY1374" fmla="*/ 746417 h 6515100"/>
                <a:gd name="connsiteX1375" fmla="*/ 3163191 w 4829175"/>
                <a:gd name="connsiteY1375" fmla="*/ 475306 h 6515100"/>
                <a:gd name="connsiteX1376" fmla="*/ 1799951 w 4829175"/>
                <a:gd name="connsiteY1376" fmla="*/ 475306 h 6515100"/>
                <a:gd name="connsiteX1377" fmla="*/ 1529539 w 4829175"/>
                <a:gd name="connsiteY1377" fmla="*/ 746417 h 6515100"/>
                <a:gd name="connsiteX1378" fmla="*/ 1800650 w 4829175"/>
                <a:gd name="connsiteY1378" fmla="*/ 1016829 h 6515100"/>
                <a:gd name="connsiteX1379" fmla="*/ 1802048 w 4829175"/>
                <a:gd name="connsiteY1379" fmla="*/ 1018227 h 6515100"/>
                <a:gd name="connsiteX1380" fmla="*/ 2066171 w 4829175"/>
                <a:gd name="connsiteY1380" fmla="*/ 1018227 h 6515100"/>
                <a:gd name="connsiteX1381" fmla="*/ 1934808 w 4829175"/>
                <a:gd name="connsiteY1381" fmla="*/ 886863 h 6515100"/>
                <a:gd name="connsiteX1382" fmla="*/ 1797155 w 4829175"/>
                <a:gd name="connsiteY1382" fmla="*/ 749211 h 6515100"/>
                <a:gd name="connsiteX1383" fmla="*/ 2066171 w 4829175"/>
                <a:gd name="connsiteY1383" fmla="*/ 475306 h 6515100"/>
                <a:gd name="connsiteX1384" fmla="*/ 3446879 w 4829175"/>
                <a:gd name="connsiteY1384" fmla="*/ 474607 h 6515100"/>
                <a:gd name="connsiteX1385" fmla="*/ 3176467 w 4829175"/>
                <a:gd name="connsiteY1385" fmla="*/ 745718 h 6515100"/>
                <a:gd name="connsiteX1386" fmla="*/ 3447578 w 4829175"/>
                <a:gd name="connsiteY1386" fmla="*/ 1016130 h 6515100"/>
                <a:gd name="connsiteX1387" fmla="*/ 3711701 w 4829175"/>
                <a:gd name="connsiteY1387" fmla="*/ 1016130 h 6515100"/>
                <a:gd name="connsiteX1388" fmla="*/ 3440590 w 4829175"/>
                <a:gd name="connsiteY1388" fmla="*/ 745718 h 6515100"/>
                <a:gd name="connsiteX1389" fmla="*/ 3625057 w 4829175"/>
                <a:gd name="connsiteY1389" fmla="*/ 561251 h 6515100"/>
                <a:gd name="connsiteX1390" fmla="*/ 3709605 w 4829175"/>
                <a:gd name="connsiteY1390" fmla="*/ 474607 h 6515100"/>
                <a:gd name="connsiteX1391" fmla="*/ 3995389 w 4829175"/>
                <a:gd name="connsiteY1391" fmla="*/ 473908 h 6515100"/>
                <a:gd name="connsiteX1392" fmla="*/ 3724977 w 4829175"/>
                <a:gd name="connsiteY1392" fmla="*/ 745019 h 6515100"/>
                <a:gd name="connsiteX1393" fmla="*/ 3996088 w 4829175"/>
                <a:gd name="connsiteY1393" fmla="*/ 1015431 h 6515100"/>
                <a:gd name="connsiteX1394" fmla="*/ 4260211 w 4829175"/>
                <a:gd name="connsiteY1394" fmla="*/ 1015431 h 6515100"/>
                <a:gd name="connsiteX1395" fmla="*/ 3989100 w 4829175"/>
                <a:gd name="connsiteY1395" fmla="*/ 745019 h 6515100"/>
                <a:gd name="connsiteX1396" fmla="*/ 3990498 w 4829175"/>
                <a:gd name="connsiteY1396" fmla="*/ 743621 h 6515100"/>
                <a:gd name="connsiteX1397" fmla="*/ 3989799 w 4829175"/>
                <a:gd name="connsiteY1397" fmla="*/ 743621 h 6515100"/>
                <a:gd name="connsiteX1398" fmla="*/ 4258116 w 4829175"/>
                <a:gd name="connsiteY1398" fmla="*/ 474607 h 6515100"/>
                <a:gd name="connsiteX1399" fmla="*/ 3999582 w 4829175"/>
                <a:gd name="connsiteY1399" fmla="*/ 474607 h 6515100"/>
                <a:gd name="connsiteX1400" fmla="*/ 4000979 w 4829175"/>
                <a:gd name="connsiteY1400" fmla="*/ 473908 h 6515100"/>
                <a:gd name="connsiteX1401" fmla="*/ 4543201 w 4829175"/>
                <a:gd name="connsiteY1401" fmla="*/ 473209 h 6515100"/>
                <a:gd name="connsiteX1402" fmla="*/ 4362227 w 4829175"/>
                <a:gd name="connsiteY1402" fmla="*/ 654183 h 6515100"/>
                <a:gd name="connsiteX1403" fmla="*/ 4362926 w 4829175"/>
                <a:gd name="connsiteY1403" fmla="*/ 654882 h 6515100"/>
                <a:gd name="connsiteX1404" fmla="*/ 4273487 w 4829175"/>
                <a:gd name="connsiteY1404" fmla="*/ 745019 h 6515100"/>
                <a:gd name="connsiteX1405" fmla="*/ 4407646 w 4829175"/>
                <a:gd name="connsiteY1405" fmla="*/ 878479 h 6515100"/>
                <a:gd name="connsiteX1406" fmla="*/ 4543899 w 4829175"/>
                <a:gd name="connsiteY1406" fmla="*/ 1014732 h 6515100"/>
                <a:gd name="connsiteX1407" fmla="*/ 4808023 w 4829175"/>
                <a:gd name="connsiteY1407" fmla="*/ 1014732 h 6515100"/>
                <a:gd name="connsiteX1408" fmla="*/ 4536912 w 4829175"/>
                <a:gd name="connsiteY1408" fmla="*/ 744320 h 6515100"/>
                <a:gd name="connsiteX1409" fmla="*/ 4807324 w 4829175"/>
                <a:gd name="connsiteY1409" fmla="*/ 473209 h 6515100"/>
                <a:gd name="connsiteX1410" fmla="*/ 2616078 w 4829175"/>
                <a:gd name="connsiteY1410" fmla="*/ 473209 h 6515100"/>
                <a:gd name="connsiteX1411" fmla="*/ 2349859 w 4829175"/>
                <a:gd name="connsiteY1411" fmla="*/ 476005 h 6515100"/>
                <a:gd name="connsiteX1412" fmla="*/ 2079447 w 4829175"/>
                <a:gd name="connsiteY1412" fmla="*/ 747116 h 6515100"/>
                <a:gd name="connsiteX1413" fmla="*/ 2350558 w 4829175"/>
                <a:gd name="connsiteY1413" fmla="*/ 1017528 h 6515100"/>
                <a:gd name="connsiteX1414" fmla="*/ 2614681 w 4829175"/>
                <a:gd name="connsiteY1414" fmla="*/ 1017528 h 6515100"/>
                <a:gd name="connsiteX1415" fmla="*/ 2343570 w 4829175"/>
                <a:gd name="connsiteY1415" fmla="*/ 747116 h 6515100"/>
                <a:gd name="connsiteX1416" fmla="*/ 161407 w 4829175"/>
                <a:gd name="connsiteY1416" fmla="*/ 203496 h 6515100"/>
                <a:gd name="connsiteX1417" fmla="*/ 432518 w 4829175"/>
                <a:gd name="connsiteY1417" fmla="*/ 473908 h 6515100"/>
                <a:gd name="connsiteX1418" fmla="*/ 429724 w 4829175"/>
                <a:gd name="connsiteY1418" fmla="*/ 476704 h 6515100"/>
                <a:gd name="connsiteX1419" fmla="*/ 339586 w 4829175"/>
                <a:gd name="connsiteY1419" fmla="*/ 567539 h 6515100"/>
                <a:gd name="connsiteX1420" fmla="*/ 162106 w 4829175"/>
                <a:gd name="connsiteY1420" fmla="*/ 744320 h 6515100"/>
                <a:gd name="connsiteX1421" fmla="*/ 426230 w 4829175"/>
                <a:gd name="connsiteY1421" fmla="*/ 744320 h 6515100"/>
                <a:gd name="connsiteX1422" fmla="*/ 515668 w 4829175"/>
                <a:gd name="connsiteY1422" fmla="*/ 654882 h 6515100"/>
                <a:gd name="connsiteX1423" fmla="*/ 696642 w 4829175"/>
                <a:gd name="connsiteY1423" fmla="*/ 473908 h 6515100"/>
                <a:gd name="connsiteX1424" fmla="*/ 425531 w 4829175"/>
                <a:gd name="connsiteY1424" fmla="*/ 203496 h 6515100"/>
                <a:gd name="connsiteX1425" fmla="*/ 710617 w 4829175"/>
                <a:gd name="connsiteY1425" fmla="*/ 202798 h 6515100"/>
                <a:gd name="connsiteX1426" fmla="*/ 840582 w 4829175"/>
                <a:gd name="connsiteY1426" fmla="*/ 332763 h 6515100"/>
                <a:gd name="connsiteX1427" fmla="*/ 981029 w 4829175"/>
                <a:gd name="connsiteY1427" fmla="*/ 472511 h 6515100"/>
                <a:gd name="connsiteX1428" fmla="*/ 710617 w 4829175"/>
                <a:gd name="connsiteY1428" fmla="*/ 743621 h 6515100"/>
                <a:gd name="connsiteX1429" fmla="*/ 974740 w 4829175"/>
                <a:gd name="connsiteY1429" fmla="*/ 743621 h 6515100"/>
                <a:gd name="connsiteX1430" fmla="*/ 1245851 w 4829175"/>
                <a:gd name="connsiteY1430" fmla="*/ 473209 h 6515100"/>
                <a:gd name="connsiteX1431" fmla="*/ 974740 w 4829175"/>
                <a:gd name="connsiteY1431" fmla="*/ 202798 h 6515100"/>
                <a:gd name="connsiteX1432" fmla="*/ 2906055 w 4829175"/>
                <a:gd name="connsiteY1432" fmla="*/ 202099 h 6515100"/>
                <a:gd name="connsiteX1433" fmla="*/ 3035322 w 4829175"/>
                <a:gd name="connsiteY1433" fmla="*/ 329968 h 6515100"/>
                <a:gd name="connsiteX1434" fmla="*/ 3035322 w 4829175"/>
                <a:gd name="connsiteY1434" fmla="*/ 330667 h 6515100"/>
                <a:gd name="connsiteX1435" fmla="*/ 3177166 w 4829175"/>
                <a:gd name="connsiteY1435" fmla="*/ 472511 h 6515100"/>
                <a:gd name="connsiteX1436" fmla="*/ 2906754 w 4829175"/>
                <a:gd name="connsiteY1436" fmla="*/ 743621 h 6515100"/>
                <a:gd name="connsiteX1437" fmla="*/ 3170178 w 4829175"/>
                <a:gd name="connsiteY1437" fmla="*/ 743621 h 6515100"/>
                <a:gd name="connsiteX1438" fmla="*/ 3440590 w 4829175"/>
                <a:gd name="connsiteY1438" fmla="*/ 472511 h 6515100"/>
                <a:gd name="connsiteX1439" fmla="*/ 3435000 w 4829175"/>
                <a:gd name="connsiteY1439" fmla="*/ 466921 h 6515100"/>
                <a:gd name="connsiteX1440" fmla="*/ 3434301 w 4829175"/>
                <a:gd name="connsiteY1440" fmla="*/ 466921 h 6515100"/>
                <a:gd name="connsiteX1441" fmla="*/ 3168781 w 4829175"/>
                <a:gd name="connsiteY1441" fmla="*/ 202099 h 6515100"/>
                <a:gd name="connsiteX1442" fmla="*/ 1808336 w 4829175"/>
                <a:gd name="connsiteY1442" fmla="*/ 202099 h 6515100"/>
                <a:gd name="connsiteX1443" fmla="*/ 1810426 w 4829175"/>
                <a:gd name="connsiteY1443" fmla="*/ 204887 h 6515100"/>
                <a:gd name="connsiteX1444" fmla="*/ 1809733 w 4829175"/>
                <a:gd name="connsiteY1444" fmla="*/ 204195 h 6515100"/>
                <a:gd name="connsiteX1445" fmla="*/ 1810432 w 4829175"/>
                <a:gd name="connsiteY1445" fmla="*/ 204894 h 6515100"/>
                <a:gd name="connsiteX1446" fmla="*/ 1810426 w 4829175"/>
                <a:gd name="connsiteY1446" fmla="*/ 204887 h 6515100"/>
                <a:gd name="connsiteX1447" fmla="*/ 2068965 w 4829175"/>
                <a:gd name="connsiteY1447" fmla="*/ 462729 h 6515100"/>
                <a:gd name="connsiteX1448" fmla="*/ 2078748 w 4829175"/>
                <a:gd name="connsiteY1448" fmla="*/ 471812 h 6515100"/>
                <a:gd name="connsiteX1449" fmla="*/ 2080844 w 4829175"/>
                <a:gd name="connsiteY1449" fmla="*/ 473908 h 6515100"/>
                <a:gd name="connsiteX1450" fmla="*/ 1816022 w 4829175"/>
                <a:gd name="connsiteY1450" fmla="*/ 743621 h 6515100"/>
                <a:gd name="connsiteX1451" fmla="*/ 2075254 w 4829175"/>
                <a:gd name="connsiteY1451" fmla="*/ 744320 h 6515100"/>
                <a:gd name="connsiteX1452" fmla="*/ 2344968 w 4829175"/>
                <a:gd name="connsiteY1452" fmla="*/ 473908 h 6515100"/>
                <a:gd name="connsiteX1453" fmla="*/ 2209412 w 4829175"/>
                <a:gd name="connsiteY1453" fmla="*/ 339051 h 6515100"/>
                <a:gd name="connsiteX1454" fmla="*/ 2192643 w 4829175"/>
                <a:gd name="connsiteY1454" fmla="*/ 322282 h 6515100"/>
                <a:gd name="connsiteX1455" fmla="*/ 2073158 w 4829175"/>
                <a:gd name="connsiteY1455" fmla="*/ 203496 h 6515100"/>
                <a:gd name="connsiteX1456" fmla="*/ 2068965 w 4829175"/>
                <a:gd name="connsiteY1456" fmla="*/ 202099 h 6515100"/>
                <a:gd name="connsiteX1457" fmla="*/ 1258428 w 4829175"/>
                <a:gd name="connsiteY1457" fmla="*/ 202099 h 6515100"/>
                <a:gd name="connsiteX1458" fmla="*/ 1529539 w 4829175"/>
                <a:gd name="connsiteY1458" fmla="*/ 472511 h 6515100"/>
                <a:gd name="connsiteX1459" fmla="*/ 1259127 w 4829175"/>
                <a:gd name="connsiteY1459" fmla="*/ 743621 h 6515100"/>
                <a:gd name="connsiteX1460" fmla="*/ 1523250 w 4829175"/>
                <a:gd name="connsiteY1460" fmla="*/ 743621 h 6515100"/>
                <a:gd name="connsiteX1461" fmla="*/ 1793662 w 4829175"/>
                <a:gd name="connsiteY1461" fmla="*/ 472511 h 6515100"/>
                <a:gd name="connsiteX1462" fmla="*/ 1522551 w 4829175"/>
                <a:gd name="connsiteY1462" fmla="*/ 202099 h 6515100"/>
                <a:gd name="connsiteX1463" fmla="*/ 2621668 w 4829175"/>
                <a:gd name="connsiteY1463" fmla="*/ 200701 h 6515100"/>
                <a:gd name="connsiteX1464" fmla="*/ 2358243 w 4829175"/>
                <a:gd name="connsiteY1464" fmla="*/ 201400 h 6515100"/>
                <a:gd name="connsiteX1465" fmla="*/ 2627259 w 4829175"/>
                <a:gd name="connsiteY1465" fmla="*/ 469716 h 6515100"/>
                <a:gd name="connsiteX1466" fmla="*/ 2626560 w 4829175"/>
                <a:gd name="connsiteY1466" fmla="*/ 470415 h 6515100"/>
                <a:gd name="connsiteX1467" fmla="*/ 2627957 w 4829175"/>
                <a:gd name="connsiteY1467" fmla="*/ 471812 h 6515100"/>
                <a:gd name="connsiteX1468" fmla="*/ 2357544 w 4829175"/>
                <a:gd name="connsiteY1468" fmla="*/ 742923 h 6515100"/>
                <a:gd name="connsiteX1469" fmla="*/ 2621668 w 4829175"/>
                <a:gd name="connsiteY1469" fmla="*/ 742923 h 6515100"/>
                <a:gd name="connsiteX1470" fmla="*/ 2711805 w 4829175"/>
                <a:gd name="connsiteY1470" fmla="*/ 652786 h 6515100"/>
                <a:gd name="connsiteX1471" fmla="*/ 2891382 w 4829175"/>
                <a:gd name="connsiteY1471" fmla="*/ 469716 h 6515100"/>
                <a:gd name="connsiteX1472" fmla="*/ 4001678 w 4829175"/>
                <a:gd name="connsiteY1472" fmla="*/ 200003 h 6515100"/>
                <a:gd name="connsiteX1473" fmla="*/ 4131644 w 4829175"/>
                <a:gd name="connsiteY1473" fmla="*/ 329269 h 6515100"/>
                <a:gd name="connsiteX1474" fmla="*/ 4272090 w 4829175"/>
                <a:gd name="connsiteY1474" fmla="*/ 469716 h 6515100"/>
                <a:gd name="connsiteX1475" fmla="*/ 4179158 w 4829175"/>
                <a:gd name="connsiteY1475" fmla="*/ 563347 h 6515100"/>
                <a:gd name="connsiteX1476" fmla="*/ 4179856 w 4829175"/>
                <a:gd name="connsiteY1476" fmla="*/ 564046 h 6515100"/>
                <a:gd name="connsiteX1477" fmla="*/ 4003075 w 4829175"/>
                <a:gd name="connsiteY1477" fmla="*/ 741525 h 6515100"/>
                <a:gd name="connsiteX1478" fmla="*/ 4265801 w 4829175"/>
                <a:gd name="connsiteY1478" fmla="*/ 741525 h 6515100"/>
                <a:gd name="connsiteX1479" fmla="*/ 4536213 w 4829175"/>
                <a:gd name="connsiteY1479" fmla="*/ 470415 h 6515100"/>
                <a:gd name="connsiteX1480" fmla="*/ 4265102 w 4829175"/>
                <a:gd name="connsiteY1480" fmla="*/ 200003 h 6515100"/>
                <a:gd name="connsiteX1481" fmla="*/ 3453167 w 4829175"/>
                <a:gd name="connsiteY1481" fmla="*/ 200003 h 6515100"/>
                <a:gd name="connsiteX1482" fmla="*/ 3724278 w 4829175"/>
                <a:gd name="connsiteY1482" fmla="*/ 470415 h 6515100"/>
                <a:gd name="connsiteX1483" fmla="*/ 3724977 w 4829175"/>
                <a:gd name="connsiteY1483" fmla="*/ 471113 h 6515100"/>
                <a:gd name="connsiteX1484" fmla="*/ 3454565 w 4829175"/>
                <a:gd name="connsiteY1484" fmla="*/ 742224 h 6515100"/>
                <a:gd name="connsiteX1485" fmla="*/ 3718688 w 4829175"/>
                <a:gd name="connsiteY1485" fmla="*/ 742224 h 6515100"/>
                <a:gd name="connsiteX1486" fmla="*/ 3808127 w 4829175"/>
                <a:gd name="connsiteY1486" fmla="*/ 652087 h 6515100"/>
                <a:gd name="connsiteX1487" fmla="*/ 3807428 w 4829175"/>
                <a:gd name="connsiteY1487" fmla="*/ 652087 h 6515100"/>
                <a:gd name="connsiteX1488" fmla="*/ 3988403 w 4829175"/>
                <a:gd name="connsiteY1488" fmla="*/ 471113 h 6515100"/>
                <a:gd name="connsiteX1489" fmla="*/ 3983511 w 4829175"/>
                <a:gd name="connsiteY1489" fmla="*/ 465523 h 6515100"/>
                <a:gd name="connsiteX1490" fmla="*/ 3717291 w 4829175"/>
                <a:gd name="connsiteY1490" fmla="*/ 200003 h 6515100"/>
                <a:gd name="connsiteX1491" fmla="*/ 348134 w 4829175"/>
                <a:gd name="connsiteY1491" fmla="*/ 0 h 6515100"/>
                <a:gd name="connsiteX1492" fmla="*/ 358615 w 4829175"/>
                <a:gd name="connsiteY1492" fmla="*/ 0 h 6515100"/>
                <a:gd name="connsiteX1493" fmla="*/ 162106 w 4829175"/>
                <a:gd name="connsiteY1493" fmla="*/ 196509 h 6515100"/>
                <a:gd name="connsiteX1494" fmla="*/ 426230 w 4829175"/>
                <a:gd name="connsiteY1494" fmla="*/ 196509 h 6515100"/>
                <a:gd name="connsiteX1495" fmla="*/ 622232 w 4829175"/>
                <a:gd name="connsiteY1495" fmla="*/ 0 h 6515100"/>
                <a:gd name="connsiteX1496" fmla="*/ 632006 w 4829175"/>
                <a:gd name="connsiteY1496" fmla="*/ 0 h 6515100"/>
                <a:gd name="connsiteX1497" fmla="*/ 432518 w 4829175"/>
                <a:gd name="connsiteY1497" fmla="*/ 200003 h 6515100"/>
                <a:gd name="connsiteX1498" fmla="*/ 704328 w 4829175"/>
                <a:gd name="connsiteY1498" fmla="*/ 470415 h 6515100"/>
                <a:gd name="connsiteX1499" fmla="*/ 967752 w 4829175"/>
                <a:gd name="connsiteY1499" fmla="*/ 470415 h 6515100"/>
                <a:gd name="connsiteX1500" fmla="*/ 837089 w 4829175"/>
                <a:gd name="connsiteY1500" fmla="*/ 340449 h 6515100"/>
                <a:gd name="connsiteX1501" fmla="*/ 696642 w 4829175"/>
                <a:gd name="connsiteY1501" fmla="*/ 200003 h 6515100"/>
                <a:gd name="connsiteX1502" fmla="*/ 896129 w 4829175"/>
                <a:gd name="connsiteY1502" fmla="*/ 0 h 6515100"/>
                <a:gd name="connsiteX1503" fmla="*/ 907318 w 4829175"/>
                <a:gd name="connsiteY1503" fmla="*/ 0 h 6515100"/>
                <a:gd name="connsiteX1504" fmla="*/ 711316 w 4829175"/>
                <a:gd name="connsiteY1504" fmla="*/ 196509 h 6515100"/>
                <a:gd name="connsiteX1505" fmla="*/ 974740 w 4829175"/>
                <a:gd name="connsiteY1505" fmla="*/ 196509 h 6515100"/>
                <a:gd name="connsiteX1506" fmla="*/ 1170742 w 4829175"/>
                <a:gd name="connsiteY1506" fmla="*/ 0 h 6515100"/>
                <a:gd name="connsiteX1507" fmla="*/ 1179819 w 4829175"/>
                <a:gd name="connsiteY1507" fmla="*/ 0 h 6515100"/>
                <a:gd name="connsiteX1508" fmla="*/ 981029 w 4829175"/>
                <a:gd name="connsiteY1508" fmla="*/ 199304 h 6515100"/>
                <a:gd name="connsiteX1509" fmla="*/ 1252140 w 4829175"/>
                <a:gd name="connsiteY1509" fmla="*/ 469716 h 6515100"/>
                <a:gd name="connsiteX1510" fmla="*/ 1516263 w 4829175"/>
                <a:gd name="connsiteY1510" fmla="*/ 469716 h 6515100"/>
                <a:gd name="connsiteX1511" fmla="*/ 1245152 w 4829175"/>
                <a:gd name="connsiteY1511" fmla="*/ 199304 h 6515100"/>
                <a:gd name="connsiteX1512" fmla="*/ 1443942 w 4829175"/>
                <a:gd name="connsiteY1512" fmla="*/ 0 h 6515100"/>
                <a:gd name="connsiteX1513" fmla="*/ 1453410 w 4829175"/>
                <a:gd name="connsiteY1513" fmla="*/ 0 h 6515100"/>
                <a:gd name="connsiteX1514" fmla="*/ 1436607 w 4829175"/>
                <a:gd name="connsiteY1514" fmla="*/ 16933 h 6515100"/>
                <a:gd name="connsiteX1515" fmla="*/ 1435908 w 4829175"/>
                <a:gd name="connsiteY1515" fmla="*/ 16933 h 6515100"/>
                <a:gd name="connsiteX1516" fmla="*/ 1258428 w 4829175"/>
                <a:gd name="connsiteY1516" fmla="*/ 195111 h 6515100"/>
                <a:gd name="connsiteX1517" fmla="*/ 1522551 w 4829175"/>
                <a:gd name="connsiteY1517" fmla="*/ 195111 h 6515100"/>
                <a:gd name="connsiteX1518" fmla="*/ 1717663 w 4829175"/>
                <a:gd name="connsiteY1518" fmla="*/ 0 h 6515100"/>
                <a:gd name="connsiteX1519" fmla="*/ 1728424 w 4829175"/>
                <a:gd name="connsiteY1519" fmla="*/ 0 h 6515100"/>
                <a:gd name="connsiteX1520" fmla="*/ 1620376 w 4829175"/>
                <a:gd name="connsiteY1520" fmla="*/ 108468 h 6515100"/>
                <a:gd name="connsiteX1521" fmla="*/ 1619677 w 4829175"/>
                <a:gd name="connsiteY1521" fmla="*/ 108468 h 6515100"/>
                <a:gd name="connsiteX1522" fmla="*/ 1529539 w 4829175"/>
                <a:gd name="connsiteY1522" fmla="*/ 198605 h 6515100"/>
                <a:gd name="connsiteX1523" fmla="*/ 1799951 w 4829175"/>
                <a:gd name="connsiteY1523" fmla="*/ 469716 h 6515100"/>
                <a:gd name="connsiteX1524" fmla="*/ 2064074 w 4829175"/>
                <a:gd name="connsiteY1524" fmla="*/ 469716 h 6515100"/>
                <a:gd name="connsiteX1525" fmla="*/ 1792964 w 4829175"/>
                <a:gd name="connsiteY1525" fmla="*/ 199304 h 6515100"/>
                <a:gd name="connsiteX1526" fmla="*/ 1977431 w 4829175"/>
                <a:gd name="connsiteY1526" fmla="*/ 14837 h 6515100"/>
                <a:gd name="connsiteX1527" fmla="*/ 1978130 w 4829175"/>
                <a:gd name="connsiteY1527" fmla="*/ 14837 h 6515100"/>
                <a:gd name="connsiteX1528" fmla="*/ 1992847 w 4829175"/>
                <a:gd name="connsiteY1528" fmla="*/ 0 h 6515100"/>
                <a:gd name="connsiteX1529" fmla="*/ 2002247 w 4829175"/>
                <a:gd name="connsiteY1529" fmla="*/ 0 h 6515100"/>
                <a:gd name="connsiteX1530" fmla="*/ 1808336 w 4829175"/>
                <a:gd name="connsiteY1530" fmla="*/ 194412 h 6515100"/>
                <a:gd name="connsiteX1531" fmla="*/ 2071761 w 4829175"/>
                <a:gd name="connsiteY1531" fmla="*/ 194412 h 6515100"/>
                <a:gd name="connsiteX1532" fmla="*/ 2266173 w 4829175"/>
                <a:gd name="connsiteY1532" fmla="*/ 0 h 6515100"/>
                <a:gd name="connsiteX1533" fmla="*/ 2277539 w 4829175"/>
                <a:gd name="connsiteY1533" fmla="*/ 0 h 6515100"/>
                <a:gd name="connsiteX1534" fmla="*/ 2078748 w 4829175"/>
                <a:gd name="connsiteY1534" fmla="*/ 199304 h 6515100"/>
                <a:gd name="connsiteX1535" fmla="*/ 2348461 w 4829175"/>
                <a:gd name="connsiteY1535" fmla="*/ 468319 h 6515100"/>
                <a:gd name="connsiteX1536" fmla="*/ 2611886 w 4829175"/>
                <a:gd name="connsiteY1536" fmla="*/ 468319 h 6515100"/>
                <a:gd name="connsiteX1537" fmla="*/ 2342872 w 4829175"/>
                <a:gd name="connsiteY1537" fmla="*/ 199304 h 6515100"/>
                <a:gd name="connsiteX1538" fmla="*/ 2343570 w 4829175"/>
                <a:gd name="connsiteY1538" fmla="*/ 198605 h 6515100"/>
                <a:gd name="connsiteX1539" fmla="*/ 2342173 w 4829175"/>
                <a:gd name="connsiteY1539" fmla="*/ 197208 h 6515100"/>
                <a:gd name="connsiteX1540" fmla="*/ 2538868 w 4829175"/>
                <a:gd name="connsiteY1540" fmla="*/ 0 h 6515100"/>
                <a:gd name="connsiteX1541" fmla="*/ 2552152 w 4829175"/>
                <a:gd name="connsiteY1541" fmla="*/ 0 h 6515100"/>
                <a:gd name="connsiteX1542" fmla="*/ 2358243 w 4829175"/>
                <a:gd name="connsiteY1542" fmla="*/ 194412 h 6515100"/>
                <a:gd name="connsiteX1543" fmla="*/ 2620271 w 4829175"/>
                <a:gd name="connsiteY1543" fmla="*/ 194412 h 6515100"/>
                <a:gd name="connsiteX1544" fmla="*/ 2814181 w 4829175"/>
                <a:gd name="connsiteY1544" fmla="*/ 0 h 6515100"/>
                <a:gd name="connsiteX1545" fmla="*/ 2825540 w 4829175"/>
                <a:gd name="connsiteY1545" fmla="*/ 0 h 6515100"/>
                <a:gd name="connsiteX1546" fmla="*/ 2628655 w 4829175"/>
                <a:gd name="connsiteY1546" fmla="*/ 197906 h 6515100"/>
                <a:gd name="connsiteX1547" fmla="*/ 2898368 w 4829175"/>
                <a:gd name="connsiteY1547" fmla="*/ 466921 h 6515100"/>
                <a:gd name="connsiteX1548" fmla="*/ 3163191 w 4829175"/>
                <a:gd name="connsiteY1548" fmla="*/ 468319 h 6515100"/>
                <a:gd name="connsiteX1549" fmla="*/ 2892081 w 4829175"/>
                <a:gd name="connsiteY1549" fmla="*/ 197906 h 6515100"/>
                <a:gd name="connsiteX1550" fmla="*/ 2890683 w 4829175"/>
                <a:gd name="connsiteY1550" fmla="*/ 196509 h 6515100"/>
                <a:gd name="connsiteX1551" fmla="*/ 3086683 w 4829175"/>
                <a:gd name="connsiteY1551" fmla="*/ 0 h 6515100"/>
                <a:gd name="connsiteX1552" fmla="*/ 3097556 w 4829175"/>
                <a:gd name="connsiteY1552" fmla="*/ 0 h 6515100"/>
                <a:gd name="connsiteX1553" fmla="*/ 3082137 w 4829175"/>
                <a:gd name="connsiteY1553" fmla="*/ 15536 h 6515100"/>
                <a:gd name="connsiteX1554" fmla="*/ 3082836 w 4829175"/>
                <a:gd name="connsiteY1554" fmla="*/ 16235 h 6515100"/>
                <a:gd name="connsiteX1555" fmla="*/ 2906754 w 4829175"/>
                <a:gd name="connsiteY1555" fmla="*/ 192317 h 6515100"/>
                <a:gd name="connsiteX1556" fmla="*/ 3103099 w 4829175"/>
                <a:gd name="connsiteY1556" fmla="*/ 192317 h 6515100"/>
                <a:gd name="connsiteX1557" fmla="*/ 3102401 w 4829175"/>
                <a:gd name="connsiteY1557" fmla="*/ 193714 h 6515100"/>
                <a:gd name="connsiteX1558" fmla="*/ 3168083 w 4829175"/>
                <a:gd name="connsiteY1558" fmla="*/ 193714 h 6515100"/>
                <a:gd name="connsiteX1559" fmla="*/ 3361298 w 4829175"/>
                <a:gd name="connsiteY1559" fmla="*/ 0 h 6515100"/>
                <a:gd name="connsiteX1560" fmla="*/ 3371863 w 4829175"/>
                <a:gd name="connsiteY1560" fmla="*/ 0 h 6515100"/>
                <a:gd name="connsiteX1561" fmla="*/ 3264508 w 4829175"/>
                <a:gd name="connsiteY1561" fmla="*/ 107769 h 6515100"/>
                <a:gd name="connsiteX1562" fmla="*/ 3265906 w 4829175"/>
                <a:gd name="connsiteY1562" fmla="*/ 108468 h 6515100"/>
                <a:gd name="connsiteX1563" fmla="*/ 3176467 w 4829175"/>
                <a:gd name="connsiteY1563" fmla="*/ 197906 h 6515100"/>
                <a:gd name="connsiteX1564" fmla="*/ 3446879 w 4829175"/>
                <a:gd name="connsiteY1564" fmla="*/ 467620 h 6515100"/>
                <a:gd name="connsiteX1565" fmla="*/ 3710303 w 4829175"/>
                <a:gd name="connsiteY1565" fmla="*/ 467620 h 6515100"/>
                <a:gd name="connsiteX1566" fmla="*/ 3439891 w 4829175"/>
                <a:gd name="connsiteY1566" fmla="*/ 197906 h 6515100"/>
                <a:gd name="connsiteX1567" fmla="*/ 3439193 w 4829175"/>
                <a:gd name="connsiteY1567" fmla="*/ 197208 h 6515100"/>
                <a:gd name="connsiteX1568" fmla="*/ 3635893 w 4829175"/>
                <a:gd name="connsiteY1568" fmla="*/ 0 h 6515100"/>
                <a:gd name="connsiteX1569" fmla="*/ 3646183 w 4829175"/>
                <a:gd name="connsiteY1569" fmla="*/ 0 h 6515100"/>
                <a:gd name="connsiteX1570" fmla="*/ 3453167 w 4829175"/>
                <a:gd name="connsiteY1570" fmla="*/ 193016 h 6515100"/>
                <a:gd name="connsiteX1571" fmla="*/ 3717291 w 4829175"/>
                <a:gd name="connsiteY1571" fmla="*/ 193016 h 6515100"/>
                <a:gd name="connsiteX1572" fmla="*/ 3910306 w 4829175"/>
                <a:gd name="connsiteY1572" fmla="*/ 0 h 6515100"/>
                <a:gd name="connsiteX1573" fmla="*/ 3919582 w 4829175"/>
                <a:gd name="connsiteY1573" fmla="*/ 0 h 6515100"/>
                <a:gd name="connsiteX1574" fmla="*/ 3723579 w 4829175"/>
                <a:gd name="connsiteY1574" fmla="*/ 196509 h 6515100"/>
                <a:gd name="connsiteX1575" fmla="*/ 3994690 w 4829175"/>
                <a:gd name="connsiteY1575" fmla="*/ 466921 h 6515100"/>
                <a:gd name="connsiteX1576" fmla="*/ 4258116 w 4829175"/>
                <a:gd name="connsiteY1576" fmla="*/ 466921 h 6515100"/>
                <a:gd name="connsiteX1577" fmla="*/ 4128150 w 4829175"/>
                <a:gd name="connsiteY1577" fmla="*/ 336956 h 6515100"/>
                <a:gd name="connsiteX1578" fmla="*/ 3987703 w 4829175"/>
                <a:gd name="connsiteY1578" fmla="*/ 196509 h 6515100"/>
                <a:gd name="connsiteX1579" fmla="*/ 4183705 w 4829175"/>
                <a:gd name="connsiteY1579" fmla="*/ 0 h 6515100"/>
                <a:gd name="connsiteX1580" fmla="*/ 4194197 w 4829175"/>
                <a:gd name="connsiteY1580" fmla="*/ 0 h 6515100"/>
                <a:gd name="connsiteX1581" fmla="*/ 4002377 w 4829175"/>
                <a:gd name="connsiteY1581" fmla="*/ 192317 h 6515100"/>
                <a:gd name="connsiteX1582" fmla="*/ 4265801 w 4829175"/>
                <a:gd name="connsiteY1582" fmla="*/ 192317 h 6515100"/>
                <a:gd name="connsiteX1583" fmla="*/ 4457622 w 4829175"/>
                <a:gd name="connsiteY1583" fmla="*/ 0 h 6515100"/>
                <a:gd name="connsiteX1584" fmla="*/ 4467396 w 4829175"/>
                <a:gd name="connsiteY1584" fmla="*/ 0 h 6515100"/>
                <a:gd name="connsiteX1585" fmla="*/ 4272090 w 4829175"/>
                <a:gd name="connsiteY1585" fmla="*/ 195810 h 6515100"/>
                <a:gd name="connsiteX1586" fmla="*/ 4543201 w 4829175"/>
                <a:gd name="connsiteY1586" fmla="*/ 466222 h 6515100"/>
                <a:gd name="connsiteX1587" fmla="*/ 4807324 w 4829175"/>
                <a:gd name="connsiteY1587" fmla="*/ 466222 h 6515100"/>
                <a:gd name="connsiteX1588" fmla="*/ 4536213 w 4829175"/>
                <a:gd name="connsiteY1588" fmla="*/ 195810 h 6515100"/>
                <a:gd name="connsiteX1589" fmla="*/ 4731518 w 4829175"/>
                <a:gd name="connsiteY1589" fmla="*/ 0 h 6515100"/>
                <a:gd name="connsiteX1590" fmla="*/ 4741806 w 4829175"/>
                <a:gd name="connsiteY1590" fmla="*/ 0 h 6515100"/>
                <a:gd name="connsiteX1591" fmla="*/ 4549489 w 4829175"/>
                <a:gd name="connsiteY1591" fmla="*/ 192317 h 6515100"/>
                <a:gd name="connsiteX1592" fmla="*/ 4813613 w 4829175"/>
                <a:gd name="connsiteY1592" fmla="*/ 192317 h 6515100"/>
                <a:gd name="connsiteX1593" fmla="*/ 4823396 w 4829175"/>
                <a:gd name="connsiteY1593" fmla="*/ 182534 h 6515100"/>
                <a:gd name="connsiteX1594" fmla="*/ 4823396 w 4829175"/>
                <a:gd name="connsiteY1594" fmla="*/ 193016 h 6515100"/>
                <a:gd name="connsiteX1595" fmla="*/ 4820600 w 4829175"/>
                <a:gd name="connsiteY1595" fmla="*/ 195810 h 6515100"/>
                <a:gd name="connsiteX1596" fmla="*/ 4823396 w 4829175"/>
                <a:gd name="connsiteY1596" fmla="*/ 198605 h 6515100"/>
                <a:gd name="connsiteX1597" fmla="*/ 4823396 w 4829175"/>
                <a:gd name="connsiteY1597" fmla="*/ 209086 h 6515100"/>
                <a:gd name="connsiteX1598" fmla="*/ 4814311 w 4829175"/>
                <a:gd name="connsiteY1598" fmla="*/ 200003 h 6515100"/>
                <a:gd name="connsiteX1599" fmla="*/ 4550188 w 4829175"/>
                <a:gd name="connsiteY1599" fmla="*/ 200003 h 6515100"/>
                <a:gd name="connsiteX1600" fmla="*/ 4821299 w 4829175"/>
                <a:gd name="connsiteY1600" fmla="*/ 470415 h 6515100"/>
                <a:gd name="connsiteX1601" fmla="*/ 4550887 w 4829175"/>
                <a:gd name="connsiteY1601" fmla="*/ 741525 h 6515100"/>
                <a:gd name="connsiteX1602" fmla="*/ 4815010 w 4829175"/>
                <a:gd name="connsiteY1602" fmla="*/ 741525 h 6515100"/>
                <a:gd name="connsiteX1603" fmla="*/ 4823396 w 4829175"/>
                <a:gd name="connsiteY1603" fmla="*/ 732442 h 6515100"/>
                <a:gd name="connsiteX1604" fmla="*/ 4823396 w 4829175"/>
                <a:gd name="connsiteY1604" fmla="*/ 742224 h 6515100"/>
                <a:gd name="connsiteX1605" fmla="*/ 4821299 w 4829175"/>
                <a:gd name="connsiteY1605" fmla="*/ 744320 h 6515100"/>
                <a:gd name="connsiteX1606" fmla="*/ 4823396 w 4829175"/>
                <a:gd name="connsiteY1606" fmla="*/ 746417 h 6515100"/>
                <a:gd name="connsiteX1607" fmla="*/ 4823396 w 4829175"/>
                <a:gd name="connsiteY1607" fmla="*/ 756898 h 6515100"/>
                <a:gd name="connsiteX1608" fmla="*/ 4814311 w 4829175"/>
                <a:gd name="connsiteY1608" fmla="*/ 747814 h 6515100"/>
                <a:gd name="connsiteX1609" fmla="*/ 4550188 w 4829175"/>
                <a:gd name="connsiteY1609" fmla="*/ 747814 h 6515100"/>
                <a:gd name="connsiteX1610" fmla="*/ 4821299 w 4829175"/>
                <a:gd name="connsiteY1610" fmla="*/ 1018227 h 6515100"/>
                <a:gd name="connsiteX1611" fmla="*/ 4821998 w 4829175"/>
                <a:gd name="connsiteY1611" fmla="*/ 1018924 h 6515100"/>
                <a:gd name="connsiteX1612" fmla="*/ 4551586 w 4829175"/>
                <a:gd name="connsiteY1612" fmla="*/ 1290035 h 6515100"/>
                <a:gd name="connsiteX1613" fmla="*/ 4815709 w 4829175"/>
                <a:gd name="connsiteY1613" fmla="*/ 1290035 h 6515100"/>
                <a:gd name="connsiteX1614" fmla="*/ 4823396 w 4829175"/>
                <a:gd name="connsiteY1614" fmla="*/ 1282349 h 6515100"/>
                <a:gd name="connsiteX1615" fmla="*/ 4823396 w 4829175"/>
                <a:gd name="connsiteY1615" fmla="*/ 1292831 h 6515100"/>
                <a:gd name="connsiteX1616" fmla="*/ 4822697 w 4829175"/>
                <a:gd name="connsiteY1616" fmla="*/ 1293530 h 6515100"/>
                <a:gd name="connsiteX1617" fmla="*/ 4823396 w 4829175"/>
                <a:gd name="connsiteY1617" fmla="*/ 1294228 h 6515100"/>
                <a:gd name="connsiteX1618" fmla="*/ 4823396 w 4829175"/>
                <a:gd name="connsiteY1618" fmla="*/ 1304010 h 6515100"/>
                <a:gd name="connsiteX1619" fmla="*/ 4815709 w 4829175"/>
                <a:gd name="connsiteY1619" fmla="*/ 1296324 h 6515100"/>
                <a:gd name="connsiteX1620" fmla="*/ 4551586 w 4829175"/>
                <a:gd name="connsiteY1620" fmla="*/ 1297023 h 6515100"/>
                <a:gd name="connsiteX1621" fmla="*/ 4823396 w 4829175"/>
                <a:gd name="connsiteY1621" fmla="*/ 1566736 h 6515100"/>
                <a:gd name="connsiteX1622" fmla="*/ 4552984 w 4829175"/>
                <a:gd name="connsiteY1622" fmla="*/ 1837847 h 6515100"/>
                <a:gd name="connsiteX1623" fmla="*/ 4817107 w 4829175"/>
                <a:gd name="connsiteY1623" fmla="*/ 1837847 h 6515100"/>
                <a:gd name="connsiteX1624" fmla="*/ 4824094 w 4829175"/>
                <a:gd name="connsiteY1624" fmla="*/ 1830859 h 6515100"/>
                <a:gd name="connsiteX1625" fmla="*/ 4824094 w 4829175"/>
                <a:gd name="connsiteY1625" fmla="*/ 1841341 h 6515100"/>
                <a:gd name="connsiteX1626" fmla="*/ 4824094 w 4829175"/>
                <a:gd name="connsiteY1626" fmla="*/ 1851822 h 6515100"/>
                <a:gd name="connsiteX1627" fmla="*/ 4817107 w 4829175"/>
                <a:gd name="connsiteY1627" fmla="*/ 1844834 h 6515100"/>
                <a:gd name="connsiteX1628" fmla="*/ 4552984 w 4829175"/>
                <a:gd name="connsiteY1628" fmla="*/ 1844834 h 6515100"/>
                <a:gd name="connsiteX1629" fmla="*/ 4824094 w 4829175"/>
                <a:gd name="connsiteY1629" fmla="*/ 2115246 h 6515100"/>
                <a:gd name="connsiteX1630" fmla="*/ 4821299 w 4829175"/>
                <a:gd name="connsiteY1630" fmla="*/ 2118042 h 6515100"/>
                <a:gd name="connsiteX1631" fmla="*/ 4731162 w 4829175"/>
                <a:gd name="connsiteY1631" fmla="*/ 2208877 h 6515100"/>
                <a:gd name="connsiteX1632" fmla="*/ 4553682 w 4829175"/>
                <a:gd name="connsiteY1632" fmla="*/ 2386357 h 6515100"/>
                <a:gd name="connsiteX1633" fmla="*/ 4817806 w 4829175"/>
                <a:gd name="connsiteY1633" fmla="*/ 2386357 h 6515100"/>
                <a:gd name="connsiteX1634" fmla="*/ 4824094 w 4829175"/>
                <a:gd name="connsiteY1634" fmla="*/ 2380068 h 6515100"/>
                <a:gd name="connsiteX1635" fmla="*/ 4824094 w 4829175"/>
                <a:gd name="connsiteY1635" fmla="*/ 2398934 h 6515100"/>
                <a:gd name="connsiteX1636" fmla="*/ 4817806 w 4829175"/>
                <a:gd name="connsiteY1636" fmla="*/ 2392646 h 6515100"/>
                <a:gd name="connsiteX1637" fmla="*/ 4553682 w 4829175"/>
                <a:gd name="connsiteY1637" fmla="*/ 2392646 h 6515100"/>
                <a:gd name="connsiteX1638" fmla="*/ 4824094 w 4829175"/>
                <a:gd name="connsiteY1638" fmla="*/ 2662359 h 6515100"/>
                <a:gd name="connsiteX1639" fmla="*/ 4824094 w 4829175"/>
                <a:gd name="connsiteY1639" fmla="*/ 2663757 h 6515100"/>
                <a:gd name="connsiteX1640" fmla="*/ 4554381 w 4829175"/>
                <a:gd name="connsiteY1640" fmla="*/ 2934169 h 6515100"/>
                <a:gd name="connsiteX1641" fmla="*/ 4817806 w 4829175"/>
                <a:gd name="connsiteY1641" fmla="*/ 2934169 h 6515100"/>
                <a:gd name="connsiteX1642" fmla="*/ 4823396 w 4829175"/>
                <a:gd name="connsiteY1642" fmla="*/ 2928579 h 6515100"/>
                <a:gd name="connsiteX1643" fmla="*/ 4823396 w 4829175"/>
                <a:gd name="connsiteY1643" fmla="*/ 2947445 h 6515100"/>
                <a:gd name="connsiteX1644" fmla="*/ 4817806 w 4829175"/>
                <a:gd name="connsiteY1644" fmla="*/ 2941855 h 6515100"/>
                <a:gd name="connsiteX1645" fmla="*/ 4554381 w 4829175"/>
                <a:gd name="connsiteY1645" fmla="*/ 2941855 h 6515100"/>
                <a:gd name="connsiteX1646" fmla="*/ 4684346 w 4829175"/>
                <a:gd name="connsiteY1646" fmla="*/ 3071820 h 6515100"/>
                <a:gd name="connsiteX1647" fmla="*/ 4823396 w 4829175"/>
                <a:gd name="connsiteY1647" fmla="*/ 3210869 h 6515100"/>
                <a:gd name="connsiteX1648" fmla="*/ 4823396 w 4829175"/>
                <a:gd name="connsiteY1648" fmla="*/ 3213665 h 6515100"/>
                <a:gd name="connsiteX1649" fmla="*/ 4554381 w 4829175"/>
                <a:gd name="connsiteY1649" fmla="*/ 3483378 h 6515100"/>
                <a:gd name="connsiteX1650" fmla="*/ 4818505 w 4829175"/>
                <a:gd name="connsiteY1650" fmla="*/ 3483378 h 6515100"/>
                <a:gd name="connsiteX1651" fmla="*/ 4823396 w 4829175"/>
                <a:gd name="connsiteY1651" fmla="*/ 3478487 h 6515100"/>
                <a:gd name="connsiteX1652" fmla="*/ 4823396 w 4829175"/>
                <a:gd name="connsiteY1652" fmla="*/ 3495256 h 6515100"/>
                <a:gd name="connsiteX1653" fmla="*/ 4818505 w 4829175"/>
                <a:gd name="connsiteY1653" fmla="*/ 3490365 h 6515100"/>
                <a:gd name="connsiteX1654" fmla="*/ 4554381 w 4829175"/>
                <a:gd name="connsiteY1654" fmla="*/ 3490365 h 6515100"/>
                <a:gd name="connsiteX1655" fmla="*/ 4555778 w 4829175"/>
                <a:gd name="connsiteY1655" fmla="*/ 3491762 h 6515100"/>
                <a:gd name="connsiteX1656" fmla="*/ 4823396 w 4829175"/>
                <a:gd name="connsiteY1656" fmla="*/ 3758681 h 6515100"/>
                <a:gd name="connsiteX1657" fmla="*/ 4823396 w 4829175"/>
                <a:gd name="connsiteY1657" fmla="*/ 3762174 h 6515100"/>
                <a:gd name="connsiteX1658" fmla="*/ 4555828 w 4829175"/>
                <a:gd name="connsiteY1658" fmla="*/ 4030438 h 6515100"/>
                <a:gd name="connsiteX1659" fmla="*/ 4817996 w 4829175"/>
                <a:gd name="connsiteY1659" fmla="*/ 4030438 h 6515100"/>
                <a:gd name="connsiteX1660" fmla="*/ 4828476 w 4829175"/>
                <a:gd name="connsiteY1660" fmla="*/ 4019957 h 6515100"/>
                <a:gd name="connsiteX1661" fmla="*/ 4828476 w 4829175"/>
                <a:gd name="connsiteY1661" fmla="*/ 4030438 h 6515100"/>
                <a:gd name="connsiteX1662" fmla="*/ 4824983 w 4829175"/>
                <a:gd name="connsiteY1662" fmla="*/ 4033931 h 6515100"/>
                <a:gd name="connsiteX1663" fmla="*/ 4828476 w 4829175"/>
                <a:gd name="connsiteY1663" fmla="*/ 4037426 h 6515100"/>
                <a:gd name="connsiteX1664" fmla="*/ 4828476 w 4829175"/>
                <a:gd name="connsiteY1664" fmla="*/ 4047906 h 6515100"/>
                <a:gd name="connsiteX1665" fmla="*/ 4823396 w 4829175"/>
                <a:gd name="connsiteY1665" fmla="*/ 4042826 h 6515100"/>
                <a:gd name="connsiteX1666" fmla="*/ 4823396 w 4829175"/>
                <a:gd name="connsiteY1666" fmla="*/ 4043068 h 6515100"/>
                <a:gd name="connsiteX1667" fmla="*/ 4819202 w 4829175"/>
                <a:gd name="connsiteY1667" fmla="*/ 4038876 h 6515100"/>
                <a:gd name="connsiteX1668" fmla="*/ 4555321 w 4829175"/>
                <a:gd name="connsiteY1668" fmla="*/ 4038876 h 6515100"/>
                <a:gd name="connsiteX1669" fmla="*/ 4555968 w 4829175"/>
                <a:gd name="connsiteY1669" fmla="*/ 4039522 h 6515100"/>
                <a:gd name="connsiteX1670" fmla="*/ 4825681 w 4829175"/>
                <a:gd name="connsiteY1670" fmla="*/ 4308536 h 6515100"/>
                <a:gd name="connsiteX1671" fmla="*/ 4554570 w 4829175"/>
                <a:gd name="connsiteY1671" fmla="*/ 4579647 h 6515100"/>
                <a:gd name="connsiteX1672" fmla="*/ 4818693 w 4829175"/>
                <a:gd name="connsiteY1672" fmla="*/ 4579647 h 6515100"/>
                <a:gd name="connsiteX1673" fmla="*/ 4828476 w 4829175"/>
                <a:gd name="connsiteY1673" fmla="*/ 4569864 h 6515100"/>
                <a:gd name="connsiteX1674" fmla="*/ 4828476 w 4829175"/>
                <a:gd name="connsiteY1674" fmla="*/ 4580346 h 6515100"/>
                <a:gd name="connsiteX1675" fmla="*/ 4825681 w 4829175"/>
                <a:gd name="connsiteY1675" fmla="*/ 4583140 h 6515100"/>
                <a:gd name="connsiteX1676" fmla="*/ 4828476 w 4829175"/>
                <a:gd name="connsiteY1676" fmla="*/ 4585936 h 6515100"/>
                <a:gd name="connsiteX1677" fmla="*/ 4828476 w 4829175"/>
                <a:gd name="connsiteY1677" fmla="*/ 4596417 h 6515100"/>
                <a:gd name="connsiteX1678" fmla="*/ 4819392 w 4829175"/>
                <a:gd name="connsiteY1678" fmla="*/ 4587334 h 6515100"/>
                <a:gd name="connsiteX1679" fmla="*/ 4555269 w 4829175"/>
                <a:gd name="connsiteY1679" fmla="*/ 4587334 h 6515100"/>
                <a:gd name="connsiteX1680" fmla="*/ 4826380 w 4829175"/>
                <a:gd name="connsiteY1680" fmla="*/ 4857746 h 6515100"/>
                <a:gd name="connsiteX1681" fmla="*/ 4555968 w 4829175"/>
                <a:gd name="connsiteY1681" fmla="*/ 5128855 h 6515100"/>
                <a:gd name="connsiteX1682" fmla="*/ 4820091 w 4829175"/>
                <a:gd name="connsiteY1682" fmla="*/ 5128855 h 6515100"/>
                <a:gd name="connsiteX1683" fmla="*/ 4828476 w 4829175"/>
                <a:gd name="connsiteY1683" fmla="*/ 5119772 h 6515100"/>
                <a:gd name="connsiteX1684" fmla="*/ 4828476 w 4829175"/>
                <a:gd name="connsiteY1684" fmla="*/ 5129554 h 6515100"/>
                <a:gd name="connsiteX1685" fmla="*/ 4826380 w 4829175"/>
                <a:gd name="connsiteY1685" fmla="*/ 5131651 h 6515100"/>
                <a:gd name="connsiteX1686" fmla="*/ 4828476 w 4829175"/>
                <a:gd name="connsiteY1686" fmla="*/ 5133747 h 6515100"/>
                <a:gd name="connsiteX1687" fmla="*/ 4828476 w 4829175"/>
                <a:gd name="connsiteY1687" fmla="*/ 5144228 h 6515100"/>
                <a:gd name="connsiteX1688" fmla="*/ 4819392 w 4829175"/>
                <a:gd name="connsiteY1688" fmla="*/ 5135144 h 6515100"/>
                <a:gd name="connsiteX1689" fmla="*/ 4555269 w 4829175"/>
                <a:gd name="connsiteY1689" fmla="*/ 5135144 h 6515100"/>
                <a:gd name="connsiteX1690" fmla="*/ 4826380 w 4829175"/>
                <a:gd name="connsiteY1690" fmla="*/ 5405557 h 6515100"/>
                <a:gd name="connsiteX1691" fmla="*/ 4827079 w 4829175"/>
                <a:gd name="connsiteY1691" fmla="*/ 5406255 h 6515100"/>
                <a:gd name="connsiteX1692" fmla="*/ 4556667 w 4829175"/>
                <a:gd name="connsiteY1692" fmla="*/ 5677366 h 6515100"/>
                <a:gd name="connsiteX1693" fmla="*/ 4820790 w 4829175"/>
                <a:gd name="connsiteY1693" fmla="*/ 5677366 h 6515100"/>
                <a:gd name="connsiteX1694" fmla="*/ 4828476 w 4829175"/>
                <a:gd name="connsiteY1694" fmla="*/ 5669679 h 6515100"/>
                <a:gd name="connsiteX1695" fmla="*/ 4828476 w 4829175"/>
                <a:gd name="connsiteY1695" fmla="*/ 5680161 h 6515100"/>
                <a:gd name="connsiteX1696" fmla="*/ 4827778 w 4829175"/>
                <a:gd name="connsiteY1696" fmla="*/ 5680860 h 6515100"/>
                <a:gd name="connsiteX1697" fmla="*/ 4828476 w 4829175"/>
                <a:gd name="connsiteY1697" fmla="*/ 5681559 h 6515100"/>
                <a:gd name="connsiteX1698" fmla="*/ 4828476 w 4829175"/>
                <a:gd name="connsiteY1698" fmla="*/ 5691341 h 6515100"/>
                <a:gd name="connsiteX1699" fmla="*/ 4820790 w 4829175"/>
                <a:gd name="connsiteY1699" fmla="*/ 5683654 h 6515100"/>
                <a:gd name="connsiteX1700" fmla="*/ 4556667 w 4829175"/>
                <a:gd name="connsiteY1700" fmla="*/ 5684353 h 6515100"/>
                <a:gd name="connsiteX1701" fmla="*/ 4828476 w 4829175"/>
                <a:gd name="connsiteY1701" fmla="*/ 5954066 h 6515100"/>
                <a:gd name="connsiteX1702" fmla="*/ 4558064 w 4829175"/>
                <a:gd name="connsiteY1702" fmla="*/ 6225177 h 6515100"/>
                <a:gd name="connsiteX1703" fmla="*/ 4822188 w 4829175"/>
                <a:gd name="connsiteY1703" fmla="*/ 6225177 h 6515100"/>
                <a:gd name="connsiteX1704" fmla="*/ 4829175 w 4829175"/>
                <a:gd name="connsiteY1704" fmla="*/ 6218190 h 6515100"/>
                <a:gd name="connsiteX1705" fmla="*/ 4829175 w 4829175"/>
                <a:gd name="connsiteY1705" fmla="*/ 6228671 h 6515100"/>
                <a:gd name="connsiteX1706" fmla="*/ 4829175 w 4829175"/>
                <a:gd name="connsiteY1706" fmla="*/ 6239152 h 6515100"/>
                <a:gd name="connsiteX1707" fmla="*/ 4822188 w 4829175"/>
                <a:gd name="connsiteY1707" fmla="*/ 6232165 h 6515100"/>
                <a:gd name="connsiteX1708" fmla="*/ 4558064 w 4829175"/>
                <a:gd name="connsiteY1708" fmla="*/ 6232165 h 6515100"/>
                <a:gd name="connsiteX1709" fmla="*/ 4829175 w 4829175"/>
                <a:gd name="connsiteY1709" fmla="*/ 6502577 h 6515100"/>
                <a:gd name="connsiteX1710" fmla="*/ 4826380 w 4829175"/>
                <a:gd name="connsiteY1710" fmla="*/ 6505372 h 6515100"/>
                <a:gd name="connsiteX1711" fmla="*/ 4816727 w 4829175"/>
                <a:gd name="connsiteY1711" fmla="*/ 6515100 h 6515100"/>
                <a:gd name="connsiteX1712" fmla="*/ 4806802 w 4829175"/>
                <a:gd name="connsiteY1712" fmla="*/ 6515100 h 6515100"/>
                <a:gd name="connsiteX1713" fmla="*/ 4815200 w 4829175"/>
                <a:gd name="connsiteY1713" fmla="*/ 6506770 h 6515100"/>
                <a:gd name="connsiteX1714" fmla="*/ 4551077 w 4829175"/>
                <a:gd name="connsiteY1714" fmla="*/ 6506770 h 6515100"/>
                <a:gd name="connsiteX1715" fmla="*/ 4542768 w 4829175"/>
                <a:gd name="connsiteY1715" fmla="*/ 6515100 h 6515100"/>
                <a:gd name="connsiteX1716" fmla="*/ 4531598 w 4829175"/>
                <a:gd name="connsiteY1716" fmla="*/ 6515100 h 6515100"/>
                <a:gd name="connsiteX1717" fmla="*/ 4544089 w 4829175"/>
                <a:gd name="connsiteY1717" fmla="*/ 6502577 h 6515100"/>
                <a:gd name="connsiteX1718" fmla="*/ 4539198 w 4829175"/>
                <a:gd name="connsiteY1718" fmla="*/ 6497686 h 6515100"/>
                <a:gd name="connsiteX1719" fmla="*/ 4273677 w 4829175"/>
                <a:gd name="connsiteY1719" fmla="*/ 6232165 h 6515100"/>
                <a:gd name="connsiteX1720" fmla="*/ 4009554 w 4829175"/>
                <a:gd name="connsiteY1720" fmla="*/ 6232165 h 6515100"/>
                <a:gd name="connsiteX1721" fmla="*/ 4010952 w 4829175"/>
                <a:gd name="connsiteY1721" fmla="*/ 6233562 h 6515100"/>
                <a:gd name="connsiteX1722" fmla="*/ 4279966 w 4829175"/>
                <a:gd name="connsiteY1722" fmla="*/ 6502577 h 6515100"/>
                <a:gd name="connsiteX1723" fmla="*/ 4267475 w 4829175"/>
                <a:gd name="connsiteY1723" fmla="*/ 6515100 h 6515100"/>
                <a:gd name="connsiteX1724" fmla="*/ 4259077 w 4829175"/>
                <a:gd name="connsiteY1724" fmla="*/ 6515100 h 6515100"/>
                <a:gd name="connsiteX1725" fmla="*/ 4266690 w 4829175"/>
                <a:gd name="connsiteY1725" fmla="*/ 6507468 h 6515100"/>
                <a:gd name="connsiteX1726" fmla="*/ 4002566 w 4829175"/>
                <a:gd name="connsiteY1726" fmla="*/ 6507468 h 6515100"/>
                <a:gd name="connsiteX1727" fmla="*/ 3994954 w 4829175"/>
                <a:gd name="connsiteY1727" fmla="*/ 6515100 h 6515100"/>
                <a:gd name="connsiteX1728" fmla="*/ 3983089 w 4829175"/>
                <a:gd name="connsiteY1728" fmla="*/ 6515100 h 6515100"/>
                <a:gd name="connsiteX1729" fmla="*/ 3996278 w 4829175"/>
                <a:gd name="connsiteY1729" fmla="*/ 6501878 h 6515100"/>
                <a:gd name="connsiteX1730" fmla="*/ 3862819 w 4829175"/>
                <a:gd name="connsiteY1730" fmla="*/ 6369115 h 6515100"/>
                <a:gd name="connsiteX1731" fmla="*/ 3865614 w 4829175"/>
                <a:gd name="connsiteY1731" fmla="*/ 6363527 h 6515100"/>
                <a:gd name="connsiteX1732" fmla="*/ 3864915 w 4829175"/>
                <a:gd name="connsiteY1732" fmla="*/ 6362829 h 6515100"/>
                <a:gd name="connsiteX1733" fmla="*/ 3865614 w 4829175"/>
                <a:gd name="connsiteY1733" fmla="*/ 6361432 h 6515100"/>
                <a:gd name="connsiteX1734" fmla="*/ 4002566 w 4829175"/>
                <a:gd name="connsiteY1734" fmla="*/ 6498385 h 6515100"/>
                <a:gd name="connsiteX1735" fmla="*/ 4266690 w 4829175"/>
                <a:gd name="connsiteY1735" fmla="*/ 6498385 h 6515100"/>
                <a:gd name="connsiteX1736" fmla="*/ 3995579 w 4829175"/>
                <a:gd name="connsiteY1736" fmla="*/ 6227973 h 6515100"/>
                <a:gd name="connsiteX1737" fmla="*/ 3996977 w 4829175"/>
                <a:gd name="connsiteY1737" fmla="*/ 6226575 h 6515100"/>
                <a:gd name="connsiteX1738" fmla="*/ 4265292 w 4829175"/>
                <a:gd name="connsiteY1738" fmla="*/ 5957561 h 6515100"/>
                <a:gd name="connsiteX1739" fmla="*/ 4066851 w 4829175"/>
                <a:gd name="connsiteY1739" fmla="*/ 5957561 h 6515100"/>
                <a:gd name="connsiteX1740" fmla="*/ 4070344 w 4829175"/>
                <a:gd name="connsiteY1740" fmla="*/ 5950573 h 6515100"/>
                <a:gd name="connsiteX1741" fmla="*/ 4265292 w 4829175"/>
                <a:gd name="connsiteY1741" fmla="*/ 5950573 h 6515100"/>
                <a:gd name="connsiteX1742" fmla="*/ 4135327 w 4829175"/>
                <a:gd name="connsiteY1742" fmla="*/ 5820608 h 6515100"/>
                <a:gd name="connsiteX1743" fmla="*/ 4138820 w 4829175"/>
                <a:gd name="connsiteY1743" fmla="*/ 5813620 h 6515100"/>
                <a:gd name="connsiteX1744" fmla="*/ 4279267 w 4829175"/>
                <a:gd name="connsiteY1744" fmla="*/ 5954066 h 6515100"/>
                <a:gd name="connsiteX1745" fmla="*/ 4008855 w 4829175"/>
                <a:gd name="connsiteY1745" fmla="*/ 6225177 h 6515100"/>
                <a:gd name="connsiteX1746" fmla="*/ 4272979 w 4829175"/>
                <a:gd name="connsiteY1746" fmla="*/ 6225177 h 6515100"/>
                <a:gd name="connsiteX1747" fmla="*/ 4543391 w 4829175"/>
                <a:gd name="connsiteY1747" fmla="*/ 5954066 h 6515100"/>
                <a:gd name="connsiteX1748" fmla="*/ 4272280 w 4829175"/>
                <a:gd name="connsiteY1748" fmla="*/ 5684353 h 6515100"/>
                <a:gd name="connsiteX1749" fmla="*/ 4203803 w 4829175"/>
                <a:gd name="connsiteY1749" fmla="*/ 5684353 h 6515100"/>
                <a:gd name="connsiteX1750" fmla="*/ 4008855 w 4829175"/>
                <a:gd name="connsiteY1750" fmla="*/ 5684353 h 6515100"/>
                <a:gd name="connsiteX1751" fmla="*/ 4138121 w 4829175"/>
                <a:gd name="connsiteY1751" fmla="*/ 5814319 h 6515100"/>
                <a:gd name="connsiteX1752" fmla="*/ 4134628 w 4829175"/>
                <a:gd name="connsiteY1752" fmla="*/ 5821306 h 6515100"/>
                <a:gd name="connsiteX1753" fmla="*/ 3994181 w 4829175"/>
                <a:gd name="connsiteY1753" fmla="*/ 5680860 h 6515100"/>
                <a:gd name="connsiteX1754" fmla="*/ 4264593 w 4829175"/>
                <a:gd name="connsiteY1754" fmla="*/ 5409749 h 6515100"/>
                <a:gd name="connsiteX1755" fmla="*/ 4000470 w 4829175"/>
                <a:gd name="connsiteY1755" fmla="*/ 5409749 h 6515100"/>
                <a:gd name="connsiteX1756" fmla="*/ 3730058 w 4829175"/>
                <a:gd name="connsiteY1756" fmla="*/ 5680860 h 6515100"/>
                <a:gd name="connsiteX1757" fmla="*/ 4001169 w 4829175"/>
                <a:gd name="connsiteY1757" fmla="*/ 5951272 h 6515100"/>
                <a:gd name="connsiteX1758" fmla="*/ 4069645 w 4829175"/>
                <a:gd name="connsiteY1758" fmla="*/ 5951272 h 6515100"/>
                <a:gd name="connsiteX1759" fmla="*/ 4066152 w 4829175"/>
                <a:gd name="connsiteY1759" fmla="*/ 5958259 h 6515100"/>
                <a:gd name="connsiteX1760" fmla="*/ 4001169 w 4829175"/>
                <a:gd name="connsiteY1760" fmla="*/ 5958259 h 6515100"/>
                <a:gd name="connsiteX1761" fmla="*/ 3820894 w 4829175"/>
                <a:gd name="connsiteY1761" fmla="*/ 6139233 h 6515100"/>
                <a:gd name="connsiteX1762" fmla="*/ 3731456 w 4829175"/>
                <a:gd name="connsiteY1762" fmla="*/ 6229370 h 6515100"/>
                <a:gd name="connsiteX1763" fmla="*/ 3864915 w 4829175"/>
                <a:gd name="connsiteY1763" fmla="*/ 6362829 h 6515100"/>
                <a:gd name="connsiteX1764" fmla="*/ 3862120 w 4829175"/>
                <a:gd name="connsiteY1764" fmla="*/ 6368418 h 6515100"/>
                <a:gd name="connsiteX1765" fmla="*/ 3862819 w 4829175"/>
                <a:gd name="connsiteY1765" fmla="*/ 6369115 h 6515100"/>
                <a:gd name="connsiteX1766" fmla="*/ 3862120 w 4829175"/>
                <a:gd name="connsiteY1766" fmla="*/ 6370515 h 6515100"/>
                <a:gd name="connsiteX1767" fmla="*/ 3725167 w 4829175"/>
                <a:gd name="connsiteY1767" fmla="*/ 6233562 h 6515100"/>
                <a:gd name="connsiteX1768" fmla="*/ 3461044 w 4829175"/>
                <a:gd name="connsiteY1768" fmla="*/ 6233562 h 6515100"/>
                <a:gd name="connsiteX1769" fmla="*/ 3732154 w 4829175"/>
                <a:gd name="connsiteY1769" fmla="*/ 6503974 h 6515100"/>
                <a:gd name="connsiteX1770" fmla="*/ 3721057 w 4829175"/>
                <a:gd name="connsiteY1770" fmla="*/ 6515100 h 6515100"/>
                <a:gd name="connsiteX1771" fmla="*/ 3710566 w 4829175"/>
                <a:gd name="connsiteY1771" fmla="*/ 6515100 h 6515100"/>
                <a:gd name="connsiteX1772" fmla="*/ 3718179 w 4829175"/>
                <a:gd name="connsiteY1772" fmla="*/ 6507468 h 6515100"/>
                <a:gd name="connsiteX1773" fmla="*/ 3454056 w 4829175"/>
                <a:gd name="connsiteY1773" fmla="*/ 6507468 h 6515100"/>
                <a:gd name="connsiteX1774" fmla="*/ 3446443 w 4829175"/>
                <a:gd name="connsiteY1774" fmla="*/ 6515100 h 6515100"/>
                <a:gd name="connsiteX1775" fmla="*/ 3437367 w 4829175"/>
                <a:gd name="connsiteY1775" fmla="*/ 6515100 h 6515100"/>
                <a:gd name="connsiteX1776" fmla="*/ 3447767 w 4829175"/>
                <a:gd name="connsiteY1776" fmla="*/ 6504673 h 6515100"/>
                <a:gd name="connsiteX1777" fmla="*/ 3176657 w 4829175"/>
                <a:gd name="connsiteY1777" fmla="*/ 6234261 h 6515100"/>
                <a:gd name="connsiteX1778" fmla="*/ 2912533 w 4829175"/>
                <a:gd name="connsiteY1778" fmla="*/ 6234261 h 6515100"/>
                <a:gd name="connsiteX1779" fmla="*/ 3183644 w 4829175"/>
                <a:gd name="connsiteY1779" fmla="*/ 6504673 h 6515100"/>
                <a:gd name="connsiteX1780" fmla="*/ 3173244 w 4829175"/>
                <a:gd name="connsiteY1780" fmla="*/ 6515100 h 6515100"/>
                <a:gd name="connsiteX1781" fmla="*/ 3163450 w 4829175"/>
                <a:gd name="connsiteY1781" fmla="*/ 6515100 h 6515100"/>
                <a:gd name="connsiteX1782" fmla="*/ 3169669 w 4829175"/>
                <a:gd name="connsiteY1782" fmla="*/ 6508865 h 6515100"/>
                <a:gd name="connsiteX1783" fmla="*/ 2905546 w 4829175"/>
                <a:gd name="connsiteY1783" fmla="*/ 6508865 h 6515100"/>
                <a:gd name="connsiteX1784" fmla="*/ 2899327 w 4829175"/>
                <a:gd name="connsiteY1784" fmla="*/ 6515100 h 6515100"/>
                <a:gd name="connsiteX1785" fmla="*/ 2889554 w 4829175"/>
                <a:gd name="connsiteY1785" fmla="*/ 6515100 h 6515100"/>
                <a:gd name="connsiteX1786" fmla="*/ 2899257 w 4829175"/>
                <a:gd name="connsiteY1786" fmla="*/ 6505372 h 6515100"/>
                <a:gd name="connsiteX1787" fmla="*/ 2628146 w 4829175"/>
                <a:gd name="connsiteY1787" fmla="*/ 6234960 h 6515100"/>
                <a:gd name="connsiteX1788" fmla="*/ 2364722 w 4829175"/>
                <a:gd name="connsiteY1788" fmla="*/ 6234960 h 6515100"/>
                <a:gd name="connsiteX1789" fmla="*/ 2494687 w 4829175"/>
                <a:gd name="connsiteY1789" fmla="*/ 6364925 h 6515100"/>
                <a:gd name="connsiteX1790" fmla="*/ 2635134 w 4829175"/>
                <a:gd name="connsiteY1790" fmla="*/ 6505372 h 6515100"/>
                <a:gd name="connsiteX1791" fmla="*/ 2625431 w 4829175"/>
                <a:gd name="connsiteY1791" fmla="*/ 6515100 h 6515100"/>
                <a:gd name="connsiteX1792" fmla="*/ 2614938 w 4829175"/>
                <a:gd name="connsiteY1792" fmla="*/ 6515100 h 6515100"/>
                <a:gd name="connsiteX1793" fmla="*/ 2620460 w 4829175"/>
                <a:gd name="connsiteY1793" fmla="*/ 6509564 h 6515100"/>
                <a:gd name="connsiteX1794" fmla="*/ 2357035 w 4829175"/>
                <a:gd name="connsiteY1794" fmla="*/ 6509564 h 6515100"/>
                <a:gd name="connsiteX1795" fmla="*/ 2351521 w 4829175"/>
                <a:gd name="connsiteY1795" fmla="*/ 6515100 h 6515100"/>
                <a:gd name="connsiteX1796" fmla="*/ 2341019 w 4829175"/>
                <a:gd name="connsiteY1796" fmla="*/ 6515100 h 6515100"/>
                <a:gd name="connsiteX1797" fmla="*/ 2350747 w 4829175"/>
                <a:gd name="connsiteY1797" fmla="*/ 6505372 h 6515100"/>
                <a:gd name="connsiteX1798" fmla="*/ 2079636 w 4829175"/>
                <a:gd name="connsiteY1798" fmla="*/ 6234960 h 6515100"/>
                <a:gd name="connsiteX1799" fmla="*/ 1815513 w 4829175"/>
                <a:gd name="connsiteY1799" fmla="*/ 6234960 h 6515100"/>
                <a:gd name="connsiteX1800" fmla="*/ 2086623 w 4829175"/>
                <a:gd name="connsiteY1800" fmla="*/ 6505372 h 6515100"/>
                <a:gd name="connsiteX1801" fmla="*/ 2083829 w 4829175"/>
                <a:gd name="connsiteY1801" fmla="*/ 6508166 h 6515100"/>
                <a:gd name="connsiteX1802" fmla="*/ 2076948 w 4829175"/>
                <a:gd name="connsiteY1802" fmla="*/ 6515100 h 6515100"/>
                <a:gd name="connsiteX1803" fmla="*/ 2067112 w 4829175"/>
                <a:gd name="connsiteY1803" fmla="*/ 6515100 h 6515100"/>
                <a:gd name="connsiteX1804" fmla="*/ 2072648 w 4829175"/>
                <a:gd name="connsiteY1804" fmla="*/ 6509564 h 6515100"/>
                <a:gd name="connsiteX1805" fmla="*/ 1808526 w 4829175"/>
                <a:gd name="connsiteY1805" fmla="*/ 6509564 h 6515100"/>
                <a:gd name="connsiteX1806" fmla="*/ 1803004 w 4829175"/>
                <a:gd name="connsiteY1806" fmla="*/ 6515100 h 6515100"/>
                <a:gd name="connsiteX1807" fmla="*/ 1792532 w 4829175"/>
                <a:gd name="connsiteY1807" fmla="*/ 6515100 h 6515100"/>
                <a:gd name="connsiteX1808" fmla="*/ 1801539 w 4829175"/>
                <a:gd name="connsiteY1808" fmla="*/ 6506071 h 6515100"/>
                <a:gd name="connsiteX1809" fmla="*/ 1796647 w 4829175"/>
                <a:gd name="connsiteY1809" fmla="*/ 6501179 h 6515100"/>
                <a:gd name="connsiteX1810" fmla="*/ 1531127 w 4829175"/>
                <a:gd name="connsiteY1810" fmla="*/ 6236358 h 6515100"/>
                <a:gd name="connsiteX1811" fmla="*/ 1267002 w 4829175"/>
                <a:gd name="connsiteY1811" fmla="*/ 6236358 h 6515100"/>
                <a:gd name="connsiteX1812" fmla="*/ 1267701 w 4829175"/>
                <a:gd name="connsiteY1812" fmla="*/ 6237056 h 6515100"/>
                <a:gd name="connsiteX1813" fmla="*/ 1268400 w 4829175"/>
                <a:gd name="connsiteY1813" fmla="*/ 6237056 h 6515100"/>
                <a:gd name="connsiteX1814" fmla="*/ 1537414 w 4829175"/>
                <a:gd name="connsiteY1814" fmla="*/ 6506071 h 6515100"/>
                <a:gd name="connsiteX1815" fmla="*/ 1528408 w 4829175"/>
                <a:gd name="connsiteY1815" fmla="*/ 6515100 h 6515100"/>
                <a:gd name="connsiteX1816" fmla="*/ 1520000 w 4829175"/>
                <a:gd name="connsiteY1816" fmla="*/ 6515100 h 6515100"/>
                <a:gd name="connsiteX1817" fmla="*/ 1524838 w 4829175"/>
                <a:gd name="connsiteY1817" fmla="*/ 6510263 h 6515100"/>
                <a:gd name="connsiteX1818" fmla="*/ 1260714 w 4829175"/>
                <a:gd name="connsiteY1818" fmla="*/ 6510263 h 6515100"/>
                <a:gd name="connsiteX1819" fmla="*/ 1255889 w 4829175"/>
                <a:gd name="connsiteY1819" fmla="*/ 6515100 h 6515100"/>
                <a:gd name="connsiteX1820" fmla="*/ 1243300 w 4829175"/>
                <a:gd name="connsiteY1820" fmla="*/ 6515100 h 6515100"/>
                <a:gd name="connsiteX1821" fmla="*/ 1252329 w 4829175"/>
                <a:gd name="connsiteY1821" fmla="*/ 6506071 h 6515100"/>
                <a:gd name="connsiteX1822" fmla="*/ 1119569 w 4829175"/>
                <a:gd name="connsiteY1822" fmla="*/ 6374009 h 6515100"/>
                <a:gd name="connsiteX1823" fmla="*/ 981219 w 4829175"/>
                <a:gd name="connsiteY1823" fmla="*/ 6235659 h 6515100"/>
                <a:gd name="connsiteX1824" fmla="*/ 717095 w 4829175"/>
                <a:gd name="connsiteY1824" fmla="*/ 6235659 h 6515100"/>
                <a:gd name="connsiteX1825" fmla="*/ 988206 w 4829175"/>
                <a:gd name="connsiteY1825" fmla="*/ 6505372 h 6515100"/>
                <a:gd name="connsiteX1826" fmla="*/ 985411 w 4829175"/>
                <a:gd name="connsiteY1826" fmla="*/ 6508166 h 6515100"/>
                <a:gd name="connsiteX1827" fmla="*/ 978530 w 4829175"/>
                <a:gd name="connsiteY1827" fmla="*/ 6515100 h 6515100"/>
                <a:gd name="connsiteX1828" fmla="*/ 969394 w 4829175"/>
                <a:gd name="connsiteY1828" fmla="*/ 6515100 h 6515100"/>
                <a:gd name="connsiteX1829" fmla="*/ 974930 w 4829175"/>
                <a:gd name="connsiteY1829" fmla="*/ 6509564 h 6515100"/>
                <a:gd name="connsiteX1830" fmla="*/ 716396 w 4829175"/>
                <a:gd name="connsiteY1830" fmla="*/ 6509564 h 6515100"/>
                <a:gd name="connsiteX1831" fmla="*/ 714941 w 4829175"/>
                <a:gd name="connsiteY1831" fmla="*/ 6508865 h 6515100"/>
                <a:gd name="connsiteX1832" fmla="*/ 716396 w 4829175"/>
                <a:gd name="connsiteY1832" fmla="*/ 6508865 h 6515100"/>
                <a:gd name="connsiteX1833" fmla="*/ 698928 w 4829175"/>
                <a:gd name="connsiteY1833" fmla="*/ 6500480 h 6515100"/>
                <a:gd name="connsiteX1834" fmla="*/ 700271 w 4829175"/>
                <a:gd name="connsiteY1834" fmla="*/ 6501824 h 6515100"/>
                <a:gd name="connsiteX1835" fmla="*/ 698928 w 4829175"/>
                <a:gd name="connsiteY1835" fmla="*/ 6501179 h 6515100"/>
                <a:gd name="connsiteX1836" fmla="*/ 433407 w 4829175"/>
                <a:gd name="connsiteY1836" fmla="*/ 6236358 h 6515100"/>
                <a:gd name="connsiteX1837" fmla="*/ 169284 w 4829175"/>
                <a:gd name="connsiteY1837" fmla="*/ 6236358 h 6515100"/>
                <a:gd name="connsiteX1838" fmla="*/ 170681 w 4829175"/>
                <a:gd name="connsiteY1838" fmla="*/ 6237754 h 6515100"/>
                <a:gd name="connsiteX1839" fmla="*/ 439696 w 4829175"/>
                <a:gd name="connsiteY1839" fmla="*/ 6506770 h 6515100"/>
                <a:gd name="connsiteX1840" fmla="*/ 431344 w 4829175"/>
                <a:gd name="connsiteY1840" fmla="*/ 6515100 h 6515100"/>
                <a:gd name="connsiteX1841" fmla="*/ 420908 w 4829175"/>
                <a:gd name="connsiteY1841" fmla="*/ 6515100 h 6515100"/>
                <a:gd name="connsiteX1842" fmla="*/ 425721 w 4829175"/>
                <a:gd name="connsiteY1842" fmla="*/ 6510263 h 6515100"/>
                <a:gd name="connsiteX1843" fmla="*/ 161597 w 4829175"/>
                <a:gd name="connsiteY1843" fmla="*/ 6510263 h 6515100"/>
                <a:gd name="connsiteX1844" fmla="*/ 156781 w 4829175"/>
                <a:gd name="connsiteY1844" fmla="*/ 6515100 h 6515100"/>
                <a:gd name="connsiteX1845" fmla="*/ 146978 w 4829175"/>
                <a:gd name="connsiteY1845" fmla="*/ 6515100 h 6515100"/>
                <a:gd name="connsiteX1846" fmla="*/ 155309 w 4829175"/>
                <a:gd name="connsiteY1846" fmla="*/ 6506770 h 6515100"/>
                <a:gd name="connsiteX1847" fmla="*/ 21150 w 4829175"/>
                <a:gd name="connsiteY1847" fmla="*/ 6373310 h 6515100"/>
                <a:gd name="connsiteX1848" fmla="*/ 5080 w 4829175"/>
                <a:gd name="connsiteY1848" fmla="*/ 6357239 h 6515100"/>
                <a:gd name="connsiteX1849" fmla="*/ 5080 w 4829175"/>
                <a:gd name="connsiteY1849" fmla="*/ 6347457 h 6515100"/>
                <a:gd name="connsiteX1850" fmla="*/ 24645 w 4829175"/>
                <a:gd name="connsiteY1850" fmla="*/ 6367022 h 6515100"/>
                <a:gd name="connsiteX1851" fmla="*/ 161597 w 4829175"/>
                <a:gd name="connsiteY1851" fmla="*/ 6503275 h 6515100"/>
                <a:gd name="connsiteX1852" fmla="*/ 425721 w 4829175"/>
                <a:gd name="connsiteY1852" fmla="*/ 6503275 h 6515100"/>
                <a:gd name="connsiteX1853" fmla="*/ 154610 w 4829175"/>
                <a:gd name="connsiteY1853" fmla="*/ 6232863 h 6515100"/>
                <a:gd name="connsiteX1854" fmla="*/ 156008 w 4829175"/>
                <a:gd name="connsiteY1854" fmla="*/ 6231466 h 6515100"/>
                <a:gd name="connsiteX1855" fmla="*/ 156706 w 4829175"/>
                <a:gd name="connsiteY1855" fmla="*/ 6231466 h 6515100"/>
                <a:gd name="connsiteX1856" fmla="*/ 425022 w 4829175"/>
                <a:gd name="connsiteY1856" fmla="*/ 5962452 h 6515100"/>
                <a:gd name="connsiteX1857" fmla="*/ 161597 w 4829175"/>
                <a:gd name="connsiteY1857" fmla="*/ 5962452 h 6515100"/>
                <a:gd name="connsiteX1858" fmla="*/ 5080 w 4829175"/>
                <a:gd name="connsiteY1858" fmla="*/ 6118969 h 6515100"/>
                <a:gd name="connsiteX1859" fmla="*/ 5080 w 4829175"/>
                <a:gd name="connsiteY1859" fmla="*/ 6108488 h 6515100"/>
                <a:gd name="connsiteX1860" fmla="*/ 154610 w 4829175"/>
                <a:gd name="connsiteY1860" fmla="*/ 5958957 h 6515100"/>
                <a:gd name="connsiteX1861" fmla="*/ 5080 w 4829175"/>
                <a:gd name="connsiteY1861" fmla="*/ 5809427 h 6515100"/>
                <a:gd name="connsiteX1862" fmla="*/ 5080 w 4829175"/>
                <a:gd name="connsiteY1862" fmla="*/ 5798947 h 6515100"/>
                <a:gd name="connsiteX1863" fmla="*/ 161597 w 4829175"/>
                <a:gd name="connsiteY1863" fmla="*/ 5954765 h 6515100"/>
                <a:gd name="connsiteX1864" fmla="*/ 425022 w 4829175"/>
                <a:gd name="connsiteY1864" fmla="*/ 5954765 h 6515100"/>
                <a:gd name="connsiteX1865" fmla="*/ 295057 w 4829175"/>
                <a:gd name="connsiteY1865" fmla="*/ 5824800 h 6515100"/>
                <a:gd name="connsiteX1866" fmla="*/ 154610 w 4829175"/>
                <a:gd name="connsiteY1866" fmla="*/ 5684353 h 6515100"/>
                <a:gd name="connsiteX1867" fmla="*/ 425022 w 4829175"/>
                <a:gd name="connsiteY1867" fmla="*/ 5413941 h 6515100"/>
                <a:gd name="connsiteX1868" fmla="*/ 160898 w 4829175"/>
                <a:gd name="connsiteY1868" fmla="*/ 5413941 h 6515100"/>
                <a:gd name="connsiteX1869" fmla="*/ 5080 w 4829175"/>
                <a:gd name="connsiteY1869" fmla="*/ 5569760 h 6515100"/>
                <a:gd name="connsiteX1870" fmla="*/ 5080 w 4829175"/>
                <a:gd name="connsiteY1870" fmla="*/ 5559279 h 6515100"/>
                <a:gd name="connsiteX1871" fmla="*/ 153911 w 4829175"/>
                <a:gd name="connsiteY1871" fmla="*/ 5410448 h 6515100"/>
                <a:gd name="connsiteX1872" fmla="*/ 5080 w 4829175"/>
                <a:gd name="connsiteY1872" fmla="*/ 5261616 h 6515100"/>
                <a:gd name="connsiteX1873" fmla="*/ 5080 w 4829175"/>
                <a:gd name="connsiteY1873" fmla="*/ 5251135 h 6515100"/>
                <a:gd name="connsiteX1874" fmla="*/ 160898 w 4829175"/>
                <a:gd name="connsiteY1874" fmla="*/ 5406255 h 6515100"/>
                <a:gd name="connsiteX1875" fmla="*/ 425022 w 4829175"/>
                <a:gd name="connsiteY1875" fmla="*/ 5406255 h 6515100"/>
                <a:gd name="connsiteX1876" fmla="*/ 153911 w 4829175"/>
                <a:gd name="connsiteY1876" fmla="*/ 5135843 h 6515100"/>
                <a:gd name="connsiteX1877" fmla="*/ 338378 w 4829175"/>
                <a:gd name="connsiteY1877" fmla="*/ 4951376 h 6515100"/>
                <a:gd name="connsiteX1878" fmla="*/ 424323 w 4829175"/>
                <a:gd name="connsiteY1878" fmla="*/ 4865431 h 6515100"/>
                <a:gd name="connsiteX1879" fmla="*/ 160200 w 4829175"/>
                <a:gd name="connsiteY1879" fmla="*/ 4865431 h 6515100"/>
                <a:gd name="connsiteX1880" fmla="*/ 5080 w 4829175"/>
                <a:gd name="connsiteY1880" fmla="*/ 5020552 h 6515100"/>
                <a:gd name="connsiteX1881" fmla="*/ 5080 w 4829175"/>
                <a:gd name="connsiteY1881" fmla="*/ 5010070 h 6515100"/>
                <a:gd name="connsiteX1882" fmla="*/ 153212 w 4829175"/>
                <a:gd name="connsiteY1882" fmla="*/ 4861239 h 6515100"/>
                <a:gd name="connsiteX1883" fmla="*/ 148321 w 4829175"/>
                <a:gd name="connsiteY1883" fmla="*/ 4856348 h 6515100"/>
                <a:gd name="connsiteX1884" fmla="*/ 5080 w 4829175"/>
                <a:gd name="connsiteY1884" fmla="*/ 4713804 h 6515100"/>
                <a:gd name="connsiteX1885" fmla="*/ 5080 w 4829175"/>
                <a:gd name="connsiteY1885" fmla="*/ 4704023 h 6515100"/>
                <a:gd name="connsiteX1886" fmla="*/ 160200 w 4829175"/>
                <a:gd name="connsiteY1886" fmla="*/ 4858443 h 6515100"/>
                <a:gd name="connsiteX1887" fmla="*/ 424323 w 4829175"/>
                <a:gd name="connsiteY1887" fmla="*/ 4857746 h 6515100"/>
                <a:gd name="connsiteX1888" fmla="*/ 153212 w 4829175"/>
                <a:gd name="connsiteY1888" fmla="*/ 4587334 h 6515100"/>
                <a:gd name="connsiteX1889" fmla="*/ 423624 w 4829175"/>
                <a:gd name="connsiteY1889" fmla="*/ 4316922 h 6515100"/>
                <a:gd name="connsiteX1890" fmla="*/ 159501 w 4829175"/>
                <a:gd name="connsiteY1890" fmla="*/ 4316922 h 6515100"/>
                <a:gd name="connsiteX1891" fmla="*/ 5080 w 4829175"/>
                <a:gd name="connsiteY1891" fmla="*/ 4471342 h 6515100"/>
                <a:gd name="connsiteX1892" fmla="*/ 5080 w 4829175"/>
                <a:gd name="connsiteY1892" fmla="*/ 4460862 h 6515100"/>
                <a:gd name="connsiteX1893" fmla="*/ 152513 w 4829175"/>
                <a:gd name="connsiteY1893" fmla="*/ 4312728 h 6515100"/>
                <a:gd name="connsiteX1894" fmla="*/ 5080 w 4829175"/>
                <a:gd name="connsiteY1894" fmla="*/ 4165993 h 6515100"/>
                <a:gd name="connsiteX1895" fmla="*/ 5080 w 4829175"/>
                <a:gd name="connsiteY1895" fmla="*/ 4155512 h 6515100"/>
                <a:gd name="connsiteX1896" fmla="*/ 159501 w 4829175"/>
                <a:gd name="connsiteY1896" fmla="*/ 4309235 h 6515100"/>
                <a:gd name="connsiteX1897" fmla="*/ 423624 w 4829175"/>
                <a:gd name="connsiteY1897" fmla="*/ 4309235 h 6515100"/>
                <a:gd name="connsiteX1898" fmla="*/ 152513 w 4829175"/>
                <a:gd name="connsiteY1898" fmla="*/ 4039522 h 6515100"/>
                <a:gd name="connsiteX1899" fmla="*/ 331391 w 4829175"/>
                <a:gd name="connsiteY1899" fmla="*/ 3860644 h 6515100"/>
                <a:gd name="connsiteX1900" fmla="*/ 331489 w 4829175"/>
                <a:gd name="connsiteY1900" fmla="*/ 3860644 h 6515100"/>
                <a:gd name="connsiteX1901" fmla="*/ 422038 w 4829175"/>
                <a:gd name="connsiteY1901" fmla="*/ 3769860 h 6515100"/>
                <a:gd name="connsiteX1902" fmla="*/ 225692 w 4829175"/>
                <a:gd name="connsiteY1902" fmla="*/ 3769860 h 6515100"/>
                <a:gd name="connsiteX1903" fmla="*/ 226391 w 4829175"/>
                <a:gd name="connsiteY1903" fmla="*/ 3768464 h 6515100"/>
                <a:gd name="connsiteX1904" fmla="*/ 158613 w 4829175"/>
                <a:gd name="connsiteY1904" fmla="*/ 3768464 h 6515100"/>
                <a:gd name="connsiteX1905" fmla="*/ 0 w 4829175"/>
                <a:gd name="connsiteY1905" fmla="*/ 3927075 h 6515100"/>
                <a:gd name="connsiteX1906" fmla="*/ 0 w 4829175"/>
                <a:gd name="connsiteY1906" fmla="*/ 3917294 h 6515100"/>
                <a:gd name="connsiteX1907" fmla="*/ 152324 w 4829175"/>
                <a:gd name="connsiteY1907" fmla="*/ 3764969 h 6515100"/>
                <a:gd name="connsiteX1908" fmla="*/ 0 w 4829175"/>
                <a:gd name="connsiteY1908" fmla="*/ 3613344 h 6515100"/>
                <a:gd name="connsiteX1909" fmla="*/ 0 w 4829175"/>
                <a:gd name="connsiteY1909" fmla="*/ 3602863 h 6515100"/>
                <a:gd name="connsiteX1910" fmla="*/ 159312 w 4829175"/>
                <a:gd name="connsiteY1910" fmla="*/ 3760776 h 6515100"/>
                <a:gd name="connsiteX1911" fmla="*/ 423435 w 4829175"/>
                <a:gd name="connsiteY1911" fmla="*/ 3760776 h 6515100"/>
                <a:gd name="connsiteX1912" fmla="*/ 294168 w 4829175"/>
                <a:gd name="connsiteY1912" fmla="*/ 3632209 h 6515100"/>
                <a:gd name="connsiteX1913" fmla="*/ 152324 w 4829175"/>
                <a:gd name="connsiteY1913" fmla="*/ 3491064 h 6515100"/>
                <a:gd name="connsiteX1914" fmla="*/ 336093 w 4829175"/>
                <a:gd name="connsiteY1914" fmla="*/ 3305898 h 6515100"/>
                <a:gd name="connsiteX1915" fmla="*/ 422038 w 4829175"/>
                <a:gd name="connsiteY1915" fmla="*/ 3219953 h 6515100"/>
                <a:gd name="connsiteX1916" fmla="*/ 157914 w 4829175"/>
                <a:gd name="connsiteY1916" fmla="*/ 3219953 h 6515100"/>
                <a:gd name="connsiteX1917" fmla="*/ 0 w 4829175"/>
                <a:gd name="connsiteY1917" fmla="*/ 3378566 h 6515100"/>
                <a:gd name="connsiteX1918" fmla="*/ 0 w 4829175"/>
                <a:gd name="connsiteY1918" fmla="*/ 3368084 h 6515100"/>
                <a:gd name="connsiteX1919" fmla="*/ 152324 w 4829175"/>
                <a:gd name="connsiteY1919" fmla="*/ 3216459 h 6515100"/>
                <a:gd name="connsiteX1920" fmla="*/ 146735 w 4829175"/>
                <a:gd name="connsiteY1920" fmla="*/ 3211568 h 6515100"/>
                <a:gd name="connsiteX1921" fmla="*/ 0 w 4829175"/>
                <a:gd name="connsiteY1921" fmla="*/ 3065532 h 6515100"/>
                <a:gd name="connsiteX1922" fmla="*/ 0 w 4829175"/>
                <a:gd name="connsiteY1922" fmla="*/ 3055052 h 6515100"/>
                <a:gd name="connsiteX1923" fmla="*/ 157914 w 4829175"/>
                <a:gd name="connsiteY1923" fmla="*/ 3212966 h 6515100"/>
                <a:gd name="connsiteX1924" fmla="*/ 422038 w 4829175"/>
                <a:gd name="connsiteY1924" fmla="*/ 3212966 h 6515100"/>
                <a:gd name="connsiteX1925" fmla="*/ 150927 w 4829175"/>
                <a:gd name="connsiteY1925" fmla="*/ 2942554 h 6515100"/>
                <a:gd name="connsiteX1926" fmla="*/ 421339 w 4829175"/>
                <a:gd name="connsiteY1926" fmla="*/ 2671443 h 6515100"/>
                <a:gd name="connsiteX1927" fmla="*/ 157215 w 4829175"/>
                <a:gd name="connsiteY1927" fmla="*/ 2671443 h 6515100"/>
                <a:gd name="connsiteX1928" fmla="*/ 0 w 4829175"/>
                <a:gd name="connsiteY1928" fmla="*/ 2829357 h 6515100"/>
                <a:gd name="connsiteX1929" fmla="*/ 0 w 4829175"/>
                <a:gd name="connsiteY1929" fmla="*/ 2818875 h 6515100"/>
                <a:gd name="connsiteX1930" fmla="*/ 150927 w 4829175"/>
                <a:gd name="connsiteY1930" fmla="*/ 2667949 h 6515100"/>
                <a:gd name="connsiteX1931" fmla="*/ 0 w 4829175"/>
                <a:gd name="connsiteY1931" fmla="*/ 2517721 h 6515100"/>
                <a:gd name="connsiteX1932" fmla="*/ 0 w 4829175"/>
                <a:gd name="connsiteY1932" fmla="*/ 2507939 h 6515100"/>
                <a:gd name="connsiteX1933" fmla="*/ 157914 w 4829175"/>
                <a:gd name="connsiteY1933" fmla="*/ 2664456 h 6515100"/>
                <a:gd name="connsiteX1934" fmla="*/ 422038 w 4829175"/>
                <a:gd name="connsiteY1934" fmla="*/ 2664456 h 6515100"/>
                <a:gd name="connsiteX1935" fmla="*/ 150927 w 4829175"/>
                <a:gd name="connsiteY1935" fmla="*/ 2394044 h 6515100"/>
                <a:gd name="connsiteX1936" fmla="*/ 420640 w 4829175"/>
                <a:gd name="connsiteY1936" fmla="*/ 2122933 h 6515100"/>
                <a:gd name="connsiteX1937" fmla="*/ 156517 w 4829175"/>
                <a:gd name="connsiteY1937" fmla="*/ 2122933 h 6515100"/>
                <a:gd name="connsiteX1938" fmla="*/ 0 w 4829175"/>
                <a:gd name="connsiteY1938" fmla="*/ 2280148 h 6515100"/>
                <a:gd name="connsiteX1939" fmla="*/ 0 w 4829175"/>
                <a:gd name="connsiteY1939" fmla="*/ 2269667 h 6515100"/>
                <a:gd name="connsiteX1940" fmla="*/ 150228 w 4829175"/>
                <a:gd name="connsiteY1940" fmla="*/ 2119439 h 6515100"/>
                <a:gd name="connsiteX1941" fmla="*/ 16070 w 4829175"/>
                <a:gd name="connsiteY1941" fmla="*/ 1985980 h 6515100"/>
                <a:gd name="connsiteX1942" fmla="*/ 0 w 4829175"/>
                <a:gd name="connsiteY1942" fmla="*/ 1969909 h 6515100"/>
                <a:gd name="connsiteX1943" fmla="*/ 0 w 4829175"/>
                <a:gd name="connsiteY1943" fmla="*/ 1960127 h 6515100"/>
                <a:gd name="connsiteX1944" fmla="*/ 19564 w 4829175"/>
                <a:gd name="connsiteY1944" fmla="*/ 1979691 h 6515100"/>
                <a:gd name="connsiteX1945" fmla="*/ 156517 w 4829175"/>
                <a:gd name="connsiteY1945" fmla="*/ 2115945 h 6515100"/>
                <a:gd name="connsiteX1946" fmla="*/ 420640 w 4829175"/>
                <a:gd name="connsiteY1946" fmla="*/ 2115945 h 6515100"/>
                <a:gd name="connsiteX1947" fmla="*/ 149529 w 4829175"/>
                <a:gd name="connsiteY1947" fmla="*/ 1845533 h 6515100"/>
                <a:gd name="connsiteX1948" fmla="*/ 150927 w 4829175"/>
                <a:gd name="connsiteY1948" fmla="*/ 1844135 h 6515100"/>
                <a:gd name="connsiteX1949" fmla="*/ 151626 w 4829175"/>
                <a:gd name="connsiteY1949" fmla="*/ 1844135 h 6515100"/>
                <a:gd name="connsiteX1950" fmla="*/ 419941 w 4829175"/>
                <a:gd name="connsiteY1950" fmla="*/ 1575121 h 6515100"/>
                <a:gd name="connsiteX1951" fmla="*/ 156517 w 4829175"/>
                <a:gd name="connsiteY1951" fmla="*/ 1575121 h 6515100"/>
                <a:gd name="connsiteX1952" fmla="*/ 0 w 4829175"/>
                <a:gd name="connsiteY1952" fmla="*/ 1731637 h 6515100"/>
                <a:gd name="connsiteX1953" fmla="*/ 0 w 4829175"/>
                <a:gd name="connsiteY1953" fmla="*/ 1721157 h 6515100"/>
                <a:gd name="connsiteX1954" fmla="*/ 149529 w 4829175"/>
                <a:gd name="connsiteY1954" fmla="*/ 1571627 h 6515100"/>
                <a:gd name="connsiteX1955" fmla="*/ 0 w 4829175"/>
                <a:gd name="connsiteY1955" fmla="*/ 1422098 h 6515100"/>
                <a:gd name="connsiteX1956" fmla="*/ 0 w 4829175"/>
                <a:gd name="connsiteY1956" fmla="*/ 1411617 h 6515100"/>
                <a:gd name="connsiteX1957" fmla="*/ 156517 w 4829175"/>
                <a:gd name="connsiteY1957" fmla="*/ 1567435 h 6515100"/>
                <a:gd name="connsiteX1958" fmla="*/ 419941 w 4829175"/>
                <a:gd name="connsiteY1958" fmla="*/ 1567435 h 6515100"/>
                <a:gd name="connsiteX1959" fmla="*/ 289976 w 4829175"/>
                <a:gd name="connsiteY1959" fmla="*/ 1437470 h 6515100"/>
                <a:gd name="connsiteX1960" fmla="*/ 149529 w 4829175"/>
                <a:gd name="connsiteY1960" fmla="*/ 1297023 h 6515100"/>
                <a:gd name="connsiteX1961" fmla="*/ 419941 w 4829175"/>
                <a:gd name="connsiteY1961" fmla="*/ 1026611 h 6515100"/>
                <a:gd name="connsiteX1962" fmla="*/ 155818 w 4829175"/>
                <a:gd name="connsiteY1962" fmla="*/ 1026611 h 6515100"/>
                <a:gd name="connsiteX1963" fmla="*/ 0 w 4829175"/>
                <a:gd name="connsiteY1963" fmla="*/ 1182428 h 6515100"/>
                <a:gd name="connsiteX1964" fmla="*/ 0 w 4829175"/>
                <a:gd name="connsiteY1964" fmla="*/ 1171948 h 6515100"/>
                <a:gd name="connsiteX1965" fmla="*/ 148830 w 4829175"/>
                <a:gd name="connsiteY1965" fmla="*/ 1023118 h 6515100"/>
                <a:gd name="connsiteX1966" fmla="*/ 0 w 4829175"/>
                <a:gd name="connsiteY1966" fmla="*/ 874286 h 6515100"/>
                <a:gd name="connsiteX1967" fmla="*/ 0 w 4829175"/>
                <a:gd name="connsiteY1967" fmla="*/ 863806 h 6515100"/>
                <a:gd name="connsiteX1968" fmla="*/ 155818 w 4829175"/>
                <a:gd name="connsiteY1968" fmla="*/ 1018924 h 6515100"/>
                <a:gd name="connsiteX1969" fmla="*/ 419941 w 4829175"/>
                <a:gd name="connsiteY1969" fmla="*/ 1018924 h 6515100"/>
                <a:gd name="connsiteX1970" fmla="*/ 148830 w 4829175"/>
                <a:gd name="connsiteY1970" fmla="*/ 748512 h 6515100"/>
                <a:gd name="connsiteX1971" fmla="*/ 333298 w 4829175"/>
                <a:gd name="connsiteY1971" fmla="*/ 564046 h 6515100"/>
                <a:gd name="connsiteX1972" fmla="*/ 419242 w 4829175"/>
                <a:gd name="connsiteY1972" fmla="*/ 478100 h 6515100"/>
                <a:gd name="connsiteX1973" fmla="*/ 155119 w 4829175"/>
                <a:gd name="connsiteY1973" fmla="*/ 478100 h 6515100"/>
                <a:gd name="connsiteX1974" fmla="*/ 0 w 4829175"/>
                <a:gd name="connsiteY1974" fmla="*/ 633220 h 6515100"/>
                <a:gd name="connsiteX1975" fmla="*/ 0 w 4829175"/>
                <a:gd name="connsiteY1975" fmla="*/ 622738 h 6515100"/>
                <a:gd name="connsiteX1976" fmla="*/ 148131 w 4829175"/>
                <a:gd name="connsiteY1976" fmla="*/ 473908 h 6515100"/>
                <a:gd name="connsiteX1977" fmla="*/ 143240 w 4829175"/>
                <a:gd name="connsiteY1977" fmla="*/ 469017 h 6515100"/>
                <a:gd name="connsiteX1978" fmla="*/ 0 w 4829175"/>
                <a:gd name="connsiteY1978" fmla="*/ 326475 h 6515100"/>
                <a:gd name="connsiteX1979" fmla="*/ 0 w 4829175"/>
                <a:gd name="connsiteY1979" fmla="*/ 316693 h 6515100"/>
                <a:gd name="connsiteX1980" fmla="*/ 155119 w 4829175"/>
                <a:gd name="connsiteY1980" fmla="*/ 471113 h 6515100"/>
                <a:gd name="connsiteX1981" fmla="*/ 419242 w 4829175"/>
                <a:gd name="connsiteY1981" fmla="*/ 470415 h 6515100"/>
                <a:gd name="connsiteX1982" fmla="*/ 148131 w 4829175"/>
                <a:gd name="connsiteY1982" fmla="*/ 200003 h 6515100"/>
                <a:gd name="connsiteX1983" fmla="*/ 73183 w 4829175"/>
                <a:gd name="connsiteY1983" fmla="*/ 0 h 6515100"/>
                <a:gd name="connsiteX1984" fmla="*/ 84011 w 4829175"/>
                <a:gd name="connsiteY1984" fmla="*/ 0 h 6515100"/>
                <a:gd name="connsiteX1985" fmla="*/ 0 w 4829175"/>
                <a:gd name="connsiteY1985" fmla="*/ 84011 h 6515100"/>
                <a:gd name="connsiteX1986" fmla="*/ 0 w 4829175"/>
                <a:gd name="connsiteY1986" fmla="*/ 73530 h 6515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Lst>
              <a:rect l="l" t="t" r="r" b="b"/>
              <a:pathLst>
                <a:path w="4829175" h="6515100">
                  <a:moveTo>
                    <a:pt x="700271" y="6501824"/>
                  </a:moveTo>
                  <a:lnTo>
                    <a:pt x="714941" y="6508865"/>
                  </a:lnTo>
                  <a:lnTo>
                    <a:pt x="710807" y="6508865"/>
                  </a:lnTo>
                  <a:lnTo>
                    <a:pt x="704588" y="6515100"/>
                  </a:lnTo>
                  <a:lnTo>
                    <a:pt x="694116" y="6515100"/>
                  </a:lnTo>
                  <a:lnTo>
                    <a:pt x="703819" y="6505372"/>
                  </a:lnTo>
                  <a:close/>
                  <a:moveTo>
                    <a:pt x="710108" y="5961753"/>
                  </a:moveTo>
                  <a:lnTo>
                    <a:pt x="439696" y="6232863"/>
                  </a:lnTo>
                  <a:lnTo>
                    <a:pt x="710807" y="6503275"/>
                  </a:lnTo>
                  <a:lnTo>
                    <a:pt x="974930" y="6503275"/>
                  </a:lnTo>
                  <a:lnTo>
                    <a:pt x="703819" y="6232863"/>
                  </a:lnTo>
                  <a:lnTo>
                    <a:pt x="974231" y="5961753"/>
                  </a:lnTo>
                  <a:close/>
                  <a:moveTo>
                    <a:pt x="1807827" y="5961054"/>
                  </a:moveTo>
                  <a:lnTo>
                    <a:pt x="1537414" y="6232165"/>
                  </a:lnTo>
                  <a:lnTo>
                    <a:pt x="1808526" y="6502577"/>
                  </a:lnTo>
                  <a:lnTo>
                    <a:pt x="2072648" y="6502577"/>
                  </a:lnTo>
                  <a:lnTo>
                    <a:pt x="1801539" y="6232165"/>
                  </a:lnTo>
                  <a:lnTo>
                    <a:pt x="2071951" y="5961054"/>
                  </a:lnTo>
                  <a:close/>
                  <a:moveTo>
                    <a:pt x="1257919" y="5961054"/>
                  </a:moveTo>
                  <a:lnTo>
                    <a:pt x="988206" y="6232165"/>
                  </a:lnTo>
                  <a:lnTo>
                    <a:pt x="1188744" y="6432703"/>
                  </a:lnTo>
                  <a:lnTo>
                    <a:pt x="1259317" y="6502577"/>
                  </a:lnTo>
                  <a:lnTo>
                    <a:pt x="1327793" y="6502577"/>
                  </a:lnTo>
                  <a:lnTo>
                    <a:pt x="1327094" y="6503974"/>
                  </a:lnTo>
                  <a:lnTo>
                    <a:pt x="1524139" y="6503974"/>
                  </a:lnTo>
                  <a:lnTo>
                    <a:pt x="1253028" y="6233562"/>
                  </a:lnTo>
                  <a:lnTo>
                    <a:pt x="1253727" y="6232863"/>
                  </a:lnTo>
                  <a:lnTo>
                    <a:pt x="1251631" y="6232165"/>
                  </a:lnTo>
                  <a:lnTo>
                    <a:pt x="1522043" y="5961054"/>
                  </a:lnTo>
                  <a:close/>
                  <a:moveTo>
                    <a:pt x="2904847" y="5960355"/>
                  </a:moveTo>
                  <a:lnTo>
                    <a:pt x="2634435" y="6231466"/>
                  </a:lnTo>
                  <a:lnTo>
                    <a:pt x="2905546" y="6501878"/>
                  </a:lnTo>
                  <a:lnTo>
                    <a:pt x="3169669" y="6501878"/>
                  </a:lnTo>
                  <a:lnTo>
                    <a:pt x="2898558" y="6231466"/>
                  </a:lnTo>
                  <a:lnTo>
                    <a:pt x="3168970" y="5960355"/>
                  </a:lnTo>
                  <a:close/>
                  <a:moveTo>
                    <a:pt x="2356338" y="5960355"/>
                  </a:moveTo>
                  <a:lnTo>
                    <a:pt x="2085925" y="6231466"/>
                  </a:lnTo>
                  <a:lnTo>
                    <a:pt x="2357035" y="6501878"/>
                  </a:lnTo>
                  <a:lnTo>
                    <a:pt x="2620460" y="6501878"/>
                  </a:lnTo>
                  <a:lnTo>
                    <a:pt x="2490495" y="6371913"/>
                  </a:lnTo>
                  <a:lnTo>
                    <a:pt x="2350049" y="6231466"/>
                  </a:lnTo>
                  <a:lnTo>
                    <a:pt x="2620460" y="5960355"/>
                  </a:lnTo>
                  <a:close/>
                  <a:moveTo>
                    <a:pt x="3453357" y="5959656"/>
                  </a:moveTo>
                  <a:lnTo>
                    <a:pt x="3182945" y="6230767"/>
                  </a:lnTo>
                  <a:lnTo>
                    <a:pt x="3454056" y="6500480"/>
                  </a:lnTo>
                  <a:lnTo>
                    <a:pt x="3718179" y="6500480"/>
                  </a:lnTo>
                  <a:lnTo>
                    <a:pt x="3447069" y="6230069"/>
                  </a:lnTo>
                  <a:lnTo>
                    <a:pt x="3631536" y="6045602"/>
                  </a:lnTo>
                  <a:lnTo>
                    <a:pt x="3717481" y="5959656"/>
                  </a:lnTo>
                  <a:close/>
                  <a:moveTo>
                    <a:pt x="4550378" y="5958259"/>
                  </a:moveTo>
                  <a:lnTo>
                    <a:pt x="4279966" y="6229370"/>
                  </a:lnTo>
                  <a:lnTo>
                    <a:pt x="4551077" y="6499083"/>
                  </a:lnTo>
                  <a:lnTo>
                    <a:pt x="4815200" y="6499083"/>
                  </a:lnTo>
                  <a:lnTo>
                    <a:pt x="4544089" y="6228671"/>
                  </a:lnTo>
                  <a:lnTo>
                    <a:pt x="4814501" y="5958259"/>
                  </a:lnTo>
                  <a:close/>
                  <a:moveTo>
                    <a:pt x="169284" y="5687847"/>
                  </a:moveTo>
                  <a:lnTo>
                    <a:pt x="299249" y="5817813"/>
                  </a:lnTo>
                  <a:lnTo>
                    <a:pt x="439696" y="5958259"/>
                  </a:lnTo>
                  <a:lnTo>
                    <a:pt x="169284" y="6229370"/>
                  </a:lnTo>
                  <a:lnTo>
                    <a:pt x="433407" y="6229370"/>
                  </a:lnTo>
                  <a:lnTo>
                    <a:pt x="703819" y="5958259"/>
                  </a:lnTo>
                  <a:lnTo>
                    <a:pt x="432708" y="5687847"/>
                  </a:lnTo>
                  <a:close/>
                  <a:moveTo>
                    <a:pt x="1814814" y="5687149"/>
                  </a:moveTo>
                  <a:lnTo>
                    <a:pt x="2085925" y="5957561"/>
                  </a:lnTo>
                  <a:lnTo>
                    <a:pt x="1815513" y="6227973"/>
                  </a:lnTo>
                  <a:lnTo>
                    <a:pt x="2079636" y="6227973"/>
                  </a:lnTo>
                  <a:lnTo>
                    <a:pt x="2350049" y="5957561"/>
                  </a:lnTo>
                  <a:lnTo>
                    <a:pt x="2078937" y="5687149"/>
                  </a:lnTo>
                  <a:close/>
                  <a:moveTo>
                    <a:pt x="717095" y="5687149"/>
                  </a:moveTo>
                  <a:lnTo>
                    <a:pt x="988206" y="5957561"/>
                  </a:lnTo>
                  <a:lnTo>
                    <a:pt x="717794" y="6228671"/>
                  </a:lnTo>
                  <a:lnTo>
                    <a:pt x="981917" y="6228671"/>
                  </a:lnTo>
                  <a:lnTo>
                    <a:pt x="1252329" y="5957561"/>
                  </a:lnTo>
                  <a:lnTo>
                    <a:pt x="981219" y="5687149"/>
                  </a:lnTo>
                  <a:close/>
                  <a:moveTo>
                    <a:pt x="2363324" y="5686450"/>
                  </a:moveTo>
                  <a:lnTo>
                    <a:pt x="2634435" y="5956862"/>
                  </a:lnTo>
                  <a:lnTo>
                    <a:pt x="2364722" y="6227973"/>
                  </a:lnTo>
                  <a:lnTo>
                    <a:pt x="2628146" y="6227973"/>
                  </a:lnTo>
                  <a:lnTo>
                    <a:pt x="2898558" y="5956862"/>
                  </a:lnTo>
                  <a:lnTo>
                    <a:pt x="2764401" y="5823402"/>
                  </a:lnTo>
                  <a:lnTo>
                    <a:pt x="2627447" y="5686450"/>
                  </a:lnTo>
                  <a:close/>
                  <a:moveTo>
                    <a:pt x="2911834" y="5685751"/>
                  </a:moveTo>
                  <a:lnTo>
                    <a:pt x="2913232" y="5687149"/>
                  </a:lnTo>
                  <a:lnTo>
                    <a:pt x="3182945" y="5956163"/>
                  </a:lnTo>
                  <a:lnTo>
                    <a:pt x="2912533" y="6226575"/>
                  </a:lnTo>
                  <a:lnTo>
                    <a:pt x="3176657" y="6226575"/>
                  </a:lnTo>
                  <a:lnTo>
                    <a:pt x="3447069" y="5956163"/>
                  </a:lnTo>
                  <a:lnTo>
                    <a:pt x="3441479" y="5951272"/>
                  </a:lnTo>
                  <a:lnTo>
                    <a:pt x="3175958" y="5685751"/>
                  </a:lnTo>
                  <a:close/>
                  <a:moveTo>
                    <a:pt x="1530428" y="5685751"/>
                  </a:moveTo>
                  <a:lnTo>
                    <a:pt x="1529030" y="5686450"/>
                  </a:lnTo>
                  <a:lnTo>
                    <a:pt x="1264907" y="5686450"/>
                  </a:lnTo>
                  <a:lnTo>
                    <a:pt x="1536018" y="5956862"/>
                  </a:lnTo>
                  <a:lnTo>
                    <a:pt x="1531824" y="5961054"/>
                  </a:lnTo>
                  <a:lnTo>
                    <a:pt x="1537414" y="5958259"/>
                  </a:lnTo>
                  <a:lnTo>
                    <a:pt x="1267002" y="6229370"/>
                  </a:lnTo>
                  <a:lnTo>
                    <a:pt x="1531127" y="6229370"/>
                  </a:lnTo>
                  <a:lnTo>
                    <a:pt x="1801539" y="5958259"/>
                  </a:lnTo>
                  <a:lnTo>
                    <a:pt x="1530428" y="5687847"/>
                  </a:lnTo>
                  <a:close/>
                  <a:moveTo>
                    <a:pt x="3459646" y="5685052"/>
                  </a:moveTo>
                  <a:lnTo>
                    <a:pt x="3730757" y="5955464"/>
                  </a:lnTo>
                  <a:lnTo>
                    <a:pt x="3727962" y="5958259"/>
                  </a:lnTo>
                  <a:lnTo>
                    <a:pt x="3637825" y="6049095"/>
                  </a:lnTo>
                  <a:lnTo>
                    <a:pt x="3460345" y="6225876"/>
                  </a:lnTo>
                  <a:lnTo>
                    <a:pt x="3724468" y="6225876"/>
                  </a:lnTo>
                  <a:lnTo>
                    <a:pt x="3813907" y="6136437"/>
                  </a:lnTo>
                  <a:lnTo>
                    <a:pt x="3994880" y="5955464"/>
                  </a:lnTo>
                  <a:lnTo>
                    <a:pt x="3723769" y="5685052"/>
                  </a:lnTo>
                  <a:close/>
                  <a:moveTo>
                    <a:pt x="1807128" y="5412543"/>
                  </a:moveTo>
                  <a:lnTo>
                    <a:pt x="1536716" y="5683654"/>
                  </a:lnTo>
                  <a:lnTo>
                    <a:pt x="1807827" y="5954066"/>
                  </a:lnTo>
                  <a:lnTo>
                    <a:pt x="2071951" y="5954066"/>
                  </a:lnTo>
                  <a:lnTo>
                    <a:pt x="1800840" y="5683654"/>
                  </a:lnTo>
                  <a:lnTo>
                    <a:pt x="2071252" y="5412543"/>
                  </a:lnTo>
                  <a:close/>
                  <a:moveTo>
                    <a:pt x="709409" y="5412543"/>
                  </a:moveTo>
                  <a:lnTo>
                    <a:pt x="438997" y="5683654"/>
                  </a:lnTo>
                  <a:lnTo>
                    <a:pt x="710108" y="5954066"/>
                  </a:lnTo>
                  <a:lnTo>
                    <a:pt x="974231" y="5954066"/>
                  </a:lnTo>
                  <a:lnTo>
                    <a:pt x="703120" y="5683654"/>
                  </a:lnTo>
                  <a:lnTo>
                    <a:pt x="972833" y="5412543"/>
                  </a:lnTo>
                  <a:close/>
                  <a:moveTo>
                    <a:pt x="2904148" y="5411845"/>
                  </a:moveTo>
                  <a:lnTo>
                    <a:pt x="2723874" y="5592120"/>
                  </a:lnTo>
                  <a:lnTo>
                    <a:pt x="2634435" y="5682258"/>
                  </a:lnTo>
                  <a:lnTo>
                    <a:pt x="2768593" y="5815716"/>
                  </a:lnTo>
                  <a:lnTo>
                    <a:pt x="2905546" y="5952669"/>
                  </a:lnTo>
                  <a:lnTo>
                    <a:pt x="3169669" y="5952669"/>
                  </a:lnTo>
                  <a:lnTo>
                    <a:pt x="2898558" y="5682258"/>
                  </a:lnTo>
                  <a:lnTo>
                    <a:pt x="2899956" y="5680860"/>
                  </a:lnTo>
                  <a:lnTo>
                    <a:pt x="3168271" y="5411845"/>
                  </a:lnTo>
                  <a:close/>
                  <a:moveTo>
                    <a:pt x="2355639" y="5411845"/>
                  </a:moveTo>
                  <a:lnTo>
                    <a:pt x="2085226" y="5682955"/>
                  </a:lnTo>
                  <a:lnTo>
                    <a:pt x="2356338" y="5953367"/>
                  </a:lnTo>
                  <a:lnTo>
                    <a:pt x="2620460" y="5953367"/>
                  </a:lnTo>
                  <a:lnTo>
                    <a:pt x="2349350" y="5682955"/>
                  </a:lnTo>
                  <a:lnTo>
                    <a:pt x="2533816" y="5498489"/>
                  </a:lnTo>
                  <a:lnTo>
                    <a:pt x="2619762" y="5412543"/>
                  </a:lnTo>
                  <a:lnTo>
                    <a:pt x="2361229" y="5412543"/>
                  </a:lnTo>
                  <a:close/>
                  <a:moveTo>
                    <a:pt x="1257919" y="5411845"/>
                  </a:moveTo>
                  <a:lnTo>
                    <a:pt x="987507" y="5682955"/>
                  </a:lnTo>
                  <a:lnTo>
                    <a:pt x="1258618" y="5953367"/>
                  </a:lnTo>
                  <a:lnTo>
                    <a:pt x="1522741" y="5953367"/>
                  </a:lnTo>
                  <a:lnTo>
                    <a:pt x="1251631" y="5682955"/>
                  </a:lnTo>
                  <a:lnTo>
                    <a:pt x="1436098" y="5498489"/>
                  </a:lnTo>
                  <a:lnTo>
                    <a:pt x="1522043" y="5411845"/>
                  </a:lnTo>
                  <a:close/>
                  <a:moveTo>
                    <a:pt x="3452658" y="5411147"/>
                  </a:moveTo>
                  <a:lnTo>
                    <a:pt x="3182246" y="5682258"/>
                  </a:lnTo>
                  <a:lnTo>
                    <a:pt x="3453357" y="5952669"/>
                  </a:lnTo>
                  <a:lnTo>
                    <a:pt x="3717481" y="5952669"/>
                  </a:lnTo>
                  <a:lnTo>
                    <a:pt x="3446370" y="5682258"/>
                  </a:lnTo>
                  <a:lnTo>
                    <a:pt x="3716782" y="5411147"/>
                  </a:lnTo>
                  <a:close/>
                  <a:moveTo>
                    <a:pt x="4549679" y="5409749"/>
                  </a:moveTo>
                  <a:lnTo>
                    <a:pt x="4279267" y="5680860"/>
                  </a:lnTo>
                  <a:lnTo>
                    <a:pt x="4550378" y="5951272"/>
                  </a:lnTo>
                  <a:lnTo>
                    <a:pt x="4814501" y="5951272"/>
                  </a:lnTo>
                  <a:lnTo>
                    <a:pt x="4543391" y="5680860"/>
                  </a:lnTo>
                  <a:lnTo>
                    <a:pt x="4727858" y="5495694"/>
                  </a:lnTo>
                  <a:lnTo>
                    <a:pt x="4727159" y="5494995"/>
                  </a:lnTo>
                  <a:lnTo>
                    <a:pt x="4812405" y="5409749"/>
                  </a:lnTo>
                  <a:close/>
                  <a:moveTo>
                    <a:pt x="167886" y="5139337"/>
                  </a:moveTo>
                  <a:lnTo>
                    <a:pt x="438997" y="5409749"/>
                  </a:lnTo>
                  <a:lnTo>
                    <a:pt x="169284" y="5680860"/>
                  </a:lnTo>
                  <a:lnTo>
                    <a:pt x="432708" y="5680860"/>
                  </a:lnTo>
                  <a:lnTo>
                    <a:pt x="703120" y="5409749"/>
                  </a:lnTo>
                  <a:lnTo>
                    <a:pt x="568962" y="5276290"/>
                  </a:lnTo>
                  <a:lnTo>
                    <a:pt x="432009" y="5139337"/>
                  </a:lnTo>
                  <a:close/>
                  <a:moveTo>
                    <a:pt x="1814116" y="5138638"/>
                  </a:moveTo>
                  <a:lnTo>
                    <a:pt x="1942683" y="5267207"/>
                  </a:lnTo>
                  <a:lnTo>
                    <a:pt x="2084528" y="5409050"/>
                  </a:lnTo>
                  <a:lnTo>
                    <a:pt x="1814116" y="5680161"/>
                  </a:lnTo>
                  <a:lnTo>
                    <a:pt x="2078239" y="5680161"/>
                  </a:lnTo>
                  <a:lnTo>
                    <a:pt x="2348651" y="5409050"/>
                  </a:lnTo>
                  <a:lnTo>
                    <a:pt x="2343759" y="5404159"/>
                  </a:lnTo>
                  <a:lnTo>
                    <a:pt x="2078239" y="5138638"/>
                  </a:lnTo>
                  <a:close/>
                  <a:moveTo>
                    <a:pt x="2362625" y="5137939"/>
                  </a:moveTo>
                  <a:lnTo>
                    <a:pt x="2633736" y="5407653"/>
                  </a:lnTo>
                  <a:lnTo>
                    <a:pt x="2630942" y="5410448"/>
                  </a:lnTo>
                  <a:lnTo>
                    <a:pt x="2540804" y="5501283"/>
                  </a:lnTo>
                  <a:lnTo>
                    <a:pt x="2363324" y="5678763"/>
                  </a:lnTo>
                  <a:lnTo>
                    <a:pt x="2627447" y="5678763"/>
                  </a:lnTo>
                  <a:lnTo>
                    <a:pt x="2716886" y="5589325"/>
                  </a:lnTo>
                  <a:lnTo>
                    <a:pt x="2897859" y="5408351"/>
                  </a:lnTo>
                  <a:lnTo>
                    <a:pt x="2626749" y="5137939"/>
                  </a:lnTo>
                  <a:close/>
                  <a:moveTo>
                    <a:pt x="1264208" y="5137939"/>
                  </a:moveTo>
                  <a:lnTo>
                    <a:pt x="1535319" y="5407653"/>
                  </a:lnTo>
                  <a:lnTo>
                    <a:pt x="1532523" y="5410448"/>
                  </a:lnTo>
                  <a:lnTo>
                    <a:pt x="1442387" y="5501283"/>
                  </a:lnTo>
                  <a:lnTo>
                    <a:pt x="1264907" y="5678763"/>
                  </a:lnTo>
                  <a:lnTo>
                    <a:pt x="1529030" y="5678763"/>
                  </a:lnTo>
                  <a:lnTo>
                    <a:pt x="1618469" y="5589325"/>
                  </a:lnTo>
                  <a:lnTo>
                    <a:pt x="1799442" y="5408351"/>
                  </a:lnTo>
                  <a:lnTo>
                    <a:pt x="1528331" y="5137939"/>
                  </a:lnTo>
                  <a:close/>
                  <a:moveTo>
                    <a:pt x="715697" y="5137939"/>
                  </a:moveTo>
                  <a:lnTo>
                    <a:pt x="717095" y="5139337"/>
                  </a:lnTo>
                  <a:lnTo>
                    <a:pt x="986808" y="5408351"/>
                  </a:lnTo>
                  <a:lnTo>
                    <a:pt x="716396" y="5679462"/>
                  </a:lnTo>
                  <a:lnTo>
                    <a:pt x="980520" y="5679462"/>
                  </a:lnTo>
                  <a:lnTo>
                    <a:pt x="1250932" y="5408351"/>
                  </a:lnTo>
                  <a:lnTo>
                    <a:pt x="1245342" y="5403460"/>
                  </a:lnTo>
                  <a:lnTo>
                    <a:pt x="979821" y="5137939"/>
                  </a:lnTo>
                  <a:close/>
                  <a:moveTo>
                    <a:pt x="2911136" y="5137241"/>
                  </a:moveTo>
                  <a:lnTo>
                    <a:pt x="3041801" y="5266508"/>
                  </a:lnTo>
                  <a:lnTo>
                    <a:pt x="3182246" y="5406954"/>
                  </a:lnTo>
                  <a:lnTo>
                    <a:pt x="2911834" y="5678065"/>
                  </a:lnTo>
                  <a:lnTo>
                    <a:pt x="3175958" y="5678065"/>
                  </a:lnTo>
                  <a:lnTo>
                    <a:pt x="3446370" y="5407653"/>
                  </a:lnTo>
                  <a:lnTo>
                    <a:pt x="3175259" y="5137241"/>
                  </a:lnTo>
                  <a:close/>
                  <a:moveTo>
                    <a:pt x="3459646" y="5136542"/>
                  </a:moveTo>
                  <a:lnTo>
                    <a:pt x="3730757" y="5406954"/>
                  </a:lnTo>
                  <a:lnTo>
                    <a:pt x="3460345" y="5678065"/>
                  </a:lnTo>
                  <a:lnTo>
                    <a:pt x="3724468" y="5678065"/>
                  </a:lnTo>
                  <a:lnTo>
                    <a:pt x="3994880" y="5406954"/>
                  </a:lnTo>
                  <a:lnTo>
                    <a:pt x="3723769" y="5136542"/>
                  </a:lnTo>
                  <a:close/>
                  <a:moveTo>
                    <a:pt x="4008156" y="5135843"/>
                  </a:moveTo>
                  <a:lnTo>
                    <a:pt x="4279267" y="5406255"/>
                  </a:lnTo>
                  <a:lnTo>
                    <a:pt x="4008855" y="5677366"/>
                  </a:lnTo>
                  <a:lnTo>
                    <a:pt x="4207297" y="5677366"/>
                  </a:lnTo>
                  <a:lnTo>
                    <a:pt x="4272280" y="5677366"/>
                  </a:lnTo>
                  <a:lnTo>
                    <a:pt x="4543391" y="5406255"/>
                  </a:lnTo>
                  <a:lnTo>
                    <a:pt x="4409232" y="5272797"/>
                  </a:lnTo>
                  <a:lnTo>
                    <a:pt x="4272280" y="5135843"/>
                  </a:lnTo>
                  <a:close/>
                  <a:moveTo>
                    <a:pt x="708011" y="4864034"/>
                  </a:moveTo>
                  <a:lnTo>
                    <a:pt x="527737" y="5045007"/>
                  </a:lnTo>
                  <a:lnTo>
                    <a:pt x="438298" y="5135144"/>
                  </a:lnTo>
                  <a:lnTo>
                    <a:pt x="572456" y="5268603"/>
                  </a:lnTo>
                  <a:lnTo>
                    <a:pt x="709409" y="5405557"/>
                  </a:lnTo>
                  <a:lnTo>
                    <a:pt x="973532" y="5405557"/>
                  </a:lnTo>
                  <a:lnTo>
                    <a:pt x="702421" y="5135144"/>
                  </a:lnTo>
                  <a:lnTo>
                    <a:pt x="703819" y="5133747"/>
                  </a:lnTo>
                  <a:lnTo>
                    <a:pt x="972135" y="4864034"/>
                  </a:lnTo>
                  <a:close/>
                  <a:moveTo>
                    <a:pt x="1257220" y="4863335"/>
                  </a:moveTo>
                  <a:lnTo>
                    <a:pt x="986808" y="5134446"/>
                  </a:lnTo>
                  <a:lnTo>
                    <a:pt x="1257919" y="5404858"/>
                  </a:lnTo>
                  <a:lnTo>
                    <a:pt x="1522043" y="5404858"/>
                  </a:lnTo>
                  <a:lnTo>
                    <a:pt x="1250932" y="5134446"/>
                  </a:lnTo>
                  <a:lnTo>
                    <a:pt x="1521344" y="4863335"/>
                  </a:lnTo>
                  <a:close/>
                  <a:moveTo>
                    <a:pt x="2904148" y="4862636"/>
                  </a:moveTo>
                  <a:lnTo>
                    <a:pt x="2633736" y="5133747"/>
                  </a:lnTo>
                  <a:lnTo>
                    <a:pt x="2904847" y="5404159"/>
                  </a:lnTo>
                  <a:lnTo>
                    <a:pt x="3168271" y="5404159"/>
                  </a:lnTo>
                  <a:lnTo>
                    <a:pt x="3037607" y="5274193"/>
                  </a:lnTo>
                  <a:lnTo>
                    <a:pt x="2897162" y="5133747"/>
                  </a:lnTo>
                  <a:lnTo>
                    <a:pt x="3168271" y="4862636"/>
                  </a:lnTo>
                  <a:close/>
                  <a:moveTo>
                    <a:pt x="1805032" y="4862636"/>
                  </a:moveTo>
                  <a:lnTo>
                    <a:pt x="1534620" y="5133747"/>
                  </a:lnTo>
                  <a:lnTo>
                    <a:pt x="1805731" y="5404159"/>
                  </a:lnTo>
                  <a:lnTo>
                    <a:pt x="1807128" y="5405557"/>
                  </a:lnTo>
                  <a:lnTo>
                    <a:pt x="2071252" y="5405557"/>
                  </a:lnTo>
                  <a:lnTo>
                    <a:pt x="1939889" y="5274193"/>
                  </a:lnTo>
                  <a:lnTo>
                    <a:pt x="1802236" y="5136542"/>
                  </a:lnTo>
                  <a:lnTo>
                    <a:pt x="2071252" y="4862636"/>
                  </a:lnTo>
                  <a:close/>
                  <a:moveTo>
                    <a:pt x="3451960" y="4861938"/>
                  </a:moveTo>
                  <a:lnTo>
                    <a:pt x="3181548" y="5133048"/>
                  </a:lnTo>
                  <a:lnTo>
                    <a:pt x="3452658" y="5403460"/>
                  </a:lnTo>
                  <a:lnTo>
                    <a:pt x="3716782" y="5403460"/>
                  </a:lnTo>
                  <a:lnTo>
                    <a:pt x="3445671" y="5133048"/>
                  </a:lnTo>
                  <a:lnTo>
                    <a:pt x="3630138" y="4948581"/>
                  </a:lnTo>
                  <a:lnTo>
                    <a:pt x="3714686" y="4861938"/>
                  </a:lnTo>
                  <a:close/>
                  <a:moveTo>
                    <a:pt x="4000470" y="4861239"/>
                  </a:moveTo>
                  <a:lnTo>
                    <a:pt x="3730058" y="5132350"/>
                  </a:lnTo>
                  <a:lnTo>
                    <a:pt x="4001169" y="5402762"/>
                  </a:lnTo>
                  <a:lnTo>
                    <a:pt x="4265292" y="5402762"/>
                  </a:lnTo>
                  <a:lnTo>
                    <a:pt x="3994181" y="5132350"/>
                  </a:lnTo>
                  <a:lnTo>
                    <a:pt x="3995579" y="5130952"/>
                  </a:lnTo>
                  <a:lnTo>
                    <a:pt x="3994880" y="5130952"/>
                  </a:lnTo>
                  <a:lnTo>
                    <a:pt x="4263197" y="4861938"/>
                  </a:lnTo>
                  <a:lnTo>
                    <a:pt x="4004663" y="4861938"/>
                  </a:lnTo>
                  <a:lnTo>
                    <a:pt x="4006060" y="4861239"/>
                  </a:lnTo>
                  <a:close/>
                  <a:moveTo>
                    <a:pt x="4548281" y="4860540"/>
                  </a:moveTo>
                  <a:lnTo>
                    <a:pt x="4367308" y="5041513"/>
                  </a:lnTo>
                  <a:lnTo>
                    <a:pt x="4368007" y="5042212"/>
                  </a:lnTo>
                  <a:lnTo>
                    <a:pt x="4278568" y="5132350"/>
                  </a:lnTo>
                  <a:lnTo>
                    <a:pt x="4412727" y="5265809"/>
                  </a:lnTo>
                  <a:lnTo>
                    <a:pt x="4548980" y="5402063"/>
                  </a:lnTo>
                  <a:lnTo>
                    <a:pt x="4813104" y="5402063"/>
                  </a:lnTo>
                  <a:lnTo>
                    <a:pt x="4541993" y="5131651"/>
                  </a:lnTo>
                  <a:lnTo>
                    <a:pt x="4812405" y="4860540"/>
                  </a:lnTo>
                  <a:close/>
                  <a:moveTo>
                    <a:pt x="2621159" y="4860540"/>
                  </a:moveTo>
                  <a:lnTo>
                    <a:pt x="2354940" y="4863335"/>
                  </a:lnTo>
                  <a:lnTo>
                    <a:pt x="2084528" y="5134446"/>
                  </a:lnTo>
                  <a:lnTo>
                    <a:pt x="2355639" y="5404858"/>
                  </a:lnTo>
                  <a:lnTo>
                    <a:pt x="2619762" y="5404858"/>
                  </a:lnTo>
                  <a:lnTo>
                    <a:pt x="2348651" y="5134446"/>
                  </a:lnTo>
                  <a:close/>
                  <a:moveTo>
                    <a:pt x="166488" y="4590827"/>
                  </a:moveTo>
                  <a:lnTo>
                    <a:pt x="437599" y="4861239"/>
                  </a:lnTo>
                  <a:lnTo>
                    <a:pt x="434805" y="4864034"/>
                  </a:lnTo>
                  <a:lnTo>
                    <a:pt x="344667" y="4954870"/>
                  </a:lnTo>
                  <a:lnTo>
                    <a:pt x="167187" y="5131651"/>
                  </a:lnTo>
                  <a:lnTo>
                    <a:pt x="431311" y="5131651"/>
                  </a:lnTo>
                  <a:lnTo>
                    <a:pt x="520749" y="5042212"/>
                  </a:lnTo>
                  <a:lnTo>
                    <a:pt x="701722" y="4861239"/>
                  </a:lnTo>
                  <a:lnTo>
                    <a:pt x="430612" y="4590827"/>
                  </a:lnTo>
                  <a:close/>
                  <a:moveTo>
                    <a:pt x="715697" y="4590128"/>
                  </a:moveTo>
                  <a:lnTo>
                    <a:pt x="845663" y="4720093"/>
                  </a:lnTo>
                  <a:lnTo>
                    <a:pt x="986109" y="4859841"/>
                  </a:lnTo>
                  <a:lnTo>
                    <a:pt x="715697" y="5130952"/>
                  </a:lnTo>
                  <a:lnTo>
                    <a:pt x="979821" y="5130952"/>
                  </a:lnTo>
                  <a:lnTo>
                    <a:pt x="1250932" y="4860540"/>
                  </a:lnTo>
                  <a:lnTo>
                    <a:pt x="979821" y="4590128"/>
                  </a:lnTo>
                  <a:close/>
                  <a:moveTo>
                    <a:pt x="2911136" y="4589429"/>
                  </a:moveTo>
                  <a:lnTo>
                    <a:pt x="3040403" y="4717299"/>
                  </a:lnTo>
                  <a:lnTo>
                    <a:pt x="3040403" y="4717998"/>
                  </a:lnTo>
                  <a:lnTo>
                    <a:pt x="3182246" y="4859841"/>
                  </a:lnTo>
                  <a:lnTo>
                    <a:pt x="2911834" y="5130952"/>
                  </a:lnTo>
                  <a:lnTo>
                    <a:pt x="3175259" y="5130952"/>
                  </a:lnTo>
                  <a:lnTo>
                    <a:pt x="3445671" y="4859841"/>
                  </a:lnTo>
                  <a:lnTo>
                    <a:pt x="3440081" y="4854251"/>
                  </a:lnTo>
                  <a:lnTo>
                    <a:pt x="3439382" y="4854251"/>
                  </a:lnTo>
                  <a:lnTo>
                    <a:pt x="3173862" y="4589429"/>
                  </a:lnTo>
                  <a:close/>
                  <a:moveTo>
                    <a:pt x="1813417" y="4589429"/>
                  </a:moveTo>
                  <a:lnTo>
                    <a:pt x="1815507" y="4592217"/>
                  </a:lnTo>
                  <a:lnTo>
                    <a:pt x="1814814" y="4591526"/>
                  </a:lnTo>
                  <a:lnTo>
                    <a:pt x="1815513" y="4592225"/>
                  </a:lnTo>
                  <a:lnTo>
                    <a:pt x="1815507" y="4592217"/>
                  </a:lnTo>
                  <a:lnTo>
                    <a:pt x="2074046" y="4850059"/>
                  </a:lnTo>
                  <a:lnTo>
                    <a:pt x="2083829" y="4859142"/>
                  </a:lnTo>
                  <a:lnTo>
                    <a:pt x="2085925" y="4861239"/>
                  </a:lnTo>
                  <a:lnTo>
                    <a:pt x="1821102" y="5130952"/>
                  </a:lnTo>
                  <a:lnTo>
                    <a:pt x="2080335" y="5131651"/>
                  </a:lnTo>
                  <a:lnTo>
                    <a:pt x="2350049" y="4861239"/>
                  </a:lnTo>
                  <a:lnTo>
                    <a:pt x="2214493" y="4726382"/>
                  </a:lnTo>
                  <a:lnTo>
                    <a:pt x="2197724" y="4709612"/>
                  </a:lnTo>
                  <a:lnTo>
                    <a:pt x="2078239" y="4590827"/>
                  </a:lnTo>
                  <a:lnTo>
                    <a:pt x="2074046" y="4589429"/>
                  </a:lnTo>
                  <a:close/>
                  <a:moveTo>
                    <a:pt x="1263509" y="4589429"/>
                  </a:moveTo>
                  <a:lnTo>
                    <a:pt x="1534620" y="4859841"/>
                  </a:lnTo>
                  <a:lnTo>
                    <a:pt x="1264208" y="5130952"/>
                  </a:lnTo>
                  <a:lnTo>
                    <a:pt x="1528331" y="5130952"/>
                  </a:lnTo>
                  <a:lnTo>
                    <a:pt x="1798743" y="4859841"/>
                  </a:lnTo>
                  <a:lnTo>
                    <a:pt x="1527632" y="4589429"/>
                  </a:lnTo>
                  <a:close/>
                  <a:moveTo>
                    <a:pt x="2626749" y="4588031"/>
                  </a:moveTo>
                  <a:lnTo>
                    <a:pt x="2363324" y="4588730"/>
                  </a:lnTo>
                  <a:lnTo>
                    <a:pt x="2632339" y="4857047"/>
                  </a:lnTo>
                  <a:lnTo>
                    <a:pt x="2631641" y="4857746"/>
                  </a:lnTo>
                  <a:lnTo>
                    <a:pt x="2633038" y="4859142"/>
                  </a:lnTo>
                  <a:lnTo>
                    <a:pt x="2362625" y="5130253"/>
                  </a:lnTo>
                  <a:lnTo>
                    <a:pt x="2626749" y="5130253"/>
                  </a:lnTo>
                  <a:lnTo>
                    <a:pt x="2716886" y="5040116"/>
                  </a:lnTo>
                  <a:lnTo>
                    <a:pt x="2896463" y="4857047"/>
                  </a:lnTo>
                  <a:close/>
                  <a:moveTo>
                    <a:pt x="4006759" y="4587334"/>
                  </a:moveTo>
                  <a:lnTo>
                    <a:pt x="4136725" y="4716600"/>
                  </a:lnTo>
                  <a:lnTo>
                    <a:pt x="4277171" y="4857047"/>
                  </a:lnTo>
                  <a:lnTo>
                    <a:pt x="4184238" y="4950678"/>
                  </a:lnTo>
                  <a:lnTo>
                    <a:pt x="4184937" y="4951376"/>
                  </a:lnTo>
                  <a:lnTo>
                    <a:pt x="4008156" y="5128855"/>
                  </a:lnTo>
                  <a:lnTo>
                    <a:pt x="4270882" y="5128855"/>
                  </a:lnTo>
                  <a:lnTo>
                    <a:pt x="4541294" y="4857746"/>
                  </a:lnTo>
                  <a:lnTo>
                    <a:pt x="4270183" y="4587334"/>
                  </a:lnTo>
                  <a:close/>
                  <a:moveTo>
                    <a:pt x="3458248" y="4587334"/>
                  </a:moveTo>
                  <a:lnTo>
                    <a:pt x="3729359" y="4857746"/>
                  </a:lnTo>
                  <a:lnTo>
                    <a:pt x="3730058" y="4858443"/>
                  </a:lnTo>
                  <a:lnTo>
                    <a:pt x="3459646" y="5129554"/>
                  </a:lnTo>
                  <a:lnTo>
                    <a:pt x="3723769" y="5129554"/>
                  </a:lnTo>
                  <a:lnTo>
                    <a:pt x="3813208" y="5039418"/>
                  </a:lnTo>
                  <a:lnTo>
                    <a:pt x="3812509" y="5039418"/>
                  </a:lnTo>
                  <a:lnTo>
                    <a:pt x="3993483" y="4858443"/>
                  </a:lnTo>
                  <a:lnTo>
                    <a:pt x="3988591" y="4852854"/>
                  </a:lnTo>
                  <a:lnTo>
                    <a:pt x="3722372" y="4587334"/>
                  </a:lnTo>
                  <a:close/>
                  <a:moveTo>
                    <a:pt x="708011" y="4316223"/>
                  </a:moveTo>
                  <a:lnTo>
                    <a:pt x="437599" y="4587334"/>
                  </a:lnTo>
                  <a:lnTo>
                    <a:pt x="709409" y="4857746"/>
                  </a:lnTo>
                  <a:lnTo>
                    <a:pt x="972833" y="4857746"/>
                  </a:lnTo>
                  <a:lnTo>
                    <a:pt x="842169" y="4727779"/>
                  </a:lnTo>
                  <a:lnTo>
                    <a:pt x="701722" y="4587334"/>
                  </a:lnTo>
                  <a:lnTo>
                    <a:pt x="972135" y="4316223"/>
                  </a:lnTo>
                  <a:close/>
                  <a:moveTo>
                    <a:pt x="2354241" y="4315524"/>
                  </a:moveTo>
                  <a:lnTo>
                    <a:pt x="2083829" y="4586635"/>
                  </a:lnTo>
                  <a:lnTo>
                    <a:pt x="2353542" y="4855649"/>
                  </a:lnTo>
                  <a:lnTo>
                    <a:pt x="2616967" y="4855649"/>
                  </a:lnTo>
                  <a:lnTo>
                    <a:pt x="2347952" y="4586635"/>
                  </a:lnTo>
                  <a:lnTo>
                    <a:pt x="2348651" y="4585936"/>
                  </a:lnTo>
                  <a:lnTo>
                    <a:pt x="2347254" y="4584538"/>
                  </a:lnTo>
                  <a:lnTo>
                    <a:pt x="2615569" y="4315524"/>
                  </a:lnTo>
                  <a:close/>
                  <a:moveTo>
                    <a:pt x="1256521" y="4315524"/>
                  </a:moveTo>
                  <a:lnTo>
                    <a:pt x="986109" y="4586635"/>
                  </a:lnTo>
                  <a:lnTo>
                    <a:pt x="1257220" y="4857047"/>
                  </a:lnTo>
                  <a:lnTo>
                    <a:pt x="1521344" y="4857047"/>
                  </a:lnTo>
                  <a:lnTo>
                    <a:pt x="1250233" y="4586635"/>
                  </a:lnTo>
                  <a:lnTo>
                    <a:pt x="1520645" y="4315524"/>
                  </a:lnTo>
                  <a:lnTo>
                    <a:pt x="1392775" y="4315524"/>
                  </a:lnTo>
                  <a:close/>
                  <a:moveTo>
                    <a:pt x="1805731" y="4314825"/>
                  </a:moveTo>
                  <a:lnTo>
                    <a:pt x="1625456" y="4495798"/>
                  </a:lnTo>
                  <a:lnTo>
                    <a:pt x="1624758" y="4495798"/>
                  </a:lnTo>
                  <a:lnTo>
                    <a:pt x="1534620" y="4585936"/>
                  </a:lnTo>
                  <a:lnTo>
                    <a:pt x="1805032" y="4857047"/>
                  </a:lnTo>
                  <a:lnTo>
                    <a:pt x="2069155" y="4857047"/>
                  </a:lnTo>
                  <a:lnTo>
                    <a:pt x="1798044" y="4586635"/>
                  </a:lnTo>
                  <a:lnTo>
                    <a:pt x="1982512" y="4402167"/>
                  </a:lnTo>
                  <a:lnTo>
                    <a:pt x="1983211" y="4402167"/>
                  </a:lnTo>
                  <a:lnTo>
                    <a:pt x="2069155" y="4315524"/>
                  </a:lnTo>
                  <a:lnTo>
                    <a:pt x="1810622" y="4315524"/>
                  </a:lnTo>
                  <a:close/>
                  <a:moveTo>
                    <a:pt x="3450563" y="4313427"/>
                  </a:moveTo>
                  <a:lnTo>
                    <a:pt x="3269589" y="4495099"/>
                  </a:lnTo>
                  <a:lnTo>
                    <a:pt x="3270986" y="4495798"/>
                  </a:lnTo>
                  <a:lnTo>
                    <a:pt x="3181548" y="4585237"/>
                  </a:lnTo>
                  <a:lnTo>
                    <a:pt x="3451960" y="4854950"/>
                  </a:lnTo>
                  <a:lnTo>
                    <a:pt x="3715384" y="4854950"/>
                  </a:lnTo>
                  <a:lnTo>
                    <a:pt x="3444972" y="4585237"/>
                  </a:lnTo>
                  <a:lnTo>
                    <a:pt x="3444274" y="4584538"/>
                  </a:lnTo>
                  <a:lnTo>
                    <a:pt x="3714686" y="4313427"/>
                  </a:lnTo>
                  <a:close/>
                  <a:moveTo>
                    <a:pt x="2904847" y="4313427"/>
                  </a:moveTo>
                  <a:lnTo>
                    <a:pt x="2908341" y="4314825"/>
                  </a:lnTo>
                  <a:lnTo>
                    <a:pt x="2902751" y="4314825"/>
                  </a:lnTo>
                  <a:lnTo>
                    <a:pt x="2633736" y="4585237"/>
                  </a:lnTo>
                  <a:lnTo>
                    <a:pt x="2903449" y="4854251"/>
                  </a:lnTo>
                  <a:lnTo>
                    <a:pt x="3168271" y="4855649"/>
                  </a:lnTo>
                  <a:lnTo>
                    <a:pt x="2897162" y="4585237"/>
                  </a:lnTo>
                  <a:lnTo>
                    <a:pt x="2895764" y="4583839"/>
                  </a:lnTo>
                  <a:lnTo>
                    <a:pt x="3164778" y="4314126"/>
                  </a:lnTo>
                  <a:lnTo>
                    <a:pt x="2967035" y="4314126"/>
                  </a:lnTo>
                  <a:lnTo>
                    <a:pt x="2967733" y="4313427"/>
                  </a:lnTo>
                  <a:close/>
                  <a:moveTo>
                    <a:pt x="3999073" y="4312728"/>
                  </a:moveTo>
                  <a:lnTo>
                    <a:pt x="3728660" y="4583839"/>
                  </a:lnTo>
                  <a:lnTo>
                    <a:pt x="3999771" y="4854251"/>
                  </a:lnTo>
                  <a:lnTo>
                    <a:pt x="4263197" y="4854251"/>
                  </a:lnTo>
                  <a:lnTo>
                    <a:pt x="4133230" y="4724286"/>
                  </a:lnTo>
                  <a:lnTo>
                    <a:pt x="3992783" y="4583839"/>
                  </a:lnTo>
                  <a:lnTo>
                    <a:pt x="4263197" y="4312728"/>
                  </a:lnTo>
                  <a:close/>
                  <a:moveTo>
                    <a:pt x="4547584" y="4312030"/>
                  </a:moveTo>
                  <a:lnTo>
                    <a:pt x="4277171" y="4583140"/>
                  </a:lnTo>
                  <a:lnTo>
                    <a:pt x="4548281" y="4853552"/>
                  </a:lnTo>
                  <a:lnTo>
                    <a:pt x="4812405" y="4853552"/>
                  </a:lnTo>
                  <a:lnTo>
                    <a:pt x="4541294" y="4583140"/>
                  </a:lnTo>
                  <a:lnTo>
                    <a:pt x="4811706" y="4312030"/>
                  </a:lnTo>
                  <a:close/>
                  <a:moveTo>
                    <a:pt x="717155" y="4044465"/>
                  </a:moveTo>
                  <a:lnTo>
                    <a:pt x="986808" y="4312728"/>
                  </a:lnTo>
                  <a:lnTo>
                    <a:pt x="716396" y="4583839"/>
                  </a:lnTo>
                  <a:lnTo>
                    <a:pt x="979821" y="4583839"/>
                  </a:lnTo>
                  <a:lnTo>
                    <a:pt x="1250233" y="4312728"/>
                  </a:lnTo>
                  <a:lnTo>
                    <a:pt x="1116075" y="4179269"/>
                  </a:lnTo>
                  <a:lnTo>
                    <a:pt x="1019702" y="4082896"/>
                  </a:lnTo>
                  <a:lnTo>
                    <a:pt x="1018761" y="4082896"/>
                  </a:lnTo>
                  <a:lnTo>
                    <a:pt x="980330" y="4044465"/>
                  </a:lnTo>
                  <a:close/>
                  <a:moveTo>
                    <a:pt x="168395" y="4044465"/>
                  </a:moveTo>
                  <a:lnTo>
                    <a:pt x="206127" y="4082197"/>
                  </a:lnTo>
                  <a:lnTo>
                    <a:pt x="205772" y="4082197"/>
                  </a:lnTo>
                  <a:lnTo>
                    <a:pt x="437599" y="4313427"/>
                  </a:lnTo>
                  <a:lnTo>
                    <a:pt x="167187" y="4583839"/>
                  </a:lnTo>
                  <a:lnTo>
                    <a:pt x="431311" y="4583839"/>
                  </a:lnTo>
                  <a:lnTo>
                    <a:pt x="701722" y="4312728"/>
                  </a:lnTo>
                  <a:lnTo>
                    <a:pt x="470596" y="4082197"/>
                  </a:lnTo>
                  <a:lnTo>
                    <a:pt x="470250" y="4082197"/>
                  </a:lnTo>
                  <a:lnTo>
                    <a:pt x="432518" y="4044465"/>
                  </a:lnTo>
                  <a:close/>
                  <a:moveTo>
                    <a:pt x="1816265" y="4043766"/>
                  </a:moveTo>
                  <a:lnTo>
                    <a:pt x="1942683" y="4170186"/>
                  </a:lnTo>
                  <a:lnTo>
                    <a:pt x="2083829" y="4310632"/>
                  </a:lnTo>
                  <a:lnTo>
                    <a:pt x="1813417" y="4581743"/>
                  </a:lnTo>
                  <a:lnTo>
                    <a:pt x="2076842" y="4581743"/>
                  </a:lnTo>
                  <a:lnTo>
                    <a:pt x="2347254" y="4311331"/>
                  </a:lnTo>
                  <a:lnTo>
                    <a:pt x="2214493" y="4178570"/>
                  </a:lnTo>
                  <a:lnTo>
                    <a:pt x="2214493" y="4177872"/>
                  </a:lnTo>
                  <a:lnTo>
                    <a:pt x="2119736" y="4083594"/>
                  </a:lnTo>
                  <a:lnTo>
                    <a:pt x="2116480" y="4083594"/>
                  </a:lnTo>
                  <a:lnTo>
                    <a:pt x="2076652" y="4043766"/>
                  </a:lnTo>
                  <a:close/>
                  <a:moveTo>
                    <a:pt x="1266369" y="4043766"/>
                  </a:moveTo>
                  <a:lnTo>
                    <a:pt x="1534620" y="4310632"/>
                  </a:lnTo>
                  <a:lnTo>
                    <a:pt x="1531824" y="4313427"/>
                  </a:lnTo>
                  <a:lnTo>
                    <a:pt x="1441688" y="4404264"/>
                  </a:lnTo>
                  <a:lnTo>
                    <a:pt x="1440989" y="4404264"/>
                  </a:lnTo>
                  <a:lnTo>
                    <a:pt x="1263509" y="4582442"/>
                  </a:lnTo>
                  <a:lnTo>
                    <a:pt x="1527632" y="4582442"/>
                  </a:lnTo>
                  <a:lnTo>
                    <a:pt x="1798044" y="4312030"/>
                  </a:lnTo>
                  <a:lnTo>
                    <a:pt x="1793153" y="4307139"/>
                  </a:lnTo>
                  <a:lnTo>
                    <a:pt x="1795249" y="4307838"/>
                  </a:lnTo>
                  <a:lnTo>
                    <a:pt x="1569718" y="4082896"/>
                  </a:lnTo>
                  <a:lnTo>
                    <a:pt x="1567271" y="4082896"/>
                  </a:lnTo>
                  <a:lnTo>
                    <a:pt x="1528141" y="4043766"/>
                  </a:lnTo>
                  <a:close/>
                  <a:moveTo>
                    <a:pt x="2363377" y="4043068"/>
                  </a:moveTo>
                  <a:lnTo>
                    <a:pt x="2630942" y="4310632"/>
                  </a:lnTo>
                  <a:lnTo>
                    <a:pt x="2632339" y="4312030"/>
                  </a:lnTo>
                  <a:lnTo>
                    <a:pt x="2363324" y="4581743"/>
                  </a:lnTo>
                  <a:lnTo>
                    <a:pt x="2625352" y="4581743"/>
                  </a:lnTo>
                  <a:lnTo>
                    <a:pt x="2895065" y="4311331"/>
                  </a:lnTo>
                  <a:lnTo>
                    <a:pt x="2890873" y="4307139"/>
                  </a:lnTo>
                  <a:lnTo>
                    <a:pt x="2892968" y="4307838"/>
                  </a:lnTo>
                  <a:lnTo>
                    <a:pt x="2668140" y="4083594"/>
                  </a:lnTo>
                  <a:lnTo>
                    <a:pt x="2666387" y="4083594"/>
                  </a:lnTo>
                  <a:lnTo>
                    <a:pt x="2625861" y="4043068"/>
                  </a:lnTo>
                  <a:close/>
                  <a:moveTo>
                    <a:pt x="2911879" y="4041670"/>
                  </a:moveTo>
                  <a:lnTo>
                    <a:pt x="3179452" y="4309934"/>
                  </a:lnTo>
                  <a:lnTo>
                    <a:pt x="3087218" y="4402866"/>
                  </a:lnTo>
                  <a:lnTo>
                    <a:pt x="3087917" y="4403565"/>
                  </a:lnTo>
                  <a:lnTo>
                    <a:pt x="2911834" y="4579647"/>
                  </a:lnTo>
                  <a:lnTo>
                    <a:pt x="3108180" y="4579647"/>
                  </a:lnTo>
                  <a:lnTo>
                    <a:pt x="3107481" y="4581045"/>
                  </a:lnTo>
                  <a:lnTo>
                    <a:pt x="3173163" y="4581045"/>
                  </a:lnTo>
                  <a:lnTo>
                    <a:pt x="3443575" y="4309934"/>
                  </a:lnTo>
                  <a:lnTo>
                    <a:pt x="3215951" y="4082896"/>
                  </a:lnTo>
                  <a:lnTo>
                    <a:pt x="3215596" y="4082896"/>
                  </a:lnTo>
                  <a:lnTo>
                    <a:pt x="3174371" y="4041670"/>
                  </a:lnTo>
                  <a:close/>
                  <a:moveTo>
                    <a:pt x="3459004" y="4040971"/>
                  </a:moveTo>
                  <a:lnTo>
                    <a:pt x="3728660" y="4309934"/>
                  </a:lnTo>
                  <a:lnTo>
                    <a:pt x="3458248" y="4580346"/>
                  </a:lnTo>
                  <a:lnTo>
                    <a:pt x="3722372" y="4580346"/>
                  </a:lnTo>
                  <a:lnTo>
                    <a:pt x="3992783" y="4309934"/>
                  </a:lnTo>
                  <a:lnTo>
                    <a:pt x="3765160" y="4082896"/>
                  </a:lnTo>
                  <a:lnTo>
                    <a:pt x="3764107" y="4082896"/>
                  </a:lnTo>
                  <a:lnTo>
                    <a:pt x="3722183" y="4040971"/>
                  </a:lnTo>
                  <a:close/>
                  <a:moveTo>
                    <a:pt x="4007520" y="4040272"/>
                  </a:moveTo>
                  <a:lnTo>
                    <a:pt x="4277869" y="4308536"/>
                  </a:lnTo>
                  <a:lnTo>
                    <a:pt x="4007457" y="4579647"/>
                  </a:lnTo>
                  <a:lnTo>
                    <a:pt x="4270882" y="4579647"/>
                  </a:lnTo>
                  <a:lnTo>
                    <a:pt x="4541294" y="4308536"/>
                  </a:lnTo>
                  <a:lnTo>
                    <a:pt x="4407136" y="4175077"/>
                  </a:lnTo>
                  <a:lnTo>
                    <a:pt x="4314482" y="4082896"/>
                  </a:lnTo>
                  <a:lnTo>
                    <a:pt x="4313316" y="4082896"/>
                  </a:lnTo>
                  <a:lnTo>
                    <a:pt x="4270692" y="4040272"/>
                  </a:lnTo>
                  <a:close/>
                  <a:moveTo>
                    <a:pt x="2354051" y="3769161"/>
                  </a:moveTo>
                  <a:lnTo>
                    <a:pt x="2084461" y="4039450"/>
                  </a:lnTo>
                  <a:lnTo>
                    <a:pt x="2353542" y="4307838"/>
                  </a:lnTo>
                  <a:lnTo>
                    <a:pt x="2616967" y="4307838"/>
                  </a:lnTo>
                  <a:lnTo>
                    <a:pt x="2392140" y="4083594"/>
                  </a:lnTo>
                  <a:lnTo>
                    <a:pt x="2391783" y="4083594"/>
                  </a:lnTo>
                  <a:lnTo>
                    <a:pt x="2347762" y="4039573"/>
                  </a:lnTo>
                  <a:lnTo>
                    <a:pt x="2347884" y="4039452"/>
                  </a:lnTo>
                  <a:lnTo>
                    <a:pt x="2347254" y="4038823"/>
                  </a:lnTo>
                  <a:lnTo>
                    <a:pt x="2347952" y="4038124"/>
                  </a:lnTo>
                  <a:lnTo>
                    <a:pt x="2346555" y="4036727"/>
                  </a:lnTo>
                  <a:lnTo>
                    <a:pt x="2521938" y="3860644"/>
                  </a:lnTo>
                  <a:lnTo>
                    <a:pt x="2526691" y="3860644"/>
                  </a:lnTo>
                  <a:lnTo>
                    <a:pt x="2532230" y="3855106"/>
                  </a:lnTo>
                  <a:lnTo>
                    <a:pt x="2618174" y="3769161"/>
                  </a:lnTo>
                  <a:close/>
                  <a:moveTo>
                    <a:pt x="1804842" y="3769161"/>
                  </a:moveTo>
                  <a:lnTo>
                    <a:pt x="1535948" y="4038751"/>
                  </a:lnTo>
                  <a:lnTo>
                    <a:pt x="1805731" y="4307838"/>
                  </a:lnTo>
                  <a:lnTo>
                    <a:pt x="2069155" y="4307838"/>
                  </a:lnTo>
                  <a:lnTo>
                    <a:pt x="1939190" y="4177872"/>
                  </a:lnTo>
                  <a:lnTo>
                    <a:pt x="1844912" y="4083594"/>
                  </a:lnTo>
                  <a:lnTo>
                    <a:pt x="1841875" y="4083594"/>
                  </a:lnTo>
                  <a:lnTo>
                    <a:pt x="1798553" y="4040272"/>
                  </a:lnTo>
                  <a:lnTo>
                    <a:pt x="1800069" y="4038752"/>
                  </a:lnTo>
                  <a:lnTo>
                    <a:pt x="1798743" y="4037426"/>
                  </a:lnTo>
                  <a:lnTo>
                    <a:pt x="1974825" y="3860644"/>
                  </a:lnTo>
                  <a:lnTo>
                    <a:pt x="1977718" y="3860644"/>
                  </a:lnTo>
                  <a:lnTo>
                    <a:pt x="2068965" y="3769161"/>
                  </a:lnTo>
                  <a:close/>
                  <a:moveTo>
                    <a:pt x="1257031" y="3769161"/>
                  </a:moveTo>
                  <a:lnTo>
                    <a:pt x="987788" y="4039100"/>
                  </a:lnTo>
                  <a:lnTo>
                    <a:pt x="1257220" y="4307838"/>
                  </a:lnTo>
                  <a:lnTo>
                    <a:pt x="1519946" y="4307838"/>
                  </a:lnTo>
                  <a:lnTo>
                    <a:pt x="1294422" y="4082896"/>
                  </a:lnTo>
                  <a:lnTo>
                    <a:pt x="1293365" y="4082896"/>
                  </a:lnTo>
                  <a:lnTo>
                    <a:pt x="1250742" y="4040272"/>
                  </a:lnTo>
                  <a:lnTo>
                    <a:pt x="1251213" y="4039800"/>
                  </a:lnTo>
                  <a:lnTo>
                    <a:pt x="1249534" y="4038124"/>
                  </a:lnTo>
                  <a:lnTo>
                    <a:pt x="1250932" y="4036727"/>
                  </a:lnTo>
                  <a:lnTo>
                    <a:pt x="1426315" y="3860644"/>
                  </a:lnTo>
                  <a:lnTo>
                    <a:pt x="1429907" y="3860644"/>
                  </a:lnTo>
                  <a:lnTo>
                    <a:pt x="1521154" y="3769161"/>
                  </a:lnTo>
                  <a:close/>
                  <a:moveTo>
                    <a:pt x="709219" y="3769161"/>
                  </a:moveTo>
                  <a:lnTo>
                    <a:pt x="438807" y="4040272"/>
                  </a:lnTo>
                  <a:lnTo>
                    <a:pt x="480732" y="4082197"/>
                  </a:lnTo>
                  <a:lnTo>
                    <a:pt x="480499" y="4082197"/>
                  </a:lnTo>
                  <a:lnTo>
                    <a:pt x="708011" y="4308536"/>
                  </a:lnTo>
                  <a:lnTo>
                    <a:pt x="972135" y="4308536"/>
                  </a:lnTo>
                  <a:lnTo>
                    <a:pt x="745211" y="4082197"/>
                  </a:lnTo>
                  <a:lnTo>
                    <a:pt x="744855" y="4082197"/>
                  </a:lnTo>
                  <a:lnTo>
                    <a:pt x="702930" y="4040272"/>
                  </a:lnTo>
                  <a:lnTo>
                    <a:pt x="703053" y="4040149"/>
                  </a:lnTo>
                  <a:lnTo>
                    <a:pt x="701024" y="4038124"/>
                  </a:lnTo>
                  <a:lnTo>
                    <a:pt x="878504" y="3860644"/>
                  </a:lnTo>
                  <a:lnTo>
                    <a:pt x="882095" y="3860644"/>
                  </a:lnTo>
                  <a:lnTo>
                    <a:pt x="973342" y="3769161"/>
                  </a:lnTo>
                  <a:close/>
                  <a:moveTo>
                    <a:pt x="3451072" y="3767066"/>
                  </a:moveTo>
                  <a:lnTo>
                    <a:pt x="3181135" y="4037702"/>
                  </a:lnTo>
                  <a:lnTo>
                    <a:pt x="3312910" y="4168788"/>
                  </a:lnTo>
                  <a:lnTo>
                    <a:pt x="3312910" y="4169487"/>
                  </a:lnTo>
                  <a:lnTo>
                    <a:pt x="3450563" y="4306440"/>
                  </a:lnTo>
                  <a:lnTo>
                    <a:pt x="3714686" y="4306440"/>
                  </a:lnTo>
                  <a:lnTo>
                    <a:pt x="3490444" y="4082197"/>
                  </a:lnTo>
                  <a:lnTo>
                    <a:pt x="3489503" y="4082197"/>
                  </a:lnTo>
                  <a:lnTo>
                    <a:pt x="3444084" y="4036779"/>
                  </a:lnTo>
                  <a:lnTo>
                    <a:pt x="3444556" y="4036310"/>
                  </a:lnTo>
                  <a:lnTo>
                    <a:pt x="3444274" y="4036028"/>
                  </a:lnTo>
                  <a:lnTo>
                    <a:pt x="3618959" y="3860644"/>
                  </a:lnTo>
                  <a:lnTo>
                    <a:pt x="3621132" y="3860644"/>
                  </a:lnTo>
                  <a:lnTo>
                    <a:pt x="3715195" y="3767066"/>
                  </a:lnTo>
                  <a:close/>
                  <a:moveTo>
                    <a:pt x="3999582" y="3766367"/>
                  </a:moveTo>
                  <a:lnTo>
                    <a:pt x="3729642" y="4037004"/>
                  </a:lnTo>
                  <a:lnTo>
                    <a:pt x="3999073" y="4305741"/>
                  </a:lnTo>
                  <a:lnTo>
                    <a:pt x="4263197" y="4305741"/>
                  </a:lnTo>
                  <a:lnTo>
                    <a:pt x="4039076" y="4082197"/>
                  </a:lnTo>
                  <a:lnTo>
                    <a:pt x="4038711" y="4082197"/>
                  </a:lnTo>
                  <a:lnTo>
                    <a:pt x="3992595" y="4036080"/>
                  </a:lnTo>
                  <a:lnTo>
                    <a:pt x="3992717" y="4035958"/>
                  </a:lnTo>
                  <a:lnTo>
                    <a:pt x="3992086" y="4035329"/>
                  </a:lnTo>
                  <a:lnTo>
                    <a:pt x="4166770" y="3860644"/>
                  </a:lnTo>
                  <a:lnTo>
                    <a:pt x="4168939" y="3860644"/>
                  </a:lnTo>
                  <a:lnTo>
                    <a:pt x="4263706" y="3766367"/>
                  </a:lnTo>
                  <a:close/>
                  <a:moveTo>
                    <a:pt x="4547394" y="3765668"/>
                  </a:moveTo>
                  <a:lnTo>
                    <a:pt x="4277804" y="4035954"/>
                  </a:lnTo>
                  <a:lnTo>
                    <a:pt x="4410630" y="4168089"/>
                  </a:lnTo>
                  <a:lnTo>
                    <a:pt x="4547584" y="4305042"/>
                  </a:lnTo>
                  <a:lnTo>
                    <a:pt x="4811706" y="4305042"/>
                  </a:lnTo>
                  <a:lnTo>
                    <a:pt x="4588162" y="4081498"/>
                  </a:lnTo>
                  <a:lnTo>
                    <a:pt x="4587920" y="4081498"/>
                  </a:lnTo>
                  <a:lnTo>
                    <a:pt x="4541105" y="4035381"/>
                  </a:lnTo>
                  <a:lnTo>
                    <a:pt x="4541576" y="4034912"/>
                  </a:lnTo>
                  <a:lnTo>
                    <a:pt x="4541294" y="4034630"/>
                  </a:lnTo>
                  <a:lnTo>
                    <a:pt x="4542692" y="4033233"/>
                  </a:lnTo>
                  <a:lnTo>
                    <a:pt x="4714582" y="3860644"/>
                  </a:lnTo>
                  <a:lnTo>
                    <a:pt x="4716295" y="3860644"/>
                  </a:lnTo>
                  <a:lnTo>
                    <a:pt x="4811517" y="3765668"/>
                  </a:lnTo>
                  <a:close/>
                  <a:moveTo>
                    <a:pt x="1264018" y="3493858"/>
                  </a:moveTo>
                  <a:lnTo>
                    <a:pt x="1535828" y="3763572"/>
                  </a:lnTo>
                  <a:lnTo>
                    <a:pt x="1266165" y="4033931"/>
                  </a:lnTo>
                  <a:lnTo>
                    <a:pt x="1527632" y="4033931"/>
                  </a:lnTo>
                  <a:lnTo>
                    <a:pt x="1700221" y="3860644"/>
                  </a:lnTo>
                  <a:lnTo>
                    <a:pt x="1702878" y="3860644"/>
                  </a:lnTo>
                  <a:lnTo>
                    <a:pt x="1799252" y="3764270"/>
                  </a:lnTo>
                  <a:lnTo>
                    <a:pt x="1665094" y="3630811"/>
                  </a:lnTo>
                  <a:lnTo>
                    <a:pt x="1528141" y="3493858"/>
                  </a:lnTo>
                  <a:close/>
                  <a:moveTo>
                    <a:pt x="715508" y="3493858"/>
                  </a:moveTo>
                  <a:lnTo>
                    <a:pt x="986618" y="3764270"/>
                  </a:lnTo>
                  <a:lnTo>
                    <a:pt x="716955" y="4034630"/>
                  </a:lnTo>
                  <a:lnTo>
                    <a:pt x="979122" y="4034630"/>
                  </a:lnTo>
                  <a:lnTo>
                    <a:pt x="1067862" y="3945192"/>
                  </a:lnTo>
                  <a:lnTo>
                    <a:pt x="1152410" y="3860644"/>
                  </a:lnTo>
                  <a:lnTo>
                    <a:pt x="1154616" y="3860644"/>
                  </a:lnTo>
                  <a:lnTo>
                    <a:pt x="1250742" y="3764270"/>
                  </a:lnTo>
                  <a:lnTo>
                    <a:pt x="979631" y="3493858"/>
                  </a:lnTo>
                  <a:close/>
                  <a:moveTo>
                    <a:pt x="165601" y="3493858"/>
                  </a:moveTo>
                  <a:lnTo>
                    <a:pt x="436711" y="3764270"/>
                  </a:lnTo>
                  <a:lnTo>
                    <a:pt x="438108" y="3764969"/>
                  </a:lnTo>
                  <a:lnTo>
                    <a:pt x="169094" y="4034682"/>
                  </a:lnTo>
                  <a:lnTo>
                    <a:pt x="365440" y="4034682"/>
                  </a:lnTo>
                  <a:lnTo>
                    <a:pt x="365116" y="4035329"/>
                  </a:lnTo>
                  <a:lnTo>
                    <a:pt x="430612" y="4035329"/>
                  </a:lnTo>
                  <a:lnTo>
                    <a:pt x="604598" y="3860644"/>
                  </a:lnTo>
                  <a:lnTo>
                    <a:pt x="606802" y="3860644"/>
                  </a:lnTo>
                  <a:lnTo>
                    <a:pt x="701533" y="3765668"/>
                  </a:lnTo>
                  <a:lnTo>
                    <a:pt x="430423" y="3495256"/>
                  </a:lnTo>
                  <a:lnTo>
                    <a:pt x="362644" y="3493858"/>
                  </a:lnTo>
                  <a:close/>
                  <a:moveTo>
                    <a:pt x="2361039" y="3493160"/>
                  </a:moveTo>
                  <a:lnTo>
                    <a:pt x="2631451" y="3762174"/>
                  </a:lnTo>
                  <a:lnTo>
                    <a:pt x="2628655" y="3764969"/>
                  </a:lnTo>
                  <a:lnTo>
                    <a:pt x="2538519" y="3855806"/>
                  </a:lnTo>
                  <a:lnTo>
                    <a:pt x="2361789" y="4032535"/>
                  </a:lnTo>
                  <a:lnTo>
                    <a:pt x="2624653" y="4032535"/>
                  </a:lnTo>
                  <a:lnTo>
                    <a:pt x="2795844" y="3860644"/>
                  </a:lnTo>
                  <a:lnTo>
                    <a:pt x="2797802" y="3860644"/>
                  </a:lnTo>
                  <a:lnTo>
                    <a:pt x="2895574" y="3762873"/>
                  </a:lnTo>
                  <a:lnTo>
                    <a:pt x="2625162" y="3493160"/>
                  </a:lnTo>
                  <a:close/>
                  <a:moveTo>
                    <a:pt x="1812528" y="3493160"/>
                  </a:moveTo>
                  <a:lnTo>
                    <a:pt x="1813926" y="3494557"/>
                  </a:lnTo>
                  <a:lnTo>
                    <a:pt x="2083639" y="3763572"/>
                  </a:lnTo>
                  <a:lnTo>
                    <a:pt x="1814673" y="4033233"/>
                  </a:lnTo>
                  <a:lnTo>
                    <a:pt x="2076143" y="4033233"/>
                  </a:lnTo>
                  <a:lnTo>
                    <a:pt x="2248033" y="3860644"/>
                  </a:lnTo>
                  <a:lnTo>
                    <a:pt x="2250940" y="3860644"/>
                  </a:lnTo>
                  <a:lnTo>
                    <a:pt x="2347762" y="3763572"/>
                  </a:lnTo>
                  <a:lnTo>
                    <a:pt x="2342173" y="3758681"/>
                  </a:lnTo>
                  <a:lnTo>
                    <a:pt x="2076652" y="3493160"/>
                  </a:lnTo>
                  <a:close/>
                  <a:moveTo>
                    <a:pt x="4005871" y="3491064"/>
                  </a:moveTo>
                  <a:lnTo>
                    <a:pt x="4277680" y="3760776"/>
                  </a:lnTo>
                  <a:lnTo>
                    <a:pt x="4008016" y="4031137"/>
                  </a:lnTo>
                  <a:lnTo>
                    <a:pt x="4270183" y="4031137"/>
                  </a:lnTo>
                  <a:lnTo>
                    <a:pt x="4359622" y="3941698"/>
                  </a:lnTo>
                  <a:lnTo>
                    <a:pt x="4440676" y="3860644"/>
                  </a:lnTo>
                  <a:lnTo>
                    <a:pt x="4441937" y="3860644"/>
                  </a:lnTo>
                  <a:lnTo>
                    <a:pt x="4541105" y="3761476"/>
                  </a:lnTo>
                  <a:lnTo>
                    <a:pt x="4406947" y="3628017"/>
                  </a:lnTo>
                  <a:lnTo>
                    <a:pt x="4269994" y="3491064"/>
                  </a:lnTo>
                  <a:close/>
                  <a:moveTo>
                    <a:pt x="3721484" y="3490365"/>
                  </a:moveTo>
                  <a:lnTo>
                    <a:pt x="3457360" y="3491064"/>
                  </a:lnTo>
                  <a:lnTo>
                    <a:pt x="3728471" y="3761476"/>
                  </a:lnTo>
                  <a:lnTo>
                    <a:pt x="3458808" y="4031836"/>
                  </a:lnTo>
                  <a:lnTo>
                    <a:pt x="3721674" y="4031836"/>
                  </a:lnTo>
                  <a:lnTo>
                    <a:pt x="3892166" y="3859946"/>
                  </a:lnTo>
                  <a:lnTo>
                    <a:pt x="3893935" y="3859946"/>
                  </a:lnTo>
                  <a:lnTo>
                    <a:pt x="3992595" y="3760776"/>
                  </a:lnTo>
                  <a:close/>
                  <a:moveTo>
                    <a:pt x="707821" y="3220651"/>
                  </a:moveTo>
                  <a:lnTo>
                    <a:pt x="437409" y="3491762"/>
                  </a:lnTo>
                  <a:lnTo>
                    <a:pt x="570170" y="3623824"/>
                  </a:lnTo>
                  <a:lnTo>
                    <a:pt x="708520" y="3761476"/>
                  </a:lnTo>
                  <a:lnTo>
                    <a:pt x="972643" y="3761476"/>
                  </a:lnTo>
                  <a:lnTo>
                    <a:pt x="701533" y="3491064"/>
                  </a:lnTo>
                  <a:lnTo>
                    <a:pt x="971945" y="3220651"/>
                  </a:lnTo>
                  <a:close/>
                  <a:moveTo>
                    <a:pt x="1256332" y="3219953"/>
                  </a:moveTo>
                  <a:lnTo>
                    <a:pt x="985920" y="3491064"/>
                  </a:lnTo>
                  <a:lnTo>
                    <a:pt x="1257031" y="3761476"/>
                  </a:lnTo>
                  <a:lnTo>
                    <a:pt x="1521154" y="3760776"/>
                  </a:lnTo>
                  <a:lnTo>
                    <a:pt x="1250043" y="3490365"/>
                  </a:lnTo>
                  <a:lnTo>
                    <a:pt x="1434510" y="3305898"/>
                  </a:lnTo>
                  <a:lnTo>
                    <a:pt x="1520455" y="3219953"/>
                  </a:lnTo>
                  <a:close/>
                  <a:moveTo>
                    <a:pt x="1804143" y="3219255"/>
                  </a:moveTo>
                  <a:lnTo>
                    <a:pt x="1623869" y="3400228"/>
                  </a:lnTo>
                  <a:lnTo>
                    <a:pt x="1534430" y="3490365"/>
                  </a:lnTo>
                  <a:lnTo>
                    <a:pt x="1668588" y="3623824"/>
                  </a:lnTo>
                  <a:lnTo>
                    <a:pt x="1805541" y="3760776"/>
                  </a:lnTo>
                  <a:lnTo>
                    <a:pt x="2069664" y="3760078"/>
                  </a:lnTo>
                  <a:lnTo>
                    <a:pt x="1798553" y="3489666"/>
                  </a:lnTo>
                  <a:lnTo>
                    <a:pt x="1799951" y="3488269"/>
                  </a:lnTo>
                  <a:lnTo>
                    <a:pt x="2068266" y="3219255"/>
                  </a:lnTo>
                  <a:close/>
                  <a:moveTo>
                    <a:pt x="2353352" y="3218555"/>
                  </a:moveTo>
                  <a:lnTo>
                    <a:pt x="2082940" y="3489666"/>
                  </a:lnTo>
                  <a:lnTo>
                    <a:pt x="2354051" y="3760078"/>
                  </a:lnTo>
                  <a:lnTo>
                    <a:pt x="2618174" y="3760078"/>
                  </a:lnTo>
                  <a:lnTo>
                    <a:pt x="2347064" y="3489666"/>
                  </a:lnTo>
                  <a:lnTo>
                    <a:pt x="2617476" y="3218555"/>
                  </a:lnTo>
                  <a:close/>
                  <a:moveTo>
                    <a:pt x="3449674" y="3217158"/>
                  </a:moveTo>
                  <a:lnTo>
                    <a:pt x="3179262" y="3488269"/>
                  </a:lnTo>
                  <a:lnTo>
                    <a:pt x="3450373" y="3758681"/>
                  </a:lnTo>
                  <a:lnTo>
                    <a:pt x="3714496" y="3758681"/>
                  </a:lnTo>
                  <a:lnTo>
                    <a:pt x="3443385" y="3488269"/>
                  </a:lnTo>
                  <a:lnTo>
                    <a:pt x="3713797" y="3217158"/>
                  </a:lnTo>
                  <a:close/>
                  <a:moveTo>
                    <a:pt x="3998184" y="3216459"/>
                  </a:moveTo>
                  <a:lnTo>
                    <a:pt x="3727772" y="3487570"/>
                  </a:lnTo>
                  <a:lnTo>
                    <a:pt x="3998883" y="3757982"/>
                  </a:lnTo>
                  <a:lnTo>
                    <a:pt x="4263007" y="3757283"/>
                  </a:lnTo>
                  <a:lnTo>
                    <a:pt x="3991896" y="3486871"/>
                  </a:lnTo>
                  <a:lnTo>
                    <a:pt x="4176362" y="3302404"/>
                  </a:lnTo>
                  <a:lnTo>
                    <a:pt x="4177062" y="3302404"/>
                  </a:lnTo>
                  <a:lnTo>
                    <a:pt x="4262308" y="3216459"/>
                  </a:lnTo>
                  <a:close/>
                  <a:moveTo>
                    <a:pt x="4546695" y="3215760"/>
                  </a:moveTo>
                  <a:lnTo>
                    <a:pt x="4366420" y="3396734"/>
                  </a:lnTo>
                  <a:lnTo>
                    <a:pt x="4365722" y="3396734"/>
                  </a:lnTo>
                  <a:lnTo>
                    <a:pt x="4276282" y="3486871"/>
                  </a:lnTo>
                  <a:lnTo>
                    <a:pt x="4410440" y="3620330"/>
                  </a:lnTo>
                  <a:lnTo>
                    <a:pt x="4547394" y="3757283"/>
                  </a:lnTo>
                  <a:lnTo>
                    <a:pt x="4811517" y="3757283"/>
                  </a:lnTo>
                  <a:lnTo>
                    <a:pt x="4540406" y="3486871"/>
                  </a:lnTo>
                  <a:lnTo>
                    <a:pt x="4542503" y="3485473"/>
                  </a:lnTo>
                  <a:lnTo>
                    <a:pt x="4810119" y="3215760"/>
                  </a:lnTo>
                  <a:close/>
                  <a:moveTo>
                    <a:pt x="1263319" y="2946047"/>
                  </a:moveTo>
                  <a:lnTo>
                    <a:pt x="1534430" y="3215760"/>
                  </a:lnTo>
                  <a:lnTo>
                    <a:pt x="1531636" y="3218555"/>
                  </a:lnTo>
                  <a:lnTo>
                    <a:pt x="1441498" y="3309391"/>
                  </a:lnTo>
                  <a:lnTo>
                    <a:pt x="1264018" y="3486871"/>
                  </a:lnTo>
                  <a:lnTo>
                    <a:pt x="1528141" y="3486871"/>
                  </a:lnTo>
                  <a:lnTo>
                    <a:pt x="1617580" y="3397432"/>
                  </a:lnTo>
                  <a:lnTo>
                    <a:pt x="1798553" y="3216459"/>
                  </a:lnTo>
                  <a:lnTo>
                    <a:pt x="1527442" y="2946047"/>
                  </a:lnTo>
                  <a:close/>
                  <a:moveTo>
                    <a:pt x="714809" y="2946047"/>
                  </a:moveTo>
                  <a:lnTo>
                    <a:pt x="843377" y="3074615"/>
                  </a:lnTo>
                  <a:lnTo>
                    <a:pt x="985221" y="3216459"/>
                  </a:lnTo>
                  <a:lnTo>
                    <a:pt x="714809" y="3487570"/>
                  </a:lnTo>
                  <a:lnTo>
                    <a:pt x="978932" y="3487570"/>
                  </a:lnTo>
                  <a:lnTo>
                    <a:pt x="1249344" y="3216459"/>
                  </a:lnTo>
                  <a:lnTo>
                    <a:pt x="1244453" y="3211568"/>
                  </a:lnTo>
                  <a:lnTo>
                    <a:pt x="978932" y="2946047"/>
                  </a:lnTo>
                  <a:close/>
                  <a:moveTo>
                    <a:pt x="164902" y="2946047"/>
                  </a:moveTo>
                  <a:lnTo>
                    <a:pt x="436013" y="3215760"/>
                  </a:lnTo>
                  <a:lnTo>
                    <a:pt x="433217" y="3218555"/>
                  </a:lnTo>
                  <a:lnTo>
                    <a:pt x="343079" y="3309391"/>
                  </a:lnTo>
                  <a:lnTo>
                    <a:pt x="165601" y="3486871"/>
                  </a:lnTo>
                  <a:lnTo>
                    <a:pt x="429724" y="3486871"/>
                  </a:lnTo>
                  <a:lnTo>
                    <a:pt x="519162" y="3397432"/>
                  </a:lnTo>
                  <a:lnTo>
                    <a:pt x="700136" y="3216459"/>
                  </a:lnTo>
                  <a:lnTo>
                    <a:pt x="429025" y="2946047"/>
                  </a:lnTo>
                  <a:close/>
                  <a:moveTo>
                    <a:pt x="2908151" y="2945348"/>
                  </a:moveTo>
                  <a:lnTo>
                    <a:pt x="3179262" y="3215760"/>
                  </a:lnTo>
                  <a:lnTo>
                    <a:pt x="2908850" y="3486871"/>
                  </a:lnTo>
                  <a:lnTo>
                    <a:pt x="3107292" y="3486871"/>
                  </a:lnTo>
                  <a:lnTo>
                    <a:pt x="3103798" y="3493858"/>
                  </a:lnTo>
                  <a:lnTo>
                    <a:pt x="2908850" y="3493858"/>
                  </a:lnTo>
                  <a:lnTo>
                    <a:pt x="3038815" y="3623824"/>
                  </a:lnTo>
                  <a:lnTo>
                    <a:pt x="3035322" y="3630811"/>
                  </a:lnTo>
                  <a:lnTo>
                    <a:pt x="2894875" y="3490365"/>
                  </a:lnTo>
                  <a:lnTo>
                    <a:pt x="3165287" y="3219255"/>
                  </a:lnTo>
                  <a:lnTo>
                    <a:pt x="2901164" y="3219255"/>
                  </a:lnTo>
                  <a:lnTo>
                    <a:pt x="2630752" y="3490365"/>
                  </a:lnTo>
                  <a:lnTo>
                    <a:pt x="2901863" y="3760776"/>
                  </a:lnTo>
                  <a:lnTo>
                    <a:pt x="2970339" y="3760776"/>
                  </a:lnTo>
                  <a:lnTo>
                    <a:pt x="2966846" y="3767764"/>
                  </a:lnTo>
                  <a:lnTo>
                    <a:pt x="2901863" y="3767764"/>
                  </a:lnTo>
                  <a:lnTo>
                    <a:pt x="2721588" y="3948738"/>
                  </a:lnTo>
                  <a:lnTo>
                    <a:pt x="2633317" y="4037700"/>
                  </a:lnTo>
                  <a:lnTo>
                    <a:pt x="2902751" y="4306440"/>
                  </a:lnTo>
                  <a:lnTo>
                    <a:pt x="3165477" y="4306440"/>
                  </a:lnTo>
                  <a:lnTo>
                    <a:pt x="3036210" y="4177174"/>
                  </a:lnTo>
                  <a:lnTo>
                    <a:pt x="3036909" y="4176475"/>
                  </a:lnTo>
                  <a:lnTo>
                    <a:pt x="2942163" y="4082197"/>
                  </a:lnTo>
                  <a:lnTo>
                    <a:pt x="2940992" y="4082197"/>
                  </a:lnTo>
                  <a:lnTo>
                    <a:pt x="2896273" y="4037478"/>
                  </a:lnTo>
                  <a:lnTo>
                    <a:pt x="2896745" y="4037005"/>
                  </a:lnTo>
                  <a:lnTo>
                    <a:pt x="2895764" y="4036028"/>
                  </a:lnTo>
                  <a:lnTo>
                    <a:pt x="3070448" y="3860644"/>
                  </a:lnTo>
                  <a:lnTo>
                    <a:pt x="3072651" y="3860644"/>
                  </a:lnTo>
                  <a:lnTo>
                    <a:pt x="3165986" y="3767066"/>
                  </a:lnTo>
                  <a:lnTo>
                    <a:pt x="2967543" y="3767066"/>
                  </a:lnTo>
                  <a:lnTo>
                    <a:pt x="2971038" y="3760078"/>
                  </a:lnTo>
                  <a:lnTo>
                    <a:pt x="3165986" y="3760078"/>
                  </a:lnTo>
                  <a:lnTo>
                    <a:pt x="3036021" y="3630113"/>
                  </a:lnTo>
                  <a:lnTo>
                    <a:pt x="3039514" y="3623126"/>
                  </a:lnTo>
                  <a:lnTo>
                    <a:pt x="3179961" y="3763572"/>
                  </a:lnTo>
                  <a:lnTo>
                    <a:pt x="2912388" y="4031836"/>
                  </a:lnTo>
                  <a:lnTo>
                    <a:pt x="3173163" y="4031836"/>
                  </a:lnTo>
                  <a:lnTo>
                    <a:pt x="3262601" y="3942397"/>
                  </a:lnTo>
                  <a:lnTo>
                    <a:pt x="3344354" y="3860644"/>
                  </a:lnTo>
                  <a:lnTo>
                    <a:pt x="3347262" y="3860644"/>
                  </a:lnTo>
                  <a:lnTo>
                    <a:pt x="3444084" y="3763572"/>
                  </a:lnTo>
                  <a:lnTo>
                    <a:pt x="3172973" y="3493858"/>
                  </a:lnTo>
                  <a:lnTo>
                    <a:pt x="3104497" y="3493858"/>
                  </a:lnTo>
                  <a:lnTo>
                    <a:pt x="3107990" y="3486871"/>
                  </a:lnTo>
                  <a:lnTo>
                    <a:pt x="3172973" y="3486871"/>
                  </a:lnTo>
                  <a:lnTo>
                    <a:pt x="3443385" y="3215760"/>
                  </a:lnTo>
                  <a:lnTo>
                    <a:pt x="3309227" y="3082301"/>
                  </a:lnTo>
                  <a:lnTo>
                    <a:pt x="3172275" y="2945348"/>
                  </a:lnTo>
                  <a:close/>
                  <a:moveTo>
                    <a:pt x="1811829" y="2944649"/>
                  </a:moveTo>
                  <a:lnTo>
                    <a:pt x="1941795" y="3074615"/>
                  </a:lnTo>
                  <a:lnTo>
                    <a:pt x="2082940" y="3215061"/>
                  </a:lnTo>
                  <a:lnTo>
                    <a:pt x="1812528" y="3486172"/>
                  </a:lnTo>
                  <a:lnTo>
                    <a:pt x="2076652" y="3486172"/>
                  </a:lnTo>
                  <a:lnTo>
                    <a:pt x="2347064" y="3215061"/>
                  </a:lnTo>
                  <a:lnTo>
                    <a:pt x="2075953" y="2944649"/>
                  </a:lnTo>
                  <a:close/>
                  <a:moveTo>
                    <a:pt x="2360340" y="2943952"/>
                  </a:moveTo>
                  <a:lnTo>
                    <a:pt x="2631451" y="3214364"/>
                  </a:lnTo>
                  <a:lnTo>
                    <a:pt x="2361039" y="3485473"/>
                  </a:lnTo>
                  <a:lnTo>
                    <a:pt x="2625162" y="3485473"/>
                  </a:lnTo>
                  <a:lnTo>
                    <a:pt x="2895574" y="3214364"/>
                  </a:lnTo>
                  <a:lnTo>
                    <a:pt x="2624463" y="2943952"/>
                  </a:lnTo>
                  <a:close/>
                  <a:moveTo>
                    <a:pt x="4005871" y="2943253"/>
                  </a:moveTo>
                  <a:lnTo>
                    <a:pt x="4275584" y="3212267"/>
                  </a:lnTo>
                  <a:lnTo>
                    <a:pt x="4272789" y="3215061"/>
                  </a:lnTo>
                  <a:lnTo>
                    <a:pt x="4182652" y="3305898"/>
                  </a:lnTo>
                  <a:lnTo>
                    <a:pt x="4181952" y="3305898"/>
                  </a:lnTo>
                  <a:lnTo>
                    <a:pt x="4005172" y="3483378"/>
                  </a:lnTo>
                  <a:lnTo>
                    <a:pt x="4269295" y="3483378"/>
                  </a:lnTo>
                  <a:lnTo>
                    <a:pt x="4358734" y="3393939"/>
                  </a:lnTo>
                  <a:lnTo>
                    <a:pt x="4359432" y="3393939"/>
                  </a:lnTo>
                  <a:lnTo>
                    <a:pt x="4541105" y="3213665"/>
                  </a:lnTo>
                  <a:lnTo>
                    <a:pt x="4269994" y="2943253"/>
                  </a:lnTo>
                  <a:close/>
                  <a:moveTo>
                    <a:pt x="3457360" y="2943253"/>
                  </a:moveTo>
                  <a:lnTo>
                    <a:pt x="3458059" y="2943952"/>
                  </a:lnTo>
                  <a:lnTo>
                    <a:pt x="3458758" y="2943952"/>
                  </a:lnTo>
                  <a:lnTo>
                    <a:pt x="3727772" y="3212966"/>
                  </a:lnTo>
                  <a:lnTo>
                    <a:pt x="3457360" y="3484077"/>
                  </a:lnTo>
                  <a:lnTo>
                    <a:pt x="3721484" y="3484077"/>
                  </a:lnTo>
                  <a:lnTo>
                    <a:pt x="3991896" y="3213665"/>
                  </a:lnTo>
                  <a:lnTo>
                    <a:pt x="3987005" y="3208074"/>
                  </a:lnTo>
                  <a:lnTo>
                    <a:pt x="3721484" y="2943253"/>
                  </a:lnTo>
                  <a:close/>
                  <a:moveTo>
                    <a:pt x="1255633" y="2671443"/>
                  </a:moveTo>
                  <a:lnTo>
                    <a:pt x="985221" y="2942554"/>
                  </a:lnTo>
                  <a:lnTo>
                    <a:pt x="1256332" y="3212966"/>
                  </a:lnTo>
                  <a:lnTo>
                    <a:pt x="1520455" y="3212966"/>
                  </a:lnTo>
                  <a:lnTo>
                    <a:pt x="1249344" y="2942554"/>
                  </a:lnTo>
                  <a:lnTo>
                    <a:pt x="1519757" y="2671443"/>
                  </a:lnTo>
                  <a:close/>
                  <a:moveTo>
                    <a:pt x="1804143" y="2670744"/>
                  </a:moveTo>
                  <a:lnTo>
                    <a:pt x="1533731" y="2941855"/>
                  </a:lnTo>
                  <a:lnTo>
                    <a:pt x="1805541" y="3212267"/>
                  </a:lnTo>
                  <a:lnTo>
                    <a:pt x="2068965" y="3212267"/>
                  </a:lnTo>
                  <a:lnTo>
                    <a:pt x="1938301" y="3082301"/>
                  </a:lnTo>
                  <a:lnTo>
                    <a:pt x="1797854" y="2941855"/>
                  </a:lnTo>
                  <a:lnTo>
                    <a:pt x="2068266" y="2670744"/>
                  </a:lnTo>
                  <a:close/>
                  <a:moveTo>
                    <a:pt x="705027" y="2670744"/>
                  </a:moveTo>
                  <a:lnTo>
                    <a:pt x="434615" y="2941855"/>
                  </a:lnTo>
                  <a:lnTo>
                    <a:pt x="705726" y="3212267"/>
                  </a:lnTo>
                  <a:lnTo>
                    <a:pt x="774202" y="3212267"/>
                  </a:lnTo>
                  <a:lnTo>
                    <a:pt x="773503" y="3213665"/>
                  </a:lnTo>
                  <a:lnTo>
                    <a:pt x="971247" y="3213665"/>
                  </a:lnTo>
                  <a:lnTo>
                    <a:pt x="839884" y="3082301"/>
                  </a:lnTo>
                  <a:lnTo>
                    <a:pt x="699437" y="2941855"/>
                  </a:lnTo>
                  <a:lnTo>
                    <a:pt x="968451" y="2672142"/>
                  </a:lnTo>
                  <a:lnTo>
                    <a:pt x="772105" y="2672142"/>
                  </a:lnTo>
                  <a:lnTo>
                    <a:pt x="772804" y="2670744"/>
                  </a:lnTo>
                  <a:close/>
                  <a:moveTo>
                    <a:pt x="2352653" y="2670045"/>
                  </a:moveTo>
                  <a:lnTo>
                    <a:pt x="2082241" y="2941156"/>
                  </a:lnTo>
                  <a:lnTo>
                    <a:pt x="2353352" y="3211568"/>
                  </a:lnTo>
                  <a:lnTo>
                    <a:pt x="2617476" y="3211568"/>
                  </a:lnTo>
                  <a:lnTo>
                    <a:pt x="2346365" y="2941156"/>
                  </a:lnTo>
                  <a:lnTo>
                    <a:pt x="2616777" y="2670045"/>
                  </a:lnTo>
                  <a:close/>
                  <a:moveTo>
                    <a:pt x="3998184" y="2667949"/>
                  </a:moveTo>
                  <a:lnTo>
                    <a:pt x="3727772" y="2939060"/>
                  </a:lnTo>
                  <a:lnTo>
                    <a:pt x="3998883" y="3209471"/>
                  </a:lnTo>
                  <a:lnTo>
                    <a:pt x="4263007" y="3209471"/>
                  </a:lnTo>
                  <a:lnTo>
                    <a:pt x="3991896" y="2939060"/>
                  </a:lnTo>
                  <a:lnTo>
                    <a:pt x="4262308" y="2667949"/>
                  </a:lnTo>
                  <a:close/>
                  <a:moveTo>
                    <a:pt x="4546695" y="2667250"/>
                  </a:moveTo>
                  <a:lnTo>
                    <a:pt x="4276282" y="2938360"/>
                  </a:lnTo>
                  <a:lnTo>
                    <a:pt x="4547394" y="3208772"/>
                  </a:lnTo>
                  <a:lnTo>
                    <a:pt x="4810818" y="3208772"/>
                  </a:lnTo>
                  <a:lnTo>
                    <a:pt x="4680852" y="3078808"/>
                  </a:lnTo>
                  <a:lnTo>
                    <a:pt x="4540406" y="2938360"/>
                  </a:lnTo>
                  <a:lnTo>
                    <a:pt x="4810818" y="2667250"/>
                  </a:lnTo>
                  <a:close/>
                  <a:moveTo>
                    <a:pt x="164203" y="2397537"/>
                  </a:moveTo>
                  <a:lnTo>
                    <a:pt x="435314" y="2667949"/>
                  </a:lnTo>
                  <a:lnTo>
                    <a:pt x="164902" y="2939060"/>
                  </a:lnTo>
                  <a:lnTo>
                    <a:pt x="429025" y="2939060"/>
                  </a:lnTo>
                  <a:lnTo>
                    <a:pt x="699437" y="2667949"/>
                  </a:lnTo>
                  <a:lnTo>
                    <a:pt x="428326" y="2397537"/>
                  </a:lnTo>
                  <a:close/>
                  <a:moveTo>
                    <a:pt x="1811131" y="2396838"/>
                  </a:moveTo>
                  <a:lnTo>
                    <a:pt x="2082940" y="2667250"/>
                  </a:lnTo>
                  <a:lnTo>
                    <a:pt x="1812528" y="2938360"/>
                  </a:lnTo>
                  <a:lnTo>
                    <a:pt x="2075953" y="2938360"/>
                  </a:lnTo>
                  <a:lnTo>
                    <a:pt x="2346365" y="2667250"/>
                  </a:lnTo>
                  <a:lnTo>
                    <a:pt x="2212208" y="2533791"/>
                  </a:lnTo>
                  <a:lnTo>
                    <a:pt x="2075254" y="2396838"/>
                  </a:lnTo>
                  <a:close/>
                  <a:moveTo>
                    <a:pt x="1262620" y="2396838"/>
                  </a:moveTo>
                  <a:lnTo>
                    <a:pt x="1533731" y="2667250"/>
                  </a:lnTo>
                  <a:lnTo>
                    <a:pt x="1263319" y="2938360"/>
                  </a:lnTo>
                  <a:lnTo>
                    <a:pt x="1527442" y="2938360"/>
                  </a:lnTo>
                  <a:lnTo>
                    <a:pt x="1797854" y="2667250"/>
                  </a:lnTo>
                  <a:lnTo>
                    <a:pt x="1526744" y="2396838"/>
                  </a:lnTo>
                  <a:close/>
                  <a:moveTo>
                    <a:pt x="2359641" y="2396139"/>
                  </a:moveTo>
                  <a:lnTo>
                    <a:pt x="2361039" y="2397537"/>
                  </a:lnTo>
                  <a:lnTo>
                    <a:pt x="2629354" y="2665853"/>
                  </a:lnTo>
                  <a:lnTo>
                    <a:pt x="2358942" y="2936964"/>
                  </a:lnTo>
                  <a:lnTo>
                    <a:pt x="2623065" y="2936964"/>
                  </a:lnTo>
                  <a:lnTo>
                    <a:pt x="2893477" y="2665853"/>
                  </a:lnTo>
                  <a:lnTo>
                    <a:pt x="2888586" y="2660962"/>
                  </a:lnTo>
                  <a:lnTo>
                    <a:pt x="2906055" y="2669346"/>
                  </a:lnTo>
                  <a:lnTo>
                    <a:pt x="2900465" y="2669346"/>
                  </a:lnTo>
                  <a:lnTo>
                    <a:pt x="2630053" y="2940457"/>
                  </a:lnTo>
                  <a:lnTo>
                    <a:pt x="2901164" y="3210869"/>
                  </a:lnTo>
                  <a:lnTo>
                    <a:pt x="3165287" y="3210869"/>
                  </a:lnTo>
                  <a:lnTo>
                    <a:pt x="2894875" y="2939758"/>
                  </a:lnTo>
                  <a:lnTo>
                    <a:pt x="3079343" y="2755292"/>
                  </a:lnTo>
                  <a:lnTo>
                    <a:pt x="3165287" y="2669346"/>
                  </a:lnTo>
                  <a:lnTo>
                    <a:pt x="2906754" y="2669346"/>
                  </a:lnTo>
                  <a:lnTo>
                    <a:pt x="2889285" y="2660962"/>
                  </a:lnTo>
                  <a:lnTo>
                    <a:pt x="2623764" y="2396139"/>
                  </a:lnTo>
                  <a:close/>
                  <a:moveTo>
                    <a:pt x="713412" y="2396139"/>
                  </a:moveTo>
                  <a:lnTo>
                    <a:pt x="844775" y="2527503"/>
                  </a:lnTo>
                  <a:lnTo>
                    <a:pt x="985221" y="2667949"/>
                  </a:lnTo>
                  <a:lnTo>
                    <a:pt x="716206" y="2937662"/>
                  </a:lnTo>
                  <a:lnTo>
                    <a:pt x="912552" y="2937662"/>
                  </a:lnTo>
                  <a:lnTo>
                    <a:pt x="911853" y="2939060"/>
                  </a:lnTo>
                  <a:lnTo>
                    <a:pt x="978932" y="2939060"/>
                  </a:lnTo>
                  <a:lnTo>
                    <a:pt x="1248646" y="2667949"/>
                  </a:lnTo>
                  <a:lnTo>
                    <a:pt x="1113090" y="2533092"/>
                  </a:lnTo>
                  <a:lnTo>
                    <a:pt x="1094923" y="2514926"/>
                  </a:lnTo>
                  <a:lnTo>
                    <a:pt x="977535" y="2398236"/>
                  </a:lnTo>
                  <a:lnTo>
                    <a:pt x="909058" y="2398236"/>
                  </a:lnTo>
                  <a:lnTo>
                    <a:pt x="909757" y="2396838"/>
                  </a:lnTo>
                  <a:close/>
                  <a:moveTo>
                    <a:pt x="2907452" y="2394742"/>
                  </a:moveTo>
                  <a:lnTo>
                    <a:pt x="3178563" y="2665154"/>
                  </a:lnTo>
                  <a:lnTo>
                    <a:pt x="3175769" y="2667949"/>
                  </a:lnTo>
                  <a:lnTo>
                    <a:pt x="3085631" y="2758785"/>
                  </a:lnTo>
                  <a:lnTo>
                    <a:pt x="2908151" y="2936265"/>
                  </a:lnTo>
                  <a:lnTo>
                    <a:pt x="3172275" y="2936265"/>
                  </a:lnTo>
                  <a:lnTo>
                    <a:pt x="3262412" y="2846826"/>
                  </a:lnTo>
                  <a:lnTo>
                    <a:pt x="3442687" y="2665154"/>
                  </a:lnTo>
                  <a:lnTo>
                    <a:pt x="3171576" y="2394742"/>
                  </a:lnTo>
                  <a:close/>
                  <a:moveTo>
                    <a:pt x="4004473" y="2394044"/>
                  </a:moveTo>
                  <a:lnTo>
                    <a:pt x="4275584" y="2663757"/>
                  </a:lnTo>
                  <a:lnTo>
                    <a:pt x="4005172" y="2934868"/>
                  </a:lnTo>
                  <a:lnTo>
                    <a:pt x="4269295" y="2934868"/>
                  </a:lnTo>
                  <a:lnTo>
                    <a:pt x="4539707" y="2664456"/>
                  </a:lnTo>
                  <a:lnTo>
                    <a:pt x="4268597" y="2394044"/>
                  </a:lnTo>
                  <a:close/>
                  <a:moveTo>
                    <a:pt x="1255633" y="2122933"/>
                  </a:moveTo>
                  <a:lnTo>
                    <a:pt x="985221" y="2394044"/>
                  </a:lnTo>
                  <a:lnTo>
                    <a:pt x="1117282" y="2526105"/>
                  </a:lnTo>
                  <a:lnTo>
                    <a:pt x="1255633" y="2664456"/>
                  </a:lnTo>
                  <a:lnTo>
                    <a:pt x="1519757" y="2664456"/>
                  </a:lnTo>
                  <a:lnTo>
                    <a:pt x="1248646" y="2394044"/>
                  </a:lnTo>
                  <a:lnTo>
                    <a:pt x="1519757" y="2122933"/>
                  </a:lnTo>
                  <a:close/>
                  <a:moveTo>
                    <a:pt x="2351955" y="2122234"/>
                  </a:moveTo>
                  <a:lnTo>
                    <a:pt x="2171680" y="2303207"/>
                  </a:lnTo>
                  <a:lnTo>
                    <a:pt x="2170981" y="2303207"/>
                  </a:lnTo>
                  <a:lnTo>
                    <a:pt x="2081543" y="2392646"/>
                  </a:lnTo>
                  <a:lnTo>
                    <a:pt x="2215701" y="2526804"/>
                  </a:lnTo>
                  <a:lnTo>
                    <a:pt x="2352653" y="2663058"/>
                  </a:lnTo>
                  <a:lnTo>
                    <a:pt x="2616078" y="2663058"/>
                  </a:lnTo>
                  <a:lnTo>
                    <a:pt x="2344968" y="2392646"/>
                  </a:lnTo>
                  <a:lnTo>
                    <a:pt x="2346365" y="2391248"/>
                  </a:lnTo>
                  <a:lnTo>
                    <a:pt x="2347064" y="2391248"/>
                  </a:lnTo>
                  <a:lnTo>
                    <a:pt x="2615379" y="2122234"/>
                  </a:lnTo>
                  <a:close/>
                  <a:moveTo>
                    <a:pt x="1803445" y="2122234"/>
                  </a:moveTo>
                  <a:lnTo>
                    <a:pt x="1533032" y="2393345"/>
                  </a:lnTo>
                  <a:lnTo>
                    <a:pt x="1803445" y="2663058"/>
                  </a:lnTo>
                  <a:lnTo>
                    <a:pt x="2067568" y="2663058"/>
                  </a:lnTo>
                  <a:lnTo>
                    <a:pt x="1796458" y="2392646"/>
                  </a:lnTo>
                  <a:lnTo>
                    <a:pt x="1980924" y="2208178"/>
                  </a:lnTo>
                  <a:lnTo>
                    <a:pt x="1981623" y="2208178"/>
                  </a:lnTo>
                  <a:lnTo>
                    <a:pt x="2067568" y="2122234"/>
                  </a:lnTo>
                  <a:close/>
                  <a:moveTo>
                    <a:pt x="2900465" y="2121535"/>
                  </a:moveTo>
                  <a:lnTo>
                    <a:pt x="2630053" y="2392646"/>
                  </a:lnTo>
                  <a:lnTo>
                    <a:pt x="2901164" y="2663058"/>
                  </a:lnTo>
                  <a:lnTo>
                    <a:pt x="3165287" y="2663058"/>
                  </a:lnTo>
                  <a:lnTo>
                    <a:pt x="2894176" y="2392646"/>
                  </a:lnTo>
                  <a:lnTo>
                    <a:pt x="3164588" y="2121535"/>
                  </a:lnTo>
                  <a:close/>
                  <a:moveTo>
                    <a:pt x="3997486" y="2120137"/>
                  </a:moveTo>
                  <a:lnTo>
                    <a:pt x="3727074" y="2391248"/>
                  </a:lnTo>
                  <a:lnTo>
                    <a:pt x="3998184" y="2661660"/>
                  </a:lnTo>
                  <a:lnTo>
                    <a:pt x="4262308" y="2661660"/>
                  </a:lnTo>
                  <a:lnTo>
                    <a:pt x="3991197" y="2391248"/>
                  </a:lnTo>
                  <a:lnTo>
                    <a:pt x="4261609" y="2120137"/>
                  </a:lnTo>
                  <a:close/>
                  <a:moveTo>
                    <a:pt x="4545996" y="2119439"/>
                  </a:moveTo>
                  <a:lnTo>
                    <a:pt x="4275584" y="2390549"/>
                  </a:lnTo>
                  <a:lnTo>
                    <a:pt x="4545996" y="2660263"/>
                  </a:lnTo>
                  <a:lnTo>
                    <a:pt x="4810119" y="2660263"/>
                  </a:lnTo>
                  <a:lnTo>
                    <a:pt x="4539009" y="2389851"/>
                  </a:lnTo>
                  <a:lnTo>
                    <a:pt x="4723476" y="2205384"/>
                  </a:lnTo>
                  <a:lnTo>
                    <a:pt x="4810119" y="2119439"/>
                  </a:lnTo>
                  <a:close/>
                  <a:moveTo>
                    <a:pt x="1261921" y="1849027"/>
                  </a:moveTo>
                  <a:lnTo>
                    <a:pt x="1262620" y="1849725"/>
                  </a:lnTo>
                  <a:lnTo>
                    <a:pt x="1263319" y="1849725"/>
                  </a:lnTo>
                  <a:lnTo>
                    <a:pt x="1532333" y="2118740"/>
                  </a:lnTo>
                  <a:lnTo>
                    <a:pt x="1261921" y="2389851"/>
                  </a:lnTo>
                  <a:lnTo>
                    <a:pt x="1526046" y="2389851"/>
                  </a:lnTo>
                  <a:lnTo>
                    <a:pt x="1796458" y="2118740"/>
                  </a:lnTo>
                  <a:lnTo>
                    <a:pt x="1791566" y="2113849"/>
                  </a:lnTo>
                  <a:lnTo>
                    <a:pt x="1526046" y="1849027"/>
                  </a:lnTo>
                  <a:close/>
                  <a:moveTo>
                    <a:pt x="164203" y="1849027"/>
                  </a:moveTo>
                  <a:lnTo>
                    <a:pt x="165601" y="1850424"/>
                  </a:lnTo>
                  <a:lnTo>
                    <a:pt x="434615" y="2119439"/>
                  </a:lnTo>
                  <a:lnTo>
                    <a:pt x="164203" y="2389152"/>
                  </a:lnTo>
                  <a:lnTo>
                    <a:pt x="428326" y="2389152"/>
                  </a:lnTo>
                  <a:lnTo>
                    <a:pt x="698738" y="2118042"/>
                  </a:lnTo>
                  <a:lnTo>
                    <a:pt x="695191" y="2114493"/>
                  </a:lnTo>
                  <a:lnTo>
                    <a:pt x="709860" y="2121535"/>
                  </a:lnTo>
                  <a:lnTo>
                    <a:pt x="705726" y="2121535"/>
                  </a:lnTo>
                  <a:lnTo>
                    <a:pt x="435314" y="2392646"/>
                  </a:lnTo>
                  <a:lnTo>
                    <a:pt x="706425" y="2663058"/>
                  </a:lnTo>
                  <a:lnTo>
                    <a:pt x="970548" y="2663058"/>
                  </a:lnTo>
                  <a:lnTo>
                    <a:pt x="699437" y="2392646"/>
                  </a:lnTo>
                  <a:lnTo>
                    <a:pt x="883903" y="2208178"/>
                  </a:lnTo>
                  <a:lnTo>
                    <a:pt x="969849" y="2122234"/>
                  </a:lnTo>
                  <a:lnTo>
                    <a:pt x="711316" y="2122234"/>
                  </a:lnTo>
                  <a:lnTo>
                    <a:pt x="709860" y="2121535"/>
                  </a:lnTo>
                  <a:lnTo>
                    <a:pt x="711316" y="2121535"/>
                  </a:lnTo>
                  <a:lnTo>
                    <a:pt x="693847" y="2113150"/>
                  </a:lnTo>
                  <a:lnTo>
                    <a:pt x="695191" y="2114493"/>
                  </a:lnTo>
                  <a:lnTo>
                    <a:pt x="693847" y="2113849"/>
                  </a:lnTo>
                  <a:lnTo>
                    <a:pt x="428326" y="1849027"/>
                  </a:lnTo>
                  <a:close/>
                  <a:moveTo>
                    <a:pt x="712014" y="1848328"/>
                  </a:moveTo>
                  <a:lnTo>
                    <a:pt x="983125" y="2118042"/>
                  </a:lnTo>
                  <a:lnTo>
                    <a:pt x="980330" y="2120836"/>
                  </a:lnTo>
                  <a:lnTo>
                    <a:pt x="890192" y="2211673"/>
                  </a:lnTo>
                  <a:lnTo>
                    <a:pt x="712713" y="2389152"/>
                  </a:lnTo>
                  <a:lnTo>
                    <a:pt x="976837" y="2389152"/>
                  </a:lnTo>
                  <a:lnTo>
                    <a:pt x="1066275" y="2299714"/>
                  </a:lnTo>
                  <a:lnTo>
                    <a:pt x="1247249" y="2118740"/>
                  </a:lnTo>
                  <a:lnTo>
                    <a:pt x="1114488" y="1986679"/>
                  </a:lnTo>
                  <a:lnTo>
                    <a:pt x="976138" y="1848328"/>
                  </a:lnTo>
                  <a:close/>
                  <a:moveTo>
                    <a:pt x="2359641" y="1847630"/>
                  </a:moveTo>
                  <a:lnTo>
                    <a:pt x="2489606" y="1977595"/>
                  </a:lnTo>
                  <a:lnTo>
                    <a:pt x="2630053" y="2118042"/>
                  </a:lnTo>
                  <a:lnTo>
                    <a:pt x="2359641" y="2389152"/>
                  </a:lnTo>
                  <a:lnTo>
                    <a:pt x="2623764" y="2389152"/>
                  </a:lnTo>
                  <a:lnTo>
                    <a:pt x="2894176" y="2118042"/>
                  </a:lnTo>
                  <a:lnTo>
                    <a:pt x="2623065" y="1847630"/>
                  </a:lnTo>
                  <a:close/>
                  <a:moveTo>
                    <a:pt x="1810432" y="1847630"/>
                  </a:moveTo>
                  <a:lnTo>
                    <a:pt x="2081543" y="2118042"/>
                  </a:lnTo>
                  <a:lnTo>
                    <a:pt x="2078748" y="2120836"/>
                  </a:lnTo>
                  <a:lnTo>
                    <a:pt x="1988611" y="2211673"/>
                  </a:lnTo>
                  <a:lnTo>
                    <a:pt x="1987912" y="2211673"/>
                  </a:lnTo>
                  <a:lnTo>
                    <a:pt x="1811131" y="2389152"/>
                  </a:lnTo>
                  <a:lnTo>
                    <a:pt x="2074555" y="2388454"/>
                  </a:lnTo>
                  <a:lnTo>
                    <a:pt x="2163994" y="2299015"/>
                  </a:lnTo>
                  <a:lnTo>
                    <a:pt x="2164693" y="2299015"/>
                  </a:lnTo>
                  <a:lnTo>
                    <a:pt x="2345666" y="2118042"/>
                  </a:lnTo>
                  <a:lnTo>
                    <a:pt x="2074555" y="1847630"/>
                  </a:lnTo>
                  <a:close/>
                  <a:moveTo>
                    <a:pt x="2907452" y="1846931"/>
                  </a:moveTo>
                  <a:lnTo>
                    <a:pt x="3178563" y="2117343"/>
                  </a:lnTo>
                  <a:lnTo>
                    <a:pt x="2908151" y="2388454"/>
                  </a:lnTo>
                  <a:lnTo>
                    <a:pt x="3172275" y="2388454"/>
                  </a:lnTo>
                  <a:lnTo>
                    <a:pt x="3442687" y="2117343"/>
                  </a:lnTo>
                  <a:lnTo>
                    <a:pt x="3171576" y="1846931"/>
                  </a:lnTo>
                  <a:close/>
                  <a:moveTo>
                    <a:pt x="4004473" y="1844834"/>
                  </a:moveTo>
                  <a:lnTo>
                    <a:pt x="4005871" y="1846232"/>
                  </a:lnTo>
                  <a:lnTo>
                    <a:pt x="4274885" y="2115246"/>
                  </a:lnTo>
                  <a:lnTo>
                    <a:pt x="4004473" y="2386357"/>
                  </a:lnTo>
                  <a:lnTo>
                    <a:pt x="4268597" y="2386357"/>
                  </a:lnTo>
                  <a:lnTo>
                    <a:pt x="4539009" y="2115246"/>
                  </a:lnTo>
                  <a:lnTo>
                    <a:pt x="4534118" y="2110355"/>
                  </a:lnTo>
                  <a:lnTo>
                    <a:pt x="4268597" y="1844834"/>
                  </a:lnTo>
                  <a:close/>
                  <a:moveTo>
                    <a:pt x="705027" y="1574422"/>
                  </a:moveTo>
                  <a:lnTo>
                    <a:pt x="434615" y="1845533"/>
                  </a:lnTo>
                  <a:lnTo>
                    <a:pt x="705726" y="2115945"/>
                  </a:lnTo>
                  <a:lnTo>
                    <a:pt x="969849" y="2115945"/>
                  </a:lnTo>
                  <a:lnTo>
                    <a:pt x="698738" y="1845533"/>
                  </a:lnTo>
                  <a:lnTo>
                    <a:pt x="969150" y="1574422"/>
                  </a:lnTo>
                  <a:close/>
                  <a:moveTo>
                    <a:pt x="1802746" y="1573723"/>
                  </a:moveTo>
                  <a:lnTo>
                    <a:pt x="1532333" y="1844834"/>
                  </a:lnTo>
                  <a:lnTo>
                    <a:pt x="1803445" y="2115246"/>
                  </a:lnTo>
                  <a:lnTo>
                    <a:pt x="2067568" y="2115246"/>
                  </a:lnTo>
                  <a:lnTo>
                    <a:pt x="1796458" y="1844834"/>
                  </a:lnTo>
                  <a:lnTo>
                    <a:pt x="2066870" y="1573723"/>
                  </a:lnTo>
                  <a:close/>
                  <a:moveTo>
                    <a:pt x="1252838" y="1573723"/>
                  </a:moveTo>
                  <a:lnTo>
                    <a:pt x="983125" y="1844834"/>
                  </a:lnTo>
                  <a:lnTo>
                    <a:pt x="1183663" y="2045372"/>
                  </a:lnTo>
                  <a:lnTo>
                    <a:pt x="1254236" y="2115246"/>
                  </a:lnTo>
                  <a:lnTo>
                    <a:pt x="1322712" y="2115246"/>
                  </a:lnTo>
                  <a:lnTo>
                    <a:pt x="1322014" y="2116644"/>
                  </a:lnTo>
                  <a:lnTo>
                    <a:pt x="1519058" y="2116644"/>
                  </a:lnTo>
                  <a:lnTo>
                    <a:pt x="1247947" y="1846232"/>
                  </a:lnTo>
                  <a:lnTo>
                    <a:pt x="1248646" y="1845533"/>
                  </a:lnTo>
                  <a:lnTo>
                    <a:pt x="1246550" y="1844834"/>
                  </a:lnTo>
                  <a:lnTo>
                    <a:pt x="1516962" y="1573723"/>
                  </a:lnTo>
                  <a:close/>
                  <a:moveTo>
                    <a:pt x="2899766" y="1573024"/>
                  </a:moveTo>
                  <a:lnTo>
                    <a:pt x="2629354" y="1844135"/>
                  </a:lnTo>
                  <a:lnTo>
                    <a:pt x="2900465" y="2114547"/>
                  </a:lnTo>
                  <a:lnTo>
                    <a:pt x="3164588" y="2114547"/>
                  </a:lnTo>
                  <a:lnTo>
                    <a:pt x="2893477" y="1844135"/>
                  </a:lnTo>
                  <a:lnTo>
                    <a:pt x="3163889" y="1573024"/>
                  </a:lnTo>
                  <a:close/>
                  <a:moveTo>
                    <a:pt x="2351257" y="1573024"/>
                  </a:moveTo>
                  <a:lnTo>
                    <a:pt x="2080844" y="1844135"/>
                  </a:lnTo>
                  <a:lnTo>
                    <a:pt x="2351955" y="2114547"/>
                  </a:lnTo>
                  <a:lnTo>
                    <a:pt x="2615379" y="2114547"/>
                  </a:lnTo>
                  <a:lnTo>
                    <a:pt x="2485414" y="1984582"/>
                  </a:lnTo>
                  <a:lnTo>
                    <a:pt x="2344968" y="1844135"/>
                  </a:lnTo>
                  <a:lnTo>
                    <a:pt x="2615379" y="1573024"/>
                  </a:lnTo>
                  <a:close/>
                  <a:moveTo>
                    <a:pt x="3448276" y="1572326"/>
                  </a:moveTo>
                  <a:lnTo>
                    <a:pt x="3177864" y="1843436"/>
                  </a:lnTo>
                  <a:lnTo>
                    <a:pt x="3448975" y="2113150"/>
                  </a:lnTo>
                  <a:lnTo>
                    <a:pt x="3713099" y="2113150"/>
                  </a:lnTo>
                  <a:lnTo>
                    <a:pt x="3441988" y="1842739"/>
                  </a:lnTo>
                  <a:lnTo>
                    <a:pt x="3626455" y="1658271"/>
                  </a:lnTo>
                  <a:lnTo>
                    <a:pt x="3712400" y="1572326"/>
                  </a:lnTo>
                  <a:close/>
                  <a:moveTo>
                    <a:pt x="4545297" y="1570929"/>
                  </a:moveTo>
                  <a:lnTo>
                    <a:pt x="4274885" y="1842040"/>
                  </a:lnTo>
                  <a:lnTo>
                    <a:pt x="4545996" y="2111753"/>
                  </a:lnTo>
                  <a:lnTo>
                    <a:pt x="4810119" y="2111753"/>
                  </a:lnTo>
                  <a:lnTo>
                    <a:pt x="4539009" y="1841341"/>
                  </a:lnTo>
                  <a:lnTo>
                    <a:pt x="4809421" y="1570929"/>
                  </a:lnTo>
                  <a:close/>
                  <a:moveTo>
                    <a:pt x="164203" y="1300517"/>
                  </a:moveTo>
                  <a:lnTo>
                    <a:pt x="294168" y="1430482"/>
                  </a:lnTo>
                  <a:lnTo>
                    <a:pt x="434615" y="1570929"/>
                  </a:lnTo>
                  <a:lnTo>
                    <a:pt x="164203" y="1842040"/>
                  </a:lnTo>
                  <a:lnTo>
                    <a:pt x="428326" y="1842040"/>
                  </a:lnTo>
                  <a:lnTo>
                    <a:pt x="698738" y="1570929"/>
                  </a:lnTo>
                  <a:lnTo>
                    <a:pt x="427627" y="1300517"/>
                  </a:lnTo>
                  <a:close/>
                  <a:moveTo>
                    <a:pt x="1809733" y="1299818"/>
                  </a:moveTo>
                  <a:lnTo>
                    <a:pt x="2080844" y="1570230"/>
                  </a:lnTo>
                  <a:lnTo>
                    <a:pt x="1810432" y="1840642"/>
                  </a:lnTo>
                  <a:lnTo>
                    <a:pt x="2074555" y="1840642"/>
                  </a:lnTo>
                  <a:lnTo>
                    <a:pt x="2344968" y="1570230"/>
                  </a:lnTo>
                  <a:lnTo>
                    <a:pt x="2073856" y="1299818"/>
                  </a:lnTo>
                  <a:close/>
                  <a:moveTo>
                    <a:pt x="712014" y="1299818"/>
                  </a:moveTo>
                  <a:lnTo>
                    <a:pt x="983125" y="1570230"/>
                  </a:lnTo>
                  <a:lnTo>
                    <a:pt x="712713" y="1841341"/>
                  </a:lnTo>
                  <a:lnTo>
                    <a:pt x="976837" y="1841341"/>
                  </a:lnTo>
                  <a:lnTo>
                    <a:pt x="1247249" y="1570230"/>
                  </a:lnTo>
                  <a:lnTo>
                    <a:pt x="976138" y="1299818"/>
                  </a:lnTo>
                  <a:close/>
                  <a:moveTo>
                    <a:pt x="2358243" y="1299119"/>
                  </a:moveTo>
                  <a:lnTo>
                    <a:pt x="2629354" y="1569531"/>
                  </a:lnTo>
                  <a:lnTo>
                    <a:pt x="2359641" y="1840642"/>
                  </a:lnTo>
                  <a:lnTo>
                    <a:pt x="2623065" y="1840642"/>
                  </a:lnTo>
                  <a:lnTo>
                    <a:pt x="2893477" y="1569531"/>
                  </a:lnTo>
                  <a:lnTo>
                    <a:pt x="2759320" y="1436072"/>
                  </a:lnTo>
                  <a:lnTo>
                    <a:pt x="2622367" y="1299119"/>
                  </a:lnTo>
                  <a:close/>
                  <a:moveTo>
                    <a:pt x="2906754" y="1298421"/>
                  </a:moveTo>
                  <a:lnTo>
                    <a:pt x="2908151" y="1299818"/>
                  </a:lnTo>
                  <a:lnTo>
                    <a:pt x="3177864" y="1568832"/>
                  </a:lnTo>
                  <a:lnTo>
                    <a:pt x="2907452" y="1839244"/>
                  </a:lnTo>
                  <a:lnTo>
                    <a:pt x="3171576" y="1839244"/>
                  </a:lnTo>
                  <a:lnTo>
                    <a:pt x="3441988" y="1568832"/>
                  </a:lnTo>
                  <a:lnTo>
                    <a:pt x="3436398" y="1563941"/>
                  </a:lnTo>
                  <a:lnTo>
                    <a:pt x="3170877" y="1298421"/>
                  </a:lnTo>
                  <a:close/>
                  <a:moveTo>
                    <a:pt x="1525347" y="1298421"/>
                  </a:moveTo>
                  <a:lnTo>
                    <a:pt x="1523949" y="1299119"/>
                  </a:lnTo>
                  <a:lnTo>
                    <a:pt x="1259826" y="1299119"/>
                  </a:lnTo>
                  <a:lnTo>
                    <a:pt x="1530937" y="1569531"/>
                  </a:lnTo>
                  <a:lnTo>
                    <a:pt x="1526744" y="1573723"/>
                  </a:lnTo>
                  <a:lnTo>
                    <a:pt x="1532333" y="1570929"/>
                  </a:lnTo>
                  <a:lnTo>
                    <a:pt x="1261921" y="1842040"/>
                  </a:lnTo>
                  <a:lnTo>
                    <a:pt x="1526046" y="1842040"/>
                  </a:lnTo>
                  <a:lnTo>
                    <a:pt x="1796458" y="1570929"/>
                  </a:lnTo>
                  <a:lnTo>
                    <a:pt x="1525347" y="1300517"/>
                  </a:lnTo>
                  <a:close/>
                  <a:moveTo>
                    <a:pt x="3454565" y="1297722"/>
                  </a:moveTo>
                  <a:lnTo>
                    <a:pt x="3725676" y="1568134"/>
                  </a:lnTo>
                  <a:lnTo>
                    <a:pt x="3722882" y="1570929"/>
                  </a:lnTo>
                  <a:lnTo>
                    <a:pt x="3632744" y="1661764"/>
                  </a:lnTo>
                  <a:lnTo>
                    <a:pt x="3455264" y="1838545"/>
                  </a:lnTo>
                  <a:lnTo>
                    <a:pt x="3719387" y="1838545"/>
                  </a:lnTo>
                  <a:lnTo>
                    <a:pt x="3808826" y="1749107"/>
                  </a:lnTo>
                  <a:lnTo>
                    <a:pt x="3989799" y="1568134"/>
                  </a:lnTo>
                  <a:lnTo>
                    <a:pt x="3718688" y="1297722"/>
                  </a:lnTo>
                  <a:close/>
                  <a:moveTo>
                    <a:pt x="1802048" y="1025213"/>
                  </a:moveTo>
                  <a:lnTo>
                    <a:pt x="1531636" y="1296324"/>
                  </a:lnTo>
                  <a:lnTo>
                    <a:pt x="1802746" y="1566736"/>
                  </a:lnTo>
                  <a:lnTo>
                    <a:pt x="2066870" y="1566736"/>
                  </a:lnTo>
                  <a:lnTo>
                    <a:pt x="1795759" y="1296324"/>
                  </a:lnTo>
                  <a:lnTo>
                    <a:pt x="2066171" y="1025213"/>
                  </a:lnTo>
                  <a:close/>
                  <a:moveTo>
                    <a:pt x="704328" y="1025213"/>
                  </a:moveTo>
                  <a:lnTo>
                    <a:pt x="433916" y="1296324"/>
                  </a:lnTo>
                  <a:lnTo>
                    <a:pt x="705027" y="1566736"/>
                  </a:lnTo>
                  <a:lnTo>
                    <a:pt x="969150" y="1566736"/>
                  </a:lnTo>
                  <a:lnTo>
                    <a:pt x="698039" y="1296324"/>
                  </a:lnTo>
                  <a:lnTo>
                    <a:pt x="967752" y="1025213"/>
                  </a:lnTo>
                  <a:close/>
                  <a:moveTo>
                    <a:pt x="2899067" y="1024514"/>
                  </a:moveTo>
                  <a:lnTo>
                    <a:pt x="2718793" y="1204790"/>
                  </a:lnTo>
                  <a:lnTo>
                    <a:pt x="2629354" y="1294927"/>
                  </a:lnTo>
                  <a:lnTo>
                    <a:pt x="2763512" y="1428386"/>
                  </a:lnTo>
                  <a:lnTo>
                    <a:pt x="2900465" y="1565338"/>
                  </a:lnTo>
                  <a:lnTo>
                    <a:pt x="3164588" y="1565338"/>
                  </a:lnTo>
                  <a:lnTo>
                    <a:pt x="2893477" y="1294927"/>
                  </a:lnTo>
                  <a:lnTo>
                    <a:pt x="2894875" y="1293530"/>
                  </a:lnTo>
                  <a:lnTo>
                    <a:pt x="3163191" y="1024514"/>
                  </a:lnTo>
                  <a:close/>
                  <a:moveTo>
                    <a:pt x="2350558" y="1024514"/>
                  </a:moveTo>
                  <a:lnTo>
                    <a:pt x="2080145" y="1295625"/>
                  </a:lnTo>
                  <a:lnTo>
                    <a:pt x="2351257" y="1566037"/>
                  </a:lnTo>
                  <a:lnTo>
                    <a:pt x="2615379" y="1566037"/>
                  </a:lnTo>
                  <a:lnTo>
                    <a:pt x="2344269" y="1295625"/>
                  </a:lnTo>
                  <a:lnTo>
                    <a:pt x="2528736" y="1111159"/>
                  </a:lnTo>
                  <a:lnTo>
                    <a:pt x="2614681" y="1025213"/>
                  </a:lnTo>
                  <a:lnTo>
                    <a:pt x="2356148" y="1025213"/>
                  </a:lnTo>
                  <a:close/>
                  <a:moveTo>
                    <a:pt x="1252838" y="1024514"/>
                  </a:moveTo>
                  <a:lnTo>
                    <a:pt x="982426" y="1295625"/>
                  </a:lnTo>
                  <a:lnTo>
                    <a:pt x="1253537" y="1566037"/>
                  </a:lnTo>
                  <a:lnTo>
                    <a:pt x="1517660" y="1566037"/>
                  </a:lnTo>
                  <a:lnTo>
                    <a:pt x="1246550" y="1295625"/>
                  </a:lnTo>
                  <a:lnTo>
                    <a:pt x="1431017" y="1111159"/>
                  </a:lnTo>
                  <a:lnTo>
                    <a:pt x="1516962" y="1024514"/>
                  </a:lnTo>
                  <a:close/>
                  <a:moveTo>
                    <a:pt x="3447578" y="1023816"/>
                  </a:moveTo>
                  <a:lnTo>
                    <a:pt x="3177166" y="1294927"/>
                  </a:lnTo>
                  <a:lnTo>
                    <a:pt x="3448276" y="1565338"/>
                  </a:lnTo>
                  <a:lnTo>
                    <a:pt x="3712400" y="1565338"/>
                  </a:lnTo>
                  <a:lnTo>
                    <a:pt x="3441289" y="1294927"/>
                  </a:lnTo>
                  <a:lnTo>
                    <a:pt x="3711701" y="1023816"/>
                  </a:lnTo>
                  <a:close/>
                  <a:moveTo>
                    <a:pt x="4544598" y="1022419"/>
                  </a:moveTo>
                  <a:lnTo>
                    <a:pt x="4274186" y="1293530"/>
                  </a:lnTo>
                  <a:lnTo>
                    <a:pt x="4545297" y="1563941"/>
                  </a:lnTo>
                  <a:lnTo>
                    <a:pt x="4809421" y="1563941"/>
                  </a:lnTo>
                  <a:lnTo>
                    <a:pt x="4538310" y="1293530"/>
                  </a:lnTo>
                  <a:lnTo>
                    <a:pt x="4722777" y="1108363"/>
                  </a:lnTo>
                  <a:lnTo>
                    <a:pt x="4722078" y="1107664"/>
                  </a:lnTo>
                  <a:lnTo>
                    <a:pt x="4807324" y="1022419"/>
                  </a:lnTo>
                  <a:close/>
                  <a:moveTo>
                    <a:pt x="3995389" y="1022419"/>
                  </a:moveTo>
                  <a:lnTo>
                    <a:pt x="3724977" y="1293530"/>
                  </a:lnTo>
                  <a:lnTo>
                    <a:pt x="3996088" y="1563941"/>
                  </a:lnTo>
                  <a:lnTo>
                    <a:pt x="4064564" y="1563941"/>
                  </a:lnTo>
                  <a:lnTo>
                    <a:pt x="4061071" y="1570929"/>
                  </a:lnTo>
                  <a:lnTo>
                    <a:pt x="3996088" y="1570929"/>
                  </a:lnTo>
                  <a:lnTo>
                    <a:pt x="3815814" y="1751902"/>
                  </a:lnTo>
                  <a:lnTo>
                    <a:pt x="3726375" y="1842040"/>
                  </a:lnTo>
                  <a:lnTo>
                    <a:pt x="3859834" y="1975498"/>
                  </a:lnTo>
                  <a:lnTo>
                    <a:pt x="3857039" y="1981088"/>
                  </a:lnTo>
                  <a:lnTo>
                    <a:pt x="3857739" y="1981785"/>
                  </a:lnTo>
                  <a:lnTo>
                    <a:pt x="3857039" y="1983185"/>
                  </a:lnTo>
                  <a:lnTo>
                    <a:pt x="3720086" y="1846232"/>
                  </a:lnTo>
                  <a:lnTo>
                    <a:pt x="3455963" y="1846232"/>
                  </a:lnTo>
                  <a:lnTo>
                    <a:pt x="3727074" y="2116644"/>
                  </a:lnTo>
                  <a:lnTo>
                    <a:pt x="3456662" y="2387755"/>
                  </a:lnTo>
                  <a:lnTo>
                    <a:pt x="3654754" y="2387755"/>
                  </a:lnTo>
                  <a:lnTo>
                    <a:pt x="3652309" y="2392646"/>
                  </a:lnTo>
                  <a:lnTo>
                    <a:pt x="3652658" y="2392646"/>
                  </a:lnTo>
                  <a:lnTo>
                    <a:pt x="3651610" y="2394742"/>
                  </a:lnTo>
                  <a:lnTo>
                    <a:pt x="3456662" y="2394742"/>
                  </a:lnTo>
                  <a:lnTo>
                    <a:pt x="3586394" y="2524475"/>
                  </a:lnTo>
                  <a:lnTo>
                    <a:pt x="3583832" y="2529598"/>
                  </a:lnTo>
                  <a:lnTo>
                    <a:pt x="3584065" y="2529831"/>
                  </a:lnTo>
                  <a:lnTo>
                    <a:pt x="3583133" y="2531695"/>
                  </a:lnTo>
                  <a:lnTo>
                    <a:pt x="3442687" y="2391248"/>
                  </a:lnTo>
                  <a:lnTo>
                    <a:pt x="3713099" y="2120137"/>
                  </a:lnTo>
                  <a:lnTo>
                    <a:pt x="3448975" y="2120137"/>
                  </a:lnTo>
                  <a:lnTo>
                    <a:pt x="3178563" y="2391248"/>
                  </a:lnTo>
                  <a:lnTo>
                    <a:pt x="3448975" y="2662359"/>
                  </a:lnTo>
                  <a:lnTo>
                    <a:pt x="3517452" y="2662359"/>
                  </a:lnTo>
                  <a:lnTo>
                    <a:pt x="3513958" y="2669346"/>
                  </a:lnTo>
                  <a:lnTo>
                    <a:pt x="3448975" y="2669346"/>
                  </a:lnTo>
                  <a:lnTo>
                    <a:pt x="3268701" y="2850320"/>
                  </a:lnTo>
                  <a:lnTo>
                    <a:pt x="3179262" y="2939758"/>
                  </a:lnTo>
                  <a:lnTo>
                    <a:pt x="3312721" y="3073916"/>
                  </a:lnTo>
                  <a:lnTo>
                    <a:pt x="3451072" y="3207376"/>
                  </a:lnTo>
                  <a:lnTo>
                    <a:pt x="3715195" y="3207376"/>
                  </a:lnTo>
                  <a:lnTo>
                    <a:pt x="3444084" y="2936964"/>
                  </a:lnTo>
                  <a:lnTo>
                    <a:pt x="3445482" y="2935566"/>
                  </a:lnTo>
                  <a:lnTo>
                    <a:pt x="3713797" y="2666552"/>
                  </a:lnTo>
                  <a:lnTo>
                    <a:pt x="3515356" y="2666552"/>
                  </a:lnTo>
                  <a:lnTo>
                    <a:pt x="3518849" y="2659564"/>
                  </a:lnTo>
                  <a:lnTo>
                    <a:pt x="3713797" y="2659564"/>
                  </a:lnTo>
                  <a:lnTo>
                    <a:pt x="3584065" y="2529831"/>
                  </a:lnTo>
                  <a:lnTo>
                    <a:pt x="3586627" y="2524708"/>
                  </a:lnTo>
                  <a:lnTo>
                    <a:pt x="3586394" y="2524475"/>
                  </a:lnTo>
                  <a:lnTo>
                    <a:pt x="3587326" y="2522611"/>
                  </a:lnTo>
                  <a:lnTo>
                    <a:pt x="3727772" y="2663058"/>
                  </a:lnTo>
                  <a:lnTo>
                    <a:pt x="3457360" y="2934169"/>
                  </a:lnTo>
                  <a:lnTo>
                    <a:pt x="3721484" y="2934169"/>
                  </a:lnTo>
                  <a:lnTo>
                    <a:pt x="3991896" y="2663058"/>
                  </a:lnTo>
                  <a:lnTo>
                    <a:pt x="3720785" y="2392646"/>
                  </a:lnTo>
                  <a:lnTo>
                    <a:pt x="3652658" y="2392646"/>
                  </a:lnTo>
                  <a:lnTo>
                    <a:pt x="3655103" y="2387755"/>
                  </a:lnTo>
                  <a:lnTo>
                    <a:pt x="3654754" y="2387755"/>
                  </a:lnTo>
                  <a:lnTo>
                    <a:pt x="3655802" y="2385658"/>
                  </a:lnTo>
                  <a:lnTo>
                    <a:pt x="3720785" y="2385658"/>
                  </a:lnTo>
                  <a:lnTo>
                    <a:pt x="3991197" y="2114547"/>
                  </a:lnTo>
                  <a:lnTo>
                    <a:pt x="3857739" y="1981785"/>
                  </a:lnTo>
                  <a:lnTo>
                    <a:pt x="3860533" y="1976197"/>
                  </a:lnTo>
                  <a:lnTo>
                    <a:pt x="3859834" y="1975498"/>
                  </a:lnTo>
                  <a:lnTo>
                    <a:pt x="3860533" y="1974101"/>
                  </a:lnTo>
                  <a:lnTo>
                    <a:pt x="3997486" y="2111054"/>
                  </a:lnTo>
                  <a:lnTo>
                    <a:pt x="4261609" y="2111054"/>
                  </a:lnTo>
                  <a:lnTo>
                    <a:pt x="3990498" y="1840642"/>
                  </a:lnTo>
                  <a:lnTo>
                    <a:pt x="3991896" y="1839244"/>
                  </a:lnTo>
                  <a:lnTo>
                    <a:pt x="4260211" y="1570230"/>
                  </a:lnTo>
                  <a:lnTo>
                    <a:pt x="4061770" y="1570230"/>
                  </a:lnTo>
                  <a:lnTo>
                    <a:pt x="4065263" y="1563243"/>
                  </a:lnTo>
                  <a:lnTo>
                    <a:pt x="4260211" y="1563243"/>
                  </a:lnTo>
                  <a:lnTo>
                    <a:pt x="4130246" y="1433278"/>
                  </a:lnTo>
                  <a:lnTo>
                    <a:pt x="4133739" y="1426290"/>
                  </a:lnTo>
                  <a:lnTo>
                    <a:pt x="4274186" y="1566736"/>
                  </a:lnTo>
                  <a:lnTo>
                    <a:pt x="4003774" y="1837847"/>
                  </a:lnTo>
                  <a:lnTo>
                    <a:pt x="4267898" y="1837847"/>
                  </a:lnTo>
                  <a:lnTo>
                    <a:pt x="4538310" y="1566736"/>
                  </a:lnTo>
                  <a:lnTo>
                    <a:pt x="4267199" y="1297023"/>
                  </a:lnTo>
                  <a:lnTo>
                    <a:pt x="4198723" y="1297023"/>
                  </a:lnTo>
                  <a:lnTo>
                    <a:pt x="4003774" y="1297023"/>
                  </a:lnTo>
                  <a:lnTo>
                    <a:pt x="4133040" y="1426989"/>
                  </a:lnTo>
                  <a:lnTo>
                    <a:pt x="4129547" y="1433975"/>
                  </a:lnTo>
                  <a:lnTo>
                    <a:pt x="3989100" y="1293530"/>
                  </a:lnTo>
                  <a:lnTo>
                    <a:pt x="4259512" y="1022419"/>
                  </a:lnTo>
                  <a:close/>
                  <a:moveTo>
                    <a:pt x="162805" y="752007"/>
                  </a:moveTo>
                  <a:lnTo>
                    <a:pt x="433916" y="1022419"/>
                  </a:lnTo>
                  <a:lnTo>
                    <a:pt x="164203" y="1293530"/>
                  </a:lnTo>
                  <a:lnTo>
                    <a:pt x="427627" y="1293530"/>
                  </a:lnTo>
                  <a:lnTo>
                    <a:pt x="698039" y="1022419"/>
                  </a:lnTo>
                  <a:lnTo>
                    <a:pt x="563881" y="888959"/>
                  </a:lnTo>
                  <a:lnTo>
                    <a:pt x="426928" y="752007"/>
                  </a:lnTo>
                  <a:close/>
                  <a:moveTo>
                    <a:pt x="1809035" y="751308"/>
                  </a:moveTo>
                  <a:lnTo>
                    <a:pt x="1937603" y="879876"/>
                  </a:lnTo>
                  <a:lnTo>
                    <a:pt x="2079447" y="1021720"/>
                  </a:lnTo>
                  <a:lnTo>
                    <a:pt x="1809035" y="1292831"/>
                  </a:lnTo>
                  <a:lnTo>
                    <a:pt x="2073158" y="1292831"/>
                  </a:lnTo>
                  <a:lnTo>
                    <a:pt x="2343570" y="1021720"/>
                  </a:lnTo>
                  <a:lnTo>
                    <a:pt x="2338678" y="1016829"/>
                  </a:lnTo>
                  <a:lnTo>
                    <a:pt x="2073158" y="751308"/>
                  </a:lnTo>
                  <a:close/>
                  <a:moveTo>
                    <a:pt x="2357544" y="750609"/>
                  </a:moveTo>
                  <a:lnTo>
                    <a:pt x="2628655" y="1020322"/>
                  </a:lnTo>
                  <a:lnTo>
                    <a:pt x="2625861" y="1023118"/>
                  </a:lnTo>
                  <a:lnTo>
                    <a:pt x="2535723" y="1113953"/>
                  </a:lnTo>
                  <a:lnTo>
                    <a:pt x="2358243" y="1291433"/>
                  </a:lnTo>
                  <a:lnTo>
                    <a:pt x="2622367" y="1291433"/>
                  </a:lnTo>
                  <a:lnTo>
                    <a:pt x="2711805" y="1201994"/>
                  </a:lnTo>
                  <a:lnTo>
                    <a:pt x="2892779" y="1021021"/>
                  </a:lnTo>
                  <a:lnTo>
                    <a:pt x="2621668" y="750609"/>
                  </a:lnTo>
                  <a:close/>
                  <a:moveTo>
                    <a:pt x="1259127" y="750609"/>
                  </a:moveTo>
                  <a:lnTo>
                    <a:pt x="1530238" y="1020322"/>
                  </a:lnTo>
                  <a:lnTo>
                    <a:pt x="1527442" y="1023118"/>
                  </a:lnTo>
                  <a:lnTo>
                    <a:pt x="1437306" y="1113953"/>
                  </a:lnTo>
                  <a:lnTo>
                    <a:pt x="1259826" y="1291433"/>
                  </a:lnTo>
                  <a:lnTo>
                    <a:pt x="1523949" y="1291433"/>
                  </a:lnTo>
                  <a:lnTo>
                    <a:pt x="1613388" y="1201994"/>
                  </a:lnTo>
                  <a:lnTo>
                    <a:pt x="1794361" y="1021021"/>
                  </a:lnTo>
                  <a:lnTo>
                    <a:pt x="1523250" y="750609"/>
                  </a:lnTo>
                  <a:close/>
                  <a:moveTo>
                    <a:pt x="710617" y="750609"/>
                  </a:moveTo>
                  <a:lnTo>
                    <a:pt x="712014" y="752007"/>
                  </a:lnTo>
                  <a:lnTo>
                    <a:pt x="981727" y="1021021"/>
                  </a:lnTo>
                  <a:lnTo>
                    <a:pt x="711316" y="1292132"/>
                  </a:lnTo>
                  <a:lnTo>
                    <a:pt x="975439" y="1292132"/>
                  </a:lnTo>
                  <a:lnTo>
                    <a:pt x="1245851" y="1021021"/>
                  </a:lnTo>
                  <a:lnTo>
                    <a:pt x="1240261" y="1016130"/>
                  </a:lnTo>
                  <a:lnTo>
                    <a:pt x="974740" y="750609"/>
                  </a:lnTo>
                  <a:close/>
                  <a:moveTo>
                    <a:pt x="2906055" y="749910"/>
                  </a:moveTo>
                  <a:lnTo>
                    <a:pt x="3036720" y="879177"/>
                  </a:lnTo>
                  <a:lnTo>
                    <a:pt x="3177166" y="1019623"/>
                  </a:lnTo>
                  <a:lnTo>
                    <a:pt x="2906754" y="1290734"/>
                  </a:lnTo>
                  <a:lnTo>
                    <a:pt x="3170877" y="1290734"/>
                  </a:lnTo>
                  <a:lnTo>
                    <a:pt x="3441289" y="1020322"/>
                  </a:lnTo>
                  <a:lnTo>
                    <a:pt x="3170178" y="749910"/>
                  </a:lnTo>
                  <a:close/>
                  <a:moveTo>
                    <a:pt x="3454565" y="749211"/>
                  </a:moveTo>
                  <a:lnTo>
                    <a:pt x="3725676" y="1019623"/>
                  </a:lnTo>
                  <a:lnTo>
                    <a:pt x="3455264" y="1290734"/>
                  </a:lnTo>
                  <a:lnTo>
                    <a:pt x="3719387" y="1290734"/>
                  </a:lnTo>
                  <a:lnTo>
                    <a:pt x="3989799" y="1019623"/>
                  </a:lnTo>
                  <a:lnTo>
                    <a:pt x="3718688" y="749211"/>
                  </a:lnTo>
                  <a:close/>
                  <a:moveTo>
                    <a:pt x="4003075" y="748512"/>
                  </a:moveTo>
                  <a:lnTo>
                    <a:pt x="4274186" y="1018924"/>
                  </a:lnTo>
                  <a:lnTo>
                    <a:pt x="4003774" y="1290035"/>
                  </a:lnTo>
                  <a:lnTo>
                    <a:pt x="4202216" y="1290035"/>
                  </a:lnTo>
                  <a:lnTo>
                    <a:pt x="4267199" y="1290035"/>
                  </a:lnTo>
                  <a:lnTo>
                    <a:pt x="4538310" y="1018924"/>
                  </a:lnTo>
                  <a:lnTo>
                    <a:pt x="4404151" y="885466"/>
                  </a:lnTo>
                  <a:lnTo>
                    <a:pt x="4267199" y="748512"/>
                  </a:lnTo>
                  <a:close/>
                  <a:moveTo>
                    <a:pt x="702930" y="476704"/>
                  </a:moveTo>
                  <a:lnTo>
                    <a:pt x="522656" y="657677"/>
                  </a:lnTo>
                  <a:lnTo>
                    <a:pt x="433217" y="747814"/>
                  </a:lnTo>
                  <a:lnTo>
                    <a:pt x="567375" y="881273"/>
                  </a:lnTo>
                  <a:lnTo>
                    <a:pt x="704328" y="1018227"/>
                  </a:lnTo>
                  <a:lnTo>
                    <a:pt x="968451" y="1018227"/>
                  </a:lnTo>
                  <a:lnTo>
                    <a:pt x="697340" y="747814"/>
                  </a:lnTo>
                  <a:lnTo>
                    <a:pt x="698738" y="746417"/>
                  </a:lnTo>
                  <a:lnTo>
                    <a:pt x="967054" y="476704"/>
                  </a:lnTo>
                  <a:close/>
                  <a:moveTo>
                    <a:pt x="1252140" y="476005"/>
                  </a:moveTo>
                  <a:lnTo>
                    <a:pt x="981727" y="747116"/>
                  </a:lnTo>
                  <a:lnTo>
                    <a:pt x="1252838" y="1017528"/>
                  </a:lnTo>
                  <a:lnTo>
                    <a:pt x="1516962" y="1017528"/>
                  </a:lnTo>
                  <a:lnTo>
                    <a:pt x="1245851" y="747116"/>
                  </a:lnTo>
                  <a:lnTo>
                    <a:pt x="1516263" y="476005"/>
                  </a:lnTo>
                  <a:close/>
                  <a:moveTo>
                    <a:pt x="2899067" y="475306"/>
                  </a:moveTo>
                  <a:lnTo>
                    <a:pt x="2628655" y="746417"/>
                  </a:lnTo>
                  <a:lnTo>
                    <a:pt x="2899766" y="1016829"/>
                  </a:lnTo>
                  <a:lnTo>
                    <a:pt x="3163191" y="1016829"/>
                  </a:lnTo>
                  <a:lnTo>
                    <a:pt x="3032527" y="886863"/>
                  </a:lnTo>
                  <a:lnTo>
                    <a:pt x="2892081" y="746417"/>
                  </a:lnTo>
                  <a:lnTo>
                    <a:pt x="3163191" y="475306"/>
                  </a:lnTo>
                  <a:close/>
                  <a:moveTo>
                    <a:pt x="1799951" y="475306"/>
                  </a:moveTo>
                  <a:lnTo>
                    <a:pt x="1529539" y="746417"/>
                  </a:lnTo>
                  <a:lnTo>
                    <a:pt x="1800650" y="1016829"/>
                  </a:lnTo>
                  <a:lnTo>
                    <a:pt x="1802048" y="1018227"/>
                  </a:lnTo>
                  <a:lnTo>
                    <a:pt x="2066171" y="1018227"/>
                  </a:lnTo>
                  <a:lnTo>
                    <a:pt x="1934808" y="886863"/>
                  </a:lnTo>
                  <a:lnTo>
                    <a:pt x="1797155" y="749211"/>
                  </a:lnTo>
                  <a:lnTo>
                    <a:pt x="2066171" y="475306"/>
                  </a:lnTo>
                  <a:close/>
                  <a:moveTo>
                    <a:pt x="3446879" y="474607"/>
                  </a:moveTo>
                  <a:lnTo>
                    <a:pt x="3176467" y="745718"/>
                  </a:lnTo>
                  <a:lnTo>
                    <a:pt x="3447578" y="1016130"/>
                  </a:lnTo>
                  <a:lnTo>
                    <a:pt x="3711701" y="1016130"/>
                  </a:lnTo>
                  <a:lnTo>
                    <a:pt x="3440590" y="745718"/>
                  </a:lnTo>
                  <a:lnTo>
                    <a:pt x="3625057" y="561251"/>
                  </a:lnTo>
                  <a:lnTo>
                    <a:pt x="3709605" y="474607"/>
                  </a:lnTo>
                  <a:close/>
                  <a:moveTo>
                    <a:pt x="3995389" y="473908"/>
                  </a:moveTo>
                  <a:lnTo>
                    <a:pt x="3724977" y="745019"/>
                  </a:lnTo>
                  <a:lnTo>
                    <a:pt x="3996088" y="1015431"/>
                  </a:lnTo>
                  <a:lnTo>
                    <a:pt x="4260211" y="1015431"/>
                  </a:lnTo>
                  <a:lnTo>
                    <a:pt x="3989100" y="745019"/>
                  </a:lnTo>
                  <a:lnTo>
                    <a:pt x="3990498" y="743621"/>
                  </a:lnTo>
                  <a:lnTo>
                    <a:pt x="3989799" y="743621"/>
                  </a:lnTo>
                  <a:lnTo>
                    <a:pt x="4258116" y="474607"/>
                  </a:lnTo>
                  <a:lnTo>
                    <a:pt x="3999582" y="474607"/>
                  </a:lnTo>
                  <a:lnTo>
                    <a:pt x="4000979" y="473908"/>
                  </a:lnTo>
                  <a:close/>
                  <a:moveTo>
                    <a:pt x="4543201" y="473209"/>
                  </a:moveTo>
                  <a:lnTo>
                    <a:pt x="4362227" y="654183"/>
                  </a:lnTo>
                  <a:lnTo>
                    <a:pt x="4362926" y="654882"/>
                  </a:lnTo>
                  <a:lnTo>
                    <a:pt x="4273487" y="745019"/>
                  </a:lnTo>
                  <a:lnTo>
                    <a:pt x="4407646" y="878479"/>
                  </a:lnTo>
                  <a:lnTo>
                    <a:pt x="4543899" y="1014732"/>
                  </a:lnTo>
                  <a:lnTo>
                    <a:pt x="4808023" y="1014732"/>
                  </a:lnTo>
                  <a:lnTo>
                    <a:pt x="4536912" y="744320"/>
                  </a:lnTo>
                  <a:lnTo>
                    <a:pt x="4807324" y="473209"/>
                  </a:lnTo>
                  <a:close/>
                  <a:moveTo>
                    <a:pt x="2616078" y="473209"/>
                  </a:moveTo>
                  <a:lnTo>
                    <a:pt x="2349859" y="476005"/>
                  </a:lnTo>
                  <a:lnTo>
                    <a:pt x="2079447" y="747116"/>
                  </a:lnTo>
                  <a:lnTo>
                    <a:pt x="2350558" y="1017528"/>
                  </a:lnTo>
                  <a:lnTo>
                    <a:pt x="2614681" y="1017528"/>
                  </a:lnTo>
                  <a:lnTo>
                    <a:pt x="2343570" y="747116"/>
                  </a:lnTo>
                  <a:close/>
                  <a:moveTo>
                    <a:pt x="161407" y="203496"/>
                  </a:moveTo>
                  <a:lnTo>
                    <a:pt x="432518" y="473908"/>
                  </a:lnTo>
                  <a:lnTo>
                    <a:pt x="429724" y="476704"/>
                  </a:lnTo>
                  <a:lnTo>
                    <a:pt x="339586" y="567539"/>
                  </a:lnTo>
                  <a:lnTo>
                    <a:pt x="162106" y="744320"/>
                  </a:lnTo>
                  <a:lnTo>
                    <a:pt x="426230" y="744320"/>
                  </a:lnTo>
                  <a:lnTo>
                    <a:pt x="515668" y="654882"/>
                  </a:lnTo>
                  <a:lnTo>
                    <a:pt x="696642" y="473908"/>
                  </a:lnTo>
                  <a:lnTo>
                    <a:pt x="425531" y="203496"/>
                  </a:lnTo>
                  <a:close/>
                  <a:moveTo>
                    <a:pt x="710617" y="202798"/>
                  </a:moveTo>
                  <a:lnTo>
                    <a:pt x="840582" y="332763"/>
                  </a:lnTo>
                  <a:lnTo>
                    <a:pt x="981029" y="472511"/>
                  </a:lnTo>
                  <a:lnTo>
                    <a:pt x="710617" y="743621"/>
                  </a:lnTo>
                  <a:lnTo>
                    <a:pt x="974740" y="743621"/>
                  </a:lnTo>
                  <a:lnTo>
                    <a:pt x="1245851" y="473209"/>
                  </a:lnTo>
                  <a:lnTo>
                    <a:pt x="974740" y="202798"/>
                  </a:lnTo>
                  <a:close/>
                  <a:moveTo>
                    <a:pt x="2906055" y="202099"/>
                  </a:moveTo>
                  <a:lnTo>
                    <a:pt x="3035322" y="329968"/>
                  </a:lnTo>
                  <a:lnTo>
                    <a:pt x="3035322" y="330667"/>
                  </a:lnTo>
                  <a:lnTo>
                    <a:pt x="3177166" y="472511"/>
                  </a:lnTo>
                  <a:lnTo>
                    <a:pt x="2906754" y="743621"/>
                  </a:lnTo>
                  <a:lnTo>
                    <a:pt x="3170178" y="743621"/>
                  </a:lnTo>
                  <a:lnTo>
                    <a:pt x="3440590" y="472511"/>
                  </a:lnTo>
                  <a:lnTo>
                    <a:pt x="3435000" y="466921"/>
                  </a:lnTo>
                  <a:lnTo>
                    <a:pt x="3434301" y="466921"/>
                  </a:lnTo>
                  <a:lnTo>
                    <a:pt x="3168781" y="202099"/>
                  </a:lnTo>
                  <a:close/>
                  <a:moveTo>
                    <a:pt x="1808336" y="202099"/>
                  </a:moveTo>
                  <a:lnTo>
                    <a:pt x="1810426" y="204887"/>
                  </a:lnTo>
                  <a:lnTo>
                    <a:pt x="1809733" y="204195"/>
                  </a:lnTo>
                  <a:lnTo>
                    <a:pt x="1810432" y="204894"/>
                  </a:lnTo>
                  <a:lnTo>
                    <a:pt x="1810426" y="204887"/>
                  </a:lnTo>
                  <a:lnTo>
                    <a:pt x="2068965" y="462729"/>
                  </a:lnTo>
                  <a:lnTo>
                    <a:pt x="2078748" y="471812"/>
                  </a:lnTo>
                  <a:lnTo>
                    <a:pt x="2080844" y="473908"/>
                  </a:lnTo>
                  <a:lnTo>
                    <a:pt x="1816022" y="743621"/>
                  </a:lnTo>
                  <a:lnTo>
                    <a:pt x="2075254" y="744320"/>
                  </a:lnTo>
                  <a:lnTo>
                    <a:pt x="2344968" y="473908"/>
                  </a:lnTo>
                  <a:lnTo>
                    <a:pt x="2209412" y="339051"/>
                  </a:lnTo>
                  <a:lnTo>
                    <a:pt x="2192643" y="322282"/>
                  </a:lnTo>
                  <a:lnTo>
                    <a:pt x="2073158" y="203496"/>
                  </a:lnTo>
                  <a:lnTo>
                    <a:pt x="2068965" y="202099"/>
                  </a:lnTo>
                  <a:close/>
                  <a:moveTo>
                    <a:pt x="1258428" y="202099"/>
                  </a:moveTo>
                  <a:lnTo>
                    <a:pt x="1529539" y="472511"/>
                  </a:lnTo>
                  <a:lnTo>
                    <a:pt x="1259127" y="743621"/>
                  </a:lnTo>
                  <a:lnTo>
                    <a:pt x="1523250" y="743621"/>
                  </a:lnTo>
                  <a:lnTo>
                    <a:pt x="1793662" y="472511"/>
                  </a:lnTo>
                  <a:lnTo>
                    <a:pt x="1522551" y="202099"/>
                  </a:lnTo>
                  <a:close/>
                  <a:moveTo>
                    <a:pt x="2621668" y="200701"/>
                  </a:moveTo>
                  <a:lnTo>
                    <a:pt x="2358243" y="201400"/>
                  </a:lnTo>
                  <a:lnTo>
                    <a:pt x="2627259" y="469716"/>
                  </a:lnTo>
                  <a:lnTo>
                    <a:pt x="2626560" y="470415"/>
                  </a:lnTo>
                  <a:lnTo>
                    <a:pt x="2627957" y="471812"/>
                  </a:lnTo>
                  <a:lnTo>
                    <a:pt x="2357544" y="742923"/>
                  </a:lnTo>
                  <a:lnTo>
                    <a:pt x="2621668" y="742923"/>
                  </a:lnTo>
                  <a:lnTo>
                    <a:pt x="2711805" y="652786"/>
                  </a:lnTo>
                  <a:lnTo>
                    <a:pt x="2891382" y="469716"/>
                  </a:lnTo>
                  <a:close/>
                  <a:moveTo>
                    <a:pt x="4001678" y="200003"/>
                  </a:moveTo>
                  <a:lnTo>
                    <a:pt x="4131644" y="329269"/>
                  </a:lnTo>
                  <a:lnTo>
                    <a:pt x="4272090" y="469716"/>
                  </a:lnTo>
                  <a:lnTo>
                    <a:pt x="4179158" y="563347"/>
                  </a:lnTo>
                  <a:lnTo>
                    <a:pt x="4179856" y="564046"/>
                  </a:lnTo>
                  <a:lnTo>
                    <a:pt x="4003075" y="741525"/>
                  </a:lnTo>
                  <a:lnTo>
                    <a:pt x="4265801" y="741525"/>
                  </a:lnTo>
                  <a:lnTo>
                    <a:pt x="4536213" y="470415"/>
                  </a:lnTo>
                  <a:lnTo>
                    <a:pt x="4265102" y="200003"/>
                  </a:lnTo>
                  <a:close/>
                  <a:moveTo>
                    <a:pt x="3453167" y="200003"/>
                  </a:moveTo>
                  <a:lnTo>
                    <a:pt x="3724278" y="470415"/>
                  </a:lnTo>
                  <a:lnTo>
                    <a:pt x="3724977" y="471113"/>
                  </a:lnTo>
                  <a:lnTo>
                    <a:pt x="3454565" y="742224"/>
                  </a:lnTo>
                  <a:lnTo>
                    <a:pt x="3718688" y="742224"/>
                  </a:lnTo>
                  <a:lnTo>
                    <a:pt x="3808127" y="652087"/>
                  </a:lnTo>
                  <a:lnTo>
                    <a:pt x="3807428" y="652087"/>
                  </a:lnTo>
                  <a:lnTo>
                    <a:pt x="3988403" y="471113"/>
                  </a:lnTo>
                  <a:lnTo>
                    <a:pt x="3983511" y="465523"/>
                  </a:lnTo>
                  <a:lnTo>
                    <a:pt x="3717291" y="200003"/>
                  </a:lnTo>
                  <a:close/>
                  <a:moveTo>
                    <a:pt x="348134" y="0"/>
                  </a:moveTo>
                  <a:lnTo>
                    <a:pt x="358615" y="0"/>
                  </a:lnTo>
                  <a:lnTo>
                    <a:pt x="162106" y="196509"/>
                  </a:lnTo>
                  <a:lnTo>
                    <a:pt x="426230" y="196509"/>
                  </a:lnTo>
                  <a:lnTo>
                    <a:pt x="622232" y="0"/>
                  </a:lnTo>
                  <a:lnTo>
                    <a:pt x="632006" y="0"/>
                  </a:lnTo>
                  <a:lnTo>
                    <a:pt x="432518" y="200003"/>
                  </a:lnTo>
                  <a:lnTo>
                    <a:pt x="704328" y="470415"/>
                  </a:lnTo>
                  <a:lnTo>
                    <a:pt x="967752" y="470415"/>
                  </a:lnTo>
                  <a:lnTo>
                    <a:pt x="837089" y="340449"/>
                  </a:lnTo>
                  <a:lnTo>
                    <a:pt x="696642" y="200003"/>
                  </a:lnTo>
                  <a:lnTo>
                    <a:pt x="896129" y="0"/>
                  </a:lnTo>
                  <a:lnTo>
                    <a:pt x="907318" y="0"/>
                  </a:lnTo>
                  <a:lnTo>
                    <a:pt x="711316" y="196509"/>
                  </a:lnTo>
                  <a:lnTo>
                    <a:pt x="974740" y="196509"/>
                  </a:lnTo>
                  <a:lnTo>
                    <a:pt x="1170742" y="0"/>
                  </a:lnTo>
                  <a:lnTo>
                    <a:pt x="1179819" y="0"/>
                  </a:lnTo>
                  <a:lnTo>
                    <a:pt x="981029" y="199304"/>
                  </a:lnTo>
                  <a:lnTo>
                    <a:pt x="1252140" y="469716"/>
                  </a:lnTo>
                  <a:lnTo>
                    <a:pt x="1516263" y="469716"/>
                  </a:lnTo>
                  <a:lnTo>
                    <a:pt x="1245152" y="199304"/>
                  </a:lnTo>
                  <a:lnTo>
                    <a:pt x="1443942" y="0"/>
                  </a:lnTo>
                  <a:lnTo>
                    <a:pt x="1453410" y="0"/>
                  </a:lnTo>
                  <a:lnTo>
                    <a:pt x="1436607" y="16933"/>
                  </a:lnTo>
                  <a:lnTo>
                    <a:pt x="1435908" y="16933"/>
                  </a:lnTo>
                  <a:lnTo>
                    <a:pt x="1258428" y="195111"/>
                  </a:lnTo>
                  <a:lnTo>
                    <a:pt x="1522551" y="195111"/>
                  </a:lnTo>
                  <a:lnTo>
                    <a:pt x="1717663" y="0"/>
                  </a:lnTo>
                  <a:lnTo>
                    <a:pt x="1728424" y="0"/>
                  </a:lnTo>
                  <a:lnTo>
                    <a:pt x="1620376" y="108468"/>
                  </a:lnTo>
                  <a:lnTo>
                    <a:pt x="1619677" y="108468"/>
                  </a:lnTo>
                  <a:lnTo>
                    <a:pt x="1529539" y="198605"/>
                  </a:lnTo>
                  <a:lnTo>
                    <a:pt x="1799951" y="469716"/>
                  </a:lnTo>
                  <a:lnTo>
                    <a:pt x="2064074" y="469716"/>
                  </a:lnTo>
                  <a:lnTo>
                    <a:pt x="1792964" y="199304"/>
                  </a:lnTo>
                  <a:lnTo>
                    <a:pt x="1977431" y="14837"/>
                  </a:lnTo>
                  <a:lnTo>
                    <a:pt x="1978130" y="14837"/>
                  </a:lnTo>
                  <a:lnTo>
                    <a:pt x="1992847" y="0"/>
                  </a:lnTo>
                  <a:lnTo>
                    <a:pt x="2002247" y="0"/>
                  </a:lnTo>
                  <a:lnTo>
                    <a:pt x="1808336" y="194412"/>
                  </a:lnTo>
                  <a:lnTo>
                    <a:pt x="2071761" y="194412"/>
                  </a:lnTo>
                  <a:lnTo>
                    <a:pt x="2266173" y="0"/>
                  </a:lnTo>
                  <a:lnTo>
                    <a:pt x="2277539" y="0"/>
                  </a:lnTo>
                  <a:lnTo>
                    <a:pt x="2078748" y="199304"/>
                  </a:lnTo>
                  <a:lnTo>
                    <a:pt x="2348461" y="468319"/>
                  </a:lnTo>
                  <a:lnTo>
                    <a:pt x="2611886" y="468319"/>
                  </a:lnTo>
                  <a:lnTo>
                    <a:pt x="2342872" y="199304"/>
                  </a:lnTo>
                  <a:lnTo>
                    <a:pt x="2343570" y="198605"/>
                  </a:lnTo>
                  <a:lnTo>
                    <a:pt x="2342173" y="197208"/>
                  </a:lnTo>
                  <a:lnTo>
                    <a:pt x="2538868" y="0"/>
                  </a:lnTo>
                  <a:lnTo>
                    <a:pt x="2552152" y="0"/>
                  </a:lnTo>
                  <a:lnTo>
                    <a:pt x="2358243" y="194412"/>
                  </a:lnTo>
                  <a:lnTo>
                    <a:pt x="2620271" y="194412"/>
                  </a:lnTo>
                  <a:lnTo>
                    <a:pt x="2814181" y="0"/>
                  </a:lnTo>
                  <a:lnTo>
                    <a:pt x="2825540" y="0"/>
                  </a:lnTo>
                  <a:lnTo>
                    <a:pt x="2628655" y="197906"/>
                  </a:lnTo>
                  <a:lnTo>
                    <a:pt x="2898368" y="466921"/>
                  </a:lnTo>
                  <a:lnTo>
                    <a:pt x="3163191" y="468319"/>
                  </a:lnTo>
                  <a:lnTo>
                    <a:pt x="2892081" y="197906"/>
                  </a:lnTo>
                  <a:lnTo>
                    <a:pt x="2890683" y="196509"/>
                  </a:lnTo>
                  <a:lnTo>
                    <a:pt x="3086683" y="0"/>
                  </a:lnTo>
                  <a:lnTo>
                    <a:pt x="3097556" y="0"/>
                  </a:lnTo>
                  <a:lnTo>
                    <a:pt x="3082137" y="15536"/>
                  </a:lnTo>
                  <a:lnTo>
                    <a:pt x="3082836" y="16235"/>
                  </a:lnTo>
                  <a:lnTo>
                    <a:pt x="2906754" y="192317"/>
                  </a:lnTo>
                  <a:lnTo>
                    <a:pt x="3103099" y="192317"/>
                  </a:lnTo>
                  <a:lnTo>
                    <a:pt x="3102401" y="193714"/>
                  </a:lnTo>
                  <a:lnTo>
                    <a:pt x="3168083" y="193714"/>
                  </a:lnTo>
                  <a:lnTo>
                    <a:pt x="3361298" y="0"/>
                  </a:lnTo>
                  <a:lnTo>
                    <a:pt x="3371863" y="0"/>
                  </a:lnTo>
                  <a:lnTo>
                    <a:pt x="3264508" y="107769"/>
                  </a:lnTo>
                  <a:lnTo>
                    <a:pt x="3265906" y="108468"/>
                  </a:lnTo>
                  <a:lnTo>
                    <a:pt x="3176467" y="197906"/>
                  </a:lnTo>
                  <a:lnTo>
                    <a:pt x="3446879" y="467620"/>
                  </a:lnTo>
                  <a:lnTo>
                    <a:pt x="3710303" y="467620"/>
                  </a:lnTo>
                  <a:lnTo>
                    <a:pt x="3439891" y="197906"/>
                  </a:lnTo>
                  <a:lnTo>
                    <a:pt x="3439193" y="197208"/>
                  </a:lnTo>
                  <a:lnTo>
                    <a:pt x="3635893" y="0"/>
                  </a:lnTo>
                  <a:lnTo>
                    <a:pt x="3646183" y="0"/>
                  </a:lnTo>
                  <a:lnTo>
                    <a:pt x="3453167" y="193016"/>
                  </a:lnTo>
                  <a:lnTo>
                    <a:pt x="3717291" y="193016"/>
                  </a:lnTo>
                  <a:lnTo>
                    <a:pt x="3910306" y="0"/>
                  </a:lnTo>
                  <a:lnTo>
                    <a:pt x="3919582" y="0"/>
                  </a:lnTo>
                  <a:lnTo>
                    <a:pt x="3723579" y="196509"/>
                  </a:lnTo>
                  <a:lnTo>
                    <a:pt x="3994690" y="466921"/>
                  </a:lnTo>
                  <a:lnTo>
                    <a:pt x="4258116" y="466921"/>
                  </a:lnTo>
                  <a:lnTo>
                    <a:pt x="4128150" y="336956"/>
                  </a:lnTo>
                  <a:lnTo>
                    <a:pt x="3987703" y="196509"/>
                  </a:lnTo>
                  <a:lnTo>
                    <a:pt x="4183705" y="0"/>
                  </a:lnTo>
                  <a:lnTo>
                    <a:pt x="4194197" y="0"/>
                  </a:lnTo>
                  <a:lnTo>
                    <a:pt x="4002377" y="192317"/>
                  </a:lnTo>
                  <a:lnTo>
                    <a:pt x="4265801" y="192317"/>
                  </a:lnTo>
                  <a:lnTo>
                    <a:pt x="4457622" y="0"/>
                  </a:lnTo>
                  <a:lnTo>
                    <a:pt x="4467396" y="0"/>
                  </a:lnTo>
                  <a:lnTo>
                    <a:pt x="4272090" y="195810"/>
                  </a:lnTo>
                  <a:lnTo>
                    <a:pt x="4543201" y="466222"/>
                  </a:lnTo>
                  <a:lnTo>
                    <a:pt x="4807324" y="466222"/>
                  </a:lnTo>
                  <a:lnTo>
                    <a:pt x="4536213" y="195810"/>
                  </a:lnTo>
                  <a:lnTo>
                    <a:pt x="4731518" y="0"/>
                  </a:lnTo>
                  <a:lnTo>
                    <a:pt x="4741806" y="0"/>
                  </a:lnTo>
                  <a:lnTo>
                    <a:pt x="4549489" y="192317"/>
                  </a:lnTo>
                  <a:lnTo>
                    <a:pt x="4813613" y="192317"/>
                  </a:lnTo>
                  <a:lnTo>
                    <a:pt x="4823396" y="182534"/>
                  </a:lnTo>
                  <a:lnTo>
                    <a:pt x="4823396" y="193016"/>
                  </a:lnTo>
                  <a:lnTo>
                    <a:pt x="4820600" y="195810"/>
                  </a:lnTo>
                  <a:lnTo>
                    <a:pt x="4823396" y="198605"/>
                  </a:lnTo>
                  <a:lnTo>
                    <a:pt x="4823396" y="209086"/>
                  </a:lnTo>
                  <a:lnTo>
                    <a:pt x="4814311" y="200003"/>
                  </a:lnTo>
                  <a:lnTo>
                    <a:pt x="4550188" y="200003"/>
                  </a:lnTo>
                  <a:lnTo>
                    <a:pt x="4821299" y="470415"/>
                  </a:lnTo>
                  <a:lnTo>
                    <a:pt x="4550887" y="741525"/>
                  </a:lnTo>
                  <a:lnTo>
                    <a:pt x="4815010" y="741525"/>
                  </a:lnTo>
                  <a:lnTo>
                    <a:pt x="4823396" y="732442"/>
                  </a:lnTo>
                  <a:lnTo>
                    <a:pt x="4823396" y="742224"/>
                  </a:lnTo>
                  <a:lnTo>
                    <a:pt x="4821299" y="744320"/>
                  </a:lnTo>
                  <a:lnTo>
                    <a:pt x="4823396" y="746417"/>
                  </a:lnTo>
                  <a:lnTo>
                    <a:pt x="4823396" y="756898"/>
                  </a:lnTo>
                  <a:lnTo>
                    <a:pt x="4814311" y="747814"/>
                  </a:lnTo>
                  <a:lnTo>
                    <a:pt x="4550188" y="747814"/>
                  </a:lnTo>
                  <a:lnTo>
                    <a:pt x="4821299" y="1018227"/>
                  </a:lnTo>
                  <a:lnTo>
                    <a:pt x="4821998" y="1018924"/>
                  </a:lnTo>
                  <a:lnTo>
                    <a:pt x="4551586" y="1290035"/>
                  </a:lnTo>
                  <a:lnTo>
                    <a:pt x="4815709" y="1290035"/>
                  </a:lnTo>
                  <a:lnTo>
                    <a:pt x="4823396" y="1282349"/>
                  </a:lnTo>
                  <a:lnTo>
                    <a:pt x="4823396" y="1292831"/>
                  </a:lnTo>
                  <a:lnTo>
                    <a:pt x="4822697" y="1293530"/>
                  </a:lnTo>
                  <a:lnTo>
                    <a:pt x="4823396" y="1294228"/>
                  </a:lnTo>
                  <a:lnTo>
                    <a:pt x="4823396" y="1304010"/>
                  </a:lnTo>
                  <a:lnTo>
                    <a:pt x="4815709" y="1296324"/>
                  </a:lnTo>
                  <a:lnTo>
                    <a:pt x="4551586" y="1297023"/>
                  </a:lnTo>
                  <a:lnTo>
                    <a:pt x="4823396" y="1566736"/>
                  </a:lnTo>
                  <a:lnTo>
                    <a:pt x="4552984" y="1837847"/>
                  </a:lnTo>
                  <a:lnTo>
                    <a:pt x="4817107" y="1837847"/>
                  </a:lnTo>
                  <a:lnTo>
                    <a:pt x="4824094" y="1830859"/>
                  </a:lnTo>
                  <a:lnTo>
                    <a:pt x="4824094" y="1841341"/>
                  </a:lnTo>
                  <a:lnTo>
                    <a:pt x="4824094" y="1851822"/>
                  </a:lnTo>
                  <a:lnTo>
                    <a:pt x="4817107" y="1844834"/>
                  </a:lnTo>
                  <a:lnTo>
                    <a:pt x="4552984" y="1844834"/>
                  </a:lnTo>
                  <a:lnTo>
                    <a:pt x="4824094" y="2115246"/>
                  </a:lnTo>
                  <a:lnTo>
                    <a:pt x="4821299" y="2118042"/>
                  </a:lnTo>
                  <a:lnTo>
                    <a:pt x="4731162" y="2208877"/>
                  </a:lnTo>
                  <a:lnTo>
                    <a:pt x="4553682" y="2386357"/>
                  </a:lnTo>
                  <a:lnTo>
                    <a:pt x="4817806" y="2386357"/>
                  </a:lnTo>
                  <a:lnTo>
                    <a:pt x="4824094" y="2380068"/>
                  </a:lnTo>
                  <a:lnTo>
                    <a:pt x="4824094" y="2398934"/>
                  </a:lnTo>
                  <a:lnTo>
                    <a:pt x="4817806" y="2392646"/>
                  </a:lnTo>
                  <a:lnTo>
                    <a:pt x="4553682" y="2392646"/>
                  </a:lnTo>
                  <a:lnTo>
                    <a:pt x="4824094" y="2662359"/>
                  </a:lnTo>
                  <a:lnTo>
                    <a:pt x="4824094" y="2663757"/>
                  </a:lnTo>
                  <a:lnTo>
                    <a:pt x="4554381" y="2934169"/>
                  </a:lnTo>
                  <a:lnTo>
                    <a:pt x="4817806" y="2934169"/>
                  </a:lnTo>
                  <a:lnTo>
                    <a:pt x="4823396" y="2928579"/>
                  </a:lnTo>
                  <a:lnTo>
                    <a:pt x="4823396" y="2947445"/>
                  </a:lnTo>
                  <a:lnTo>
                    <a:pt x="4817806" y="2941855"/>
                  </a:lnTo>
                  <a:lnTo>
                    <a:pt x="4554381" y="2941855"/>
                  </a:lnTo>
                  <a:lnTo>
                    <a:pt x="4684346" y="3071820"/>
                  </a:lnTo>
                  <a:lnTo>
                    <a:pt x="4823396" y="3210869"/>
                  </a:lnTo>
                  <a:lnTo>
                    <a:pt x="4823396" y="3213665"/>
                  </a:lnTo>
                  <a:lnTo>
                    <a:pt x="4554381" y="3483378"/>
                  </a:lnTo>
                  <a:lnTo>
                    <a:pt x="4818505" y="3483378"/>
                  </a:lnTo>
                  <a:lnTo>
                    <a:pt x="4823396" y="3478487"/>
                  </a:lnTo>
                  <a:lnTo>
                    <a:pt x="4823396" y="3495256"/>
                  </a:lnTo>
                  <a:lnTo>
                    <a:pt x="4818505" y="3490365"/>
                  </a:lnTo>
                  <a:lnTo>
                    <a:pt x="4554381" y="3490365"/>
                  </a:lnTo>
                  <a:lnTo>
                    <a:pt x="4555778" y="3491762"/>
                  </a:lnTo>
                  <a:lnTo>
                    <a:pt x="4823396" y="3758681"/>
                  </a:lnTo>
                  <a:lnTo>
                    <a:pt x="4823396" y="3762174"/>
                  </a:lnTo>
                  <a:lnTo>
                    <a:pt x="4555828" y="4030438"/>
                  </a:lnTo>
                  <a:lnTo>
                    <a:pt x="4817996" y="4030438"/>
                  </a:lnTo>
                  <a:lnTo>
                    <a:pt x="4828476" y="4019957"/>
                  </a:lnTo>
                  <a:lnTo>
                    <a:pt x="4828476" y="4030438"/>
                  </a:lnTo>
                  <a:lnTo>
                    <a:pt x="4824983" y="4033931"/>
                  </a:lnTo>
                  <a:lnTo>
                    <a:pt x="4828476" y="4037426"/>
                  </a:lnTo>
                  <a:lnTo>
                    <a:pt x="4828476" y="4047906"/>
                  </a:lnTo>
                  <a:lnTo>
                    <a:pt x="4823396" y="4042826"/>
                  </a:lnTo>
                  <a:lnTo>
                    <a:pt x="4823396" y="4043068"/>
                  </a:lnTo>
                  <a:lnTo>
                    <a:pt x="4819202" y="4038876"/>
                  </a:lnTo>
                  <a:lnTo>
                    <a:pt x="4555321" y="4038876"/>
                  </a:lnTo>
                  <a:lnTo>
                    <a:pt x="4555968" y="4039522"/>
                  </a:lnTo>
                  <a:lnTo>
                    <a:pt x="4825681" y="4308536"/>
                  </a:lnTo>
                  <a:lnTo>
                    <a:pt x="4554570" y="4579647"/>
                  </a:lnTo>
                  <a:lnTo>
                    <a:pt x="4818693" y="4579647"/>
                  </a:lnTo>
                  <a:lnTo>
                    <a:pt x="4828476" y="4569864"/>
                  </a:lnTo>
                  <a:lnTo>
                    <a:pt x="4828476" y="4580346"/>
                  </a:lnTo>
                  <a:lnTo>
                    <a:pt x="4825681" y="4583140"/>
                  </a:lnTo>
                  <a:lnTo>
                    <a:pt x="4828476" y="4585936"/>
                  </a:lnTo>
                  <a:lnTo>
                    <a:pt x="4828476" y="4596417"/>
                  </a:lnTo>
                  <a:lnTo>
                    <a:pt x="4819392" y="4587334"/>
                  </a:lnTo>
                  <a:lnTo>
                    <a:pt x="4555269" y="4587334"/>
                  </a:lnTo>
                  <a:lnTo>
                    <a:pt x="4826380" y="4857746"/>
                  </a:lnTo>
                  <a:lnTo>
                    <a:pt x="4555968" y="5128855"/>
                  </a:lnTo>
                  <a:lnTo>
                    <a:pt x="4820091" y="5128855"/>
                  </a:lnTo>
                  <a:lnTo>
                    <a:pt x="4828476" y="5119772"/>
                  </a:lnTo>
                  <a:lnTo>
                    <a:pt x="4828476" y="5129554"/>
                  </a:lnTo>
                  <a:lnTo>
                    <a:pt x="4826380" y="5131651"/>
                  </a:lnTo>
                  <a:lnTo>
                    <a:pt x="4828476" y="5133747"/>
                  </a:lnTo>
                  <a:lnTo>
                    <a:pt x="4828476" y="5144228"/>
                  </a:lnTo>
                  <a:lnTo>
                    <a:pt x="4819392" y="5135144"/>
                  </a:lnTo>
                  <a:lnTo>
                    <a:pt x="4555269" y="5135144"/>
                  </a:lnTo>
                  <a:lnTo>
                    <a:pt x="4826380" y="5405557"/>
                  </a:lnTo>
                  <a:lnTo>
                    <a:pt x="4827079" y="5406255"/>
                  </a:lnTo>
                  <a:lnTo>
                    <a:pt x="4556667" y="5677366"/>
                  </a:lnTo>
                  <a:lnTo>
                    <a:pt x="4820790" y="5677366"/>
                  </a:lnTo>
                  <a:lnTo>
                    <a:pt x="4828476" y="5669679"/>
                  </a:lnTo>
                  <a:lnTo>
                    <a:pt x="4828476" y="5680161"/>
                  </a:lnTo>
                  <a:lnTo>
                    <a:pt x="4827778" y="5680860"/>
                  </a:lnTo>
                  <a:lnTo>
                    <a:pt x="4828476" y="5681559"/>
                  </a:lnTo>
                  <a:lnTo>
                    <a:pt x="4828476" y="5691341"/>
                  </a:lnTo>
                  <a:lnTo>
                    <a:pt x="4820790" y="5683654"/>
                  </a:lnTo>
                  <a:lnTo>
                    <a:pt x="4556667" y="5684353"/>
                  </a:lnTo>
                  <a:lnTo>
                    <a:pt x="4828476" y="5954066"/>
                  </a:lnTo>
                  <a:lnTo>
                    <a:pt x="4558064" y="6225177"/>
                  </a:lnTo>
                  <a:lnTo>
                    <a:pt x="4822188" y="6225177"/>
                  </a:lnTo>
                  <a:lnTo>
                    <a:pt x="4829175" y="6218190"/>
                  </a:lnTo>
                  <a:lnTo>
                    <a:pt x="4829175" y="6228671"/>
                  </a:lnTo>
                  <a:lnTo>
                    <a:pt x="4829175" y="6239152"/>
                  </a:lnTo>
                  <a:lnTo>
                    <a:pt x="4822188" y="6232165"/>
                  </a:lnTo>
                  <a:lnTo>
                    <a:pt x="4558064" y="6232165"/>
                  </a:lnTo>
                  <a:lnTo>
                    <a:pt x="4829175" y="6502577"/>
                  </a:lnTo>
                  <a:lnTo>
                    <a:pt x="4826380" y="6505372"/>
                  </a:lnTo>
                  <a:lnTo>
                    <a:pt x="4816727" y="6515100"/>
                  </a:lnTo>
                  <a:lnTo>
                    <a:pt x="4806802" y="6515100"/>
                  </a:lnTo>
                  <a:lnTo>
                    <a:pt x="4815200" y="6506770"/>
                  </a:lnTo>
                  <a:lnTo>
                    <a:pt x="4551077" y="6506770"/>
                  </a:lnTo>
                  <a:lnTo>
                    <a:pt x="4542768" y="6515100"/>
                  </a:lnTo>
                  <a:lnTo>
                    <a:pt x="4531598" y="6515100"/>
                  </a:lnTo>
                  <a:lnTo>
                    <a:pt x="4544089" y="6502577"/>
                  </a:lnTo>
                  <a:lnTo>
                    <a:pt x="4539198" y="6497686"/>
                  </a:lnTo>
                  <a:lnTo>
                    <a:pt x="4273677" y="6232165"/>
                  </a:lnTo>
                  <a:lnTo>
                    <a:pt x="4009554" y="6232165"/>
                  </a:lnTo>
                  <a:lnTo>
                    <a:pt x="4010952" y="6233562"/>
                  </a:lnTo>
                  <a:lnTo>
                    <a:pt x="4279966" y="6502577"/>
                  </a:lnTo>
                  <a:lnTo>
                    <a:pt x="4267475" y="6515100"/>
                  </a:lnTo>
                  <a:lnTo>
                    <a:pt x="4259077" y="6515100"/>
                  </a:lnTo>
                  <a:lnTo>
                    <a:pt x="4266690" y="6507468"/>
                  </a:lnTo>
                  <a:lnTo>
                    <a:pt x="4002566" y="6507468"/>
                  </a:lnTo>
                  <a:lnTo>
                    <a:pt x="3994954" y="6515100"/>
                  </a:lnTo>
                  <a:lnTo>
                    <a:pt x="3983089" y="6515100"/>
                  </a:lnTo>
                  <a:lnTo>
                    <a:pt x="3996278" y="6501878"/>
                  </a:lnTo>
                  <a:lnTo>
                    <a:pt x="3862819" y="6369115"/>
                  </a:lnTo>
                  <a:lnTo>
                    <a:pt x="3865614" y="6363527"/>
                  </a:lnTo>
                  <a:lnTo>
                    <a:pt x="3864915" y="6362829"/>
                  </a:lnTo>
                  <a:lnTo>
                    <a:pt x="3865614" y="6361432"/>
                  </a:lnTo>
                  <a:lnTo>
                    <a:pt x="4002566" y="6498385"/>
                  </a:lnTo>
                  <a:lnTo>
                    <a:pt x="4266690" y="6498385"/>
                  </a:lnTo>
                  <a:lnTo>
                    <a:pt x="3995579" y="6227973"/>
                  </a:lnTo>
                  <a:lnTo>
                    <a:pt x="3996977" y="6226575"/>
                  </a:lnTo>
                  <a:lnTo>
                    <a:pt x="4265292" y="5957561"/>
                  </a:lnTo>
                  <a:lnTo>
                    <a:pt x="4066851" y="5957561"/>
                  </a:lnTo>
                  <a:lnTo>
                    <a:pt x="4070344" y="5950573"/>
                  </a:lnTo>
                  <a:lnTo>
                    <a:pt x="4265292" y="5950573"/>
                  </a:lnTo>
                  <a:lnTo>
                    <a:pt x="4135327" y="5820608"/>
                  </a:lnTo>
                  <a:lnTo>
                    <a:pt x="4138820" y="5813620"/>
                  </a:lnTo>
                  <a:lnTo>
                    <a:pt x="4279267" y="5954066"/>
                  </a:lnTo>
                  <a:lnTo>
                    <a:pt x="4008855" y="6225177"/>
                  </a:lnTo>
                  <a:lnTo>
                    <a:pt x="4272979" y="6225177"/>
                  </a:lnTo>
                  <a:lnTo>
                    <a:pt x="4543391" y="5954066"/>
                  </a:lnTo>
                  <a:lnTo>
                    <a:pt x="4272280" y="5684353"/>
                  </a:lnTo>
                  <a:lnTo>
                    <a:pt x="4203803" y="5684353"/>
                  </a:lnTo>
                  <a:lnTo>
                    <a:pt x="4008855" y="5684353"/>
                  </a:lnTo>
                  <a:lnTo>
                    <a:pt x="4138121" y="5814319"/>
                  </a:lnTo>
                  <a:lnTo>
                    <a:pt x="4134628" y="5821306"/>
                  </a:lnTo>
                  <a:lnTo>
                    <a:pt x="3994181" y="5680860"/>
                  </a:lnTo>
                  <a:lnTo>
                    <a:pt x="4264593" y="5409749"/>
                  </a:lnTo>
                  <a:lnTo>
                    <a:pt x="4000470" y="5409749"/>
                  </a:lnTo>
                  <a:lnTo>
                    <a:pt x="3730058" y="5680860"/>
                  </a:lnTo>
                  <a:lnTo>
                    <a:pt x="4001169" y="5951272"/>
                  </a:lnTo>
                  <a:lnTo>
                    <a:pt x="4069645" y="5951272"/>
                  </a:lnTo>
                  <a:lnTo>
                    <a:pt x="4066152" y="5958259"/>
                  </a:lnTo>
                  <a:lnTo>
                    <a:pt x="4001169" y="5958259"/>
                  </a:lnTo>
                  <a:lnTo>
                    <a:pt x="3820894" y="6139233"/>
                  </a:lnTo>
                  <a:lnTo>
                    <a:pt x="3731456" y="6229370"/>
                  </a:lnTo>
                  <a:lnTo>
                    <a:pt x="3864915" y="6362829"/>
                  </a:lnTo>
                  <a:lnTo>
                    <a:pt x="3862120" y="6368418"/>
                  </a:lnTo>
                  <a:lnTo>
                    <a:pt x="3862819" y="6369115"/>
                  </a:lnTo>
                  <a:lnTo>
                    <a:pt x="3862120" y="6370515"/>
                  </a:lnTo>
                  <a:lnTo>
                    <a:pt x="3725167" y="6233562"/>
                  </a:lnTo>
                  <a:lnTo>
                    <a:pt x="3461044" y="6233562"/>
                  </a:lnTo>
                  <a:lnTo>
                    <a:pt x="3732154" y="6503974"/>
                  </a:lnTo>
                  <a:lnTo>
                    <a:pt x="3721057" y="6515100"/>
                  </a:lnTo>
                  <a:lnTo>
                    <a:pt x="3710566" y="6515100"/>
                  </a:lnTo>
                  <a:lnTo>
                    <a:pt x="3718179" y="6507468"/>
                  </a:lnTo>
                  <a:lnTo>
                    <a:pt x="3454056" y="6507468"/>
                  </a:lnTo>
                  <a:lnTo>
                    <a:pt x="3446443" y="6515100"/>
                  </a:lnTo>
                  <a:lnTo>
                    <a:pt x="3437367" y="6515100"/>
                  </a:lnTo>
                  <a:lnTo>
                    <a:pt x="3447767" y="6504673"/>
                  </a:lnTo>
                  <a:lnTo>
                    <a:pt x="3176657" y="6234261"/>
                  </a:lnTo>
                  <a:lnTo>
                    <a:pt x="2912533" y="6234261"/>
                  </a:lnTo>
                  <a:lnTo>
                    <a:pt x="3183644" y="6504673"/>
                  </a:lnTo>
                  <a:lnTo>
                    <a:pt x="3173244" y="6515100"/>
                  </a:lnTo>
                  <a:lnTo>
                    <a:pt x="3163450" y="6515100"/>
                  </a:lnTo>
                  <a:lnTo>
                    <a:pt x="3169669" y="6508865"/>
                  </a:lnTo>
                  <a:lnTo>
                    <a:pt x="2905546" y="6508865"/>
                  </a:lnTo>
                  <a:lnTo>
                    <a:pt x="2899327" y="6515100"/>
                  </a:lnTo>
                  <a:lnTo>
                    <a:pt x="2889554" y="6515100"/>
                  </a:lnTo>
                  <a:lnTo>
                    <a:pt x="2899257" y="6505372"/>
                  </a:lnTo>
                  <a:lnTo>
                    <a:pt x="2628146" y="6234960"/>
                  </a:lnTo>
                  <a:lnTo>
                    <a:pt x="2364722" y="6234960"/>
                  </a:lnTo>
                  <a:lnTo>
                    <a:pt x="2494687" y="6364925"/>
                  </a:lnTo>
                  <a:lnTo>
                    <a:pt x="2635134" y="6505372"/>
                  </a:lnTo>
                  <a:lnTo>
                    <a:pt x="2625431" y="6515100"/>
                  </a:lnTo>
                  <a:lnTo>
                    <a:pt x="2614938" y="6515100"/>
                  </a:lnTo>
                  <a:lnTo>
                    <a:pt x="2620460" y="6509564"/>
                  </a:lnTo>
                  <a:lnTo>
                    <a:pt x="2357035" y="6509564"/>
                  </a:lnTo>
                  <a:lnTo>
                    <a:pt x="2351521" y="6515100"/>
                  </a:lnTo>
                  <a:lnTo>
                    <a:pt x="2341019" y="6515100"/>
                  </a:lnTo>
                  <a:lnTo>
                    <a:pt x="2350747" y="6505372"/>
                  </a:lnTo>
                  <a:lnTo>
                    <a:pt x="2079636" y="6234960"/>
                  </a:lnTo>
                  <a:lnTo>
                    <a:pt x="1815513" y="6234960"/>
                  </a:lnTo>
                  <a:lnTo>
                    <a:pt x="2086623" y="6505372"/>
                  </a:lnTo>
                  <a:lnTo>
                    <a:pt x="2083829" y="6508166"/>
                  </a:lnTo>
                  <a:lnTo>
                    <a:pt x="2076948" y="6515100"/>
                  </a:lnTo>
                  <a:lnTo>
                    <a:pt x="2067112" y="6515100"/>
                  </a:lnTo>
                  <a:lnTo>
                    <a:pt x="2072648" y="6509564"/>
                  </a:lnTo>
                  <a:lnTo>
                    <a:pt x="1808526" y="6509564"/>
                  </a:lnTo>
                  <a:lnTo>
                    <a:pt x="1803004" y="6515100"/>
                  </a:lnTo>
                  <a:lnTo>
                    <a:pt x="1792532" y="6515100"/>
                  </a:lnTo>
                  <a:lnTo>
                    <a:pt x="1801539" y="6506071"/>
                  </a:lnTo>
                  <a:lnTo>
                    <a:pt x="1796647" y="6501179"/>
                  </a:lnTo>
                  <a:lnTo>
                    <a:pt x="1531127" y="6236358"/>
                  </a:lnTo>
                  <a:lnTo>
                    <a:pt x="1267002" y="6236358"/>
                  </a:lnTo>
                  <a:lnTo>
                    <a:pt x="1267701" y="6237056"/>
                  </a:lnTo>
                  <a:lnTo>
                    <a:pt x="1268400" y="6237056"/>
                  </a:lnTo>
                  <a:lnTo>
                    <a:pt x="1537414" y="6506071"/>
                  </a:lnTo>
                  <a:lnTo>
                    <a:pt x="1528408" y="6515100"/>
                  </a:lnTo>
                  <a:lnTo>
                    <a:pt x="1520000" y="6515100"/>
                  </a:lnTo>
                  <a:lnTo>
                    <a:pt x="1524838" y="6510263"/>
                  </a:lnTo>
                  <a:lnTo>
                    <a:pt x="1260714" y="6510263"/>
                  </a:lnTo>
                  <a:lnTo>
                    <a:pt x="1255889" y="6515100"/>
                  </a:lnTo>
                  <a:lnTo>
                    <a:pt x="1243300" y="6515100"/>
                  </a:lnTo>
                  <a:lnTo>
                    <a:pt x="1252329" y="6506071"/>
                  </a:lnTo>
                  <a:lnTo>
                    <a:pt x="1119569" y="6374009"/>
                  </a:lnTo>
                  <a:lnTo>
                    <a:pt x="981219" y="6235659"/>
                  </a:lnTo>
                  <a:lnTo>
                    <a:pt x="717095" y="6235659"/>
                  </a:lnTo>
                  <a:lnTo>
                    <a:pt x="988206" y="6505372"/>
                  </a:lnTo>
                  <a:lnTo>
                    <a:pt x="985411" y="6508166"/>
                  </a:lnTo>
                  <a:lnTo>
                    <a:pt x="978530" y="6515100"/>
                  </a:lnTo>
                  <a:lnTo>
                    <a:pt x="969394" y="6515100"/>
                  </a:lnTo>
                  <a:lnTo>
                    <a:pt x="974930" y="6509564"/>
                  </a:lnTo>
                  <a:lnTo>
                    <a:pt x="716396" y="6509564"/>
                  </a:lnTo>
                  <a:lnTo>
                    <a:pt x="714941" y="6508865"/>
                  </a:lnTo>
                  <a:lnTo>
                    <a:pt x="716396" y="6508865"/>
                  </a:lnTo>
                  <a:lnTo>
                    <a:pt x="698928" y="6500480"/>
                  </a:lnTo>
                  <a:lnTo>
                    <a:pt x="700271" y="6501824"/>
                  </a:lnTo>
                  <a:lnTo>
                    <a:pt x="698928" y="6501179"/>
                  </a:lnTo>
                  <a:lnTo>
                    <a:pt x="433407" y="6236358"/>
                  </a:lnTo>
                  <a:lnTo>
                    <a:pt x="169284" y="6236358"/>
                  </a:lnTo>
                  <a:lnTo>
                    <a:pt x="170681" y="6237754"/>
                  </a:lnTo>
                  <a:lnTo>
                    <a:pt x="439696" y="6506770"/>
                  </a:lnTo>
                  <a:lnTo>
                    <a:pt x="431344" y="6515100"/>
                  </a:lnTo>
                  <a:lnTo>
                    <a:pt x="420908" y="6515100"/>
                  </a:lnTo>
                  <a:lnTo>
                    <a:pt x="425721" y="6510263"/>
                  </a:lnTo>
                  <a:lnTo>
                    <a:pt x="161597" y="6510263"/>
                  </a:lnTo>
                  <a:lnTo>
                    <a:pt x="156781" y="6515100"/>
                  </a:lnTo>
                  <a:lnTo>
                    <a:pt x="146978" y="6515100"/>
                  </a:lnTo>
                  <a:lnTo>
                    <a:pt x="155309" y="6506770"/>
                  </a:lnTo>
                  <a:lnTo>
                    <a:pt x="21150" y="6373310"/>
                  </a:lnTo>
                  <a:lnTo>
                    <a:pt x="5080" y="6357239"/>
                  </a:lnTo>
                  <a:lnTo>
                    <a:pt x="5080" y="6347457"/>
                  </a:lnTo>
                  <a:lnTo>
                    <a:pt x="24645" y="6367022"/>
                  </a:lnTo>
                  <a:lnTo>
                    <a:pt x="161597" y="6503275"/>
                  </a:lnTo>
                  <a:lnTo>
                    <a:pt x="425721" y="6503275"/>
                  </a:lnTo>
                  <a:lnTo>
                    <a:pt x="154610" y="6232863"/>
                  </a:lnTo>
                  <a:lnTo>
                    <a:pt x="156008" y="6231466"/>
                  </a:lnTo>
                  <a:lnTo>
                    <a:pt x="156706" y="6231466"/>
                  </a:lnTo>
                  <a:lnTo>
                    <a:pt x="425022" y="5962452"/>
                  </a:lnTo>
                  <a:lnTo>
                    <a:pt x="161597" y="5962452"/>
                  </a:lnTo>
                  <a:lnTo>
                    <a:pt x="5080" y="6118969"/>
                  </a:lnTo>
                  <a:lnTo>
                    <a:pt x="5080" y="6108488"/>
                  </a:lnTo>
                  <a:lnTo>
                    <a:pt x="154610" y="5958957"/>
                  </a:lnTo>
                  <a:lnTo>
                    <a:pt x="5080" y="5809427"/>
                  </a:lnTo>
                  <a:lnTo>
                    <a:pt x="5080" y="5798947"/>
                  </a:lnTo>
                  <a:lnTo>
                    <a:pt x="161597" y="5954765"/>
                  </a:lnTo>
                  <a:lnTo>
                    <a:pt x="425022" y="5954765"/>
                  </a:lnTo>
                  <a:lnTo>
                    <a:pt x="295057" y="5824800"/>
                  </a:lnTo>
                  <a:lnTo>
                    <a:pt x="154610" y="5684353"/>
                  </a:lnTo>
                  <a:lnTo>
                    <a:pt x="425022" y="5413941"/>
                  </a:lnTo>
                  <a:lnTo>
                    <a:pt x="160898" y="5413941"/>
                  </a:lnTo>
                  <a:lnTo>
                    <a:pt x="5080" y="5569760"/>
                  </a:lnTo>
                  <a:lnTo>
                    <a:pt x="5080" y="5559279"/>
                  </a:lnTo>
                  <a:lnTo>
                    <a:pt x="153911" y="5410448"/>
                  </a:lnTo>
                  <a:lnTo>
                    <a:pt x="5080" y="5261616"/>
                  </a:lnTo>
                  <a:lnTo>
                    <a:pt x="5080" y="5251135"/>
                  </a:lnTo>
                  <a:lnTo>
                    <a:pt x="160898" y="5406255"/>
                  </a:lnTo>
                  <a:lnTo>
                    <a:pt x="425022" y="5406255"/>
                  </a:lnTo>
                  <a:lnTo>
                    <a:pt x="153911" y="5135843"/>
                  </a:lnTo>
                  <a:lnTo>
                    <a:pt x="338378" y="4951376"/>
                  </a:lnTo>
                  <a:lnTo>
                    <a:pt x="424323" y="4865431"/>
                  </a:lnTo>
                  <a:lnTo>
                    <a:pt x="160200" y="4865431"/>
                  </a:lnTo>
                  <a:lnTo>
                    <a:pt x="5080" y="5020552"/>
                  </a:lnTo>
                  <a:lnTo>
                    <a:pt x="5080" y="5010070"/>
                  </a:lnTo>
                  <a:lnTo>
                    <a:pt x="153212" y="4861239"/>
                  </a:lnTo>
                  <a:lnTo>
                    <a:pt x="148321" y="4856348"/>
                  </a:lnTo>
                  <a:lnTo>
                    <a:pt x="5080" y="4713804"/>
                  </a:lnTo>
                  <a:lnTo>
                    <a:pt x="5080" y="4704023"/>
                  </a:lnTo>
                  <a:lnTo>
                    <a:pt x="160200" y="4858443"/>
                  </a:lnTo>
                  <a:lnTo>
                    <a:pt x="424323" y="4857746"/>
                  </a:lnTo>
                  <a:lnTo>
                    <a:pt x="153212" y="4587334"/>
                  </a:lnTo>
                  <a:lnTo>
                    <a:pt x="423624" y="4316922"/>
                  </a:lnTo>
                  <a:lnTo>
                    <a:pt x="159501" y="4316922"/>
                  </a:lnTo>
                  <a:lnTo>
                    <a:pt x="5080" y="4471342"/>
                  </a:lnTo>
                  <a:lnTo>
                    <a:pt x="5080" y="4460862"/>
                  </a:lnTo>
                  <a:lnTo>
                    <a:pt x="152513" y="4312728"/>
                  </a:lnTo>
                  <a:lnTo>
                    <a:pt x="5080" y="4165993"/>
                  </a:lnTo>
                  <a:lnTo>
                    <a:pt x="5080" y="4155512"/>
                  </a:lnTo>
                  <a:lnTo>
                    <a:pt x="159501" y="4309235"/>
                  </a:lnTo>
                  <a:lnTo>
                    <a:pt x="423624" y="4309235"/>
                  </a:lnTo>
                  <a:lnTo>
                    <a:pt x="152513" y="4039522"/>
                  </a:lnTo>
                  <a:lnTo>
                    <a:pt x="331391" y="3860644"/>
                  </a:lnTo>
                  <a:lnTo>
                    <a:pt x="331489" y="3860644"/>
                  </a:lnTo>
                  <a:lnTo>
                    <a:pt x="422038" y="3769860"/>
                  </a:lnTo>
                  <a:lnTo>
                    <a:pt x="225692" y="3769860"/>
                  </a:lnTo>
                  <a:lnTo>
                    <a:pt x="226391" y="3768464"/>
                  </a:lnTo>
                  <a:lnTo>
                    <a:pt x="158613" y="3768464"/>
                  </a:lnTo>
                  <a:lnTo>
                    <a:pt x="0" y="3927075"/>
                  </a:lnTo>
                  <a:lnTo>
                    <a:pt x="0" y="3917294"/>
                  </a:lnTo>
                  <a:lnTo>
                    <a:pt x="152324" y="3764969"/>
                  </a:lnTo>
                  <a:lnTo>
                    <a:pt x="0" y="3613344"/>
                  </a:lnTo>
                  <a:lnTo>
                    <a:pt x="0" y="3602863"/>
                  </a:lnTo>
                  <a:lnTo>
                    <a:pt x="159312" y="3760776"/>
                  </a:lnTo>
                  <a:lnTo>
                    <a:pt x="423435" y="3760776"/>
                  </a:lnTo>
                  <a:lnTo>
                    <a:pt x="294168" y="3632209"/>
                  </a:lnTo>
                  <a:lnTo>
                    <a:pt x="152324" y="3491064"/>
                  </a:lnTo>
                  <a:lnTo>
                    <a:pt x="336093" y="3305898"/>
                  </a:lnTo>
                  <a:lnTo>
                    <a:pt x="422038" y="3219953"/>
                  </a:lnTo>
                  <a:lnTo>
                    <a:pt x="157914" y="3219953"/>
                  </a:lnTo>
                  <a:lnTo>
                    <a:pt x="0" y="3378566"/>
                  </a:lnTo>
                  <a:lnTo>
                    <a:pt x="0" y="3368084"/>
                  </a:lnTo>
                  <a:lnTo>
                    <a:pt x="152324" y="3216459"/>
                  </a:lnTo>
                  <a:lnTo>
                    <a:pt x="146735" y="3211568"/>
                  </a:lnTo>
                  <a:lnTo>
                    <a:pt x="0" y="3065532"/>
                  </a:lnTo>
                  <a:lnTo>
                    <a:pt x="0" y="3055052"/>
                  </a:lnTo>
                  <a:lnTo>
                    <a:pt x="157914" y="3212966"/>
                  </a:lnTo>
                  <a:lnTo>
                    <a:pt x="422038" y="3212966"/>
                  </a:lnTo>
                  <a:lnTo>
                    <a:pt x="150927" y="2942554"/>
                  </a:lnTo>
                  <a:lnTo>
                    <a:pt x="421339" y="2671443"/>
                  </a:lnTo>
                  <a:lnTo>
                    <a:pt x="157215" y="2671443"/>
                  </a:lnTo>
                  <a:lnTo>
                    <a:pt x="0" y="2829357"/>
                  </a:lnTo>
                  <a:lnTo>
                    <a:pt x="0" y="2818875"/>
                  </a:lnTo>
                  <a:lnTo>
                    <a:pt x="150927" y="2667949"/>
                  </a:lnTo>
                  <a:lnTo>
                    <a:pt x="0" y="2517721"/>
                  </a:lnTo>
                  <a:lnTo>
                    <a:pt x="0" y="2507939"/>
                  </a:lnTo>
                  <a:lnTo>
                    <a:pt x="157914" y="2664456"/>
                  </a:lnTo>
                  <a:lnTo>
                    <a:pt x="422038" y="2664456"/>
                  </a:lnTo>
                  <a:lnTo>
                    <a:pt x="150927" y="2394044"/>
                  </a:lnTo>
                  <a:lnTo>
                    <a:pt x="420640" y="2122933"/>
                  </a:lnTo>
                  <a:lnTo>
                    <a:pt x="156517" y="2122933"/>
                  </a:lnTo>
                  <a:lnTo>
                    <a:pt x="0" y="2280148"/>
                  </a:lnTo>
                  <a:lnTo>
                    <a:pt x="0" y="2269667"/>
                  </a:lnTo>
                  <a:lnTo>
                    <a:pt x="150228" y="2119439"/>
                  </a:lnTo>
                  <a:lnTo>
                    <a:pt x="16070" y="1985980"/>
                  </a:lnTo>
                  <a:lnTo>
                    <a:pt x="0" y="1969909"/>
                  </a:lnTo>
                  <a:lnTo>
                    <a:pt x="0" y="1960127"/>
                  </a:lnTo>
                  <a:lnTo>
                    <a:pt x="19564" y="1979691"/>
                  </a:lnTo>
                  <a:lnTo>
                    <a:pt x="156517" y="2115945"/>
                  </a:lnTo>
                  <a:lnTo>
                    <a:pt x="420640" y="2115945"/>
                  </a:lnTo>
                  <a:lnTo>
                    <a:pt x="149529" y="1845533"/>
                  </a:lnTo>
                  <a:lnTo>
                    <a:pt x="150927" y="1844135"/>
                  </a:lnTo>
                  <a:lnTo>
                    <a:pt x="151626" y="1844135"/>
                  </a:lnTo>
                  <a:lnTo>
                    <a:pt x="419941" y="1575121"/>
                  </a:lnTo>
                  <a:lnTo>
                    <a:pt x="156517" y="1575121"/>
                  </a:lnTo>
                  <a:lnTo>
                    <a:pt x="0" y="1731637"/>
                  </a:lnTo>
                  <a:lnTo>
                    <a:pt x="0" y="1721157"/>
                  </a:lnTo>
                  <a:lnTo>
                    <a:pt x="149529" y="1571627"/>
                  </a:lnTo>
                  <a:lnTo>
                    <a:pt x="0" y="1422098"/>
                  </a:lnTo>
                  <a:lnTo>
                    <a:pt x="0" y="1411617"/>
                  </a:lnTo>
                  <a:lnTo>
                    <a:pt x="156517" y="1567435"/>
                  </a:lnTo>
                  <a:lnTo>
                    <a:pt x="419941" y="1567435"/>
                  </a:lnTo>
                  <a:lnTo>
                    <a:pt x="289976" y="1437470"/>
                  </a:lnTo>
                  <a:lnTo>
                    <a:pt x="149529" y="1297023"/>
                  </a:lnTo>
                  <a:lnTo>
                    <a:pt x="419941" y="1026611"/>
                  </a:lnTo>
                  <a:lnTo>
                    <a:pt x="155818" y="1026611"/>
                  </a:lnTo>
                  <a:lnTo>
                    <a:pt x="0" y="1182428"/>
                  </a:lnTo>
                  <a:lnTo>
                    <a:pt x="0" y="1171948"/>
                  </a:lnTo>
                  <a:lnTo>
                    <a:pt x="148830" y="1023118"/>
                  </a:lnTo>
                  <a:lnTo>
                    <a:pt x="0" y="874286"/>
                  </a:lnTo>
                  <a:lnTo>
                    <a:pt x="0" y="863806"/>
                  </a:lnTo>
                  <a:lnTo>
                    <a:pt x="155818" y="1018924"/>
                  </a:lnTo>
                  <a:lnTo>
                    <a:pt x="419941" y="1018924"/>
                  </a:lnTo>
                  <a:lnTo>
                    <a:pt x="148830" y="748512"/>
                  </a:lnTo>
                  <a:lnTo>
                    <a:pt x="333298" y="564046"/>
                  </a:lnTo>
                  <a:lnTo>
                    <a:pt x="419242" y="478100"/>
                  </a:lnTo>
                  <a:lnTo>
                    <a:pt x="155119" y="478100"/>
                  </a:lnTo>
                  <a:lnTo>
                    <a:pt x="0" y="633220"/>
                  </a:lnTo>
                  <a:lnTo>
                    <a:pt x="0" y="622738"/>
                  </a:lnTo>
                  <a:lnTo>
                    <a:pt x="148131" y="473908"/>
                  </a:lnTo>
                  <a:lnTo>
                    <a:pt x="143240" y="469017"/>
                  </a:lnTo>
                  <a:lnTo>
                    <a:pt x="0" y="326475"/>
                  </a:lnTo>
                  <a:lnTo>
                    <a:pt x="0" y="316693"/>
                  </a:lnTo>
                  <a:lnTo>
                    <a:pt x="155119" y="471113"/>
                  </a:lnTo>
                  <a:lnTo>
                    <a:pt x="419242" y="470415"/>
                  </a:lnTo>
                  <a:lnTo>
                    <a:pt x="148131" y="200003"/>
                  </a:lnTo>
                  <a:close/>
                  <a:moveTo>
                    <a:pt x="73183" y="0"/>
                  </a:moveTo>
                  <a:lnTo>
                    <a:pt x="84011" y="0"/>
                  </a:lnTo>
                  <a:lnTo>
                    <a:pt x="0" y="84011"/>
                  </a:lnTo>
                  <a:lnTo>
                    <a:pt x="0" y="7353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48" name="Rectangle 47">
              <a:extLst>
                <a:ext uri="{FF2B5EF4-FFF2-40B4-BE49-F238E27FC236}">
                  <a16:creationId xmlns:a16="http://schemas.microsoft.com/office/drawing/2014/main" id="{D3E491C1-2A10-4D23-AA47-35BCE699C6A2}"/>
                </a:ext>
              </a:extLst>
            </p:cNvPr>
            <p:cNvSpPr/>
            <p:nvPr/>
          </p:nvSpPr>
          <p:spPr>
            <a:xfrm>
              <a:off x="1846833" y="0"/>
              <a:ext cx="4829175" cy="6515100"/>
            </a:xfrm>
            <a:prstGeom prst="rect">
              <a:avLst/>
            </a:prstGeom>
            <a:gradFill flip="none" rotWithShape="1">
              <a:gsLst>
                <a:gs pos="7000">
                  <a:schemeClr val="bg1"/>
                </a:gs>
                <a:gs pos="100000">
                  <a:schemeClr val="bg1">
                    <a:shade val="100000"/>
                    <a:satMod val="115000"/>
                    <a:alpha val="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0000"/>
                </a:solidFill>
              </a:endParaRPr>
            </a:p>
          </p:txBody>
        </p:sp>
      </p:grpSp>
      <p:sp>
        <p:nvSpPr>
          <p:cNvPr id="12" name="Rectangle 11" hidden="1">
            <a:extLst>
              <a:ext uri="{FF2B5EF4-FFF2-40B4-BE49-F238E27FC236}">
                <a16:creationId xmlns:a16="http://schemas.microsoft.com/office/drawing/2014/main" id="{973AAAEC-9F7B-4DD5-AEA0-3F8785B5D5C3}"/>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2" name="Picture Placeholder 10">
            <a:extLst>
              <a:ext uri="{FF2B5EF4-FFF2-40B4-BE49-F238E27FC236}">
                <a16:creationId xmlns:a16="http://schemas.microsoft.com/office/drawing/2014/main" id="{F14320BE-7859-4F4C-BBE7-0F4AC7F100A8}"/>
              </a:ext>
            </a:extLst>
          </p:cNvPr>
          <p:cNvSpPr>
            <a:spLocks noGrp="1"/>
          </p:cNvSpPr>
          <p:nvPr>
            <p:ph type="pic" sz="quarter" idx="10" hasCustomPrompt="1"/>
          </p:nvPr>
        </p:nvSpPr>
        <p:spPr>
          <a:xfrm>
            <a:off x="609601" y="1323044"/>
            <a:ext cx="685800" cy="914400"/>
          </a:xfrm>
          <a:solidFill>
            <a:schemeClr val="bg1"/>
          </a:solidFill>
          <a:effectLst>
            <a:outerShdw dist="76200" dir="2700000" algn="tl" rotWithShape="0">
              <a:schemeClr val="tx2">
                <a:lumMod val="60000"/>
                <a:lumOff val="40000"/>
              </a:schemeClr>
            </a:outerShdw>
          </a:effectLst>
        </p:spPr>
        <p:txBody>
          <a:bodyPr anchor="ctr"/>
          <a:lstStyle>
            <a:lvl1pPr marL="0" indent="0" algn="ctr">
              <a:buFont typeface="Arial" panose="020B0604020202020204" pitchFamily="34" charset="0"/>
              <a:buNone/>
              <a:defRPr sz="1400">
                <a:solidFill>
                  <a:schemeClr val="bg1"/>
                </a:solidFill>
              </a:defRPr>
            </a:lvl1pPr>
          </a:lstStyle>
          <a:p>
            <a:r>
              <a:rPr lang="en-US" dirty="0"/>
              <a:t>Click to insert pic</a:t>
            </a:r>
          </a:p>
        </p:txBody>
      </p:sp>
      <p:sp>
        <p:nvSpPr>
          <p:cNvPr id="23" name="Picture Placeholder 10">
            <a:extLst>
              <a:ext uri="{FF2B5EF4-FFF2-40B4-BE49-F238E27FC236}">
                <a16:creationId xmlns:a16="http://schemas.microsoft.com/office/drawing/2014/main" id="{3CAE88BC-331D-4E6C-AFCB-2DDD06BBC165}"/>
              </a:ext>
            </a:extLst>
          </p:cNvPr>
          <p:cNvSpPr>
            <a:spLocks noGrp="1"/>
          </p:cNvSpPr>
          <p:nvPr>
            <p:ph type="pic" sz="quarter" idx="11" hasCustomPrompt="1"/>
          </p:nvPr>
        </p:nvSpPr>
        <p:spPr>
          <a:xfrm>
            <a:off x="609601" y="2610945"/>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24" name="Picture Placeholder 10">
            <a:extLst>
              <a:ext uri="{FF2B5EF4-FFF2-40B4-BE49-F238E27FC236}">
                <a16:creationId xmlns:a16="http://schemas.microsoft.com/office/drawing/2014/main" id="{5B4D3486-AC55-4EB1-8096-BD2C753C316F}"/>
              </a:ext>
            </a:extLst>
          </p:cNvPr>
          <p:cNvSpPr>
            <a:spLocks noGrp="1"/>
          </p:cNvSpPr>
          <p:nvPr>
            <p:ph type="pic" sz="quarter" idx="12" hasCustomPrompt="1"/>
          </p:nvPr>
        </p:nvSpPr>
        <p:spPr>
          <a:xfrm>
            <a:off x="609601" y="3898846"/>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25" name="Picture Placeholder 10">
            <a:extLst>
              <a:ext uri="{FF2B5EF4-FFF2-40B4-BE49-F238E27FC236}">
                <a16:creationId xmlns:a16="http://schemas.microsoft.com/office/drawing/2014/main" id="{D9CA1906-117D-42D2-AC1F-353CB4661082}"/>
              </a:ext>
            </a:extLst>
          </p:cNvPr>
          <p:cNvSpPr>
            <a:spLocks noGrp="1"/>
          </p:cNvSpPr>
          <p:nvPr>
            <p:ph type="pic" sz="quarter" idx="13" hasCustomPrompt="1"/>
          </p:nvPr>
        </p:nvSpPr>
        <p:spPr>
          <a:xfrm>
            <a:off x="609601" y="5186747"/>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10" name="Title 9">
            <a:extLst>
              <a:ext uri="{FF2B5EF4-FFF2-40B4-BE49-F238E27FC236}">
                <a16:creationId xmlns:a16="http://schemas.microsoft.com/office/drawing/2014/main" id="{1E52470F-8620-434E-B590-9ED41A1B426F}"/>
              </a:ext>
            </a:extLst>
          </p:cNvPr>
          <p:cNvSpPr>
            <a:spLocks noGrp="1"/>
          </p:cNvSpPr>
          <p:nvPr>
            <p:ph type="title"/>
          </p:nvPr>
        </p:nvSpPr>
        <p:spPr>
          <a:xfrm>
            <a:off x="609602" y="12035"/>
            <a:ext cx="8946033" cy="769215"/>
          </a:xfrm>
        </p:spPr>
        <p:txBody>
          <a:bodyPr vert="horz"/>
          <a:lstStyle/>
          <a:p>
            <a:r>
              <a:rPr lang="en-US" dirty="0"/>
              <a:t>Click to edit Master title style</a:t>
            </a:r>
          </a:p>
        </p:txBody>
      </p:sp>
      <p:sp>
        <p:nvSpPr>
          <p:cNvPr id="36" name="Picture Placeholder 10">
            <a:extLst>
              <a:ext uri="{FF2B5EF4-FFF2-40B4-BE49-F238E27FC236}">
                <a16:creationId xmlns:a16="http://schemas.microsoft.com/office/drawing/2014/main" id="{B1A25632-D6B2-419A-BF7D-F22B570BBC9D}"/>
              </a:ext>
            </a:extLst>
          </p:cNvPr>
          <p:cNvSpPr>
            <a:spLocks noGrp="1"/>
          </p:cNvSpPr>
          <p:nvPr>
            <p:ph type="pic" sz="quarter" idx="14" hasCustomPrompt="1"/>
          </p:nvPr>
        </p:nvSpPr>
        <p:spPr>
          <a:xfrm>
            <a:off x="3591612" y="1323044"/>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37" name="Picture Placeholder 10">
            <a:extLst>
              <a:ext uri="{FF2B5EF4-FFF2-40B4-BE49-F238E27FC236}">
                <a16:creationId xmlns:a16="http://schemas.microsoft.com/office/drawing/2014/main" id="{C9F144ED-2CBE-4C7B-A9DA-4755DA1FC8DA}"/>
              </a:ext>
            </a:extLst>
          </p:cNvPr>
          <p:cNvSpPr>
            <a:spLocks noGrp="1"/>
          </p:cNvSpPr>
          <p:nvPr>
            <p:ph type="pic" sz="quarter" idx="15" hasCustomPrompt="1"/>
          </p:nvPr>
        </p:nvSpPr>
        <p:spPr>
          <a:xfrm>
            <a:off x="3591612" y="2610945"/>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38" name="Picture Placeholder 10">
            <a:extLst>
              <a:ext uri="{FF2B5EF4-FFF2-40B4-BE49-F238E27FC236}">
                <a16:creationId xmlns:a16="http://schemas.microsoft.com/office/drawing/2014/main" id="{31308774-E22F-4C23-BF30-F8131490AF49}"/>
              </a:ext>
            </a:extLst>
          </p:cNvPr>
          <p:cNvSpPr>
            <a:spLocks noGrp="1"/>
          </p:cNvSpPr>
          <p:nvPr>
            <p:ph type="pic" sz="quarter" idx="16" hasCustomPrompt="1"/>
          </p:nvPr>
        </p:nvSpPr>
        <p:spPr>
          <a:xfrm>
            <a:off x="3591612" y="3898846"/>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39" name="Picture Placeholder 10">
            <a:extLst>
              <a:ext uri="{FF2B5EF4-FFF2-40B4-BE49-F238E27FC236}">
                <a16:creationId xmlns:a16="http://schemas.microsoft.com/office/drawing/2014/main" id="{5C1D7FE9-1446-4DCA-8EE4-F77FE6B65EBA}"/>
              </a:ext>
            </a:extLst>
          </p:cNvPr>
          <p:cNvSpPr>
            <a:spLocks noGrp="1"/>
          </p:cNvSpPr>
          <p:nvPr>
            <p:ph type="pic" sz="quarter" idx="17" hasCustomPrompt="1"/>
          </p:nvPr>
        </p:nvSpPr>
        <p:spPr>
          <a:xfrm>
            <a:off x="3591612" y="5186747"/>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4" name="Picture Placeholder 10">
            <a:extLst>
              <a:ext uri="{FF2B5EF4-FFF2-40B4-BE49-F238E27FC236}">
                <a16:creationId xmlns:a16="http://schemas.microsoft.com/office/drawing/2014/main" id="{55F41F64-1DB6-4516-8BA9-3F703F96FEFD}"/>
              </a:ext>
            </a:extLst>
          </p:cNvPr>
          <p:cNvSpPr>
            <a:spLocks noGrp="1"/>
          </p:cNvSpPr>
          <p:nvPr>
            <p:ph type="pic" sz="quarter" idx="18" hasCustomPrompt="1"/>
          </p:nvPr>
        </p:nvSpPr>
        <p:spPr>
          <a:xfrm>
            <a:off x="6573623" y="1323044"/>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5" name="Picture Placeholder 10">
            <a:extLst>
              <a:ext uri="{FF2B5EF4-FFF2-40B4-BE49-F238E27FC236}">
                <a16:creationId xmlns:a16="http://schemas.microsoft.com/office/drawing/2014/main" id="{8762B3C8-59D5-4751-98FD-C03A4FAB4D47}"/>
              </a:ext>
            </a:extLst>
          </p:cNvPr>
          <p:cNvSpPr>
            <a:spLocks noGrp="1"/>
          </p:cNvSpPr>
          <p:nvPr>
            <p:ph type="pic" sz="quarter" idx="19" hasCustomPrompt="1"/>
          </p:nvPr>
        </p:nvSpPr>
        <p:spPr>
          <a:xfrm>
            <a:off x="6573623" y="2610945"/>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6" name="Picture Placeholder 10">
            <a:extLst>
              <a:ext uri="{FF2B5EF4-FFF2-40B4-BE49-F238E27FC236}">
                <a16:creationId xmlns:a16="http://schemas.microsoft.com/office/drawing/2014/main" id="{4192F5A5-81A9-41FA-A509-D6EC39063B37}"/>
              </a:ext>
            </a:extLst>
          </p:cNvPr>
          <p:cNvSpPr>
            <a:spLocks noGrp="1"/>
          </p:cNvSpPr>
          <p:nvPr>
            <p:ph type="pic" sz="quarter" idx="20" hasCustomPrompt="1"/>
          </p:nvPr>
        </p:nvSpPr>
        <p:spPr>
          <a:xfrm>
            <a:off x="6573623" y="3898846"/>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7" name="Picture Placeholder 10">
            <a:extLst>
              <a:ext uri="{FF2B5EF4-FFF2-40B4-BE49-F238E27FC236}">
                <a16:creationId xmlns:a16="http://schemas.microsoft.com/office/drawing/2014/main" id="{7C54DD85-A1A8-4123-A60A-9A396E762B46}"/>
              </a:ext>
            </a:extLst>
          </p:cNvPr>
          <p:cNvSpPr>
            <a:spLocks noGrp="1"/>
          </p:cNvSpPr>
          <p:nvPr>
            <p:ph type="pic" sz="quarter" idx="21" hasCustomPrompt="1"/>
          </p:nvPr>
        </p:nvSpPr>
        <p:spPr>
          <a:xfrm>
            <a:off x="6573623" y="5186747"/>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9" name="Picture Placeholder 10">
            <a:extLst>
              <a:ext uri="{FF2B5EF4-FFF2-40B4-BE49-F238E27FC236}">
                <a16:creationId xmlns:a16="http://schemas.microsoft.com/office/drawing/2014/main" id="{E2A7E878-049A-4790-B01D-F86066842F86}"/>
              </a:ext>
            </a:extLst>
          </p:cNvPr>
          <p:cNvSpPr>
            <a:spLocks noGrp="1"/>
          </p:cNvSpPr>
          <p:nvPr>
            <p:ph type="pic" sz="quarter" idx="22" hasCustomPrompt="1"/>
          </p:nvPr>
        </p:nvSpPr>
        <p:spPr>
          <a:xfrm>
            <a:off x="9555635" y="1323044"/>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50" name="Picture Placeholder 10">
            <a:extLst>
              <a:ext uri="{FF2B5EF4-FFF2-40B4-BE49-F238E27FC236}">
                <a16:creationId xmlns:a16="http://schemas.microsoft.com/office/drawing/2014/main" id="{F6AE2336-3CE9-434E-9B3B-71D21278A280}"/>
              </a:ext>
            </a:extLst>
          </p:cNvPr>
          <p:cNvSpPr>
            <a:spLocks noGrp="1"/>
          </p:cNvSpPr>
          <p:nvPr>
            <p:ph type="pic" sz="quarter" idx="23" hasCustomPrompt="1"/>
          </p:nvPr>
        </p:nvSpPr>
        <p:spPr>
          <a:xfrm>
            <a:off x="9555635" y="2610945"/>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51" name="Picture Placeholder 10">
            <a:extLst>
              <a:ext uri="{FF2B5EF4-FFF2-40B4-BE49-F238E27FC236}">
                <a16:creationId xmlns:a16="http://schemas.microsoft.com/office/drawing/2014/main" id="{3A9E8B7E-E88A-4EB4-B558-385B58F4743C}"/>
              </a:ext>
            </a:extLst>
          </p:cNvPr>
          <p:cNvSpPr>
            <a:spLocks noGrp="1"/>
          </p:cNvSpPr>
          <p:nvPr>
            <p:ph type="pic" sz="quarter" idx="24" hasCustomPrompt="1"/>
          </p:nvPr>
        </p:nvSpPr>
        <p:spPr>
          <a:xfrm>
            <a:off x="9555635" y="3898846"/>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52" name="Picture Placeholder 10">
            <a:extLst>
              <a:ext uri="{FF2B5EF4-FFF2-40B4-BE49-F238E27FC236}">
                <a16:creationId xmlns:a16="http://schemas.microsoft.com/office/drawing/2014/main" id="{21803631-E6D1-4B58-8955-6FC040D0A472}"/>
              </a:ext>
            </a:extLst>
          </p:cNvPr>
          <p:cNvSpPr>
            <a:spLocks noGrp="1"/>
          </p:cNvSpPr>
          <p:nvPr>
            <p:ph type="pic" sz="quarter" idx="25" hasCustomPrompt="1"/>
          </p:nvPr>
        </p:nvSpPr>
        <p:spPr>
          <a:xfrm>
            <a:off x="9555635" y="5186747"/>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Tree>
    <p:extLst>
      <p:ext uri="{BB962C8B-B14F-4D97-AF65-F5344CB8AC3E}">
        <p14:creationId xmlns:p14="http://schemas.microsoft.com/office/powerpoint/2010/main" val="3675591517"/>
      </p:ext>
    </p:extLst>
  </p:cSld>
  <p:clrMapOvr>
    <a:masterClrMapping/>
  </p:clrMapOvr>
  <p:extLst>
    <p:ext uri="{DCECCB84-F9BA-43D5-87BE-67443E8EF086}">
      <p15:sldGuideLst xmlns:p15="http://schemas.microsoft.com/office/powerpoint/2012/main">
        <p15:guide id="3" orient="horz" pos="2160">
          <p15:clr>
            <a:srgbClr val="FBAE40"/>
          </p15:clr>
        </p15:guide>
        <p15:guide id="4" pos="732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6_Introductions 8up">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2581065000"/>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54704A3-041F-48C7-A3A4-4799E1771912}"/>
              </a:ext>
            </a:extLst>
          </p:cNvPr>
          <p:cNvSpPr/>
          <p:nvPr userDrawn="1"/>
        </p:nvSpPr>
        <p:spPr>
          <a:xfrm>
            <a:off x="9335730" y="-1"/>
            <a:ext cx="2856271" cy="65105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30" name="Group 29">
            <a:extLst>
              <a:ext uri="{FF2B5EF4-FFF2-40B4-BE49-F238E27FC236}">
                <a16:creationId xmlns:a16="http://schemas.microsoft.com/office/drawing/2014/main" id="{C387E408-6B3E-4AD1-80E5-3AD5AA76B2E0}"/>
              </a:ext>
            </a:extLst>
          </p:cNvPr>
          <p:cNvGrpSpPr/>
          <p:nvPr userDrawn="1"/>
        </p:nvGrpSpPr>
        <p:grpSpPr>
          <a:xfrm>
            <a:off x="0" y="42672"/>
            <a:ext cx="6676008" cy="6457188"/>
            <a:chOff x="0" y="0"/>
            <a:chExt cx="6676008" cy="6515100"/>
          </a:xfrm>
        </p:grpSpPr>
        <p:sp>
          <p:nvSpPr>
            <p:cNvPr id="31" name="Freeform: Shape 30">
              <a:extLst>
                <a:ext uri="{FF2B5EF4-FFF2-40B4-BE49-F238E27FC236}">
                  <a16:creationId xmlns:a16="http://schemas.microsoft.com/office/drawing/2014/main" id="{9FC786FB-6EA8-44F9-937E-B72B8FD05680}"/>
                </a:ext>
              </a:extLst>
            </p:cNvPr>
            <p:cNvSpPr/>
            <p:nvPr/>
          </p:nvSpPr>
          <p:spPr>
            <a:xfrm>
              <a:off x="0" y="0"/>
              <a:ext cx="4829175" cy="6515100"/>
            </a:xfrm>
            <a:custGeom>
              <a:avLst/>
              <a:gdLst>
                <a:gd name="connsiteX0" fmla="*/ 700271 w 4829175"/>
                <a:gd name="connsiteY0" fmla="*/ 6501824 h 6515100"/>
                <a:gd name="connsiteX1" fmla="*/ 714941 w 4829175"/>
                <a:gd name="connsiteY1" fmla="*/ 6508865 h 6515100"/>
                <a:gd name="connsiteX2" fmla="*/ 710807 w 4829175"/>
                <a:gd name="connsiteY2" fmla="*/ 6508865 h 6515100"/>
                <a:gd name="connsiteX3" fmla="*/ 704588 w 4829175"/>
                <a:gd name="connsiteY3" fmla="*/ 6515100 h 6515100"/>
                <a:gd name="connsiteX4" fmla="*/ 694116 w 4829175"/>
                <a:gd name="connsiteY4" fmla="*/ 6515100 h 6515100"/>
                <a:gd name="connsiteX5" fmla="*/ 703819 w 4829175"/>
                <a:gd name="connsiteY5" fmla="*/ 6505372 h 6515100"/>
                <a:gd name="connsiteX6" fmla="*/ 710108 w 4829175"/>
                <a:gd name="connsiteY6" fmla="*/ 5961753 h 6515100"/>
                <a:gd name="connsiteX7" fmla="*/ 439696 w 4829175"/>
                <a:gd name="connsiteY7" fmla="*/ 6232863 h 6515100"/>
                <a:gd name="connsiteX8" fmla="*/ 710807 w 4829175"/>
                <a:gd name="connsiteY8" fmla="*/ 6503275 h 6515100"/>
                <a:gd name="connsiteX9" fmla="*/ 974930 w 4829175"/>
                <a:gd name="connsiteY9" fmla="*/ 6503275 h 6515100"/>
                <a:gd name="connsiteX10" fmla="*/ 703819 w 4829175"/>
                <a:gd name="connsiteY10" fmla="*/ 6232863 h 6515100"/>
                <a:gd name="connsiteX11" fmla="*/ 974231 w 4829175"/>
                <a:gd name="connsiteY11" fmla="*/ 5961753 h 6515100"/>
                <a:gd name="connsiteX12" fmla="*/ 1807827 w 4829175"/>
                <a:gd name="connsiteY12" fmla="*/ 5961054 h 6515100"/>
                <a:gd name="connsiteX13" fmla="*/ 1537414 w 4829175"/>
                <a:gd name="connsiteY13" fmla="*/ 6232165 h 6515100"/>
                <a:gd name="connsiteX14" fmla="*/ 1808526 w 4829175"/>
                <a:gd name="connsiteY14" fmla="*/ 6502577 h 6515100"/>
                <a:gd name="connsiteX15" fmla="*/ 2072648 w 4829175"/>
                <a:gd name="connsiteY15" fmla="*/ 6502577 h 6515100"/>
                <a:gd name="connsiteX16" fmla="*/ 1801539 w 4829175"/>
                <a:gd name="connsiteY16" fmla="*/ 6232165 h 6515100"/>
                <a:gd name="connsiteX17" fmla="*/ 2071951 w 4829175"/>
                <a:gd name="connsiteY17" fmla="*/ 5961054 h 6515100"/>
                <a:gd name="connsiteX18" fmla="*/ 1257919 w 4829175"/>
                <a:gd name="connsiteY18" fmla="*/ 5961054 h 6515100"/>
                <a:gd name="connsiteX19" fmla="*/ 988206 w 4829175"/>
                <a:gd name="connsiteY19" fmla="*/ 6232165 h 6515100"/>
                <a:gd name="connsiteX20" fmla="*/ 1188744 w 4829175"/>
                <a:gd name="connsiteY20" fmla="*/ 6432703 h 6515100"/>
                <a:gd name="connsiteX21" fmla="*/ 1259317 w 4829175"/>
                <a:gd name="connsiteY21" fmla="*/ 6502577 h 6515100"/>
                <a:gd name="connsiteX22" fmla="*/ 1327793 w 4829175"/>
                <a:gd name="connsiteY22" fmla="*/ 6502577 h 6515100"/>
                <a:gd name="connsiteX23" fmla="*/ 1327094 w 4829175"/>
                <a:gd name="connsiteY23" fmla="*/ 6503974 h 6515100"/>
                <a:gd name="connsiteX24" fmla="*/ 1524139 w 4829175"/>
                <a:gd name="connsiteY24" fmla="*/ 6503974 h 6515100"/>
                <a:gd name="connsiteX25" fmla="*/ 1253028 w 4829175"/>
                <a:gd name="connsiteY25" fmla="*/ 6233562 h 6515100"/>
                <a:gd name="connsiteX26" fmla="*/ 1253727 w 4829175"/>
                <a:gd name="connsiteY26" fmla="*/ 6232863 h 6515100"/>
                <a:gd name="connsiteX27" fmla="*/ 1251631 w 4829175"/>
                <a:gd name="connsiteY27" fmla="*/ 6232165 h 6515100"/>
                <a:gd name="connsiteX28" fmla="*/ 1522043 w 4829175"/>
                <a:gd name="connsiteY28" fmla="*/ 5961054 h 6515100"/>
                <a:gd name="connsiteX29" fmla="*/ 2904847 w 4829175"/>
                <a:gd name="connsiteY29" fmla="*/ 5960355 h 6515100"/>
                <a:gd name="connsiteX30" fmla="*/ 2634435 w 4829175"/>
                <a:gd name="connsiteY30" fmla="*/ 6231466 h 6515100"/>
                <a:gd name="connsiteX31" fmla="*/ 2905546 w 4829175"/>
                <a:gd name="connsiteY31" fmla="*/ 6501878 h 6515100"/>
                <a:gd name="connsiteX32" fmla="*/ 3169669 w 4829175"/>
                <a:gd name="connsiteY32" fmla="*/ 6501878 h 6515100"/>
                <a:gd name="connsiteX33" fmla="*/ 2898558 w 4829175"/>
                <a:gd name="connsiteY33" fmla="*/ 6231466 h 6515100"/>
                <a:gd name="connsiteX34" fmla="*/ 3168970 w 4829175"/>
                <a:gd name="connsiteY34" fmla="*/ 5960355 h 6515100"/>
                <a:gd name="connsiteX35" fmla="*/ 2356338 w 4829175"/>
                <a:gd name="connsiteY35" fmla="*/ 5960355 h 6515100"/>
                <a:gd name="connsiteX36" fmla="*/ 2085925 w 4829175"/>
                <a:gd name="connsiteY36" fmla="*/ 6231466 h 6515100"/>
                <a:gd name="connsiteX37" fmla="*/ 2357035 w 4829175"/>
                <a:gd name="connsiteY37" fmla="*/ 6501878 h 6515100"/>
                <a:gd name="connsiteX38" fmla="*/ 2620460 w 4829175"/>
                <a:gd name="connsiteY38" fmla="*/ 6501878 h 6515100"/>
                <a:gd name="connsiteX39" fmla="*/ 2490495 w 4829175"/>
                <a:gd name="connsiteY39" fmla="*/ 6371913 h 6515100"/>
                <a:gd name="connsiteX40" fmla="*/ 2350049 w 4829175"/>
                <a:gd name="connsiteY40" fmla="*/ 6231466 h 6515100"/>
                <a:gd name="connsiteX41" fmla="*/ 2620460 w 4829175"/>
                <a:gd name="connsiteY41" fmla="*/ 5960355 h 6515100"/>
                <a:gd name="connsiteX42" fmla="*/ 3453357 w 4829175"/>
                <a:gd name="connsiteY42" fmla="*/ 5959656 h 6515100"/>
                <a:gd name="connsiteX43" fmla="*/ 3182945 w 4829175"/>
                <a:gd name="connsiteY43" fmla="*/ 6230767 h 6515100"/>
                <a:gd name="connsiteX44" fmla="*/ 3454056 w 4829175"/>
                <a:gd name="connsiteY44" fmla="*/ 6500480 h 6515100"/>
                <a:gd name="connsiteX45" fmla="*/ 3718179 w 4829175"/>
                <a:gd name="connsiteY45" fmla="*/ 6500480 h 6515100"/>
                <a:gd name="connsiteX46" fmla="*/ 3447069 w 4829175"/>
                <a:gd name="connsiteY46" fmla="*/ 6230069 h 6515100"/>
                <a:gd name="connsiteX47" fmla="*/ 3631536 w 4829175"/>
                <a:gd name="connsiteY47" fmla="*/ 6045602 h 6515100"/>
                <a:gd name="connsiteX48" fmla="*/ 3717481 w 4829175"/>
                <a:gd name="connsiteY48" fmla="*/ 5959656 h 6515100"/>
                <a:gd name="connsiteX49" fmla="*/ 4550378 w 4829175"/>
                <a:gd name="connsiteY49" fmla="*/ 5958259 h 6515100"/>
                <a:gd name="connsiteX50" fmla="*/ 4279966 w 4829175"/>
                <a:gd name="connsiteY50" fmla="*/ 6229370 h 6515100"/>
                <a:gd name="connsiteX51" fmla="*/ 4551077 w 4829175"/>
                <a:gd name="connsiteY51" fmla="*/ 6499083 h 6515100"/>
                <a:gd name="connsiteX52" fmla="*/ 4815200 w 4829175"/>
                <a:gd name="connsiteY52" fmla="*/ 6499083 h 6515100"/>
                <a:gd name="connsiteX53" fmla="*/ 4544089 w 4829175"/>
                <a:gd name="connsiteY53" fmla="*/ 6228671 h 6515100"/>
                <a:gd name="connsiteX54" fmla="*/ 4814501 w 4829175"/>
                <a:gd name="connsiteY54" fmla="*/ 5958259 h 6515100"/>
                <a:gd name="connsiteX55" fmla="*/ 169284 w 4829175"/>
                <a:gd name="connsiteY55" fmla="*/ 5687847 h 6515100"/>
                <a:gd name="connsiteX56" fmla="*/ 299249 w 4829175"/>
                <a:gd name="connsiteY56" fmla="*/ 5817813 h 6515100"/>
                <a:gd name="connsiteX57" fmla="*/ 439696 w 4829175"/>
                <a:gd name="connsiteY57" fmla="*/ 5958259 h 6515100"/>
                <a:gd name="connsiteX58" fmla="*/ 169284 w 4829175"/>
                <a:gd name="connsiteY58" fmla="*/ 6229370 h 6515100"/>
                <a:gd name="connsiteX59" fmla="*/ 433407 w 4829175"/>
                <a:gd name="connsiteY59" fmla="*/ 6229370 h 6515100"/>
                <a:gd name="connsiteX60" fmla="*/ 703819 w 4829175"/>
                <a:gd name="connsiteY60" fmla="*/ 5958259 h 6515100"/>
                <a:gd name="connsiteX61" fmla="*/ 432708 w 4829175"/>
                <a:gd name="connsiteY61" fmla="*/ 5687847 h 6515100"/>
                <a:gd name="connsiteX62" fmla="*/ 1814814 w 4829175"/>
                <a:gd name="connsiteY62" fmla="*/ 5687149 h 6515100"/>
                <a:gd name="connsiteX63" fmla="*/ 2085925 w 4829175"/>
                <a:gd name="connsiteY63" fmla="*/ 5957561 h 6515100"/>
                <a:gd name="connsiteX64" fmla="*/ 1815513 w 4829175"/>
                <a:gd name="connsiteY64" fmla="*/ 6227973 h 6515100"/>
                <a:gd name="connsiteX65" fmla="*/ 2079636 w 4829175"/>
                <a:gd name="connsiteY65" fmla="*/ 6227973 h 6515100"/>
                <a:gd name="connsiteX66" fmla="*/ 2350049 w 4829175"/>
                <a:gd name="connsiteY66" fmla="*/ 5957561 h 6515100"/>
                <a:gd name="connsiteX67" fmla="*/ 2078937 w 4829175"/>
                <a:gd name="connsiteY67" fmla="*/ 5687149 h 6515100"/>
                <a:gd name="connsiteX68" fmla="*/ 717095 w 4829175"/>
                <a:gd name="connsiteY68" fmla="*/ 5687149 h 6515100"/>
                <a:gd name="connsiteX69" fmla="*/ 988206 w 4829175"/>
                <a:gd name="connsiteY69" fmla="*/ 5957561 h 6515100"/>
                <a:gd name="connsiteX70" fmla="*/ 717794 w 4829175"/>
                <a:gd name="connsiteY70" fmla="*/ 6228671 h 6515100"/>
                <a:gd name="connsiteX71" fmla="*/ 981917 w 4829175"/>
                <a:gd name="connsiteY71" fmla="*/ 6228671 h 6515100"/>
                <a:gd name="connsiteX72" fmla="*/ 1252329 w 4829175"/>
                <a:gd name="connsiteY72" fmla="*/ 5957561 h 6515100"/>
                <a:gd name="connsiteX73" fmla="*/ 981219 w 4829175"/>
                <a:gd name="connsiteY73" fmla="*/ 5687149 h 6515100"/>
                <a:gd name="connsiteX74" fmla="*/ 2363324 w 4829175"/>
                <a:gd name="connsiteY74" fmla="*/ 5686450 h 6515100"/>
                <a:gd name="connsiteX75" fmla="*/ 2634435 w 4829175"/>
                <a:gd name="connsiteY75" fmla="*/ 5956862 h 6515100"/>
                <a:gd name="connsiteX76" fmla="*/ 2364722 w 4829175"/>
                <a:gd name="connsiteY76" fmla="*/ 6227973 h 6515100"/>
                <a:gd name="connsiteX77" fmla="*/ 2628146 w 4829175"/>
                <a:gd name="connsiteY77" fmla="*/ 6227973 h 6515100"/>
                <a:gd name="connsiteX78" fmla="*/ 2898558 w 4829175"/>
                <a:gd name="connsiteY78" fmla="*/ 5956862 h 6515100"/>
                <a:gd name="connsiteX79" fmla="*/ 2764401 w 4829175"/>
                <a:gd name="connsiteY79" fmla="*/ 5823402 h 6515100"/>
                <a:gd name="connsiteX80" fmla="*/ 2627447 w 4829175"/>
                <a:gd name="connsiteY80" fmla="*/ 5686450 h 6515100"/>
                <a:gd name="connsiteX81" fmla="*/ 2911834 w 4829175"/>
                <a:gd name="connsiteY81" fmla="*/ 5685751 h 6515100"/>
                <a:gd name="connsiteX82" fmla="*/ 2913232 w 4829175"/>
                <a:gd name="connsiteY82" fmla="*/ 5687149 h 6515100"/>
                <a:gd name="connsiteX83" fmla="*/ 3182945 w 4829175"/>
                <a:gd name="connsiteY83" fmla="*/ 5956163 h 6515100"/>
                <a:gd name="connsiteX84" fmla="*/ 2912533 w 4829175"/>
                <a:gd name="connsiteY84" fmla="*/ 6226575 h 6515100"/>
                <a:gd name="connsiteX85" fmla="*/ 3176657 w 4829175"/>
                <a:gd name="connsiteY85" fmla="*/ 6226575 h 6515100"/>
                <a:gd name="connsiteX86" fmla="*/ 3447069 w 4829175"/>
                <a:gd name="connsiteY86" fmla="*/ 5956163 h 6515100"/>
                <a:gd name="connsiteX87" fmla="*/ 3441479 w 4829175"/>
                <a:gd name="connsiteY87" fmla="*/ 5951272 h 6515100"/>
                <a:gd name="connsiteX88" fmla="*/ 3175958 w 4829175"/>
                <a:gd name="connsiteY88" fmla="*/ 5685751 h 6515100"/>
                <a:gd name="connsiteX89" fmla="*/ 1530428 w 4829175"/>
                <a:gd name="connsiteY89" fmla="*/ 5685751 h 6515100"/>
                <a:gd name="connsiteX90" fmla="*/ 1529030 w 4829175"/>
                <a:gd name="connsiteY90" fmla="*/ 5686450 h 6515100"/>
                <a:gd name="connsiteX91" fmla="*/ 1264907 w 4829175"/>
                <a:gd name="connsiteY91" fmla="*/ 5686450 h 6515100"/>
                <a:gd name="connsiteX92" fmla="*/ 1536018 w 4829175"/>
                <a:gd name="connsiteY92" fmla="*/ 5956862 h 6515100"/>
                <a:gd name="connsiteX93" fmla="*/ 1531824 w 4829175"/>
                <a:gd name="connsiteY93" fmla="*/ 5961054 h 6515100"/>
                <a:gd name="connsiteX94" fmla="*/ 1537414 w 4829175"/>
                <a:gd name="connsiteY94" fmla="*/ 5958259 h 6515100"/>
                <a:gd name="connsiteX95" fmla="*/ 1267002 w 4829175"/>
                <a:gd name="connsiteY95" fmla="*/ 6229370 h 6515100"/>
                <a:gd name="connsiteX96" fmla="*/ 1531127 w 4829175"/>
                <a:gd name="connsiteY96" fmla="*/ 6229370 h 6515100"/>
                <a:gd name="connsiteX97" fmla="*/ 1801539 w 4829175"/>
                <a:gd name="connsiteY97" fmla="*/ 5958259 h 6515100"/>
                <a:gd name="connsiteX98" fmla="*/ 1530428 w 4829175"/>
                <a:gd name="connsiteY98" fmla="*/ 5687847 h 6515100"/>
                <a:gd name="connsiteX99" fmla="*/ 3459646 w 4829175"/>
                <a:gd name="connsiteY99" fmla="*/ 5685052 h 6515100"/>
                <a:gd name="connsiteX100" fmla="*/ 3730757 w 4829175"/>
                <a:gd name="connsiteY100" fmla="*/ 5955464 h 6515100"/>
                <a:gd name="connsiteX101" fmla="*/ 3727962 w 4829175"/>
                <a:gd name="connsiteY101" fmla="*/ 5958259 h 6515100"/>
                <a:gd name="connsiteX102" fmla="*/ 3637825 w 4829175"/>
                <a:gd name="connsiteY102" fmla="*/ 6049095 h 6515100"/>
                <a:gd name="connsiteX103" fmla="*/ 3460345 w 4829175"/>
                <a:gd name="connsiteY103" fmla="*/ 6225876 h 6515100"/>
                <a:gd name="connsiteX104" fmla="*/ 3724468 w 4829175"/>
                <a:gd name="connsiteY104" fmla="*/ 6225876 h 6515100"/>
                <a:gd name="connsiteX105" fmla="*/ 3813907 w 4829175"/>
                <a:gd name="connsiteY105" fmla="*/ 6136437 h 6515100"/>
                <a:gd name="connsiteX106" fmla="*/ 3994880 w 4829175"/>
                <a:gd name="connsiteY106" fmla="*/ 5955464 h 6515100"/>
                <a:gd name="connsiteX107" fmla="*/ 3723769 w 4829175"/>
                <a:gd name="connsiteY107" fmla="*/ 5685052 h 6515100"/>
                <a:gd name="connsiteX108" fmla="*/ 1807128 w 4829175"/>
                <a:gd name="connsiteY108" fmla="*/ 5412543 h 6515100"/>
                <a:gd name="connsiteX109" fmla="*/ 1536716 w 4829175"/>
                <a:gd name="connsiteY109" fmla="*/ 5683654 h 6515100"/>
                <a:gd name="connsiteX110" fmla="*/ 1807827 w 4829175"/>
                <a:gd name="connsiteY110" fmla="*/ 5954066 h 6515100"/>
                <a:gd name="connsiteX111" fmla="*/ 2071951 w 4829175"/>
                <a:gd name="connsiteY111" fmla="*/ 5954066 h 6515100"/>
                <a:gd name="connsiteX112" fmla="*/ 1800840 w 4829175"/>
                <a:gd name="connsiteY112" fmla="*/ 5683654 h 6515100"/>
                <a:gd name="connsiteX113" fmla="*/ 2071252 w 4829175"/>
                <a:gd name="connsiteY113" fmla="*/ 5412543 h 6515100"/>
                <a:gd name="connsiteX114" fmla="*/ 709409 w 4829175"/>
                <a:gd name="connsiteY114" fmla="*/ 5412543 h 6515100"/>
                <a:gd name="connsiteX115" fmla="*/ 438997 w 4829175"/>
                <a:gd name="connsiteY115" fmla="*/ 5683654 h 6515100"/>
                <a:gd name="connsiteX116" fmla="*/ 710108 w 4829175"/>
                <a:gd name="connsiteY116" fmla="*/ 5954066 h 6515100"/>
                <a:gd name="connsiteX117" fmla="*/ 974231 w 4829175"/>
                <a:gd name="connsiteY117" fmla="*/ 5954066 h 6515100"/>
                <a:gd name="connsiteX118" fmla="*/ 703120 w 4829175"/>
                <a:gd name="connsiteY118" fmla="*/ 5683654 h 6515100"/>
                <a:gd name="connsiteX119" fmla="*/ 972833 w 4829175"/>
                <a:gd name="connsiteY119" fmla="*/ 5412543 h 6515100"/>
                <a:gd name="connsiteX120" fmla="*/ 2904148 w 4829175"/>
                <a:gd name="connsiteY120" fmla="*/ 5411845 h 6515100"/>
                <a:gd name="connsiteX121" fmla="*/ 2723874 w 4829175"/>
                <a:gd name="connsiteY121" fmla="*/ 5592120 h 6515100"/>
                <a:gd name="connsiteX122" fmla="*/ 2634435 w 4829175"/>
                <a:gd name="connsiteY122" fmla="*/ 5682258 h 6515100"/>
                <a:gd name="connsiteX123" fmla="*/ 2768593 w 4829175"/>
                <a:gd name="connsiteY123" fmla="*/ 5815716 h 6515100"/>
                <a:gd name="connsiteX124" fmla="*/ 2905546 w 4829175"/>
                <a:gd name="connsiteY124" fmla="*/ 5952669 h 6515100"/>
                <a:gd name="connsiteX125" fmla="*/ 3169669 w 4829175"/>
                <a:gd name="connsiteY125" fmla="*/ 5952669 h 6515100"/>
                <a:gd name="connsiteX126" fmla="*/ 2898558 w 4829175"/>
                <a:gd name="connsiteY126" fmla="*/ 5682258 h 6515100"/>
                <a:gd name="connsiteX127" fmla="*/ 2899956 w 4829175"/>
                <a:gd name="connsiteY127" fmla="*/ 5680860 h 6515100"/>
                <a:gd name="connsiteX128" fmla="*/ 3168271 w 4829175"/>
                <a:gd name="connsiteY128" fmla="*/ 5411845 h 6515100"/>
                <a:gd name="connsiteX129" fmla="*/ 2355639 w 4829175"/>
                <a:gd name="connsiteY129" fmla="*/ 5411845 h 6515100"/>
                <a:gd name="connsiteX130" fmla="*/ 2085226 w 4829175"/>
                <a:gd name="connsiteY130" fmla="*/ 5682955 h 6515100"/>
                <a:gd name="connsiteX131" fmla="*/ 2356338 w 4829175"/>
                <a:gd name="connsiteY131" fmla="*/ 5953367 h 6515100"/>
                <a:gd name="connsiteX132" fmla="*/ 2620460 w 4829175"/>
                <a:gd name="connsiteY132" fmla="*/ 5953367 h 6515100"/>
                <a:gd name="connsiteX133" fmla="*/ 2349350 w 4829175"/>
                <a:gd name="connsiteY133" fmla="*/ 5682955 h 6515100"/>
                <a:gd name="connsiteX134" fmla="*/ 2533816 w 4829175"/>
                <a:gd name="connsiteY134" fmla="*/ 5498489 h 6515100"/>
                <a:gd name="connsiteX135" fmla="*/ 2619762 w 4829175"/>
                <a:gd name="connsiteY135" fmla="*/ 5412543 h 6515100"/>
                <a:gd name="connsiteX136" fmla="*/ 2361229 w 4829175"/>
                <a:gd name="connsiteY136" fmla="*/ 5412543 h 6515100"/>
                <a:gd name="connsiteX137" fmla="*/ 1257919 w 4829175"/>
                <a:gd name="connsiteY137" fmla="*/ 5411845 h 6515100"/>
                <a:gd name="connsiteX138" fmla="*/ 987507 w 4829175"/>
                <a:gd name="connsiteY138" fmla="*/ 5682955 h 6515100"/>
                <a:gd name="connsiteX139" fmla="*/ 1258618 w 4829175"/>
                <a:gd name="connsiteY139" fmla="*/ 5953367 h 6515100"/>
                <a:gd name="connsiteX140" fmla="*/ 1522741 w 4829175"/>
                <a:gd name="connsiteY140" fmla="*/ 5953367 h 6515100"/>
                <a:gd name="connsiteX141" fmla="*/ 1251631 w 4829175"/>
                <a:gd name="connsiteY141" fmla="*/ 5682955 h 6515100"/>
                <a:gd name="connsiteX142" fmla="*/ 1436098 w 4829175"/>
                <a:gd name="connsiteY142" fmla="*/ 5498489 h 6515100"/>
                <a:gd name="connsiteX143" fmla="*/ 1522043 w 4829175"/>
                <a:gd name="connsiteY143" fmla="*/ 5411845 h 6515100"/>
                <a:gd name="connsiteX144" fmla="*/ 3452658 w 4829175"/>
                <a:gd name="connsiteY144" fmla="*/ 5411147 h 6515100"/>
                <a:gd name="connsiteX145" fmla="*/ 3182246 w 4829175"/>
                <a:gd name="connsiteY145" fmla="*/ 5682258 h 6515100"/>
                <a:gd name="connsiteX146" fmla="*/ 3453357 w 4829175"/>
                <a:gd name="connsiteY146" fmla="*/ 5952669 h 6515100"/>
                <a:gd name="connsiteX147" fmla="*/ 3717481 w 4829175"/>
                <a:gd name="connsiteY147" fmla="*/ 5952669 h 6515100"/>
                <a:gd name="connsiteX148" fmla="*/ 3446370 w 4829175"/>
                <a:gd name="connsiteY148" fmla="*/ 5682258 h 6515100"/>
                <a:gd name="connsiteX149" fmla="*/ 3716782 w 4829175"/>
                <a:gd name="connsiteY149" fmla="*/ 5411147 h 6515100"/>
                <a:gd name="connsiteX150" fmla="*/ 4549679 w 4829175"/>
                <a:gd name="connsiteY150" fmla="*/ 5409749 h 6515100"/>
                <a:gd name="connsiteX151" fmla="*/ 4279267 w 4829175"/>
                <a:gd name="connsiteY151" fmla="*/ 5680860 h 6515100"/>
                <a:gd name="connsiteX152" fmla="*/ 4550378 w 4829175"/>
                <a:gd name="connsiteY152" fmla="*/ 5951272 h 6515100"/>
                <a:gd name="connsiteX153" fmla="*/ 4814501 w 4829175"/>
                <a:gd name="connsiteY153" fmla="*/ 5951272 h 6515100"/>
                <a:gd name="connsiteX154" fmla="*/ 4543391 w 4829175"/>
                <a:gd name="connsiteY154" fmla="*/ 5680860 h 6515100"/>
                <a:gd name="connsiteX155" fmla="*/ 4727858 w 4829175"/>
                <a:gd name="connsiteY155" fmla="*/ 5495694 h 6515100"/>
                <a:gd name="connsiteX156" fmla="*/ 4727159 w 4829175"/>
                <a:gd name="connsiteY156" fmla="*/ 5494995 h 6515100"/>
                <a:gd name="connsiteX157" fmla="*/ 4812405 w 4829175"/>
                <a:gd name="connsiteY157" fmla="*/ 5409749 h 6515100"/>
                <a:gd name="connsiteX158" fmla="*/ 167886 w 4829175"/>
                <a:gd name="connsiteY158" fmla="*/ 5139337 h 6515100"/>
                <a:gd name="connsiteX159" fmla="*/ 438997 w 4829175"/>
                <a:gd name="connsiteY159" fmla="*/ 5409749 h 6515100"/>
                <a:gd name="connsiteX160" fmla="*/ 169284 w 4829175"/>
                <a:gd name="connsiteY160" fmla="*/ 5680860 h 6515100"/>
                <a:gd name="connsiteX161" fmla="*/ 432708 w 4829175"/>
                <a:gd name="connsiteY161" fmla="*/ 5680860 h 6515100"/>
                <a:gd name="connsiteX162" fmla="*/ 703120 w 4829175"/>
                <a:gd name="connsiteY162" fmla="*/ 5409749 h 6515100"/>
                <a:gd name="connsiteX163" fmla="*/ 568962 w 4829175"/>
                <a:gd name="connsiteY163" fmla="*/ 5276290 h 6515100"/>
                <a:gd name="connsiteX164" fmla="*/ 432009 w 4829175"/>
                <a:gd name="connsiteY164" fmla="*/ 5139337 h 6515100"/>
                <a:gd name="connsiteX165" fmla="*/ 1814116 w 4829175"/>
                <a:gd name="connsiteY165" fmla="*/ 5138638 h 6515100"/>
                <a:gd name="connsiteX166" fmla="*/ 1942683 w 4829175"/>
                <a:gd name="connsiteY166" fmla="*/ 5267207 h 6515100"/>
                <a:gd name="connsiteX167" fmla="*/ 2084528 w 4829175"/>
                <a:gd name="connsiteY167" fmla="*/ 5409050 h 6515100"/>
                <a:gd name="connsiteX168" fmla="*/ 1814116 w 4829175"/>
                <a:gd name="connsiteY168" fmla="*/ 5680161 h 6515100"/>
                <a:gd name="connsiteX169" fmla="*/ 2078239 w 4829175"/>
                <a:gd name="connsiteY169" fmla="*/ 5680161 h 6515100"/>
                <a:gd name="connsiteX170" fmla="*/ 2348651 w 4829175"/>
                <a:gd name="connsiteY170" fmla="*/ 5409050 h 6515100"/>
                <a:gd name="connsiteX171" fmla="*/ 2343759 w 4829175"/>
                <a:gd name="connsiteY171" fmla="*/ 5404159 h 6515100"/>
                <a:gd name="connsiteX172" fmla="*/ 2078239 w 4829175"/>
                <a:gd name="connsiteY172" fmla="*/ 5138638 h 6515100"/>
                <a:gd name="connsiteX173" fmla="*/ 2362625 w 4829175"/>
                <a:gd name="connsiteY173" fmla="*/ 5137939 h 6515100"/>
                <a:gd name="connsiteX174" fmla="*/ 2633736 w 4829175"/>
                <a:gd name="connsiteY174" fmla="*/ 5407653 h 6515100"/>
                <a:gd name="connsiteX175" fmla="*/ 2630942 w 4829175"/>
                <a:gd name="connsiteY175" fmla="*/ 5410448 h 6515100"/>
                <a:gd name="connsiteX176" fmla="*/ 2540804 w 4829175"/>
                <a:gd name="connsiteY176" fmla="*/ 5501283 h 6515100"/>
                <a:gd name="connsiteX177" fmla="*/ 2363324 w 4829175"/>
                <a:gd name="connsiteY177" fmla="*/ 5678763 h 6515100"/>
                <a:gd name="connsiteX178" fmla="*/ 2627447 w 4829175"/>
                <a:gd name="connsiteY178" fmla="*/ 5678763 h 6515100"/>
                <a:gd name="connsiteX179" fmla="*/ 2716886 w 4829175"/>
                <a:gd name="connsiteY179" fmla="*/ 5589325 h 6515100"/>
                <a:gd name="connsiteX180" fmla="*/ 2897859 w 4829175"/>
                <a:gd name="connsiteY180" fmla="*/ 5408351 h 6515100"/>
                <a:gd name="connsiteX181" fmla="*/ 2626749 w 4829175"/>
                <a:gd name="connsiteY181" fmla="*/ 5137939 h 6515100"/>
                <a:gd name="connsiteX182" fmla="*/ 1264208 w 4829175"/>
                <a:gd name="connsiteY182" fmla="*/ 5137939 h 6515100"/>
                <a:gd name="connsiteX183" fmla="*/ 1535319 w 4829175"/>
                <a:gd name="connsiteY183" fmla="*/ 5407653 h 6515100"/>
                <a:gd name="connsiteX184" fmla="*/ 1532523 w 4829175"/>
                <a:gd name="connsiteY184" fmla="*/ 5410448 h 6515100"/>
                <a:gd name="connsiteX185" fmla="*/ 1442387 w 4829175"/>
                <a:gd name="connsiteY185" fmla="*/ 5501283 h 6515100"/>
                <a:gd name="connsiteX186" fmla="*/ 1264907 w 4829175"/>
                <a:gd name="connsiteY186" fmla="*/ 5678763 h 6515100"/>
                <a:gd name="connsiteX187" fmla="*/ 1529030 w 4829175"/>
                <a:gd name="connsiteY187" fmla="*/ 5678763 h 6515100"/>
                <a:gd name="connsiteX188" fmla="*/ 1618469 w 4829175"/>
                <a:gd name="connsiteY188" fmla="*/ 5589325 h 6515100"/>
                <a:gd name="connsiteX189" fmla="*/ 1799442 w 4829175"/>
                <a:gd name="connsiteY189" fmla="*/ 5408351 h 6515100"/>
                <a:gd name="connsiteX190" fmla="*/ 1528331 w 4829175"/>
                <a:gd name="connsiteY190" fmla="*/ 5137939 h 6515100"/>
                <a:gd name="connsiteX191" fmla="*/ 715697 w 4829175"/>
                <a:gd name="connsiteY191" fmla="*/ 5137939 h 6515100"/>
                <a:gd name="connsiteX192" fmla="*/ 717095 w 4829175"/>
                <a:gd name="connsiteY192" fmla="*/ 5139337 h 6515100"/>
                <a:gd name="connsiteX193" fmla="*/ 986808 w 4829175"/>
                <a:gd name="connsiteY193" fmla="*/ 5408351 h 6515100"/>
                <a:gd name="connsiteX194" fmla="*/ 716396 w 4829175"/>
                <a:gd name="connsiteY194" fmla="*/ 5679462 h 6515100"/>
                <a:gd name="connsiteX195" fmla="*/ 980520 w 4829175"/>
                <a:gd name="connsiteY195" fmla="*/ 5679462 h 6515100"/>
                <a:gd name="connsiteX196" fmla="*/ 1250932 w 4829175"/>
                <a:gd name="connsiteY196" fmla="*/ 5408351 h 6515100"/>
                <a:gd name="connsiteX197" fmla="*/ 1245342 w 4829175"/>
                <a:gd name="connsiteY197" fmla="*/ 5403460 h 6515100"/>
                <a:gd name="connsiteX198" fmla="*/ 979821 w 4829175"/>
                <a:gd name="connsiteY198" fmla="*/ 5137939 h 6515100"/>
                <a:gd name="connsiteX199" fmla="*/ 2911136 w 4829175"/>
                <a:gd name="connsiteY199" fmla="*/ 5137241 h 6515100"/>
                <a:gd name="connsiteX200" fmla="*/ 3041801 w 4829175"/>
                <a:gd name="connsiteY200" fmla="*/ 5266508 h 6515100"/>
                <a:gd name="connsiteX201" fmla="*/ 3182246 w 4829175"/>
                <a:gd name="connsiteY201" fmla="*/ 5406954 h 6515100"/>
                <a:gd name="connsiteX202" fmla="*/ 2911834 w 4829175"/>
                <a:gd name="connsiteY202" fmla="*/ 5678065 h 6515100"/>
                <a:gd name="connsiteX203" fmla="*/ 3175958 w 4829175"/>
                <a:gd name="connsiteY203" fmla="*/ 5678065 h 6515100"/>
                <a:gd name="connsiteX204" fmla="*/ 3446370 w 4829175"/>
                <a:gd name="connsiteY204" fmla="*/ 5407653 h 6515100"/>
                <a:gd name="connsiteX205" fmla="*/ 3175259 w 4829175"/>
                <a:gd name="connsiteY205" fmla="*/ 5137241 h 6515100"/>
                <a:gd name="connsiteX206" fmla="*/ 3459646 w 4829175"/>
                <a:gd name="connsiteY206" fmla="*/ 5136542 h 6515100"/>
                <a:gd name="connsiteX207" fmla="*/ 3730757 w 4829175"/>
                <a:gd name="connsiteY207" fmla="*/ 5406954 h 6515100"/>
                <a:gd name="connsiteX208" fmla="*/ 3460345 w 4829175"/>
                <a:gd name="connsiteY208" fmla="*/ 5678065 h 6515100"/>
                <a:gd name="connsiteX209" fmla="*/ 3724468 w 4829175"/>
                <a:gd name="connsiteY209" fmla="*/ 5678065 h 6515100"/>
                <a:gd name="connsiteX210" fmla="*/ 3994880 w 4829175"/>
                <a:gd name="connsiteY210" fmla="*/ 5406954 h 6515100"/>
                <a:gd name="connsiteX211" fmla="*/ 3723769 w 4829175"/>
                <a:gd name="connsiteY211" fmla="*/ 5136542 h 6515100"/>
                <a:gd name="connsiteX212" fmla="*/ 4008156 w 4829175"/>
                <a:gd name="connsiteY212" fmla="*/ 5135843 h 6515100"/>
                <a:gd name="connsiteX213" fmla="*/ 4279267 w 4829175"/>
                <a:gd name="connsiteY213" fmla="*/ 5406255 h 6515100"/>
                <a:gd name="connsiteX214" fmla="*/ 4008855 w 4829175"/>
                <a:gd name="connsiteY214" fmla="*/ 5677366 h 6515100"/>
                <a:gd name="connsiteX215" fmla="*/ 4207297 w 4829175"/>
                <a:gd name="connsiteY215" fmla="*/ 5677366 h 6515100"/>
                <a:gd name="connsiteX216" fmla="*/ 4272280 w 4829175"/>
                <a:gd name="connsiteY216" fmla="*/ 5677366 h 6515100"/>
                <a:gd name="connsiteX217" fmla="*/ 4543391 w 4829175"/>
                <a:gd name="connsiteY217" fmla="*/ 5406255 h 6515100"/>
                <a:gd name="connsiteX218" fmla="*/ 4409232 w 4829175"/>
                <a:gd name="connsiteY218" fmla="*/ 5272797 h 6515100"/>
                <a:gd name="connsiteX219" fmla="*/ 4272280 w 4829175"/>
                <a:gd name="connsiteY219" fmla="*/ 5135843 h 6515100"/>
                <a:gd name="connsiteX220" fmla="*/ 708011 w 4829175"/>
                <a:gd name="connsiteY220" fmla="*/ 4864034 h 6515100"/>
                <a:gd name="connsiteX221" fmla="*/ 527737 w 4829175"/>
                <a:gd name="connsiteY221" fmla="*/ 5045007 h 6515100"/>
                <a:gd name="connsiteX222" fmla="*/ 438298 w 4829175"/>
                <a:gd name="connsiteY222" fmla="*/ 5135144 h 6515100"/>
                <a:gd name="connsiteX223" fmla="*/ 572456 w 4829175"/>
                <a:gd name="connsiteY223" fmla="*/ 5268603 h 6515100"/>
                <a:gd name="connsiteX224" fmla="*/ 709409 w 4829175"/>
                <a:gd name="connsiteY224" fmla="*/ 5405557 h 6515100"/>
                <a:gd name="connsiteX225" fmla="*/ 973532 w 4829175"/>
                <a:gd name="connsiteY225" fmla="*/ 5405557 h 6515100"/>
                <a:gd name="connsiteX226" fmla="*/ 702421 w 4829175"/>
                <a:gd name="connsiteY226" fmla="*/ 5135144 h 6515100"/>
                <a:gd name="connsiteX227" fmla="*/ 703819 w 4829175"/>
                <a:gd name="connsiteY227" fmla="*/ 5133747 h 6515100"/>
                <a:gd name="connsiteX228" fmla="*/ 972135 w 4829175"/>
                <a:gd name="connsiteY228" fmla="*/ 4864034 h 6515100"/>
                <a:gd name="connsiteX229" fmla="*/ 1257220 w 4829175"/>
                <a:gd name="connsiteY229" fmla="*/ 4863335 h 6515100"/>
                <a:gd name="connsiteX230" fmla="*/ 986808 w 4829175"/>
                <a:gd name="connsiteY230" fmla="*/ 5134446 h 6515100"/>
                <a:gd name="connsiteX231" fmla="*/ 1257919 w 4829175"/>
                <a:gd name="connsiteY231" fmla="*/ 5404858 h 6515100"/>
                <a:gd name="connsiteX232" fmla="*/ 1522043 w 4829175"/>
                <a:gd name="connsiteY232" fmla="*/ 5404858 h 6515100"/>
                <a:gd name="connsiteX233" fmla="*/ 1250932 w 4829175"/>
                <a:gd name="connsiteY233" fmla="*/ 5134446 h 6515100"/>
                <a:gd name="connsiteX234" fmla="*/ 1521344 w 4829175"/>
                <a:gd name="connsiteY234" fmla="*/ 4863335 h 6515100"/>
                <a:gd name="connsiteX235" fmla="*/ 2904148 w 4829175"/>
                <a:gd name="connsiteY235" fmla="*/ 4862636 h 6515100"/>
                <a:gd name="connsiteX236" fmla="*/ 2633736 w 4829175"/>
                <a:gd name="connsiteY236" fmla="*/ 5133747 h 6515100"/>
                <a:gd name="connsiteX237" fmla="*/ 2904847 w 4829175"/>
                <a:gd name="connsiteY237" fmla="*/ 5404159 h 6515100"/>
                <a:gd name="connsiteX238" fmla="*/ 3168271 w 4829175"/>
                <a:gd name="connsiteY238" fmla="*/ 5404159 h 6515100"/>
                <a:gd name="connsiteX239" fmla="*/ 3037607 w 4829175"/>
                <a:gd name="connsiteY239" fmla="*/ 5274193 h 6515100"/>
                <a:gd name="connsiteX240" fmla="*/ 2897162 w 4829175"/>
                <a:gd name="connsiteY240" fmla="*/ 5133747 h 6515100"/>
                <a:gd name="connsiteX241" fmla="*/ 3168271 w 4829175"/>
                <a:gd name="connsiteY241" fmla="*/ 4862636 h 6515100"/>
                <a:gd name="connsiteX242" fmla="*/ 1805032 w 4829175"/>
                <a:gd name="connsiteY242" fmla="*/ 4862636 h 6515100"/>
                <a:gd name="connsiteX243" fmla="*/ 1534620 w 4829175"/>
                <a:gd name="connsiteY243" fmla="*/ 5133747 h 6515100"/>
                <a:gd name="connsiteX244" fmla="*/ 1805731 w 4829175"/>
                <a:gd name="connsiteY244" fmla="*/ 5404159 h 6515100"/>
                <a:gd name="connsiteX245" fmla="*/ 1807128 w 4829175"/>
                <a:gd name="connsiteY245" fmla="*/ 5405557 h 6515100"/>
                <a:gd name="connsiteX246" fmla="*/ 2071252 w 4829175"/>
                <a:gd name="connsiteY246" fmla="*/ 5405557 h 6515100"/>
                <a:gd name="connsiteX247" fmla="*/ 1939889 w 4829175"/>
                <a:gd name="connsiteY247" fmla="*/ 5274193 h 6515100"/>
                <a:gd name="connsiteX248" fmla="*/ 1802236 w 4829175"/>
                <a:gd name="connsiteY248" fmla="*/ 5136542 h 6515100"/>
                <a:gd name="connsiteX249" fmla="*/ 2071252 w 4829175"/>
                <a:gd name="connsiteY249" fmla="*/ 4862636 h 6515100"/>
                <a:gd name="connsiteX250" fmla="*/ 3451960 w 4829175"/>
                <a:gd name="connsiteY250" fmla="*/ 4861938 h 6515100"/>
                <a:gd name="connsiteX251" fmla="*/ 3181548 w 4829175"/>
                <a:gd name="connsiteY251" fmla="*/ 5133048 h 6515100"/>
                <a:gd name="connsiteX252" fmla="*/ 3452658 w 4829175"/>
                <a:gd name="connsiteY252" fmla="*/ 5403460 h 6515100"/>
                <a:gd name="connsiteX253" fmla="*/ 3716782 w 4829175"/>
                <a:gd name="connsiteY253" fmla="*/ 5403460 h 6515100"/>
                <a:gd name="connsiteX254" fmla="*/ 3445671 w 4829175"/>
                <a:gd name="connsiteY254" fmla="*/ 5133048 h 6515100"/>
                <a:gd name="connsiteX255" fmla="*/ 3630138 w 4829175"/>
                <a:gd name="connsiteY255" fmla="*/ 4948581 h 6515100"/>
                <a:gd name="connsiteX256" fmla="*/ 3714686 w 4829175"/>
                <a:gd name="connsiteY256" fmla="*/ 4861938 h 6515100"/>
                <a:gd name="connsiteX257" fmla="*/ 4000470 w 4829175"/>
                <a:gd name="connsiteY257" fmla="*/ 4861239 h 6515100"/>
                <a:gd name="connsiteX258" fmla="*/ 3730058 w 4829175"/>
                <a:gd name="connsiteY258" fmla="*/ 5132350 h 6515100"/>
                <a:gd name="connsiteX259" fmla="*/ 4001169 w 4829175"/>
                <a:gd name="connsiteY259" fmla="*/ 5402762 h 6515100"/>
                <a:gd name="connsiteX260" fmla="*/ 4265292 w 4829175"/>
                <a:gd name="connsiteY260" fmla="*/ 5402762 h 6515100"/>
                <a:gd name="connsiteX261" fmla="*/ 3994181 w 4829175"/>
                <a:gd name="connsiteY261" fmla="*/ 5132350 h 6515100"/>
                <a:gd name="connsiteX262" fmla="*/ 3995579 w 4829175"/>
                <a:gd name="connsiteY262" fmla="*/ 5130952 h 6515100"/>
                <a:gd name="connsiteX263" fmla="*/ 3994880 w 4829175"/>
                <a:gd name="connsiteY263" fmla="*/ 5130952 h 6515100"/>
                <a:gd name="connsiteX264" fmla="*/ 4263197 w 4829175"/>
                <a:gd name="connsiteY264" fmla="*/ 4861938 h 6515100"/>
                <a:gd name="connsiteX265" fmla="*/ 4004663 w 4829175"/>
                <a:gd name="connsiteY265" fmla="*/ 4861938 h 6515100"/>
                <a:gd name="connsiteX266" fmla="*/ 4006060 w 4829175"/>
                <a:gd name="connsiteY266" fmla="*/ 4861239 h 6515100"/>
                <a:gd name="connsiteX267" fmla="*/ 4548281 w 4829175"/>
                <a:gd name="connsiteY267" fmla="*/ 4860540 h 6515100"/>
                <a:gd name="connsiteX268" fmla="*/ 4367308 w 4829175"/>
                <a:gd name="connsiteY268" fmla="*/ 5041513 h 6515100"/>
                <a:gd name="connsiteX269" fmla="*/ 4368007 w 4829175"/>
                <a:gd name="connsiteY269" fmla="*/ 5042212 h 6515100"/>
                <a:gd name="connsiteX270" fmla="*/ 4278568 w 4829175"/>
                <a:gd name="connsiteY270" fmla="*/ 5132350 h 6515100"/>
                <a:gd name="connsiteX271" fmla="*/ 4412727 w 4829175"/>
                <a:gd name="connsiteY271" fmla="*/ 5265809 h 6515100"/>
                <a:gd name="connsiteX272" fmla="*/ 4548980 w 4829175"/>
                <a:gd name="connsiteY272" fmla="*/ 5402063 h 6515100"/>
                <a:gd name="connsiteX273" fmla="*/ 4813104 w 4829175"/>
                <a:gd name="connsiteY273" fmla="*/ 5402063 h 6515100"/>
                <a:gd name="connsiteX274" fmla="*/ 4541993 w 4829175"/>
                <a:gd name="connsiteY274" fmla="*/ 5131651 h 6515100"/>
                <a:gd name="connsiteX275" fmla="*/ 4812405 w 4829175"/>
                <a:gd name="connsiteY275" fmla="*/ 4860540 h 6515100"/>
                <a:gd name="connsiteX276" fmla="*/ 2621159 w 4829175"/>
                <a:gd name="connsiteY276" fmla="*/ 4860540 h 6515100"/>
                <a:gd name="connsiteX277" fmla="*/ 2354940 w 4829175"/>
                <a:gd name="connsiteY277" fmla="*/ 4863335 h 6515100"/>
                <a:gd name="connsiteX278" fmla="*/ 2084528 w 4829175"/>
                <a:gd name="connsiteY278" fmla="*/ 5134446 h 6515100"/>
                <a:gd name="connsiteX279" fmla="*/ 2355639 w 4829175"/>
                <a:gd name="connsiteY279" fmla="*/ 5404858 h 6515100"/>
                <a:gd name="connsiteX280" fmla="*/ 2619762 w 4829175"/>
                <a:gd name="connsiteY280" fmla="*/ 5404858 h 6515100"/>
                <a:gd name="connsiteX281" fmla="*/ 2348651 w 4829175"/>
                <a:gd name="connsiteY281" fmla="*/ 5134446 h 6515100"/>
                <a:gd name="connsiteX282" fmla="*/ 166488 w 4829175"/>
                <a:gd name="connsiteY282" fmla="*/ 4590827 h 6515100"/>
                <a:gd name="connsiteX283" fmla="*/ 437599 w 4829175"/>
                <a:gd name="connsiteY283" fmla="*/ 4861239 h 6515100"/>
                <a:gd name="connsiteX284" fmla="*/ 434805 w 4829175"/>
                <a:gd name="connsiteY284" fmla="*/ 4864034 h 6515100"/>
                <a:gd name="connsiteX285" fmla="*/ 344667 w 4829175"/>
                <a:gd name="connsiteY285" fmla="*/ 4954870 h 6515100"/>
                <a:gd name="connsiteX286" fmla="*/ 167187 w 4829175"/>
                <a:gd name="connsiteY286" fmla="*/ 5131651 h 6515100"/>
                <a:gd name="connsiteX287" fmla="*/ 431311 w 4829175"/>
                <a:gd name="connsiteY287" fmla="*/ 5131651 h 6515100"/>
                <a:gd name="connsiteX288" fmla="*/ 520749 w 4829175"/>
                <a:gd name="connsiteY288" fmla="*/ 5042212 h 6515100"/>
                <a:gd name="connsiteX289" fmla="*/ 701722 w 4829175"/>
                <a:gd name="connsiteY289" fmla="*/ 4861239 h 6515100"/>
                <a:gd name="connsiteX290" fmla="*/ 430612 w 4829175"/>
                <a:gd name="connsiteY290" fmla="*/ 4590827 h 6515100"/>
                <a:gd name="connsiteX291" fmla="*/ 715697 w 4829175"/>
                <a:gd name="connsiteY291" fmla="*/ 4590128 h 6515100"/>
                <a:gd name="connsiteX292" fmla="*/ 845663 w 4829175"/>
                <a:gd name="connsiteY292" fmla="*/ 4720093 h 6515100"/>
                <a:gd name="connsiteX293" fmla="*/ 986109 w 4829175"/>
                <a:gd name="connsiteY293" fmla="*/ 4859841 h 6515100"/>
                <a:gd name="connsiteX294" fmla="*/ 715697 w 4829175"/>
                <a:gd name="connsiteY294" fmla="*/ 5130952 h 6515100"/>
                <a:gd name="connsiteX295" fmla="*/ 979821 w 4829175"/>
                <a:gd name="connsiteY295" fmla="*/ 5130952 h 6515100"/>
                <a:gd name="connsiteX296" fmla="*/ 1250932 w 4829175"/>
                <a:gd name="connsiteY296" fmla="*/ 4860540 h 6515100"/>
                <a:gd name="connsiteX297" fmla="*/ 979821 w 4829175"/>
                <a:gd name="connsiteY297" fmla="*/ 4590128 h 6515100"/>
                <a:gd name="connsiteX298" fmla="*/ 2911136 w 4829175"/>
                <a:gd name="connsiteY298" fmla="*/ 4589429 h 6515100"/>
                <a:gd name="connsiteX299" fmla="*/ 3040403 w 4829175"/>
                <a:gd name="connsiteY299" fmla="*/ 4717299 h 6515100"/>
                <a:gd name="connsiteX300" fmla="*/ 3040403 w 4829175"/>
                <a:gd name="connsiteY300" fmla="*/ 4717998 h 6515100"/>
                <a:gd name="connsiteX301" fmla="*/ 3182246 w 4829175"/>
                <a:gd name="connsiteY301" fmla="*/ 4859841 h 6515100"/>
                <a:gd name="connsiteX302" fmla="*/ 2911834 w 4829175"/>
                <a:gd name="connsiteY302" fmla="*/ 5130952 h 6515100"/>
                <a:gd name="connsiteX303" fmla="*/ 3175259 w 4829175"/>
                <a:gd name="connsiteY303" fmla="*/ 5130952 h 6515100"/>
                <a:gd name="connsiteX304" fmla="*/ 3445671 w 4829175"/>
                <a:gd name="connsiteY304" fmla="*/ 4859841 h 6515100"/>
                <a:gd name="connsiteX305" fmla="*/ 3440081 w 4829175"/>
                <a:gd name="connsiteY305" fmla="*/ 4854251 h 6515100"/>
                <a:gd name="connsiteX306" fmla="*/ 3439382 w 4829175"/>
                <a:gd name="connsiteY306" fmla="*/ 4854251 h 6515100"/>
                <a:gd name="connsiteX307" fmla="*/ 3173862 w 4829175"/>
                <a:gd name="connsiteY307" fmla="*/ 4589429 h 6515100"/>
                <a:gd name="connsiteX308" fmla="*/ 1813417 w 4829175"/>
                <a:gd name="connsiteY308" fmla="*/ 4589429 h 6515100"/>
                <a:gd name="connsiteX309" fmla="*/ 1815507 w 4829175"/>
                <a:gd name="connsiteY309" fmla="*/ 4592217 h 6515100"/>
                <a:gd name="connsiteX310" fmla="*/ 1814814 w 4829175"/>
                <a:gd name="connsiteY310" fmla="*/ 4591526 h 6515100"/>
                <a:gd name="connsiteX311" fmla="*/ 1815513 w 4829175"/>
                <a:gd name="connsiteY311" fmla="*/ 4592225 h 6515100"/>
                <a:gd name="connsiteX312" fmla="*/ 1815507 w 4829175"/>
                <a:gd name="connsiteY312" fmla="*/ 4592217 h 6515100"/>
                <a:gd name="connsiteX313" fmla="*/ 2074046 w 4829175"/>
                <a:gd name="connsiteY313" fmla="*/ 4850059 h 6515100"/>
                <a:gd name="connsiteX314" fmla="*/ 2083829 w 4829175"/>
                <a:gd name="connsiteY314" fmla="*/ 4859142 h 6515100"/>
                <a:gd name="connsiteX315" fmla="*/ 2085925 w 4829175"/>
                <a:gd name="connsiteY315" fmla="*/ 4861239 h 6515100"/>
                <a:gd name="connsiteX316" fmla="*/ 1821102 w 4829175"/>
                <a:gd name="connsiteY316" fmla="*/ 5130952 h 6515100"/>
                <a:gd name="connsiteX317" fmla="*/ 2080335 w 4829175"/>
                <a:gd name="connsiteY317" fmla="*/ 5131651 h 6515100"/>
                <a:gd name="connsiteX318" fmla="*/ 2350049 w 4829175"/>
                <a:gd name="connsiteY318" fmla="*/ 4861239 h 6515100"/>
                <a:gd name="connsiteX319" fmla="*/ 2214493 w 4829175"/>
                <a:gd name="connsiteY319" fmla="*/ 4726382 h 6515100"/>
                <a:gd name="connsiteX320" fmla="*/ 2197724 w 4829175"/>
                <a:gd name="connsiteY320" fmla="*/ 4709612 h 6515100"/>
                <a:gd name="connsiteX321" fmla="*/ 2078239 w 4829175"/>
                <a:gd name="connsiteY321" fmla="*/ 4590827 h 6515100"/>
                <a:gd name="connsiteX322" fmla="*/ 2074046 w 4829175"/>
                <a:gd name="connsiteY322" fmla="*/ 4589429 h 6515100"/>
                <a:gd name="connsiteX323" fmla="*/ 1263509 w 4829175"/>
                <a:gd name="connsiteY323" fmla="*/ 4589429 h 6515100"/>
                <a:gd name="connsiteX324" fmla="*/ 1534620 w 4829175"/>
                <a:gd name="connsiteY324" fmla="*/ 4859841 h 6515100"/>
                <a:gd name="connsiteX325" fmla="*/ 1264208 w 4829175"/>
                <a:gd name="connsiteY325" fmla="*/ 5130952 h 6515100"/>
                <a:gd name="connsiteX326" fmla="*/ 1528331 w 4829175"/>
                <a:gd name="connsiteY326" fmla="*/ 5130952 h 6515100"/>
                <a:gd name="connsiteX327" fmla="*/ 1798743 w 4829175"/>
                <a:gd name="connsiteY327" fmla="*/ 4859841 h 6515100"/>
                <a:gd name="connsiteX328" fmla="*/ 1527632 w 4829175"/>
                <a:gd name="connsiteY328" fmla="*/ 4589429 h 6515100"/>
                <a:gd name="connsiteX329" fmla="*/ 2626749 w 4829175"/>
                <a:gd name="connsiteY329" fmla="*/ 4588031 h 6515100"/>
                <a:gd name="connsiteX330" fmla="*/ 2363324 w 4829175"/>
                <a:gd name="connsiteY330" fmla="*/ 4588730 h 6515100"/>
                <a:gd name="connsiteX331" fmla="*/ 2632339 w 4829175"/>
                <a:gd name="connsiteY331" fmla="*/ 4857047 h 6515100"/>
                <a:gd name="connsiteX332" fmla="*/ 2631641 w 4829175"/>
                <a:gd name="connsiteY332" fmla="*/ 4857746 h 6515100"/>
                <a:gd name="connsiteX333" fmla="*/ 2633038 w 4829175"/>
                <a:gd name="connsiteY333" fmla="*/ 4859142 h 6515100"/>
                <a:gd name="connsiteX334" fmla="*/ 2362625 w 4829175"/>
                <a:gd name="connsiteY334" fmla="*/ 5130253 h 6515100"/>
                <a:gd name="connsiteX335" fmla="*/ 2626749 w 4829175"/>
                <a:gd name="connsiteY335" fmla="*/ 5130253 h 6515100"/>
                <a:gd name="connsiteX336" fmla="*/ 2716886 w 4829175"/>
                <a:gd name="connsiteY336" fmla="*/ 5040116 h 6515100"/>
                <a:gd name="connsiteX337" fmla="*/ 2896463 w 4829175"/>
                <a:gd name="connsiteY337" fmla="*/ 4857047 h 6515100"/>
                <a:gd name="connsiteX338" fmla="*/ 4006759 w 4829175"/>
                <a:gd name="connsiteY338" fmla="*/ 4587334 h 6515100"/>
                <a:gd name="connsiteX339" fmla="*/ 4136725 w 4829175"/>
                <a:gd name="connsiteY339" fmla="*/ 4716600 h 6515100"/>
                <a:gd name="connsiteX340" fmla="*/ 4277171 w 4829175"/>
                <a:gd name="connsiteY340" fmla="*/ 4857047 h 6515100"/>
                <a:gd name="connsiteX341" fmla="*/ 4184238 w 4829175"/>
                <a:gd name="connsiteY341" fmla="*/ 4950678 h 6515100"/>
                <a:gd name="connsiteX342" fmla="*/ 4184937 w 4829175"/>
                <a:gd name="connsiteY342" fmla="*/ 4951376 h 6515100"/>
                <a:gd name="connsiteX343" fmla="*/ 4008156 w 4829175"/>
                <a:gd name="connsiteY343" fmla="*/ 5128855 h 6515100"/>
                <a:gd name="connsiteX344" fmla="*/ 4270882 w 4829175"/>
                <a:gd name="connsiteY344" fmla="*/ 5128855 h 6515100"/>
                <a:gd name="connsiteX345" fmla="*/ 4541294 w 4829175"/>
                <a:gd name="connsiteY345" fmla="*/ 4857746 h 6515100"/>
                <a:gd name="connsiteX346" fmla="*/ 4270183 w 4829175"/>
                <a:gd name="connsiteY346" fmla="*/ 4587334 h 6515100"/>
                <a:gd name="connsiteX347" fmla="*/ 3458248 w 4829175"/>
                <a:gd name="connsiteY347" fmla="*/ 4587334 h 6515100"/>
                <a:gd name="connsiteX348" fmla="*/ 3729359 w 4829175"/>
                <a:gd name="connsiteY348" fmla="*/ 4857746 h 6515100"/>
                <a:gd name="connsiteX349" fmla="*/ 3730058 w 4829175"/>
                <a:gd name="connsiteY349" fmla="*/ 4858443 h 6515100"/>
                <a:gd name="connsiteX350" fmla="*/ 3459646 w 4829175"/>
                <a:gd name="connsiteY350" fmla="*/ 5129554 h 6515100"/>
                <a:gd name="connsiteX351" fmla="*/ 3723769 w 4829175"/>
                <a:gd name="connsiteY351" fmla="*/ 5129554 h 6515100"/>
                <a:gd name="connsiteX352" fmla="*/ 3813208 w 4829175"/>
                <a:gd name="connsiteY352" fmla="*/ 5039418 h 6515100"/>
                <a:gd name="connsiteX353" fmla="*/ 3812509 w 4829175"/>
                <a:gd name="connsiteY353" fmla="*/ 5039418 h 6515100"/>
                <a:gd name="connsiteX354" fmla="*/ 3993483 w 4829175"/>
                <a:gd name="connsiteY354" fmla="*/ 4858443 h 6515100"/>
                <a:gd name="connsiteX355" fmla="*/ 3988591 w 4829175"/>
                <a:gd name="connsiteY355" fmla="*/ 4852854 h 6515100"/>
                <a:gd name="connsiteX356" fmla="*/ 3722372 w 4829175"/>
                <a:gd name="connsiteY356" fmla="*/ 4587334 h 6515100"/>
                <a:gd name="connsiteX357" fmla="*/ 708011 w 4829175"/>
                <a:gd name="connsiteY357" fmla="*/ 4316223 h 6515100"/>
                <a:gd name="connsiteX358" fmla="*/ 437599 w 4829175"/>
                <a:gd name="connsiteY358" fmla="*/ 4587334 h 6515100"/>
                <a:gd name="connsiteX359" fmla="*/ 709409 w 4829175"/>
                <a:gd name="connsiteY359" fmla="*/ 4857746 h 6515100"/>
                <a:gd name="connsiteX360" fmla="*/ 972833 w 4829175"/>
                <a:gd name="connsiteY360" fmla="*/ 4857746 h 6515100"/>
                <a:gd name="connsiteX361" fmla="*/ 842169 w 4829175"/>
                <a:gd name="connsiteY361" fmla="*/ 4727779 h 6515100"/>
                <a:gd name="connsiteX362" fmla="*/ 701722 w 4829175"/>
                <a:gd name="connsiteY362" fmla="*/ 4587334 h 6515100"/>
                <a:gd name="connsiteX363" fmla="*/ 972135 w 4829175"/>
                <a:gd name="connsiteY363" fmla="*/ 4316223 h 6515100"/>
                <a:gd name="connsiteX364" fmla="*/ 2354241 w 4829175"/>
                <a:gd name="connsiteY364" fmla="*/ 4315524 h 6515100"/>
                <a:gd name="connsiteX365" fmla="*/ 2083829 w 4829175"/>
                <a:gd name="connsiteY365" fmla="*/ 4586635 h 6515100"/>
                <a:gd name="connsiteX366" fmla="*/ 2353542 w 4829175"/>
                <a:gd name="connsiteY366" fmla="*/ 4855649 h 6515100"/>
                <a:gd name="connsiteX367" fmla="*/ 2616967 w 4829175"/>
                <a:gd name="connsiteY367" fmla="*/ 4855649 h 6515100"/>
                <a:gd name="connsiteX368" fmla="*/ 2347952 w 4829175"/>
                <a:gd name="connsiteY368" fmla="*/ 4586635 h 6515100"/>
                <a:gd name="connsiteX369" fmla="*/ 2348651 w 4829175"/>
                <a:gd name="connsiteY369" fmla="*/ 4585936 h 6515100"/>
                <a:gd name="connsiteX370" fmla="*/ 2347254 w 4829175"/>
                <a:gd name="connsiteY370" fmla="*/ 4584538 h 6515100"/>
                <a:gd name="connsiteX371" fmla="*/ 2615569 w 4829175"/>
                <a:gd name="connsiteY371" fmla="*/ 4315524 h 6515100"/>
                <a:gd name="connsiteX372" fmla="*/ 1256521 w 4829175"/>
                <a:gd name="connsiteY372" fmla="*/ 4315524 h 6515100"/>
                <a:gd name="connsiteX373" fmla="*/ 986109 w 4829175"/>
                <a:gd name="connsiteY373" fmla="*/ 4586635 h 6515100"/>
                <a:gd name="connsiteX374" fmla="*/ 1257220 w 4829175"/>
                <a:gd name="connsiteY374" fmla="*/ 4857047 h 6515100"/>
                <a:gd name="connsiteX375" fmla="*/ 1521344 w 4829175"/>
                <a:gd name="connsiteY375" fmla="*/ 4857047 h 6515100"/>
                <a:gd name="connsiteX376" fmla="*/ 1250233 w 4829175"/>
                <a:gd name="connsiteY376" fmla="*/ 4586635 h 6515100"/>
                <a:gd name="connsiteX377" fmla="*/ 1520645 w 4829175"/>
                <a:gd name="connsiteY377" fmla="*/ 4315524 h 6515100"/>
                <a:gd name="connsiteX378" fmla="*/ 1392775 w 4829175"/>
                <a:gd name="connsiteY378" fmla="*/ 4315524 h 6515100"/>
                <a:gd name="connsiteX379" fmla="*/ 1805731 w 4829175"/>
                <a:gd name="connsiteY379" fmla="*/ 4314825 h 6515100"/>
                <a:gd name="connsiteX380" fmla="*/ 1625456 w 4829175"/>
                <a:gd name="connsiteY380" fmla="*/ 4495798 h 6515100"/>
                <a:gd name="connsiteX381" fmla="*/ 1624758 w 4829175"/>
                <a:gd name="connsiteY381" fmla="*/ 4495798 h 6515100"/>
                <a:gd name="connsiteX382" fmla="*/ 1534620 w 4829175"/>
                <a:gd name="connsiteY382" fmla="*/ 4585936 h 6515100"/>
                <a:gd name="connsiteX383" fmla="*/ 1805032 w 4829175"/>
                <a:gd name="connsiteY383" fmla="*/ 4857047 h 6515100"/>
                <a:gd name="connsiteX384" fmla="*/ 2069155 w 4829175"/>
                <a:gd name="connsiteY384" fmla="*/ 4857047 h 6515100"/>
                <a:gd name="connsiteX385" fmla="*/ 1798044 w 4829175"/>
                <a:gd name="connsiteY385" fmla="*/ 4586635 h 6515100"/>
                <a:gd name="connsiteX386" fmla="*/ 1982512 w 4829175"/>
                <a:gd name="connsiteY386" fmla="*/ 4402167 h 6515100"/>
                <a:gd name="connsiteX387" fmla="*/ 1983211 w 4829175"/>
                <a:gd name="connsiteY387" fmla="*/ 4402167 h 6515100"/>
                <a:gd name="connsiteX388" fmla="*/ 2069155 w 4829175"/>
                <a:gd name="connsiteY388" fmla="*/ 4315524 h 6515100"/>
                <a:gd name="connsiteX389" fmla="*/ 1810622 w 4829175"/>
                <a:gd name="connsiteY389" fmla="*/ 4315524 h 6515100"/>
                <a:gd name="connsiteX390" fmla="*/ 3450563 w 4829175"/>
                <a:gd name="connsiteY390" fmla="*/ 4313427 h 6515100"/>
                <a:gd name="connsiteX391" fmla="*/ 3269589 w 4829175"/>
                <a:gd name="connsiteY391" fmla="*/ 4495099 h 6515100"/>
                <a:gd name="connsiteX392" fmla="*/ 3270986 w 4829175"/>
                <a:gd name="connsiteY392" fmla="*/ 4495798 h 6515100"/>
                <a:gd name="connsiteX393" fmla="*/ 3181548 w 4829175"/>
                <a:gd name="connsiteY393" fmla="*/ 4585237 h 6515100"/>
                <a:gd name="connsiteX394" fmla="*/ 3451960 w 4829175"/>
                <a:gd name="connsiteY394" fmla="*/ 4854950 h 6515100"/>
                <a:gd name="connsiteX395" fmla="*/ 3715384 w 4829175"/>
                <a:gd name="connsiteY395" fmla="*/ 4854950 h 6515100"/>
                <a:gd name="connsiteX396" fmla="*/ 3444972 w 4829175"/>
                <a:gd name="connsiteY396" fmla="*/ 4585237 h 6515100"/>
                <a:gd name="connsiteX397" fmla="*/ 3444274 w 4829175"/>
                <a:gd name="connsiteY397" fmla="*/ 4584538 h 6515100"/>
                <a:gd name="connsiteX398" fmla="*/ 3714686 w 4829175"/>
                <a:gd name="connsiteY398" fmla="*/ 4313427 h 6515100"/>
                <a:gd name="connsiteX399" fmla="*/ 2904847 w 4829175"/>
                <a:gd name="connsiteY399" fmla="*/ 4313427 h 6515100"/>
                <a:gd name="connsiteX400" fmla="*/ 2908341 w 4829175"/>
                <a:gd name="connsiteY400" fmla="*/ 4314825 h 6515100"/>
                <a:gd name="connsiteX401" fmla="*/ 2902751 w 4829175"/>
                <a:gd name="connsiteY401" fmla="*/ 4314825 h 6515100"/>
                <a:gd name="connsiteX402" fmla="*/ 2633736 w 4829175"/>
                <a:gd name="connsiteY402" fmla="*/ 4585237 h 6515100"/>
                <a:gd name="connsiteX403" fmla="*/ 2903449 w 4829175"/>
                <a:gd name="connsiteY403" fmla="*/ 4854251 h 6515100"/>
                <a:gd name="connsiteX404" fmla="*/ 3168271 w 4829175"/>
                <a:gd name="connsiteY404" fmla="*/ 4855649 h 6515100"/>
                <a:gd name="connsiteX405" fmla="*/ 2897162 w 4829175"/>
                <a:gd name="connsiteY405" fmla="*/ 4585237 h 6515100"/>
                <a:gd name="connsiteX406" fmla="*/ 2895764 w 4829175"/>
                <a:gd name="connsiteY406" fmla="*/ 4583839 h 6515100"/>
                <a:gd name="connsiteX407" fmla="*/ 3164778 w 4829175"/>
                <a:gd name="connsiteY407" fmla="*/ 4314126 h 6515100"/>
                <a:gd name="connsiteX408" fmla="*/ 2967035 w 4829175"/>
                <a:gd name="connsiteY408" fmla="*/ 4314126 h 6515100"/>
                <a:gd name="connsiteX409" fmla="*/ 2967733 w 4829175"/>
                <a:gd name="connsiteY409" fmla="*/ 4313427 h 6515100"/>
                <a:gd name="connsiteX410" fmla="*/ 3999073 w 4829175"/>
                <a:gd name="connsiteY410" fmla="*/ 4312728 h 6515100"/>
                <a:gd name="connsiteX411" fmla="*/ 3728660 w 4829175"/>
                <a:gd name="connsiteY411" fmla="*/ 4583839 h 6515100"/>
                <a:gd name="connsiteX412" fmla="*/ 3999771 w 4829175"/>
                <a:gd name="connsiteY412" fmla="*/ 4854251 h 6515100"/>
                <a:gd name="connsiteX413" fmla="*/ 4263197 w 4829175"/>
                <a:gd name="connsiteY413" fmla="*/ 4854251 h 6515100"/>
                <a:gd name="connsiteX414" fmla="*/ 4133230 w 4829175"/>
                <a:gd name="connsiteY414" fmla="*/ 4724286 h 6515100"/>
                <a:gd name="connsiteX415" fmla="*/ 3992783 w 4829175"/>
                <a:gd name="connsiteY415" fmla="*/ 4583839 h 6515100"/>
                <a:gd name="connsiteX416" fmla="*/ 4263197 w 4829175"/>
                <a:gd name="connsiteY416" fmla="*/ 4312728 h 6515100"/>
                <a:gd name="connsiteX417" fmla="*/ 4547584 w 4829175"/>
                <a:gd name="connsiteY417" fmla="*/ 4312030 h 6515100"/>
                <a:gd name="connsiteX418" fmla="*/ 4277171 w 4829175"/>
                <a:gd name="connsiteY418" fmla="*/ 4583140 h 6515100"/>
                <a:gd name="connsiteX419" fmla="*/ 4548281 w 4829175"/>
                <a:gd name="connsiteY419" fmla="*/ 4853552 h 6515100"/>
                <a:gd name="connsiteX420" fmla="*/ 4812405 w 4829175"/>
                <a:gd name="connsiteY420" fmla="*/ 4853552 h 6515100"/>
                <a:gd name="connsiteX421" fmla="*/ 4541294 w 4829175"/>
                <a:gd name="connsiteY421" fmla="*/ 4583140 h 6515100"/>
                <a:gd name="connsiteX422" fmla="*/ 4811706 w 4829175"/>
                <a:gd name="connsiteY422" fmla="*/ 4312030 h 6515100"/>
                <a:gd name="connsiteX423" fmla="*/ 717155 w 4829175"/>
                <a:gd name="connsiteY423" fmla="*/ 4044465 h 6515100"/>
                <a:gd name="connsiteX424" fmla="*/ 986808 w 4829175"/>
                <a:gd name="connsiteY424" fmla="*/ 4312728 h 6515100"/>
                <a:gd name="connsiteX425" fmla="*/ 716396 w 4829175"/>
                <a:gd name="connsiteY425" fmla="*/ 4583839 h 6515100"/>
                <a:gd name="connsiteX426" fmla="*/ 979821 w 4829175"/>
                <a:gd name="connsiteY426" fmla="*/ 4583839 h 6515100"/>
                <a:gd name="connsiteX427" fmla="*/ 1250233 w 4829175"/>
                <a:gd name="connsiteY427" fmla="*/ 4312728 h 6515100"/>
                <a:gd name="connsiteX428" fmla="*/ 1116075 w 4829175"/>
                <a:gd name="connsiteY428" fmla="*/ 4179269 h 6515100"/>
                <a:gd name="connsiteX429" fmla="*/ 1019702 w 4829175"/>
                <a:gd name="connsiteY429" fmla="*/ 4082896 h 6515100"/>
                <a:gd name="connsiteX430" fmla="*/ 1018761 w 4829175"/>
                <a:gd name="connsiteY430" fmla="*/ 4082896 h 6515100"/>
                <a:gd name="connsiteX431" fmla="*/ 980330 w 4829175"/>
                <a:gd name="connsiteY431" fmla="*/ 4044465 h 6515100"/>
                <a:gd name="connsiteX432" fmla="*/ 168395 w 4829175"/>
                <a:gd name="connsiteY432" fmla="*/ 4044465 h 6515100"/>
                <a:gd name="connsiteX433" fmla="*/ 206127 w 4829175"/>
                <a:gd name="connsiteY433" fmla="*/ 4082197 h 6515100"/>
                <a:gd name="connsiteX434" fmla="*/ 205772 w 4829175"/>
                <a:gd name="connsiteY434" fmla="*/ 4082197 h 6515100"/>
                <a:gd name="connsiteX435" fmla="*/ 437599 w 4829175"/>
                <a:gd name="connsiteY435" fmla="*/ 4313427 h 6515100"/>
                <a:gd name="connsiteX436" fmla="*/ 167187 w 4829175"/>
                <a:gd name="connsiteY436" fmla="*/ 4583839 h 6515100"/>
                <a:gd name="connsiteX437" fmla="*/ 431311 w 4829175"/>
                <a:gd name="connsiteY437" fmla="*/ 4583839 h 6515100"/>
                <a:gd name="connsiteX438" fmla="*/ 701722 w 4829175"/>
                <a:gd name="connsiteY438" fmla="*/ 4312728 h 6515100"/>
                <a:gd name="connsiteX439" fmla="*/ 470596 w 4829175"/>
                <a:gd name="connsiteY439" fmla="*/ 4082197 h 6515100"/>
                <a:gd name="connsiteX440" fmla="*/ 470250 w 4829175"/>
                <a:gd name="connsiteY440" fmla="*/ 4082197 h 6515100"/>
                <a:gd name="connsiteX441" fmla="*/ 432518 w 4829175"/>
                <a:gd name="connsiteY441" fmla="*/ 4044465 h 6515100"/>
                <a:gd name="connsiteX442" fmla="*/ 1816265 w 4829175"/>
                <a:gd name="connsiteY442" fmla="*/ 4043766 h 6515100"/>
                <a:gd name="connsiteX443" fmla="*/ 1942683 w 4829175"/>
                <a:gd name="connsiteY443" fmla="*/ 4170186 h 6515100"/>
                <a:gd name="connsiteX444" fmla="*/ 2083829 w 4829175"/>
                <a:gd name="connsiteY444" fmla="*/ 4310632 h 6515100"/>
                <a:gd name="connsiteX445" fmla="*/ 1813417 w 4829175"/>
                <a:gd name="connsiteY445" fmla="*/ 4581743 h 6515100"/>
                <a:gd name="connsiteX446" fmla="*/ 2076842 w 4829175"/>
                <a:gd name="connsiteY446" fmla="*/ 4581743 h 6515100"/>
                <a:gd name="connsiteX447" fmla="*/ 2347254 w 4829175"/>
                <a:gd name="connsiteY447" fmla="*/ 4311331 h 6515100"/>
                <a:gd name="connsiteX448" fmla="*/ 2214493 w 4829175"/>
                <a:gd name="connsiteY448" fmla="*/ 4178570 h 6515100"/>
                <a:gd name="connsiteX449" fmla="*/ 2214493 w 4829175"/>
                <a:gd name="connsiteY449" fmla="*/ 4177872 h 6515100"/>
                <a:gd name="connsiteX450" fmla="*/ 2119736 w 4829175"/>
                <a:gd name="connsiteY450" fmla="*/ 4083594 h 6515100"/>
                <a:gd name="connsiteX451" fmla="*/ 2116480 w 4829175"/>
                <a:gd name="connsiteY451" fmla="*/ 4083594 h 6515100"/>
                <a:gd name="connsiteX452" fmla="*/ 2076652 w 4829175"/>
                <a:gd name="connsiteY452" fmla="*/ 4043766 h 6515100"/>
                <a:gd name="connsiteX453" fmla="*/ 1266369 w 4829175"/>
                <a:gd name="connsiteY453" fmla="*/ 4043766 h 6515100"/>
                <a:gd name="connsiteX454" fmla="*/ 1534620 w 4829175"/>
                <a:gd name="connsiteY454" fmla="*/ 4310632 h 6515100"/>
                <a:gd name="connsiteX455" fmla="*/ 1531824 w 4829175"/>
                <a:gd name="connsiteY455" fmla="*/ 4313427 h 6515100"/>
                <a:gd name="connsiteX456" fmla="*/ 1441688 w 4829175"/>
                <a:gd name="connsiteY456" fmla="*/ 4404264 h 6515100"/>
                <a:gd name="connsiteX457" fmla="*/ 1440989 w 4829175"/>
                <a:gd name="connsiteY457" fmla="*/ 4404264 h 6515100"/>
                <a:gd name="connsiteX458" fmla="*/ 1263509 w 4829175"/>
                <a:gd name="connsiteY458" fmla="*/ 4582442 h 6515100"/>
                <a:gd name="connsiteX459" fmla="*/ 1527632 w 4829175"/>
                <a:gd name="connsiteY459" fmla="*/ 4582442 h 6515100"/>
                <a:gd name="connsiteX460" fmla="*/ 1798044 w 4829175"/>
                <a:gd name="connsiteY460" fmla="*/ 4312030 h 6515100"/>
                <a:gd name="connsiteX461" fmla="*/ 1793153 w 4829175"/>
                <a:gd name="connsiteY461" fmla="*/ 4307139 h 6515100"/>
                <a:gd name="connsiteX462" fmla="*/ 1795249 w 4829175"/>
                <a:gd name="connsiteY462" fmla="*/ 4307838 h 6515100"/>
                <a:gd name="connsiteX463" fmla="*/ 1569718 w 4829175"/>
                <a:gd name="connsiteY463" fmla="*/ 4082896 h 6515100"/>
                <a:gd name="connsiteX464" fmla="*/ 1567271 w 4829175"/>
                <a:gd name="connsiteY464" fmla="*/ 4082896 h 6515100"/>
                <a:gd name="connsiteX465" fmla="*/ 1528141 w 4829175"/>
                <a:gd name="connsiteY465" fmla="*/ 4043766 h 6515100"/>
                <a:gd name="connsiteX466" fmla="*/ 2363377 w 4829175"/>
                <a:gd name="connsiteY466" fmla="*/ 4043068 h 6515100"/>
                <a:gd name="connsiteX467" fmla="*/ 2630942 w 4829175"/>
                <a:gd name="connsiteY467" fmla="*/ 4310632 h 6515100"/>
                <a:gd name="connsiteX468" fmla="*/ 2632339 w 4829175"/>
                <a:gd name="connsiteY468" fmla="*/ 4312030 h 6515100"/>
                <a:gd name="connsiteX469" fmla="*/ 2363324 w 4829175"/>
                <a:gd name="connsiteY469" fmla="*/ 4581743 h 6515100"/>
                <a:gd name="connsiteX470" fmla="*/ 2625352 w 4829175"/>
                <a:gd name="connsiteY470" fmla="*/ 4581743 h 6515100"/>
                <a:gd name="connsiteX471" fmla="*/ 2895065 w 4829175"/>
                <a:gd name="connsiteY471" fmla="*/ 4311331 h 6515100"/>
                <a:gd name="connsiteX472" fmla="*/ 2890873 w 4829175"/>
                <a:gd name="connsiteY472" fmla="*/ 4307139 h 6515100"/>
                <a:gd name="connsiteX473" fmla="*/ 2892968 w 4829175"/>
                <a:gd name="connsiteY473" fmla="*/ 4307838 h 6515100"/>
                <a:gd name="connsiteX474" fmla="*/ 2668140 w 4829175"/>
                <a:gd name="connsiteY474" fmla="*/ 4083594 h 6515100"/>
                <a:gd name="connsiteX475" fmla="*/ 2666387 w 4829175"/>
                <a:gd name="connsiteY475" fmla="*/ 4083594 h 6515100"/>
                <a:gd name="connsiteX476" fmla="*/ 2625861 w 4829175"/>
                <a:gd name="connsiteY476" fmla="*/ 4043068 h 6515100"/>
                <a:gd name="connsiteX477" fmla="*/ 2911879 w 4829175"/>
                <a:gd name="connsiteY477" fmla="*/ 4041670 h 6515100"/>
                <a:gd name="connsiteX478" fmla="*/ 3179452 w 4829175"/>
                <a:gd name="connsiteY478" fmla="*/ 4309934 h 6515100"/>
                <a:gd name="connsiteX479" fmla="*/ 3087218 w 4829175"/>
                <a:gd name="connsiteY479" fmla="*/ 4402866 h 6515100"/>
                <a:gd name="connsiteX480" fmla="*/ 3087917 w 4829175"/>
                <a:gd name="connsiteY480" fmla="*/ 4403565 h 6515100"/>
                <a:gd name="connsiteX481" fmla="*/ 2911834 w 4829175"/>
                <a:gd name="connsiteY481" fmla="*/ 4579647 h 6515100"/>
                <a:gd name="connsiteX482" fmla="*/ 3108180 w 4829175"/>
                <a:gd name="connsiteY482" fmla="*/ 4579647 h 6515100"/>
                <a:gd name="connsiteX483" fmla="*/ 3107481 w 4829175"/>
                <a:gd name="connsiteY483" fmla="*/ 4581045 h 6515100"/>
                <a:gd name="connsiteX484" fmla="*/ 3173163 w 4829175"/>
                <a:gd name="connsiteY484" fmla="*/ 4581045 h 6515100"/>
                <a:gd name="connsiteX485" fmla="*/ 3443575 w 4829175"/>
                <a:gd name="connsiteY485" fmla="*/ 4309934 h 6515100"/>
                <a:gd name="connsiteX486" fmla="*/ 3215951 w 4829175"/>
                <a:gd name="connsiteY486" fmla="*/ 4082896 h 6515100"/>
                <a:gd name="connsiteX487" fmla="*/ 3215596 w 4829175"/>
                <a:gd name="connsiteY487" fmla="*/ 4082896 h 6515100"/>
                <a:gd name="connsiteX488" fmla="*/ 3174371 w 4829175"/>
                <a:gd name="connsiteY488" fmla="*/ 4041670 h 6515100"/>
                <a:gd name="connsiteX489" fmla="*/ 3459004 w 4829175"/>
                <a:gd name="connsiteY489" fmla="*/ 4040971 h 6515100"/>
                <a:gd name="connsiteX490" fmla="*/ 3728660 w 4829175"/>
                <a:gd name="connsiteY490" fmla="*/ 4309934 h 6515100"/>
                <a:gd name="connsiteX491" fmla="*/ 3458248 w 4829175"/>
                <a:gd name="connsiteY491" fmla="*/ 4580346 h 6515100"/>
                <a:gd name="connsiteX492" fmla="*/ 3722372 w 4829175"/>
                <a:gd name="connsiteY492" fmla="*/ 4580346 h 6515100"/>
                <a:gd name="connsiteX493" fmla="*/ 3992783 w 4829175"/>
                <a:gd name="connsiteY493" fmla="*/ 4309934 h 6515100"/>
                <a:gd name="connsiteX494" fmla="*/ 3765160 w 4829175"/>
                <a:gd name="connsiteY494" fmla="*/ 4082896 h 6515100"/>
                <a:gd name="connsiteX495" fmla="*/ 3764107 w 4829175"/>
                <a:gd name="connsiteY495" fmla="*/ 4082896 h 6515100"/>
                <a:gd name="connsiteX496" fmla="*/ 3722183 w 4829175"/>
                <a:gd name="connsiteY496" fmla="*/ 4040971 h 6515100"/>
                <a:gd name="connsiteX497" fmla="*/ 4007520 w 4829175"/>
                <a:gd name="connsiteY497" fmla="*/ 4040272 h 6515100"/>
                <a:gd name="connsiteX498" fmla="*/ 4277869 w 4829175"/>
                <a:gd name="connsiteY498" fmla="*/ 4308536 h 6515100"/>
                <a:gd name="connsiteX499" fmla="*/ 4007457 w 4829175"/>
                <a:gd name="connsiteY499" fmla="*/ 4579647 h 6515100"/>
                <a:gd name="connsiteX500" fmla="*/ 4270882 w 4829175"/>
                <a:gd name="connsiteY500" fmla="*/ 4579647 h 6515100"/>
                <a:gd name="connsiteX501" fmla="*/ 4541294 w 4829175"/>
                <a:gd name="connsiteY501" fmla="*/ 4308536 h 6515100"/>
                <a:gd name="connsiteX502" fmla="*/ 4407136 w 4829175"/>
                <a:gd name="connsiteY502" fmla="*/ 4175077 h 6515100"/>
                <a:gd name="connsiteX503" fmla="*/ 4314482 w 4829175"/>
                <a:gd name="connsiteY503" fmla="*/ 4082896 h 6515100"/>
                <a:gd name="connsiteX504" fmla="*/ 4313316 w 4829175"/>
                <a:gd name="connsiteY504" fmla="*/ 4082896 h 6515100"/>
                <a:gd name="connsiteX505" fmla="*/ 4270692 w 4829175"/>
                <a:gd name="connsiteY505" fmla="*/ 4040272 h 6515100"/>
                <a:gd name="connsiteX506" fmla="*/ 2354051 w 4829175"/>
                <a:gd name="connsiteY506" fmla="*/ 3769161 h 6515100"/>
                <a:gd name="connsiteX507" fmla="*/ 2084461 w 4829175"/>
                <a:gd name="connsiteY507" fmla="*/ 4039450 h 6515100"/>
                <a:gd name="connsiteX508" fmla="*/ 2353542 w 4829175"/>
                <a:gd name="connsiteY508" fmla="*/ 4307838 h 6515100"/>
                <a:gd name="connsiteX509" fmla="*/ 2616967 w 4829175"/>
                <a:gd name="connsiteY509" fmla="*/ 4307838 h 6515100"/>
                <a:gd name="connsiteX510" fmla="*/ 2392140 w 4829175"/>
                <a:gd name="connsiteY510" fmla="*/ 4083594 h 6515100"/>
                <a:gd name="connsiteX511" fmla="*/ 2391783 w 4829175"/>
                <a:gd name="connsiteY511" fmla="*/ 4083594 h 6515100"/>
                <a:gd name="connsiteX512" fmla="*/ 2347762 w 4829175"/>
                <a:gd name="connsiteY512" fmla="*/ 4039573 h 6515100"/>
                <a:gd name="connsiteX513" fmla="*/ 2347884 w 4829175"/>
                <a:gd name="connsiteY513" fmla="*/ 4039452 h 6515100"/>
                <a:gd name="connsiteX514" fmla="*/ 2347254 w 4829175"/>
                <a:gd name="connsiteY514" fmla="*/ 4038823 h 6515100"/>
                <a:gd name="connsiteX515" fmla="*/ 2347952 w 4829175"/>
                <a:gd name="connsiteY515" fmla="*/ 4038124 h 6515100"/>
                <a:gd name="connsiteX516" fmla="*/ 2346555 w 4829175"/>
                <a:gd name="connsiteY516" fmla="*/ 4036727 h 6515100"/>
                <a:gd name="connsiteX517" fmla="*/ 2521938 w 4829175"/>
                <a:gd name="connsiteY517" fmla="*/ 3860644 h 6515100"/>
                <a:gd name="connsiteX518" fmla="*/ 2526691 w 4829175"/>
                <a:gd name="connsiteY518" fmla="*/ 3860644 h 6515100"/>
                <a:gd name="connsiteX519" fmla="*/ 2532230 w 4829175"/>
                <a:gd name="connsiteY519" fmla="*/ 3855106 h 6515100"/>
                <a:gd name="connsiteX520" fmla="*/ 2618174 w 4829175"/>
                <a:gd name="connsiteY520" fmla="*/ 3769161 h 6515100"/>
                <a:gd name="connsiteX521" fmla="*/ 1804842 w 4829175"/>
                <a:gd name="connsiteY521" fmla="*/ 3769161 h 6515100"/>
                <a:gd name="connsiteX522" fmla="*/ 1535948 w 4829175"/>
                <a:gd name="connsiteY522" fmla="*/ 4038751 h 6515100"/>
                <a:gd name="connsiteX523" fmla="*/ 1805731 w 4829175"/>
                <a:gd name="connsiteY523" fmla="*/ 4307838 h 6515100"/>
                <a:gd name="connsiteX524" fmla="*/ 2069155 w 4829175"/>
                <a:gd name="connsiteY524" fmla="*/ 4307838 h 6515100"/>
                <a:gd name="connsiteX525" fmla="*/ 1939190 w 4829175"/>
                <a:gd name="connsiteY525" fmla="*/ 4177872 h 6515100"/>
                <a:gd name="connsiteX526" fmla="*/ 1844912 w 4829175"/>
                <a:gd name="connsiteY526" fmla="*/ 4083594 h 6515100"/>
                <a:gd name="connsiteX527" fmla="*/ 1841875 w 4829175"/>
                <a:gd name="connsiteY527" fmla="*/ 4083594 h 6515100"/>
                <a:gd name="connsiteX528" fmla="*/ 1798553 w 4829175"/>
                <a:gd name="connsiteY528" fmla="*/ 4040272 h 6515100"/>
                <a:gd name="connsiteX529" fmla="*/ 1800069 w 4829175"/>
                <a:gd name="connsiteY529" fmla="*/ 4038752 h 6515100"/>
                <a:gd name="connsiteX530" fmla="*/ 1798743 w 4829175"/>
                <a:gd name="connsiteY530" fmla="*/ 4037426 h 6515100"/>
                <a:gd name="connsiteX531" fmla="*/ 1974825 w 4829175"/>
                <a:gd name="connsiteY531" fmla="*/ 3860644 h 6515100"/>
                <a:gd name="connsiteX532" fmla="*/ 1977718 w 4829175"/>
                <a:gd name="connsiteY532" fmla="*/ 3860644 h 6515100"/>
                <a:gd name="connsiteX533" fmla="*/ 2068965 w 4829175"/>
                <a:gd name="connsiteY533" fmla="*/ 3769161 h 6515100"/>
                <a:gd name="connsiteX534" fmla="*/ 1257031 w 4829175"/>
                <a:gd name="connsiteY534" fmla="*/ 3769161 h 6515100"/>
                <a:gd name="connsiteX535" fmla="*/ 987788 w 4829175"/>
                <a:gd name="connsiteY535" fmla="*/ 4039100 h 6515100"/>
                <a:gd name="connsiteX536" fmla="*/ 1257220 w 4829175"/>
                <a:gd name="connsiteY536" fmla="*/ 4307838 h 6515100"/>
                <a:gd name="connsiteX537" fmla="*/ 1519946 w 4829175"/>
                <a:gd name="connsiteY537" fmla="*/ 4307838 h 6515100"/>
                <a:gd name="connsiteX538" fmla="*/ 1294422 w 4829175"/>
                <a:gd name="connsiteY538" fmla="*/ 4082896 h 6515100"/>
                <a:gd name="connsiteX539" fmla="*/ 1293365 w 4829175"/>
                <a:gd name="connsiteY539" fmla="*/ 4082896 h 6515100"/>
                <a:gd name="connsiteX540" fmla="*/ 1250742 w 4829175"/>
                <a:gd name="connsiteY540" fmla="*/ 4040272 h 6515100"/>
                <a:gd name="connsiteX541" fmla="*/ 1251213 w 4829175"/>
                <a:gd name="connsiteY541" fmla="*/ 4039800 h 6515100"/>
                <a:gd name="connsiteX542" fmla="*/ 1249534 w 4829175"/>
                <a:gd name="connsiteY542" fmla="*/ 4038124 h 6515100"/>
                <a:gd name="connsiteX543" fmla="*/ 1250932 w 4829175"/>
                <a:gd name="connsiteY543" fmla="*/ 4036727 h 6515100"/>
                <a:gd name="connsiteX544" fmla="*/ 1426315 w 4829175"/>
                <a:gd name="connsiteY544" fmla="*/ 3860644 h 6515100"/>
                <a:gd name="connsiteX545" fmla="*/ 1429907 w 4829175"/>
                <a:gd name="connsiteY545" fmla="*/ 3860644 h 6515100"/>
                <a:gd name="connsiteX546" fmla="*/ 1521154 w 4829175"/>
                <a:gd name="connsiteY546" fmla="*/ 3769161 h 6515100"/>
                <a:gd name="connsiteX547" fmla="*/ 709219 w 4829175"/>
                <a:gd name="connsiteY547" fmla="*/ 3769161 h 6515100"/>
                <a:gd name="connsiteX548" fmla="*/ 438807 w 4829175"/>
                <a:gd name="connsiteY548" fmla="*/ 4040272 h 6515100"/>
                <a:gd name="connsiteX549" fmla="*/ 480732 w 4829175"/>
                <a:gd name="connsiteY549" fmla="*/ 4082197 h 6515100"/>
                <a:gd name="connsiteX550" fmla="*/ 480499 w 4829175"/>
                <a:gd name="connsiteY550" fmla="*/ 4082197 h 6515100"/>
                <a:gd name="connsiteX551" fmla="*/ 708011 w 4829175"/>
                <a:gd name="connsiteY551" fmla="*/ 4308536 h 6515100"/>
                <a:gd name="connsiteX552" fmla="*/ 972135 w 4829175"/>
                <a:gd name="connsiteY552" fmla="*/ 4308536 h 6515100"/>
                <a:gd name="connsiteX553" fmla="*/ 745211 w 4829175"/>
                <a:gd name="connsiteY553" fmla="*/ 4082197 h 6515100"/>
                <a:gd name="connsiteX554" fmla="*/ 744855 w 4829175"/>
                <a:gd name="connsiteY554" fmla="*/ 4082197 h 6515100"/>
                <a:gd name="connsiteX555" fmla="*/ 702930 w 4829175"/>
                <a:gd name="connsiteY555" fmla="*/ 4040272 h 6515100"/>
                <a:gd name="connsiteX556" fmla="*/ 703053 w 4829175"/>
                <a:gd name="connsiteY556" fmla="*/ 4040149 h 6515100"/>
                <a:gd name="connsiteX557" fmla="*/ 701024 w 4829175"/>
                <a:gd name="connsiteY557" fmla="*/ 4038124 h 6515100"/>
                <a:gd name="connsiteX558" fmla="*/ 878504 w 4829175"/>
                <a:gd name="connsiteY558" fmla="*/ 3860644 h 6515100"/>
                <a:gd name="connsiteX559" fmla="*/ 882095 w 4829175"/>
                <a:gd name="connsiteY559" fmla="*/ 3860644 h 6515100"/>
                <a:gd name="connsiteX560" fmla="*/ 973342 w 4829175"/>
                <a:gd name="connsiteY560" fmla="*/ 3769161 h 6515100"/>
                <a:gd name="connsiteX561" fmla="*/ 3451072 w 4829175"/>
                <a:gd name="connsiteY561" fmla="*/ 3767066 h 6515100"/>
                <a:gd name="connsiteX562" fmla="*/ 3181135 w 4829175"/>
                <a:gd name="connsiteY562" fmla="*/ 4037702 h 6515100"/>
                <a:gd name="connsiteX563" fmla="*/ 3312910 w 4829175"/>
                <a:gd name="connsiteY563" fmla="*/ 4168788 h 6515100"/>
                <a:gd name="connsiteX564" fmla="*/ 3312910 w 4829175"/>
                <a:gd name="connsiteY564" fmla="*/ 4169487 h 6515100"/>
                <a:gd name="connsiteX565" fmla="*/ 3450563 w 4829175"/>
                <a:gd name="connsiteY565" fmla="*/ 4306440 h 6515100"/>
                <a:gd name="connsiteX566" fmla="*/ 3714686 w 4829175"/>
                <a:gd name="connsiteY566" fmla="*/ 4306440 h 6515100"/>
                <a:gd name="connsiteX567" fmla="*/ 3490444 w 4829175"/>
                <a:gd name="connsiteY567" fmla="*/ 4082197 h 6515100"/>
                <a:gd name="connsiteX568" fmla="*/ 3489503 w 4829175"/>
                <a:gd name="connsiteY568" fmla="*/ 4082197 h 6515100"/>
                <a:gd name="connsiteX569" fmla="*/ 3444084 w 4829175"/>
                <a:gd name="connsiteY569" fmla="*/ 4036779 h 6515100"/>
                <a:gd name="connsiteX570" fmla="*/ 3444556 w 4829175"/>
                <a:gd name="connsiteY570" fmla="*/ 4036310 h 6515100"/>
                <a:gd name="connsiteX571" fmla="*/ 3444274 w 4829175"/>
                <a:gd name="connsiteY571" fmla="*/ 4036028 h 6515100"/>
                <a:gd name="connsiteX572" fmla="*/ 3618959 w 4829175"/>
                <a:gd name="connsiteY572" fmla="*/ 3860644 h 6515100"/>
                <a:gd name="connsiteX573" fmla="*/ 3621132 w 4829175"/>
                <a:gd name="connsiteY573" fmla="*/ 3860644 h 6515100"/>
                <a:gd name="connsiteX574" fmla="*/ 3715195 w 4829175"/>
                <a:gd name="connsiteY574" fmla="*/ 3767066 h 6515100"/>
                <a:gd name="connsiteX575" fmla="*/ 3999582 w 4829175"/>
                <a:gd name="connsiteY575" fmla="*/ 3766367 h 6515100"/>
                <a:gd name="connsiteX576" fmla="*/ 3729642 w 4829175"/>
                <a:gd name="connsiteY576" fmla="*/ 4037004 h 6515100"/>
                <a:gd name="connsiteX577" fmla="*/ 3999073 w 4829175"/>
                <a:gd name="connsiteY577" fmla="*/ 4305741 h 6515100"/>
                <a:gd name="connsiteX578" fmla="*/ 4263197 w 4829175"/>
                <a:gd name="connsiteY578" fmla="*/ 4305741 h 6515100"/>
                <a:gd name="connsiteX579" fmla="*/ 4039076 w 4829175"/>
                <a:gd name="connsiteY579" fmla="*/ 4082197 h 6515100"/>
                <a:gd name="connsiteX580" fmla="*/ 4038711 w 4829175"/>
                <a:gd name="connsiteY580" fmla="*/ 4082197 h 6515100"/>
                <a:gd name="connsiteX581" fmla="*/ 3992595 w 4829175"/>
                <a:gd name="connsiteY581" fmla="*/ 4036080 h 6515100"/>
                <a:gd name="connsiteX582" fmla="*/ 3992717 w 4829175"/>
                <a:gd name="connsiteY582" fmla="*/ 4035958 h 6515100"/>
                <a:gd name="connsiteX583" fmla="*/ 3992086 w 4829175"/>
                <a:gd name="connsiteY583" fmla="*/ 4035329 h 6515100"/>
                <a:gd name="connsiteX584" fmla="*/ 4166770 w 4829175"/>
                <a:gd name="connsiteY584" fmla="*/ 3860644 h 6515100"/>
                <a:gd name="connsiteX585" fmla="*/ 4168939 w 4829175"/>
                <a:gd name="connsiteY585" fmla="*/ 3860644 h 6515100"/>
                <a:gd name="connsiteX586" fmla="*/ 4263706 w 4829175"/>
                <a:gd name="connsiteY586" fmla="*/ 3766367 h 6515100"/>
                <a:gd name="connsiteX587" fmla="*/ 4547394 w 4829175"/>
                <a:gd name="connsiteY587" fmla="*/ 3765668 h 6515100"/>
                <a:gd name="connsiteX588" fmla="*/ 4277804 w 4829175"/>
                <a:gd name="connsiteY588" fmla="*/ 4035954 h 6515100"/>
                <a:gd name="connsiteX589" fmla="*/ 4410630 w 4829175"/>
                <a:gd name="connsiteY589" fmla="*/ 4168089 h 6515100"/>
                <a:gd name="connsiteX590" fmla="*/ 4547584 w 4829175"/>
                <a:gd name="connsiteY590" fmla="*/ 4305042 h 6515100"/>
                <a:gd name="connsiteX591" fmla="*/ 4811706 w 4829175"/>
                <a:gd name="connsiteY591" fmla="*/ 4305042 h 6515100"/>
                <a:gd name="connsiteX592" fmla="*/ 4588162 w 4829175"/>
                <a:gd name="connsiteY592" fmla="*/ 4081498 h 6515100"/>
                <a:gd name="connsiteX593" fmla="*/ 4587920 w 4829175"/>
                <a:gd name="connsiteY593" fmla="*/ 4081498 h 6515100"/>
                <a:gd name="connsiteX594" fmla="*/ 4541105 w 4829175"/>
                <a:gd name="connsiteY594" fmla="*/ 4035381 h 6515100"/>
                <a:gd name="connsiteX595" fmla="*/ 4541576 w 4829175"/>
                <a:gd name="connsiteY595" fmla="*/ 4034912 h 6515100"/>
                <a:gd name="connsiteX596" fmla="*/ 4541294 w 4829175"/>
                <a:gd name="connsiteY596" fmla="*/ 4034630 h 6515100"/>
                <a:gd name="connsiteX597" fmla="*/ 4542692 w 4829175"/>
                <a:gd name="connsiteY597" fmla="*/ 4033233 h 6515100"/>
                <a:gd name="connsiteX598" fmla="*/ 4714582 w 4829175"/>
                <a:gd name="connsiteY598" fmla="*/ 3860644 h 6515100"/>
                <a:gd name="connsiteX599" fmla="*/ 4716295 w 4829175"/>
                <a:gd name="connsiteY599" fmla="*/ 3860644 h 6515100"/>
                <a:gd name="connsiteX600" fmla="*/ 4811517 w 4829175"/>
                <a:gd name="connsiteY600" fmla="*/ 3765668 h 6515100"/>
                <a:gd name="connsiteX601" fmla="*/ 1264018 w 4829175"/>
                <a:gd name="connsiteY601" fmla="*/ 3493858 h 6515100"/>
                <a:gd name="connsiteX602" fmla="*/ 1535828 w 4829175"/>
                <a:gd name="connsiteY602" fmla="*/ 3763572 h 6515100"/>
                <a:gd name="connsiteX603" fmla="*/ 1266165 w 4829175"/>
                <a:gd name="connsiteY603" fmla="*/ 4033931 h 6515100"/>
                <a:gd name="connsiteX604" fmla="*/ 1527632 w 4829175"/>
                <a:gd name="connsiteY604" fmla="*/ 4033931 h 6515100"/>
                <a:gd name="connsiteX605" fmla="*/ 1700221 w 4829175"/>
                <a:gd name="connsiteY605" fmla="*/ 3860644 h 6515100"/>
                <a:gd name="connsiteX606" fmla="*/ 1702878 w 4829175"/>
                <a:gd name="connsiteY606" fmla="*/ 3860644 h 6515100"/>
                <a:gd name="connsiteX607" fmla="*/ 1799252 w 4829175"/>
                <a:gd name="connsiteY607" fmla="*/ 3764270 h 6515100"/>
                <a:gd name="connsiteX608" fmla="*/ 1665094 w 4829175"/>
                <a:gd name="connsiteY608" fmla="*/ 3630811 h 6515100"/>
                <a:gd name="connsiteX609" fmla="*/ 1528141 w 4829175"/>
                <a:gd name="connsiteY609" fmla="*/ 3493858 h 6515100"/>
                <a:gd name="connsiteX610" fmla="*/ 715508 w 4829175"/>
                <a:gd name="connsiteY610" fmla="*/ 3493858 h 6515100"/>
                <a:gd name="connsiteX611" fmla="*/ 986618 w 4829175"/>
                <a:gd name="connsiteY611" fmla="*/ 3764270 h 6515100"/>
                <a:gd name="connsiteX612" fmla="*/ 716955 w 4829175"/>
                <a:gd name="connsiteY612" fmla="*/ 4034630 h 6515100"/>
                <a:gd name="connsiteX613" fmla="*/ 979122 w 4829175"/>
                <a:gd name="connsiteY613" fmla="*/ 4034630 h 6515100"/>
                <a:gd name="connsiteX614" fmla="*/ 1067862 w 4829175"/>
                <a:gd name="connsiteY614" fmla="*/ 3945192 h 6515100"/>
                <a:gd name="connsiteX615" fmla="*/ 1152410 w 4829175"/>
                <a:gd name="connsiteY615" fmla="*/ 3860644 h 6515100"/>
                <a:gd name="connsiteX616" fmla="*/ 1154616 w 4829175"/>
                <a:gd name="connsiteY616" fmla="*/ 3860644 h 6515100"/>
                <a:gd name="connsiteX617" fmla="*/ 1250742 w 4829175"/>
                <a:gd name="connsiteY617" fmla="*/ 3764270 h 6515100"/>
                <a:gd name="connsiteX618" fmla="*/ 979631 w 4829175"/>
                <a:gd name="connsiteY618" fmla="*/ 3493858 h 6515100"/>
                <a:gd name="connsiteX619" fmla="*/ 165601 w 4829175"/>
                <a:gd name="connsiteY619" fmla="*/ 3493858 h 6515100"/>
                <a:gd name="connsiteX620" fmla="*/ 436711 w 4829175"/>
                <a:gd name="connsiteY620" fmla="*/ 3764270 h 6515100"/>
                <a:gd name="connsiteX621" fmla="*/ 438108 w 4829175"/>
                <a:gd name="connsiteY621" fmla="*/ 3764969 h 6515100"/>
                <a:gd name="connsiteX622" fmla="*/ 169094 w 4829175"/>
                <a:gd name="connsiteY622" fmla="*/ 4034682 h 6515100"/>
                <a:gd name="connsiteX623" fmla="*/ 365440 w 4829175"/>
                <a:gd name="connsiteY623" fmla="*/ 4034682 h 6515100"/>
                <a:gd name="connsiteX624" fmla="*/ 365116 w 4829175"/>
                <a:gd name="connsiteY624" fmla="*/ 4035329 h 6515100"/>
                <a:gd name="connsiteX625" fmla="*/ 430612 w 4829175"/>
                <a:gd name="connsiteY625" fmla="*/ 4035329 h 6515100"/>
                <a:gd name="connsiteX626" fmla="*/ 604598 w 4829175"/>
                <a:gd name="connsiteY626" fmla="*/ 3860644 h 6515100"/>
                <a:gd name="connsiteX627" fmla="*/ 606802 w 4829175"/>
                <a:gd name="connsiteY627" fmla="*/ 3860644 h 6515100"/>
                <a:gd name="connsiteX628" fmla="*/ 701533 w 4829175"/>
                <a:gd name="connsiteY628" fmla="*/ 3765668 h 6515100"/>
                <a:gd name="connsiteX629" fmla="*/ 430423 w 4829175"/>
                <a:gd name="connsiteY629" fmla="*/ 3495256 h 6515100"/>
                <a:gd name="connsiteX630" fmla="*/ 362644 w 4829175"/>
                <a:gd name="connsiteY630" fmla="*/ 3493858 h 6515100"/>
                <a:gd name="connsiteX631" fmla="*/ 2361039 w 4829175"/>
                <a:gd name="connsiteY631" fmla="*/ 3493160 h 6515100"/>
                <a:gd name="connsiteX632" fmla="*/ 2631451 w 4829175"/>
                <a:gd name="connsiteY632" fmla="*/ 3762174 h 6515100"/>
                <a:gd name="connsiteX633" fmla="*/ 2628655 w 4829175"/>
                <a:gd name="connsiteY633" fmla="*/ 3764969 h 6515100"/>
                <a:gd name="connsiteX634" fmla="*/ 2538519 w 4829175"/>
                <a:gd name="connsiteY634" fmla="*/ 3855806 h 6515100"/>
                <a:gd name="connsiteX635" fmla="*/ 2361789 w 4829175"/>
                <a:gd name="connsiteY635" fmla="*/ 4032535 h 6515100"/>
                <a:gd name="connsiteX636" fmla="*/ 2624653 w 4829175"/>
                <a:gd name="connsiteY636" fmla="*/ 4032535 h 6515100"/>
                <a:gd name="connsiteX637" fmla="*/ 2795844 w 4829175"/>
                <a:gd name="connsiteY637" fmla="*/ 3860644 h 6515100"/>
                <a:gd name="connsiteX638" fmla="*/ 2797802 w 4829175"/>
                <a:gd name="connsiteY638" fmla="*/ 3860644 h 6515100"/>
                <a:gd name="connsiteX639" fmla="*/ 2895574 w 4829175"/>
                <a:gd name="connsiteY639" fmla="*/ 3762873 h 6515100"/>
                <a:gd name="connsiteX640" fmla="*/ 2625162 w 4829175"/>
                <a:gd name="connsiteY640" fmla="*/ 3493160 h 6515100"/>
                <a:gd name="connsiteX641" fmla="*/ 1812528 w 4829175"/>
                <a:gd name="connsiteY641" fmla="*/ 3493160 h 6515100"/>
                <a:gd name="connsiteX642" fmla="*/ 1813926 w 4829175"/>
                <a:gd name="connsiteY642" fmla="*/ 3494557 h 6515100"/>
                <a:gd name="connsiteX643" fmla="*/ 2083639 w 4829175"/>
                <a:gd name="connsiteY643" fmla="*/ 3763572 h 6515100"/>
                <a:gd name="connsiteX644" fmla="*/ 1814673 w 4829175"/>
                <a:gd name="connsiteY644" fmla="*/ 4033233 h 6515100"/>
                <a:gd name="connsiteX645" fmla="*/ 2076143 w 4829175"/>
                <a:gd name="connsiteY645" fmla="*/ 4033233 h 6515100"/>
                <a:gd name="connsiteX646" fmla="*/ 2248033 w 4829175"/>
                <a:gd name="connsiteY646" fmla="*/ 3860644 h 6515100"/>
                <a:gd name="connsiteX647" fmla="*/ 2250940 w 4829175"/>
                <a:gd name="connsiteY647" fmla="*/ 3860644 h 6515100"/>
                <a:gd name="connsiteX648" fmla="*/ 2347762 w 4829175"/>
                <a:gd name="connsiteY648" fmla="*/ 3763572 h 6515100"/>
                <a:gd name="connsiteX649" fmla="*/ 2342173 w 4829175"/>
                <a:gd name="connsiteY649" fmla="*/ 3758681 h 6515100"/>
                <a:gd name="connsiteX650" fmla="*/ 2076652 w 4829175"/>
                <a:gd name="connsiteY650" fmla="*/ 3493160 h 6515100"/>
                <a:gd name="connsiteX651" fmla="*/ 4005871 w 4829175"/>
                <a:gd name="connsiteY651" fmla="*/ 3491064 h 6515100"/>
                <a:gd name="connsiteX652" fmla="*/ 4277680 w 4829175"/>
                <a:gd name="connsiteY652" fmla="*/ 3760776 h 6515100"/>
                <a:gd name="connsiteX653" fmla="*/ 4008016 w 4829175"/>
                <a:gd name="connsiteY653" fmla="*/ 4031137 h 6515100"/>
                <a:gd name="connsiteX654" fmla="*/ 4270183 w 4829175"/>
                <a:gd name="connsiteY654" fmla="*/ 4031137 h 6515100"/>
                <a:gd name="connsiteX655" fmla="*/ 4359622 w 4829175"/>
                <a:gd name="connsiteY655" fmla="*/ 3941698 h 6515100"/>
                <a:gd name="connsiteX656" fmla="*/ 4440676 w 4829175"/>
                <a:gd name="connsiteY656" fmla="*/ 3860644 h 6515100"/>
                <a:gd name="connsiteX657" fmla="*/ 4441937 w 4829175"/>
                <a:gd name="connsiteY657" fmla="*/ 3860644 h 6515100"/>
                <a:gd name="connsiteX658" fmla="*/ 4541105 w 4829175"/>
                <a:gd name="connsiteY658" fmla="*/ 3761476 h 6515100"/>
                <a:gd name="connsiteX659" fmla="*/ 4406947 w 4829175"/>
                <a:gd name="connsiteY659" fmla="*/ 3628017 h 6515100"/>
                <a:gd name="connsiteX660" fmla="*/ 4269994 w 4829175"/>
                <a:gd name="connsiteY660" fmla="*/ 3491064 h 6515100"/>
                <a:gd name="connsiteX661" fmla="*/ 3721484 w 4829175"/>
                <a:gd name="connsiteY661" fmla="*/ 3490365 h 6515100"/>
                <a:gd name="connsiteX662" fmla="*/ 3457360 w 4829175"/>
                <a:gd name="connsiteY662" fmla="*/ 3491064 h 6515100"/>
                <a:gd name="connsiteX663" fmla="*/ 3728471 w 4829175"/>
                <a:gd name="connsiteY663" fmla="*/ 3761476 h 6515100"/>
                <a:gd name="connsiteX664" fmla="*/ 3458808 w 4829175"/>
                <a:gd name="connsiteY664" fmla="*/ 4031836 h 6515100"/>
                <a:gd name="connsiteX665" fmla="*/ 3721674 w 4829175"/>
                <a:gd name="connsiteY665" fmla="*/ 4031836 h 6515100"/>
                <a:gd name="connsiteX666" fmla="*/ 3892166 w 4829175"/>
                <a:gd name="connsiteY666" fmla="*/ 3859946 h 6515100"/>
                <a:gd name="connsiteX667" fmla="*/ 3893935 w 4829175"/>
                <a:gd name="connsiteY667" fmla="*/ 3859946 h 6515100"/>
                <a:gd name="connsiteX668" fmla="*/ 3992595 w 4829175"/>
                <a:gd name="connsiteY668" fmla="*/ 3760776 h 6515100"/>
                <a:gd name="connsiteX669" fmla="*/ 707821 w 4829175"/>
                <a:gd name="connsiteY669" fmla="*/ 3220651 h 6515100"/>
                <a:gd name="connsiteX670" fmla="*/ 437409 w 4829175"/>
                <a:gd name="connsiteY670" fmla="*/ 3491762 h 6515100"/>
                <a:gd name="connsiteX671" fmla="*/ 570170 w 4829175"/>
                <a:gd name="connsiteY671" fmla="*/ 3623824 h 6515100"/>
                <a:gd name="connsiteX672" fmla="*/ 708520 w 4829175"/>
                <a:gd name="connsiteY672" fmla="*/ 3761476 h 6515100"/>
                <a:gd name="connsiteX673" fmla="*/ 972643 w 4829175"/>
                <a:gd name="connsiteY673" fmla="*/ 3761476 h 6515100"/>
                <a:gd name="connsiteX674" fmla="*/ 701533 w 4829175"/>
                <a:gd name="connsiteY674" fmla="*/ 3491064 h 6515100"/>
                <a:gd name="connsiteX675" fmla="*/ 971945 w 4829175"/>
                <a:gd name="connsiteY675" fmla="*/ 3220651 h 6515100"/>
                <a:gd name="connsiteX676" fmla="*/ 1256332 w 4829175"/>
                <a:gd name="connsiteY676" fmla="*/ 3219953 h 6515100"/>
                <a:gd name="connsiteX677" fmla="*/ 985920 w 4829175"/>
                <a:gd name="connsiteY677" fmla="*/ 3491064 h 6515100"/>
                <a:gd name="connsiteX678" fmla="*/ 1257031 w 4829175"/>
                <a:gd name="connsiteY678" fmla="*/ 3761476 h 6515100"/>
                <a:gd name="connsiteX679" fmla="*/ 1521154 w 4829175"/>
                <a:gd name="connsiteY679" fmla="*/ 3760776 h 6515100"/>
                <a:gd name="connsiteX680" fmla="*/ 1250043 w 4829175"/>
                <a:gd name="connsiteY680" fmla="*/ 3490365 h 6515100"/>
                <a:gd name="connsiteX681" fmla="*/ 1434510 w 4829175"/>
                <a:gd name="connsiteY681" fmla="*/ 3305898 h 6515100"/>
                <a:gd name="connsiteX682" fmla="*/ 1520455 w 4829175"/>
                <a:gd name="connsiteY682" fmla="*/ 3219953 h 6515100"/>
                <a:gd name="connsiteX683" fmla="*/ 1804143 w 4829175"/>
                <a:gd name="connsiteY683" fmla="*/ 3219255 h 6515100"/>
                <a:gd name="connsiteX684" fmla="*/ 1623869 w 4829175"/>
                <a:gd name="connsiteY684" fmla="*/ 3400228 h 6515100"/>
                <a:gd name="connsiteX685" fmla="*/ 1534430 w 4829175"/>
                <a:gd name="connsiteY685" fmla="*/ 3490365 h 6515100"/>
                <a:gd name="connsiteX686" fmla="*/ 1668588 w 4829175"/>
                <a:gd name="connsiteY686" fmla="*/ 3623824 h 6515100"/>
                <a:gd name="connsiteX687" fmla="*/ 1805541 w 4829175"/>
                <a:gd name="connsiteY687" fmla="*/ 3760776 h 6515100"/>
                <a:gd name="connsiteX688" fmla="*/ 2069664 w 4829175"/>
                <a:gd name="connsiteY688" fmla="*/ 3760078 h 6515100"/>
                <a:gd name="connsiteX689" fmla="*/ 1798553 w 4829175"/>
                <a:gd name="connsiteY689" fmla="*/ 3489666 h 6515100"/>
                <a:gd name="connsiteX690" fmla="*/ 1799951 w 4829175"/>
                <a:gd name="connsiteY690" fmla="*/ 3488269 h 6515100"/>
                <a:gd name="connsiteX691" fmla="*/ 2068266 w 4829175"/>
                <a:gd name="connsiteY691" fmla="*/ 3219255 h 6515100"/>
                <a:gd name="connsiteX692" fmla="*/ 2353352 w 4829175"/>
                <a:gd name="connsiteY692" fmla="*/ 3218555 h 6515100"/>
                <a:gd name="connsiteX693" fmla="*/ 2082940 w 4829175"/>
                <a:gd name="connsiteY693" fmla="*/ 3489666 h 6515100"/>
                <a:gd name="connsiteX694" fmla="*/ 2354051 w 4829175"/>
                <a:gd name="connsiteY694" fmla="*/ 3760078 h 6515100"/>
                <a:gd name="connsiteX695" fmla="*/ 2618174 w 4829175"/>
                <a:gd name="connsiteY695" fmla="*/ 3760078 h 6515100"/>
                <a:gd name="connsiteX696" fmla="*/ 2347064 w 4829175"/>
                <a:gd name="connsiteY696" fmla="*/ 3489666 h 6515100"/>
                <a:gd name="connsiteX697" fmla="*/ 2617476 w 4829175"/>
                <a:gd name="connsiteY697" fmla="*/ 3218555 h 6515100"/>
                <a:gd name="connsiteX698" fmla="*/ 3449674 w 4829175"/>
                <a:gd name="connsiteY698" fmla="*/ 3217158 h 6515100"/>
                <a:gd name="connsiteX699" fmla="*/ 3179262 w 4829175"/>
                <a:gd name="connsiteY699" fmla="*/ 3488269 h 6515100"/>
                <a:gd name="connsiteX700" fmla="*/ 3450373 w 4829175"/>
                <a:gd name="connsiteY700" fmla="*/ 3758681 h 6515100"/>
                <a:gd name="connsiteX701" fmla="*/ 3714496 w 4829175"/>
                <a:gd name="connsiteY701" fmla="*/ 3758681 h 6515100"/>
                <a:gd name="connsiteX702" fmla="*/ 3443385 w 4829175"/>
                <a:gd name="connsiteY702" fmla="*/ 3488269 h 6515100"/>
                <a:gd name="connsiteX703" fmla="*/ 3713797 w 4829175"/>
                <a:gd name="connsiteY703" fmla="*/ 3217158 h 6515100"/>
                <a:gd name="connsiteX704" fmla="*/ 3998184 w 4829175"/>
                <a:gd name="connsiteY704" fmla="*/ 3216459 h 6515100"/>
                <a:gd name="connsiteX705" fmla="*/ 3727772 w 4829175"/>
                <a:gd name="connsiteY705" fmla="*/ 3487570 h 6515100"/>
                <a:gd name="connsiteX706" fmla="*/ 3998883 w 4829175"/>
                <a:gd name="connsiteY706" fmla="*/ 3757982 h 6515100"/>
                <a:gd name="connsiteX707" fmla="*/ 4263007 w 4829175"/>
                <a:gd name="connsiteY707" fmla="*/ 3757283 h 6515100"/>
                <a:gd name="connsiteX708" fmla="*/ 3991896 w 4829175"/>
                <a:gd name="connsiteY708" fmla="*/ 3486871 h 6515100"/>
                <a:gd name="connsiteX709" fmla="*/ 4176362 w 4829175"/>
                <a:gd name="connsiteY709" fmla="*/ 3302404 h 6515100"/>
                <a:gd name="connsiteX710" fmla="*/ 4177062 w 4829175"/>
                <a:gd name="connsiteY710" fmla="*/ 3302404 h 6515100"/>
                <a:gd name="connsiteX711" fmla="*/ 4262308 w 4829175"/>
                <a:gd name="connsiteY711" fmla="*/ 3216459 h 6515100"/>
                <a:gd name="connsiteX712" fmla="*/ 4546695 w 4829175"/>
                <a:gd name="connsiteY712" fmla="*/ 3215760 h 6515100"/>
                <a:gd name="connsiteX713" fmla="*/ 4366420 w 4829175"/>
                <a:gd name="connsiteY713" fmla="*/ 3396734 h 6515100"/>
                <a:gd name="connsiteX714" fmla="*/ 4365722 w 4829175"/>
                <a:gd name="connsiteY714" fmla="*/ 3396734 h 6515100"/>
                <a:gd name="connsiteX715" fmla="*/ 4276282 w 4829175"/>
                <a:gd name="connsiteY715" fmla="*/ 3486871 h 6515100"/>
                <a:gd name="connsiteX716" fmla="*/ 4410440 w 4829175"/>
                <a:gd name="connsiteY716" fmla="*/ 3620330 h 6515100"/>
                <a:gd name="connsiteX717" fmla="*/ 4547394 w 4829175"/>
                <a:gd name="connsiteY717" fmla="*/ 3757283 h 6515100"/>
                <a:gd name="connsiteX718" fmla="*/ 4811517 w 4829175"/>
                <a:gd name="connsiteY718" fmla="*/ 3757283 h 6515100"/>
                <a:gd name="connsiteX719" fmla="*/ 4540406 w 4829175"/>
                <a:gd name="connsiteY719" fmla="*/ 3486871 h 6515100"/>
                <a:gd name="connsiteX720" fmla="*/ 4542503 w 4829175"/>
                <a:gd name="connsiteY720" fmla="*/ 3485473 h 6515100"/>
                <a:gd name="connsiteX721" fmla="*/ 4810119 w 4829175"/>
                <a:gd name="connsiteY721" fmla="*/ 3215760 h 6515100"/>
                <a:gd name="connsiteX722" fmla="*/ 1263319 w 4829175"/>
                <a:gd name="connsiteY722" fmla="*/ 2946047 h 6515100"/>
                <a:gd name="connsiteX723" fmla="*/ 1534430 w 4829175"/>
                <a:gd name="connsiteY723" fmla="*/ 3215760 h 6515100"/>
                <a:gd name="connsiteX724" fmla="*/ 1531636 w 4829175"/>
                <a:gd name="connsiteY724" fmla="*/ 3218555 h 6515100"/>
                <a:gd name="connsiteX725" fmla="*/ 1441498 w 4829175"/>
                <a:gd name="connsiteY725" fmla="*/ 3309391 h 6515100"/>
                <a:gd name="connsiteX726" fmla="*/ 1264018 w 4829175"/>
                <a:gd name="connsiteY726" fmla="*/ 3486871 h 6515100"/>
                <a:gd name="connsiteX727" fmla="*/ 1528141 w 4829175"/>
                <a:gd name="connsiteY727" fmla="*/ 3486871 h 6515100"/>
                <a:gd name="connsiteX728" fmla="*/ 1617580 w 4829175"/>
                <a:gd name="connsiteY728" fmla="*/ 3397432 h 6515100"/>
                <a:gd name="connsiteX729" fmla="*/ 1798553 w 4829175"/>
                <a:gd name="connsiteY729" fmla="*/ 3216459 h 6515100"/>
                <a:gd name="connsiteX730" fmla="*/ 1527442 w 4829175"/>
                <a:gd name="connsiteY730" fmla="*/ 2946047 h 6515100"/>
                <a:gd name="connsiteX731" fmla="*/ 714809 w 4829175"/>
                <a:gd name="connsiteY731" fmla="*/ 2946047 h 6515100"/>
                <a:gd name="connsiteX732" fmla="*/ 843377 w 4829175"/>
                <a:gd name="connsiteY732" fmla="*/ 3074615 h 6515100"/>
                <a:gd name="connsiteX733" fmla="*/ 985221 w 4829175"/>
                <a:gd name="connsiteY733" fmla="*/ 3216459 h 6515100"/>
                <a:gd name="connsiteX734" fmla="*/ 714809 w 4829175"/>
                <a:gd name="connsiteY734" fmla="*/ 3487570 h 6515100"/>
                <a:gd name="connsiteX735" fmla="*/ 978932 w 4829175"/>
                <a:gd name="connsiteY735" fmla="*/ 3487570 h 6515100"/>
                <a:gd name="connsiteX736" fmla="*/ 1249344 w 4829175"/>
                <a:gd name="connsiteY736" fmla="*/ 3216459 h 6515100"/>
                <a:gd name="connsiteX737" fmla="*/ 1244453 w 4829175"/>
                <a:gd name="connsiteY737" fmla="*/ 3211568 h 6515100"/>
                <a:gd name="connsiteX738" fmla="*/ 978932 w 4829175"/>
                <a:gd name="connsiteY738" fmla="*/ 2946047 h 6515100"/>
                <a:gd name="connsiteX739" fmla="*/ 164902 w 4829175"/>
                <a:gd name="connsiteY739" fmla="*/ 2946047 h 6515100"/>
                <a:gd name="connsiteX740" fmla="*/ 436013 w 4829175"/>
                <a:gd name="connsiteY740" fmla="*/ 3215760 h 6515100"/>
                <a:gd name="connsiteX741" fmla="*/ 433217 w 4829175"/>
                <a:gd name="connsiteY741" fmla="*/ 3218555 h 6515100"/>
                <a:gd name="connsiteX742" fmla="*/ 343079 w 4829175"/>
                <a:gd name="connsiteY742" fmla="*/ 3309391 h 6515100"/>
                <a:gd name="connsiteX743" fmla="*/ 165601 w 4829175"/>
                <a:gd name="connsiteY743" fmla="*/ 3486871 h 6515100"/>
                <a:gd name="connsiteX744" fmla="*/ 429724 w 4829175"/>
                <a:gd name="connsiteY744" fmla="*/ 3486871 h 6515100"/>
                <a:gd name="connsiteX745" fmla="*/ 519162 w 4829175"/>
                <a:gd name="connsiteY745" fmla="*/ 3397432 h 6515100"/>
                <a:gd name="connsiteX746" fmla="*/ 700136 w 4829175"/>
                <a:gd name="connsiteY746" fmla="*/ 3216459 h 6515100"/>
                <a:gd name="connsiteX747" fmla="*/ 429025 w 4829175"/>
                <a:gd name="connsiteY747" fmla="*/ 2946047 h 6515100"/>
                <a:gd name="connsiteX748" fmla="*/ 2908151 w 4829175"/>
                <a:gd name="connsiteY748" fmla="*/ 2945348 h 6515100"/>
                <a:gd name="connsiteX749" fmla="*/ 3179262 w 4829175"/>
                <a:gd name="connsiteY749" fmla="*/ 3215760 h 6515100"/>
                <a:gd name="connsiteX750" fmla="*/ 2908850 w 4829175"/>
                <a:gd name="connsiteY750" fmla="*/ 3486871 h 6515100"/>
                <a:gd name="connsiteX751" fmla="*/ 3107292 w 4829175"/>
                <a:gd name="connsiteY751" fmla="*/ 3486871 h 6515100"/>
                <a:gd name="connsiteX752" fmla="*/ 3103798 w 4829175"/>
                <a:gd name="connsiteY752" fmla="*/ 3493858 h 6515100"/>
                <a:gd name="connsiteX753" fmla="*/ 2908850 w 4829175"/>
                <a:gd name="connsiteY753" fmla="*/ 3493858 h 6515100"/>
                <a:gd name="connsiteX754" fmla="*/ 3038815 w 4829175"/>
                <a:gd name="connsiteY754" fmla="*/ 3623824 h 6515100"/>
                <a:gd name="connsiteX755" fmla="*/ 3035322 w 4829175"/>
                <a:gd name="connsiteY755" fmla="*/ 3630811 h 6515100"/>
                <a:gd name="connsiteX756" fmla="*/ 2894875 w 4829175"/>
                <a:gd name="connsiteY756" fmla="*/ 3490365 h 6515100"/>
                <a:gd name="connsiteX757" fmla="*/ 3165287 w 4829175"/>
                <a:gd name="connsiteY757" fmla="*/ 3219255 h 6515100"/>
                <a:gd name="connsiteX758" fmla="*/ 2901164 w 4829175"/>
                <a:gd name="connsiteY758" fmla="*/ 3219255 h 6515100"/>
                <a:gd name="connsiteX759" fmla="*/ 2630752 w 4829175"/>
                <a:gd name="connsiteY759" fmla="*/ 3490365 h 6515100"/>
                <a:gd name="connsiteX760" fmla="*/ 2901863 w 4829175"/>
                <a:gd name="connsiteY760" fmla="*/ 3760776 h 6515100"/>
                <a:gd name="connsiteX761" fmla="*/ 2970339 w 4829175"/>
                <a:gd name="connsiteY761" fmla="*/ 3760776 h 6515100"/>
                <a:gd name="connsiteX762" fmla="*/ 2966846 w 4829175"/>
                <a:gd name="connsiteY762" fmla="*/ 3767764 h 6515100"/>
                <a:gd name="connsiteX763" fmla="*/ 2901863 w 4829175"/>
                <a:gd name="connsiteY763" fmla="*/ 3767764 h 6515100"/>
                <a:gd name="connsiteX764" fmla="*/ 2721588 w 4829175"/>
                <a:gd name="connsiteY764" fmla="*/ 3948738 h 6515100"/>
                <a:gd name="connsiteX765" fmla="*/ 2633317 w 4829175"/>
                <a:gd name="connsiteY765" fmla="*/ 4037700 h 6515100"/>
                <a:gd name="connsiteX766" fmla="*/ 2902751 w 4829175"/>
                <a:gd name="connsiteY766" fmla="*/ 4306440 h 6515100"/>
                <a:gd name="connsiteX767" fmla="*/ 3165477 w 4829175"/>
                <a:gd name="connsiteY767" fmla="*/ 4306440 h 6515100"/>
                <a:gd name="connsiteX768" fmla="*/ 3036210 w 4829175"/>
                <a:gd name="connsiteY768" fmla="*/ 4177174 h 6515100"/>
                <a:gd name="connsiteX769" fmla="*/ 3036909 w 4829175"/>
                <a:gd name="connsiteY769" fmla="*/ 4176475 h 6515100"/>
                <a:gd name="connsiteX770" fmla="*/ 2942163 w 4829175"/>
                <a:gd name="connsiteY770" fmla="*/ 4082197 h 6515100"/>
                <a:gd name="connsiteX771" fmla="*/ 2940992 w 4829175"/>
                <a:gd name="connsiteY771" fmla="*/ 4082197 h 6515100"/>
                <a:gd name="connsiteX772" fmla="*/ 2896273 w 4829175"/>
                <a:gd name="connsiteY772" fmla="*/ 4037478 h 6515100"/>
                <a:gd name="connsiteX773" fmla="*/ 2896745 w 4829175"/>
                <a:gd name="connsiteY773" fmla="*/ 4037005 h 6515100"/>
                <a:gd name="connsiteX774" fmla="*/ 2895764 w 4829175"/>
                <a:gd name="connsiteY774" fmla="*/ 4036028 h 6515100"/>
                <a:gd name="connsiteX775" fmla="*/ 3070448 w 4829175"/>
                <a:gd name="connsiteY775" fmla="*/ 3860644 h 6515100"/>
                <a:gd name="connsiteX776" fmla="*/ 3072651 w 4829175"/>
                <a:gd name="connsiteY776" fmla="*/ 3860644 h 6515100"/>
                <a:gd name="connsiteX777" fmla="*/ 3165986 w 4829175"/>
                <a:gd name="connsiteY777" fmla="*/ 3767066 h 6515100"/>
                <a:gd name="connsiteX778" fmla="*/ 2967543 w 4829175"/>
                <a:gd name="connsiteY778" fmla="*/ 3767066 h 6515100"/>
                <a:gd name="connsiteX779" fmla="*/ 2971038 w 4829175"/>
                <a:gd name="connsiteY779" fmla="*/ 3760078 h 6515100"/>
                <a:gd name="connsiteX780" fmla="*/ 3165986 w 4829175"/>
                <a:gd name="connsiteY780" fmla="*/ 3760078 h 6515100"/>
                <a:gd name="connsiteX781" fmla="*/ 3036021 w 4829175"/>
                <a:gd name="connsiteY781" fmla="*/ 3630113 h 6515100"/>
                <a:gd name="connsiteX782" fmla="*/ 3039514 w 4829175"/>
                <a:gd name="connsiteY782" fmla="*/ 3623126 h 6515100"/>
                <a:gd name="connsiteX783" fmla="*/ 3179961 w 4829175"/>
                <a:gd name="connsiteY783" fmla="*/ 3763572 h 6515100"/>
                <a:gd name="connsiteX784" fmla="*/ 2912388 w 4829175"/>
                <a:gd name="connsiteY784" fmla="*/ 4031836 h 6515100"/>
                <a:gd name="connsiteX785" fmla="*/ 3173163 w 4829175"/>
                <a:gd name="connsiteY785" fmla="*/ 4031836 h 6515100"/>
                <a:gd name="connsiteX786" fmla="*/ 3262601 w 4829175"/>
                <a:gd name="connsiteY786" fmla="*/ 3942397 h 6515100"/>
                <a:gd name="connsiteX787" fmla="*/ 3344354 w 4829175"/>
                <a:gd name="connsiteY787" fmla="*/ 3860644 h 6515100"/>
                <a:gd name="connsiteX788" fmla="*/ 3347262 w 4829175"/>
                <a:gd name="connsiteY788" fmla="*/ 3860644 h 6515100"/>
                <a:gd name="connsiteX789" fmla="*/ 3444084 w 4829175"/>
                <a:gd name="connsiteY789" fmla="*/ 3763572 h 6515100"/>
                <a:gd name="connsiteX790" fmla="*/ 3172973 w 4829175"/>
                <a:gd name="connsiteY790" fmla="*/ 3493858 h 6515100"/>
                <a:gd name="connsiteX791" fmla="*/ 3104497 w 4829175"/>
                <a:gd name="connsiteY791" fmla="*/ 3493858 h 6515100"/>
                <a:gd name="connsiteX792" fmla="*/ 3107990 w 4829175"/>
                <a:gd name="connsiteY792" fmla="*/ 3486871 h 6515100"/>
                <a:gd name="connsiteX793" fmla="*/ 3172973 w 4829175"/>
                <a:gd name="connsiteY793" fmla="*/ 3486871 h 6515100"/>
                <a:gd name="connsiteX794" fmla="*/ 3443385 w 4829175"/>
                <a:gd name="connsiteY794" fmla="*/ 3215760 h 6515100"/>
                <a:gd name="connsiteX795" fmla="*/ 3309227 w 4829175"/>
                <a:gd name="connsiteY795" fmla="*/ 3082301 h 6515100"/>
                <a:gd name="connsiteX796" fmla="*/ 3172275 w 4829175"/>
                <a:gd name="connsiteY796" fmla="*/ 2945348 h 6515100"/>
                <a:gd name="connsiteX797" fmla="*/ 1811829 w 4829175"/>
                <a:gd name="connsiteY797" fmla="*/ 2944649 h 6515100"/>
                <a:gd name="connsiteX798" fmla="*/ 1941795 w 4829175"/>
                <a:gd name="connsiteY798" fmla="*/ 3074615 h 6515100"/>
                <a:gd name="connsiteX799" fmla="*/ 2082940 w 4829175"/>
                <a:gd name="connsiteY799" fmla="*/ 3215061 h 6515100"/>
                <a:gd name="connsiteX800" fmla="*/ 1812528 w 4829175"/>
                <a:gd name="connsiteY800" fmla="*/ 3486172 h 6515100"/>
                <a:gd name="connsiteX801" fmla="*/ 2076652 w 4829175"/>
                <a:gd name="connsiteY801" fmla="*/ 3486172 h 6515100"/>
                <a:gd name="connsiteX802" fmla="*/ 2347064 w 4829175"/>
                <a:gd name="connsiteY802" fmla="*/ 3215061 h 6515100"/>
                <a:gd name="connsiteX803" fmla="*/ 2075953 w 4829175"/>
                <a:gd name="connsiteY803" fmla="*/ 2944649 h 6515100"/>
                <a:gd name="connsiteX804" fmla="*/ 2360340 w 4829175"/>
                <a:gd name="connsiteY804" fmla="*/ 2943952 h 6515100"/>
                <a:gd name="connsiteX805" fmla="*/ 2631451 w 4829175"/>
                <a:gd name="connsiteY805" fmla="*/ 3214364 h 6515100"/>
                <a:gd name="connsiteX806" fmla="*/ 2361039 w 4829175"/>
                <a:gd name="connsiteY806" fmla="*/ 3485473 h 6515100"/>
                <a:gd name="connsiteX807" fmla="*/ 2625162 w 4829175"/>
                <a:gd name="connsiteY807" fmla="*/ 3485473 h 6515100"/>
                <a:gd name="connsiteX808" fmla="*/ 2895574 w 4829175"/>
                <a:gd name="connsiteY808" fmla="*/ 3214364 h 6515100"/>
                <a:gd name="connsiteX809" fmla="*/ 2624463 w 4829175"/>
                <a:gd name="connsiteY809" fmla="*/ 2943952 h 6515100"/>
                <a:gd name="connsiteX810" fmla="*/ 4005871 w 4829175"/>
                <a:gd name="connsiteY810" fmla="*/ 2943253 h 6515100"/>
                <a:gd name="connsiteX811" fmla="*/ 4275584 w 4829175"/>
                <a:gd name="connsiteY811" fmla="*/ 3212267 h 6515100"/>
                <a:gd name="connsiteX812" fmla="*/ 4272789 w 4829175"/>
                <a:gd name="connsiteY812" fmla="*/ 3215061 h 6515100"/>
                <a:gd name="connsiteX813" fmla="*/ 4182652 w 4829175"/>
                <a:gd name="connsiteY813" fmla="*/ 3305898 h 6515100"/>
                <a:gd name="connsiteX814" fmla="*/ 4181952 w 4829175"/>
                <a:gd name="connsiteY814" fmla="*/ 3305898 h 6515100"/>
                <a:gd name="connsiteX815" fmla="*/ 4005172 w 4829175"/>
                <a:gd name="connsiteY815" fmla="*/ 3483378 h 6515100"/>
                <a:gd name="connsiteX816" fmla="*/ 4269295 w 4829175"/>
                <a:gd name="connsiteY816" fmla="*/ 3483378 h 6515100"/>
                <a:gd name="connsiteX817" fmla="*/ 4358734 w 4829175"/>
                <a:gd name="connsiteY817" fmla="*/ 3393939 h 6515100"/>
                <a:gd name="connsiteX818" fmla="*/ 4359432 w 4829175"/>
                <a:gd name="connsiteY818" fmla="*/ 3393939 h 6515100"/>
                <a:gd name="connsiteX819" fmla="*/ 4541105 w 4829175"/>
                <a:gd name="connsiteY819" fmla="*/ 3213665 h 6515100"/>
                <a:gd name="connsiteX820" fmla="*/ 4269994 w 4829175"/>
                <a:gd name="connsiteY820" fmla="*/ 2943253 h 6515100"/>
                <a:gd name="connsiteX821" fmla="*/ 3457360 w 4829175"/>
                <a:gd name="connsiteY821" fmla="*/ 2943253 h 6515100"/>
                <a:gd name="connsiteX822" fmla="*/ 3458059 w 4829175"/>
                <a:gd name="connsiteY822" fmla="*/ 2943952 h 6515100"/>
                <a:gd name="connsiteX823" fmla="*/ 3458758 w 4829175"/>
                <a:gd name="connsiteY823" fmla="*/ 2943952 h 6515100"/>
                <a:gd name="connsiteX824" fmla="*/ 3727772 w 4829175"/>
                <a:gd name="connsiteY824" fmla="*/ 3212966 h 6515100"/>
                <a:gd name="connsiteX825" fmla="*/ 3457360 w 4829175"/>
                <a:gd name="connsiteY825" fmla="*/ 3484077 h 6515100"/>
                <a:gd name="connsiteX826" fmla="*/ 3721484 w 4829175"/>
                <a:gd name="connsiteY826" fmla="*/ 3484077 h 6515100"/>
                <a:gd name="connsiteX827" fmla="*/ 3991896 w 4829175"/>
                <a:gd name="connsiteY827" fmla="*/ 3213665 h 6515100"/>
                <a:gd name="connsiteX828" fmla="*/ 3987005 w 4829175"/>
                <a:gd name="connsiteY828" fmla="*/ 3208074 h 6515100"/>
                <a:gd name="connsiteX829" fmla="*/ 3721484 w 4829175"/>
                <a:gd name="connsiteY829" fmla="*/ 2943253 h 6515100"/>
                <a:gd name="connsiteX830" fmla="*/ 1255633 w 4829175"/>
                <a:gd name="connsiteY830" fmla="*/ 2671443 h 6515100"/>
                <a:gd name="connsiteX831" fmla="*/ 985221 w 4829175"/>
                <a:gd name="connsiteY831" fmla="*/ 2942554 h 6515100"/>
                <a:gd name="connsiteX832" fmla="*/ 1256332 w 4829175"/>
                <a:gd name="connsiteY832" fmla="*/ 3212966 h 6515100"/>
                <a:gd name="connsiteX833" fmla="*/ 1520455 w 4829175"/>
                <a:gd name="connsiteY833" fmla="*/ 3212966 h 6515100"/>
                <a:gd name="connsiteX834" fmla="*/ 1249344 w 4829175"/>
                <a:gd name="connsiteY834" fmla="*/ 2942554 h 6515100"/>
                <a:gd name="connsiteX835" fmla="*/ 1519757 w 4829175"/>
                <a:gd name="connsiteY835" fmla="*/ 2671443 h 6515100"/>
                <a:gd name="connsiteX836" fmla="*/ 1804143 w 4829175"/>
                <a:gd name="connsiteY836" fmla="*/ 2670744 h 6515100"/>
                <a:gd name="connsiteX837" fmla="*/ 1533731 w 4829175"/>
                <a:gd name="connsiteY837" fmla="*/ 2941855 h 6515100"/>
                <a:gd name="connsiteX838" fmla="*/ 1805541 w 4829175"/>
                <a:gd name="connsiteY838" fmla="*/ 3212267 h 6515100"/>
                <a:gd name="connsiteX839" fmla="*/ 2068965 w 4829175"/>
                <a:gd name="connsiteY839" fmla="*/ 3212267 h 6515100"/>
                <a:gd name="connsiteX840" fmla="*/ 1938301 w 4829175"/>
                <a:gd name="connsiteY840" fmla="*/ 3082301 h 6515100"/>
                <a:gd name="connsiteX841" fmla="*/ 1797854 w 4829175"/>
                <a:gd name="connsiteY841" fmla="*/ 2941855 h 6515100"/>
                <a:gd name="connsiteX842" fmla="*/ 2068266 w 4829175"/>
                <a:gd name="connsiteY842" fmla="*/ 2670744 h 6515100"/>
                <a:gd name="connsiteX843" fmla="*/ 705027 w 4829175"/>
                <a:gd name="connsiteY843" fmla="*/ 2670744 h 6515100"/>
                <a:gd name="connsiteX844" fmla="*/ 434615 w 4829175"/>
                <a:gd name="connsiteY844" fmla="*/ 2941855 h 6515100"/>
                <a:gd name="connsiteX845" fmla="*/ 705726 w 4829175"/>
                <a:gd name="connsiteY845" fmla="*/ 3212267 h 6515100"/>
                <a:gd name="connsiteX846" fmla="*/ 774202 w 4829175"/>
                <a:gd name="connsiteY846" fmla="*/ 3212267 h 6515100"/>
                <a:gd name="connsiteX847" fmla="*/ 773503 w 4829175"/>
                <a:gd name="connsiteY847" fmla="*/ 3213665 h 6515100"/>
                <a:gd name="connsiteX848" fmla="*/ 971247 w 4829175"/>
                <a:gd name="connsiteY848" fmla="*/ 3213665 h 6515100"/>
                <a:gd name="connsiteX849" fmla="*/ 839884 w 4829175"/>
                <a:gd name="connsiteY849" fmla="*/ 3082301 h 6515100"/>
                <a:gd name="connsiteX850" fmla="*/ 699437 w 4829175"/>
                <a:gd name="connsiteY850" fmla="*/ 2941855 h 6515100"/>
                <a:gd name="connsiteX851" fmla="*/ 968451 w 4829175"/>
                <a:gd name="connsiteY851" fmla="*/ 2672142 h 6515100"/>
                <a:gd name="connsiteX852" fmla="*/ 772105 w 4829175"/>
                <a:gd name="connsiteY852" fmla="*/ 2672142 h 6515100"/>
                <a:gd name="connsiteX853" fmla="*/ 772804 w 4829175"/>
                <a:gd name="connsiteY853" fmla="*/ 2670744 h 6515100"/>
                <a:gd name="connsiteX854" fmla="*/ 2352653 w 4829175"/>
                <a:gd name="connsiteY854" fmla="*/ 2670045 h 6515100"/>
                <a:gd name="connsiteX855" fmla="*/ 2082241 w 4829175"/>
                <a:gd name="connsiteY855" fmla="*/ 2941156 h 6515100"/>
                <a:gd name="connsiteX856" fmla="*/ 2353352 w 4829175"/>
                <a:gd name="connsiteY856" fmla="*/ 3211568 h 6515100"/>
                <a:gd name="connsiteX857" fmla="*/ 2617476 w 4829175"/>
                <a:gd name="connsiteY857" fmla="*/ 3211568 h 6515100"/>
                <a:gd name="connsiteX858" fmla="*/ 2346365 w 4829175"/>
                <a:gd name="connsiteY858" fmla="*/ 2941156 h 6515100"/>
                <a:gd name="connsiteX859" fmla="*/ 2616777 w 4829175"/>
                <a:gd name="connsiteY859" fmla="*/ 2670045 h 6515100"/>
                <a:gd name="connsiteX860" fmla="*/ 3998184 w 4829175"/>
                <a:gd name="connsiteY860" fmla="*/ 2667949 h 6515100"/>
                <a:gd name="connsiteX861" fmla="*/ 3727772 w 4829175"/>
                <a:gd name="connsiteY861" fmla="*/ 2939060 h 6515100"/>
                <a:gd name="connsiteX862" fmla="*/ 3998883 w 4829175"/>
                <a:gd name="connsiteY862" fmla="*/ 3209471 h 6515100"/>
                <a:gd name="connsiteX863" fmla="*/ 4263007 w 4829175"/>
                <a:gd name="connsiteY863" fmla="*/ 3209471 h 6515100"/>
                <a:gd name="connsiteX864" fmla="*/ 3991896 w 4829175"/>
                <a:gd name="connsiteY864" fmla="*/ 2939060 h 6515100"/>
                <a:gd name="connsiteX865" fmla="*/ 4262308 w 4829175"/>
                <a:gd name="connsiteY865" fmla="*/ 2667949 h 6515100"/>
                <a:gd name="connsiteX866" fmla="*/ 4546695 w 4829175"/>
                <a:gd name="connsiteY866" fmla="*/ 2667250 h 6515100"/>
                <a:gd name="connsiteX867" fmla="*/ 4276282 w 4829175"/>
                <a:gd name="connsiteY867" fmla="*/ 2938360 h 6515100"/>
                <a:gd name="connsiteX868" fmla="*/ 4547394 w 4829175"/>
                <a:gd name="connsiteY868" fmla="*/ 3208772 h 6515100"/>
                <a:gd name="connsiteX869" fmla="*/ 4810818 w 4829175"/>
                <a:gd name="connsiteY869" fmla="*/ 3208772 h 6515100"/>
                <a:gd name="connsiteX870" fmla="*/ 4680852 w 4829175"/>
                <a:gd name="connsiteY870" fmla="*/ 3078808 h 6515100"/>
                <a:gd name="connsiteX871" fmla="*/ 4540406 w 4829175"/>
                <a:gd name="connsiteY871" fmla="*/ 2938360 h 6515100"/>
                <a:gd name="connsiteX872" fmla="*/ 4810818 w 4829175"/>
                <a:gd name="connsiteY872" fmla="*/ 2667250 h 6515100"/>
                <a:gd name="connsiteX873" fmla="*/ 164203 w 4829175"/>
                <a:gd name="connsiteY873" fmla="*/ 2397537 h 6515100"/>
                <a:gd name="connsiteX874" fmla="*/ 435314 w 4829175"/>
                <a:gd name="connsiteY874" fmla="*/ 2667949 h 6515100"/>
                <a:gd name="connsiteX875" fmla="*/ 164902 w 4829175"/>
                <a:gd name="connsiteY875" fmla="*/ 2939060 h 6515100"/>
                <a:gd name="connsiteX876" fmla="*/ 429025 w 4829175"/>
                <a:gd name="connsiteY876" fmla="*/ 2939060 h 6515100"/>
                <a:gd name="connsiteX877" fmla="*/ 699437 w 4829175"/>
                <a:gd name="connsiteY877" fmla="*/ 2667949 h 6515100"/>
                <a:gd name="connsiteX878" fmla="*/ 428326 w 4829175"/>
                <a:gd name="connsiteY878" fmla="*/ 2397537 h 6515100"/>
                <a:gd name="connsiteX879" fmla="*/ 1811131 w 4829175"/>
                <a:gd name="connsiteY879" fmla="*/ 2396838 h 6515100"/>
                <a:gd name="connsiteX880" fmla="*/ 2082940 w 4829175"/>
                <a:gd name="connsiteY880" fmla="*/ 2667250 h 6515100"/>
                <a:gd name="connsiteX881" fmla="*/ 1812528 w 4829175"/>
                <a:gd name="connsiteY881" fmla="*/ 2938360 h 6515100"/>
                <a:gd name="connsiteX882" fmla="*/ 2075953 w 4829175"/>
                <a:gd name="connsiteY882" fmla="*/ 2938360 h 6515100"/>
                <a:gd name="connsiteX883" fmla="*/ 2346365 w 4829175"/>
                <a:gd name="connsiteY883" fmla="*/ 2667250 h 6515100"/>
                <a:gd name="connsiteX884" fmla="*/ 2212208 w 4829175"/>
                <a:gd name="connsiteY884" fmla="*/ 2533791 h 6515100"/>
                <a:gd name="connsiteX885" fmla="*/ 2075254 w 4829175"/>
                <a:gd name="connsiteY885" fmla="*/ 2396838 h 6515100"/>
                <a:gd name="connsiteX886" fmla="*/ 1262620 w 4829175"/>
                <a:gd name="connsiteY886" fmla="*/ 2396838 h 6515100"/>
                <a:gd name="connsiteX887" fmla="*/ 1533731 w 4829175"/>
                <a:gd name="connsiteY887" fmla="*/ 2667250 h 6515100"/>
                <a:gd name="connsiteX888" fmla="*/ 1263319 w 4829175"/>
                <a:gd name="connsiteY888" fmla="*/ 2938360 h 6515100"/>
                <a:gd name="connsiteX889" fmla="*/ 1527442 w 4829175"/>
                <a:gd name="connsiteY889" fmla="*/ 2938360 h 6515100"/>
                <a:gd name="connsiteX890" fmla="*/ 1797854 w 4829175"/>
                <a:gd name="connsiteY890" fmla="*/ 2667250 h 6515100"/>
                <a:gd name="connsiteX891" fmla="*/ 1526744 w 4829175"/>
                <a:gd name="connsiteY891" fmla="*/ 2396838 h 6515100"/>
                <a:gd name="connsiteX892" fmla="*/ 2359641 w 4829175"/>
                <a:gd name="connsiteY892" fmla="*/ 2396139 h 6515100"/>
                <a:gd name="connsiteX893" fmla="*/ 2361039 w 4829175"/>
                <a:gd name="connsiteY893" fmla="*/ 2397537 h 6515100"/>
                <a:gd name="connsiteX894" fmla="*/ 2629354 w 4829175"/>
                <a:gd name="connsiteY894" fmla="*/ 2665853 h 6515100"/>
                <a:gd name="connsiteX895" fmla="*/ 2358942 w 4829175"/>
                <a:gd name="connsiteY895" fmla="*/ 2936964 h 6515100"/>
                <a:gd name="connsiteX896" fmla="*/ 2623065 w 4829175"/>
                <a:gd name="connsiteY896" fmla="*/ 2936964 h 6515100"/>
                <a:gd name="connsiteX897" fmla="*/ 2893477 w 4829175"/>
                <a:gd name="connsiteY897" fmla="*/ 2665853 h 6515100"/>
                <a:gd name="connsiteX898" fmla="*/ 2888586 w 4829175"/>
                <a:gd name="connsiteY898" fmla="*/ 2660962 h 6515100"/>
                <a:gd name="connsiteX899" fmla="*/ 2906055 w 4829175"/>
                <a:gd name="connsiteY899" fmla="*/ 2669346 h 6515100"/>
                <a:gd name="connsiteX900" fmla="*/ 2900465 w 4829175"/>
                <a:gd name="connsiteY900" fmla="*/ 2669346 h 6515100"/>
                <a:gd name="connsiteX901" fmla="*/ 2630053 w 4829175"/>
                <a:gd name="connsiteY901" fmla="*/ 2940457 h 6515100"/>
                <a:gd name="connsiteX902" fmla="*/ 2901164 w 4829175"/>
                <a:gd name="connsiteY902" fmla="*/ 3210869 h 6515100"/>
                <a:gd name="connsiteX903" fmla="*/ 3165287 w 4829175"/>
                <a:gd name="connsiteY903" fmla="*/ 3210869 h 6515100"/>
                <a:gd name="connsiteX904" fmla="*/ 2894875 w 4829175"/>
                <a:gd name="connsiteY904" fmla="*/ 2939758 h 6515100"/>
                <a:gd name="connsiteX905" fmla="*/ 3079343 w 4829175"/>
                <a:gd name="connsiteY905" fmla="*/ 2755292 h 6515100"/>
                <a:gd name="connsiteX906" fmla="*/ 3165287 w 4829175"/>
                <a:gd name="connsiteY906" fmla="*/ 2669346 h 6515100"/>
                <a:gd name="connsiteX907" fmla="*/ 2906754 w 4829175"/>
                <a:gd name="connsiteY907" fmla="*/ 2669346 h 6515100"/>
                <a:gd name="connsiteX908" fmla="*/ 2889285 w 4829175"/>
                <a:gd name="connsiteY908" fmla="*/ 2660962 h 6515100"/>
                <a:gd name="connsiteX909" fmla="*/ 2623764 w 4829175"/>
                <a:gd name="connsiteY909" fmla="*/ 2396139 h 6515100"/>
                <a:gd name="connsiteX910" fmla="*/ 713412 w 4829175"/>
                <a:gd name="connsiteY910" fmla="*/ 2396139 h 6515100"/>
                <a:gd name="connsiteX911" fmla="*/ 844775 w 4829175"/>
                <a:gd name="connsiteY911" fmla="*/ 2527503 h 6515100"/>
                <a:gd name="connsiteX912" fmla="*/ 985221 w 4829175"/>
                <a:gd name="connsiteY912" fmla="*/ 2667949 h 6515100"/>
                <a:gd name="connsiteX913" fmla="*/ 716206 w 4829175"/>
                <a:gd name="connsiteY913" fmla="*/ 2937662 h 6515100"/>
                <a:gd name="connsiteX914" fmla="*/ 912552 w 4829175"/>
                <a:gd name="connsiteY914" fmla="*/ 2937662 h 6515100"/>
                <a:gd name="connsiteX915" fmla="*/ 911853 w 4829175"/>
                <a:gd name="connsiteY915" fmla="*/ 2939060 h 6515100"/>
                <a:gd name="connsiteX916" fmla="*/ 978932 w 4829175"/>
                <a:gd name="connsiteY916" fmla="*/ 2939060 h 6515100"/>
                <a:gd name="connsiteX917" fmla="*/ 1248646 w 4829175"/>
                <a:gd name="connsiteY917" fmla="*/ 2667949 h 6515100"/>
                <a:gd name="connsiteX918" fmla="*/ 1113090 w 4829175"/>
                <a:gd name="connsiteY918" fmla="*/ 2533092 h 6515100"/>
                <a:gd name="connsiteX919" fmla="*/ 1094923 w 4829175"/>
                <a:gd name="connsiteY919" fmla="*/ 2514926 h 6515100"/>
                <a:gd name="connsiteX920" fmla="*/ 977535 w 4829175"/>
                <a:gd name="connsiteY920" fmla="*/ 2398236 h 6515100"/>
                <a:gd name="connsiteX921" fmla="*/ 909058 w 4829175"/>
                <a:gd name="connsiteY921" fmla="*/ 2398236 h 6515100"/>
                <a:gd name="connsiteX922" fmla="*/ 909757 w 4829175"/>
                <a:gd name="connsiteY922" fmla="*/ 2396838 h 6515100"/>
                <a:gd name="connsiteX923" fmla="*/ 2907452 w 4829175"/>
                <a:gd name="connsiteY923" fmla="*/ 2394742 h 6515100"/>
                <a:gd name="connsiteX924" fmla="*/ 3178563 w 4829175"/>
                <a:gd name="connsiteY924" fmla="*/ 2665154 h 6515100"/>
                <a:gd name="connsiteX925" fmla="*/ 3175769 w 4829175"/>
                <a:gd name="connsiteY925" fmla="*/ 2667949 h 6515100"/>
                <a:gd name="connsiteX926" fmla="*/ 3085631 w 4829175"/>
                <a:gd name="connsiteY926" fmla="*/ 2758785 h 6515100"/>
                <a:gd name="connsiteX927" fmla="*/ 2908151 w 4829175"/>
                <a:gd name="connsiteY927" fmla="*/ 2936265 h 6515100"/>
                <a:gd name="connsiteX928" fmla="*/ 3172275 w 4829175"/>
                <a:gd name="connsiteY928" fmla="*/ 2936265 h 6515100"/>
                <a:gd name="connsiteX929" fmla="*/ 3262412 w 4829175"/>
                <a:gd name="connsiteY929" fmla="*/ 2846826 h 6515100"/>
                <a:gd name="connsiteX930" fmla="*/ 3442687 w 4829175"/>
                <a:gd name="connsiteY930" fmla="*/ 2665154 h 6515100"/>
                <a:gd name="connsiteX931" fmla="*/ 3171576 w 4829175"/>
                <a:gd name="connsiteY931" fmla="*/ 2394742 h 6515100"/>
                <a:gd name="connsiteX932" fmla="*/ 4004473 w 4829175"/>
                <a:gd name="connsiteY932" fmla="*/ 2394044 h 6515100"/>
                <a:gd name="connsiteX933" fmla="*/ 4275584 w 4829175"/>
                <a:gd name="connsiteY933" fmla="*/ 2663757 h 6515100"/>
                <a:gd name="connsiteX934" fmla="*/ 4005172 w 4829175"/>
                <a:gd name="connsiteY934" fmla="*/ 2934868 h 6515100"/>
                <a:gd name="connsiteX935" fmla="*/ 4269295 w 4829175"/>
                <a:gd name="connsiteY935" fmla="*/ 2934868 h 6515100"/>
                <a:gd name="connsiteX936" fmla="*/ 4539707 w 4829175"/>
                <a:gd name="connsiteY936" fmla="*/ 2664456 h 6515100"/>
                <a:gd name="connsiteX937" fmla="*/ 4268597 w 4829175"/>
                <a:gd name="connsiteY937" fmla="*/ 2394044 h 6515100"/>
                <a:gd name="connsiteX938" fmla="*/ 1255633 w 4829175"/>
                <a:gd name="connsiteY938" fmla="*/ 2122933 h 6515100"/>
                <a:gd name="connsiteX939" fmla="*/ 985221 w 4829175"/>
                <a:gd name="connsiteY939" fmla="*/ 2394044 h 6515100"/>
                <a:gd name="connsiteX940" fmla="*/ 1117282 w 4829175"/>
                <a:gd name="connsiteY940" fmla="*/ 2526105 h 6515100"/>
                <a:gd name="connsiteX941" fmla="*/ 1255633 w 4829175"/>
                <a:gd name="connsiteY941" fmla="*/ 2664456 h 6515100"/>
                <a:gd name="connsiteX942" fmla="*/ 1519757 w 4829175"/>
                <a:gd name="connsiteY942" fmla="*/ 2664456 h 6515100"/>
                <a:gd name="connsiteX943" fmla="*/ 1248646 w 4829175"/>
                <a:gd name="connsiteY943" fmla="*/ 2394044 h 6515100"/>
                <a:gd name="connsiteX944" fmla="*/ 1519757 w 4829175"/>
                <a:gd name="connsiteY944" fmla="*/ 2122933 h 6515100"/>
                <a:gd name="connsiteX945" fmla="*/ 2351955 w 4829175"/>
                <a:gd name="connsiteY945" fmla="*/ 2122234 h 6515100"/>
                <a:gd name="connsiteX946" fmla="*/ 2171680 w 4829175"/>
                <a:gd name="connsiteY946" fmla="*/ 2303207 h 6515100"/>
                <a:gd name="connsiteX947" fmla="*/ 2170981 w 4829175"/>
                <a:gd name="connsiteY947" fmla="*/ 2303207 h 6515100"/>
                <a:gd name="connsiteX948" fmla="*/ 2081543 w 4829175"/>
                <a:gd name="connsiteY948" fmla="*/ 2392646 h 6515100"/>
                <a:gd name="connsiteX949" fmla="*/ 2215701 w 4829175"/>
                <a:gd name="connsiteY949" fmla="*/ 2526804 h 6515100"/>
                <a:gd name="connsiteX950" fmla="*/ 2352653 w 4829175"/>
                <a:gd name="connsiteY950" fmla="*/ 2663058 h 6515100"/>
                <a:gd name="connsiteX951" fmla="*/ 2616078 w 4829175"/>
                <a:gd name="connsiteY951" fmla="*/ 2663058 h 6515100"/>
                <a:gd name="connsiteX952" fmla="*/ 2344968 w 4829175"/>
                <a:gd name="connsiteY952" fmla="*/ 2392646 h 6515100"/>
                <a:gd name="connsiteX953" fmla="*/ 2346365 w 4829175"/>
                <a:gd name="connsiteY953" fmla="*/ 2391248 h 6515100"/>
                <a:gd name="connsiteX954" fmla="*/ 2347064 w 4829175"/>
                <a:gd name="connsiteY954" fmla="*/ 2391248 h 6515100"/>
                <a:gd name="connsiteX955" fmla="*/ 2615379 w 4829175"/>
                <a:gd name="connsiteY955" fmla="*/ 2122234 h 6515100"/>
                <a:gd name="connsiteX956" fmla="*/ 1803445 w 4829175"/>
                <a:gd name="connsiteY956" fmla="*/ 2122234 h 6515100"/>
                <a:gd name="connsiteX957" fmla="*/ 1533032 w 4829175"/>
                <a:gd name="connsiteY957" fmla="*/ 2393345 h 6515100"/>
                <a:gd name="connsiteX958" fmla="*/ 1803445 w 4829175"/>
                <a:gd name="connsiteY958" fmla="*/ 2663058 h 6515100"/>
                <a:gd name="connsiteX959" fmla="*/ 2067568 w 4829175"/>
                <a:gd name="connsiteY959" fmla="*/ 2663058 h 6515100"/>
                <a:gd name="connsiteX960" fmla="*/ 1796458 w 4829175"/>
                <a:gd name="connsiteY960" fmla="*/ 2392646 h 6515100"/>
                <a:gd name="connsiteX961" fmla="*/ 1980924 w 4829175"/>
                <a:gd name="connsiteY961" fmla="*/ 2208178 h 6515100"/>
                <a:gd name="connsiteX962" fmla="*/ 1981623 w 4829175"/>
                <a:gd name="connsiteY962" fmla="*/ 2208178 h 6515100"/>
                <a:gd name="connsiteX963" fmla="*/ 2067568 w 4829175"/>
                <a:gd name="connsiteY963" fmla="*/ 2122234 h 6515100"/>
                <a:gd name="connsiteX964" fmla="*/ 2900465 w 4829175"/>
                <a:gd name="connsiteY964" fmla="*/ 2121535 h 6515100"/>
                <a:gd name="connsiteX965" fmla="*/ 2630053 w 4829175"/>
                <a:gd name="connsiteY965" fmla="*/ 2392646 h 6515100"/>
                <a:gd name="connsiteX966" fmla="*/ 2901164 w 4829175"/>
                <a:gd name="connsiteY966" fmla="*/ 2663058 h 6515100"/>
                <a:gd name="connsiteX967" fmla="*/ 3165287 w 4829175"/>
                <a:gd name="connsiteY967" fmla="*/ 2663058 h 6515100"/>
                <a:gd name="connsiteX968" fmla="*/ 2894176 w 4829175"/>
                <a:gd name="connsiteY968" fmla="*/ 2392646 h 6515100"/>
                <a:gd name="connsiteX969" fmla="*/ 3164588 w 4829175"/>
                <a:gd name="connsiteY969" fmla="*/ 2121535 h 6515100"/>
                <a:gd name="connsiteX970" fmla="*/ 3997486 w 4829175"/>
                <a:gd name="connsiteY970" fmla="*/ 2120137 h 6515100"/>
                <a:gd name="connsiteX971" fmla="*/ 3727074 w 4829175"/>
                <a:gd name="connsiteY971" fmla="*/ 2391248 h 6515100"/>
                <a:gd name="connsiteX972" fmla="*/ 3998184 w 4829175"/>
                <a:gd name="connsiteY972" fmla="*/ 2661660 h 6515100"/>
                <a:gd name="connsiteX973" fmla="*/ 4262308 w 4829175"/>
                <a:gd name="connsiteY973" fmla="*/ 2661660 h 6515100"/>
                <a:gd name="connsiteX974" fmla="*/ 3991197 w 4829175"/>
                <a:gd name="connsiteY974" fmla="*/ 2391248 h 6515100"/>
                <a:gd name="connsiteX975" fmla="*/ 4261609 w 4829175"/>
                <a:gd name="connsiteY975" fmla="*/ 2120137 h 6515100"/>
                <a:gd name="connsiteX976" fmla="*/ 4545996 w 4829175"/>
                <a:gd name="connsiteY976" fmla="*/ 2119439 h 6515100"/>
                <a:gd name="connsiteX977" fmla="*/ 4275584 w 4829175"/>
                <a:gd name="connsiteY977" fmla="*/ 2390549 h 6515100"/>
                <a:gd name="connsiteX978" fmla="*/ 4545996 w 4829175"/>
                <a:gd name="connsiteY978" fmla="*/ 2660263 h 6515100"/>
                <a:gd name="connsiteX979" fmla="*/ 4810119 w 4829175"/>
                <a:gd name="connsiteY979" fmla="*/ 2660263 h 6515100"/>
                <a:gd name="connsiteX980" fmla="*/ 4539009 w 4829175"/>
                <a:gd name="connsiteY980" fmla="*/ 2389851 h 6515100"/>
                <a:gd name="connsiteX981" fmla="*/ 4723476 w 4829175"/>
                <a:gd name="connsiteY981" fmla="*/ 2205384 h 6515100"/>
                <a:gd name="connsiteX982" fmla="*/ 4810119 w 4829175"/>
                <a:gd name="connsiteY982" fmla="*/ 2119439 h 6515100"/>
                <a:gd name="connsiteX983" fmla="*/ 1261921 w 4829175"/>
                <a:gd name="connsiteY983" fmla="*/ 1849027 h 6515100"/>
                <a:gd name="connsiteX984" fmla="*/ 1262620 w 4829175"/>
                <a:gd name="connsiteY984" fmla="*/ 1849725 h 6515100"/>
                <a:gd name="connsiteX985" fmla="*/ 1263319 w 4829175"/>
                <a:gd name="connsiteY985" fmla="*/ 1849725 h 6515100"/>
                <a:gd name="connsiteX986" fmla="*/ 1532333 w 4829175"/>
                <a:gd name="connsiteY986" fmla="*/ 2118740 h 6515100"/>
                <a:gd name="connsiteX987" fmla="*/ 1261921 w 4829175"/>
                <a:gd name="connsiteY987" fmla="*/ 2389851 h 6515100"/>
                <a:gd name="connsiteX988" fmla="*/ 1526046 w 4829175"/>
                <a:gd name="connsiteY988" fmla="*/ 2389851 h 6515100"/>
                <a:gd name="connsiteX989" fmla="*/ 1796458 w 4829175"/>
                <a:gd name="connsiteY989" fmla="*/ 2118740 h 6515100"/>
                <a:gd name="connsiteX990" fmla="*/ 1791566 w 4829175"/>
                <a:gd name="connsiteY990" fmla="*/ 2113849 h 6515100"/>
                <a:gd name="connsiteX991" fmla="*/ 1526046 w 4829175"/>
                <a:gd name="connsiteY991" fmla="*/ 1849027 h 6515100"/>
                <a:gd name="connsiteX992" fmla="*/ 164203 w 4829175"/>
                <a:gd name="connsiteY992" fmla="*/ 1849027 h 6515100"/>
                <a:gd name="connsiteX993" fmla="*/ 165601 w 4829175"/>
                <a:gd name="connsiteY993" fmla="*/ 1850424 h 6515100"/>
                <a:gd name="connsiteX994" fmla="*/ 434615 w 4829175"/>
                <a:gd name="connsiteY994" fmla="*/ 2119439 h 6515100"/>
                <a:gd name="connsiteX995" fmla="*/ 164203 w 4829175"/>
                <a:gd name="connsiteY995" fmla="*/ 2389152 h 6515100"/>
                <a:gd name="connsiteX996" fmla="*/ 428326 w 4829175"/>
                <a:gd name="connsiteY996" fmla="*/ 2389152 h 6515100"/>
                <a:gd name="connsiteX997" fmla="*/ 698738 w 4829175"/>
                <a:gd name="connsiteY997" fmla="*/ 2118042 h 6515100"/>
                <a:gd name="connsiteX998" fmla="*/ 695191 w 4829175"/>
                <a:gd name="connsiteY998" fmla="*/ 2114493 h 6515100"/>
                <a:gd name="connsiteX999" fmla="*/ 709860 w 4829175"/>
                <a:gd name="connsiteY999" fmla="*/ 2121535 h 6515100"/>
                <a:gd name="connsiteX1000" fmla="*/ 705726 w 4829175"/>
                <a:gd name="connsiteY1000" fmla="*/ 2121535 h 6515100"/>
                <a:gd name="connsiteX1001" fmla="*/ 435314 w 4829175"/>
                <a:gd name="connsiteY1001" fmla="*/ 2392646 h 6515100"/>
                <a:gd name="connsiteX1002" fmla="*/ 706425 w 4829175"/>
                <a:gd name="connsiteY1002" fmla="*/ 2663058 h 6515100"/>
                <a:gd name="connsiteX1003" fmla="*/ 970548 w 4829175"/>
                <a:gd name="connsiteY1003" fmla="*/ 2663058 h 6515100"/>
                <a:gd name="connsiteX1004" fmla="*/ 699437 w 4829175"/>
                <a:gd name="connsiteY1004" fmla="*/ 2392646 h 6515100"/>
                <a:gd name="connsiteX1005" fmla="*/ 883903 w 4829175"/>
                <a:gd name="connsiteY1005" fmla="*/ 2208178 h 6515100"/>
                <a:gd name="connsiteX1006" fmla="*/ 969849 w 4829175"/>
                <a:gd name="connsiteY1006" fmla="*/ 2122234 h 6515100"/>
                <a:gd name="connsiteX1007" fmla="*/ 711316 w 4829175"/>
                <a:gd name="connsiteY1007" fmla="*/ 2122234 h 6515100"/>
                <a:gd name="connsiteX1008" fmla="*/ 709860 w 4829175"/>
                <a:gd name="connsiteY1008" fmla="*/ 2121535 h 6515100"/>
                <a:gd name="connsiteX1009" fmla="*/ 711316 w 4829175"/>
                <a:gd name="connsiteY1009" fmla="*/ 2121535 h 6515100"/>
                <a:gd name="connsiteX1010" fmla="*/ 693847 w 4829175"/>
                <a:gd name="connsiteY1010" fmla="*/ 2113150 h 6515100"/>
                <a:gd name="connsiteX1011" fmla="*/ 695191 w 4829175"/>
                <a:gd name="connsiteY1011" fmla="*/ 2114493 h 6515100"/>
                <a:gd name="connsiteX1012" fmla="*/ 693847 w 4829175"/>
                <a:gd name="connsiteY1012" fmla="*/ 2113849 h 6515100"/>
                <a:gd name="connsiteX1013" fmla="*/ 428326 w 4829175"/>
                <a:gd name="connsiteY1013" fmla="*/ 1849027 h 6515100"/>
                <a:gd name="connsiteX1014" fmla="*/ 712014 w 4829175"/>
                <a:gd name="connsiteY1014" fmla="*/ 1848328 h 6515100"/>
                <a:gd name="connsiteX1015" fmla="*/ 983125 w 4829175"/>
                <a:gd name="connsiteY1015" fmla="*/ 2118042 h 6515100"/>
                <a:gd name="connsiteX1016" fmla="*/ 980330 w 4829175"/>
                <a:gd name="connsiteY1016" fmla="*/ 2120836 h 6515100"/>
                <a:gd name="connsiteX1017" fmla="*/ 890192 w 4829175"/>
                <a:gd name="connsiteY1017" fmla="*/ 2211673 h 6515100"/>
                <a:gd name="connsiteX1018" fmla="*/ 712713 w 4829175"/>
                <a:gd name="connsiteY1018" fmla="*/ 2389152 h 6515100"/>
                <a:gd name="connsiteX1019" fmla="*/ 976837 w 4829175"/>
                <a:gd name="connsiteY1019" fmla="*/ 2389152 h 6515100"/>
                <a:gd name="connsiteX1020" fmla="*/ 1066275 w 4829175"/>
                <a:gd name="connsiteY1020" fmla="*/ 2299714 h 6515100"/>
                <a:gd name="connsiteX1021" fmla="*/ 1247249 w 4829175"/>
                <a:gd name="connsiteY1021" fmla="*/ 2118740 h 6515100"/>
                <a:gd name="connsiteX1022" fmla="*/ 1114488 w 4829175"/>
                <a:gd name="connsiteY1022" fmla="*/ 1986679 h 6515100"/>
                <a:gd name="connsiteX1023" fmla="*/ 976138 w 4829175"/>
                <a:gd name="connsiteY1023" fmla="*/ 1848328 h 6515100"/>
                <a:gd name="connsiteX1024" fmla="*/ 2359641 w 4829175"/>
                <a:gd name="connsiteY1024" fmla="*/ 1847630 h 6515100"/>
                <a:gd name="connsiteX1025" fmla="*/ 2489606 w 4829175"/>
                <a:gd name="connsiteY1025" fmla="*/ 1977595 h 6515100"/>
                <a:gd name="connsiteX1026" fmla="*/ 2630053 w 4829175"/>
                <a:gd name="connsiteY1026" fmla="*/ 2118042 h 6515100"/>
                <a:gd name="connsiteX1027" fmla="*/ 2359641 w 4829175"/>
                <a:gd name="connsiteY1027" fmla="*/ 2389152 h 6515100"/>
                <a:gd name="connsiteX1028" fmla="*/ 2623764 w 4829175"/>
                <a:gd name="connsiteY1028" fmla="*/ 2389152 h 6515100"/>
                <a:gd name="connsiteX1029" fmla="*/ 2894176 w 4829175"/>
                <a:gd name="connsiteY1029" fmla="*/ 2118042 h 6515100"/>
                <a:gd name="connsiteX1030" fmla="*/ 2623065 w 4829175"/>
                <a:gd name="connsiteY1030" fmla="*/ 1847630 h 6515100"/>
                <a:gd name="connsiteX1031" fmla="*/ 1810432 w 4829175"/>
                <a:gd name="connsiteY1031" fmla="*/ 1847630 h 6515100"/>
                <a:gd name="connsiteX1032" fmla="*/ 2081543 w 4829175"/>
                <a:gd name="connsiteY1032" fmla="*/ 2118042 h 6515100"/>
                <a:gd name="connsiteX1033" fmla="*/ 2078748 w 4829175"/>
                <a:gd name="connsiteY1033" fmla="*/ 2120836 h 6515100"/>
                <a:gd name="connsiteX1034" fmla="*/ 1988611 w 4829175"/>
                <a:gd name="connsiteY1034" fmla="*/ 2211673 h 6515100"/>
                <a:gd name="connsiteX1035" fmla="*/ 1987912 w 4829175"/>
                <a:gd name="connsiteY1035" fmla="*/ 2211673 h 6515100"/>
                <a:gd name="connsiteX1036" fmla="*/ 1811131 w 4829175"/>
                <a:gd name="connsiteY1036" fmla="*/ 2389152 h 6515100"/>
                <a:gd name="connsiteX1037" fmla="*/ 2074555 w 4829175"/>
                <a:gd name="connsiteY1037" fmla="*/ 2388454 h 6515100"/>
                <a:gd name="connsiteX1038" fmla="*/ 2163994 w 4829175"/>
                <a:gd name="connsiteY1038" fmla="*/ 2299015 h 6515100"/>
                <a:gd name="connsiteX1039" fmla="*/ 2164693 w 4829175"/>
                <a:gd name="connsiteY1039" fmla="*/ 2299015 h 6515100"/>
                <a:gd name="connsiteX1040" fmla="*/ 2345666 w 4829175"/>
                <a:gd name="connsiteY1040" fmla="*/ 2118042 h 6515100"/>
                <a:gd name="connsiteX1041" fmla="*/ 2074555 w 4829175"/>
                <a:gd name="connsiteY1041" fmla="*/ 1847630 h 6515100"/>
                <a:gd name="connsiteX1042" fmla="*/ 2907452 w 4829175"/>
                <a:gd name="connsiteY1042" fmla="*/ 1846931 h 6515100"/>
                <a:gd name="connsiteX1043" fmla="*/ 3178563 w 4829175"/>
                <a:gd name="connsiteY1043" fmla="*/ 2117343 h 6515100"/>
                <a:gd name="connsiteX1044" fmla="*/ 2908151 w 4829175"/>
                <a:gd name="connsiteY1044" fmla="*/ 2388454 h 6515100"/>
                <a:gd name="connsiteX1045" fmla="*/ 3172275 w 4829175"/>
                <a:gd name="connsiteY1045" fmla="*/ 2388454 h 6515100"/>
                <a:gd name="connsiteX1046" fmla="*/ 3442687 w 4829175"/>
                <a:gd name="connsiteY1046" fmla="*/ 2117343 h 6515100"/>
                <a:gd name="connsiteX1047" fmla="*/ 3171576 w 4829175"/>
                <a:gd name="connsiteY1047" fmla="*/ 1846931 h 6515100"/>
                <a:gd name="connsiteX1048" fmla="*/ 4004473 w 4829175"/>
                <a:gd name="connsiteY1048" fmla="*/ 1844834 h 6515100"/>
                <a:gd name="connsiteX1049" fmla="*/ 4005871 w 4829175"/>
                <a:gd name="connsiteY1049" fmla="*/ 1846232 h 6515100"/>
                <a:gd name="connsiteX1050" fmla="*/ 4274885 w 4829175"/>
                <a:gd name="connsiteY1050" fmla="*/ 2115246 h 6515100"/>
                <a:gd name="connsiteX1051" fmla="*/ 4004473 w 4829175"/>
                <a:gd name="connsiteY1051" fmla="*/ 2386357 h 6515100"/>
                <a:gd name="connsiteX1052" fmla="*/ 4268597 w 4829175"/>
                <a:gd name="connsiteY1052" fmla="*/ 2386357 h 6515100"/>
                <a:gd name="connsiteX1053" fmla="*/ 4539009 w 4829175"/>
                <a:gd name="connsiteY1053" fmla="*/ 2115246 h 6515100"/>
                <a:gd name="connsiteX1054" fmla="*/ 4534118 w 4829175"/>
                <a:gd name="connsiteY1054" fmla="*/ 2110355 h 6515100"/>
                <a:gd name="connsiteX1055" fmla="*/ 4268597 w 4829175"/>
                <a:gd name="connsiteY1055" fmla="*/ 1844834 h 6515100"/>
                <a:gd name="connsiteX1056" fmla="*/ 705027 w 4829175"/>
                <a:gd name="connsiteY1056" fmla="*/ 1574422 h 6515100"/>
                <a:gd name="connsiteX1057" fmla="*/ 434615 w 4829175"/>
                <a:gd name="connsiteY1057" fmla="*/ 1845533 h 6515100"/>
                <a:gd name="connsiteX1058" fmla="*/ 705726 w 4829175"/>
                <a:gd name="connsiteY1058" fmla="*/ 2115945 h 6515100"/>
                <a:gd name="connsiteX1059" fmla="*/ 969849 w 4829175"/>
                <a:gd name="connsiteY1059" fmla="*/ 2115945 h 6515100"/>
                <a:gd name="connsiteX1060" fmla="*/ 698738 w 4829175"/>
                <a:gd name="connsiteY1060" fmla="*/ 1845533 h 6515100"/>
                <a:gd name="connsiteX1061" fmla="*/ 969150 w 4829175"/>
                <a:gd name="connsiteY1061" fmla="*/ 1574422 h 6515100"/>
                <a:gd name="connsiteX1062" fmla="*/ 1802746 w 4829175"/>
                <a:gd name="connsiteY1062" fmla="*/ 1573723 h 6515100"/>
                <a:gd name="connsiteX1063" fmla="*/ 1532333 w 4829175"/>
                <a:gd name="connsiteY1063" fmla="*/ 1844834 h 6515100"/>
                <a:gd name="connsiteX1064" fmla="*/ 1803445 w 4829175"/>
                <a:gd name="connsiteY1064" fmla="*/ 2115246 h 6515100"/>
                <a:gd name="connsiteX1065" fmla="*/ 2067568 w 4829175"/>
                <a:gd name="connsiteY1065" fmla="*/ 2115246 h 6515100"/>
                <a:gd name="connsiteX1066" fmla="*/ 1796458 w 4829175"/>
                <a:gd name="connsiteY1066" fmla="*/ 1844834 h 6515100"/>
                <a:gd name="connsiteX1067" fmla="*/ 2066870 w 4829175"/>
                <a:gd name="connsiteY1067" fmla="*/ 1573723 h 6515100"/>
                <a:gd name="connsiteX1068" fmla="*/ 1252838 w 4829175"/>
                <a:gd name="connsiteY1068" fmla="*/ 1573723 h 6515100"/>
                <a:gd name="connsiteX1069" fmla="*/ 983125 w 4829175"/>
                <a:gd name="connsiteY1069" fmla="*/ 1844834 h 6515100"/>
                <a:gd name="connsiteX1070" fmla="*/ 1183663 w 4829175"/>
                <a:gd name="connsiteY1070" fmla="*/ 2045372 h 6515100"/>
                <a:gd name="connsiteX1071" fmla="*/ 1254236 w 4829175"/>
                <a:gd name="connsiteY1071" fmla="*/ 2115246 h 6515100"/>
                <a:gd name="connsiteX1072" fmla="*/ 1322712 w 4829175"/>
                <a:gd name="connsiteY1072" fmla="*/ 2115246 h 6515100"/>
                <a:gd name="connsiteX1073" fmla="*/ 1322014 w 4829175"/>
                <a:gd name="connsiteY1073" fmla="*/ 2116644 h 6515100"/>
                <a:gd name="connsiteX1074" fmla="*/ 1519058 w 4829175"/>
                <a:gd name="connsiteY1074" fmla="*/ 2116644 h 6515100"/>
                <a:gd name="connsiteX1075" fmla="*/ 1247947 w 4829175"/>
                <a:gd name="connsiteY1075" fmla="*/ 1846232 h 6515100"/>
                <a:gd name="connsiteX1076" fmla="*/ 1248646 w 4829175"/>
                <a:gd name="connsiteY1076" fmla="*/ 1845533 h 6515100"/>
                <a:gd name="connsiteX1077" fmla="*/ 1246550 w 4829175"/>
                <a:gd name="connsiteY1077" fmla="*/ 1844834 h 6515100"/>
                <a:gd name="connsiteX1078" fmla="*/ 1516962 w 4829175"/>
                <a:gd name="connsiteY1078" fmla="*/ 1573723 h 6515100"/>
                <a:gd name="connsiteX1079" fmla="*/ 2899766 w 4829175"/>
                <a:gd name="connsiteY1079" fmla="*/ 1573024 h 6515100"/>
                <a:gd name="connsiteX1080" fmla="*/ 2629354 w 4829175"/>
                <a:gd name="connsiteY1080" fmla="*/ 1844135 h 6515100"/>
                <a:gd name="connsiteX1081" fmla="*/ 2900465 w 4829175"/>
                <a:gd name="connsiteY1081" fmla="*/ 2114547 h 6515100"/>
                <a:gd name="connsiteX1082" fmla="*/ 3164588 w 4829175"/>
                <a:gd name="connsiteY1082" fmla="*/ 2114547 h 6515100"/>
                <a:gd name="connsiteX1083" fmla="*/ 2893477 w 4829175"/>
                <a:gd name="connsiteY1083" fmla="*/ 1844135 h 6515100"/>
                <a:gd name="connsiteX1084" fmla="*/ 3163889 w 4829175"/>
                <a:gd name="connsiteY1084" fmla="*/ 1573024 h 6515100"/>
                <a:gd name="connsiteX1085" fmla="*/ 2351257 w 4829175"/>
                <a:gd name="connsiteY1085" fmla="*/ 1573024 h 6515100"/>
                <a:gd name="connsiteX1086" fmla="*/ 2080844 w 4829175"/>
                <a:gd name="connsiteY1086" fmla="*/ 1844135 h 6515100"/>
                <a:gd name="connsiteX1087" fmla="*/ 2351955 w 4829175"/>
                <a:gd name="connsiteY1087" fmla="*/ 2114547 h 6515100"/>
                <a:gd name="connsiteX1088" fmla="*/ 2615379 w 4829175"/>
                <a:gd name="connsiteY1088" fmla="*/ 2114547 h 6515100"/>
                <a:gd name="connsiteX1089" fmla="*/ 2485414 w 4829175"/>
                <a:gd name="connsiteY1089" fmla="*/ 1984582 h 6515100"/>
                <a:gd name="connsiteX1090" fmla="*/ 2344968 w 4829175"/>
                <a:gd name="connsiteY1090" fmla="*/ 1844135 h 6515100"/>
                <a:gd name="connsiteX1091" fmla="*/ 2615379 w 4829175"/>
                <a:gd name="connsiteY1091" fmla="*/ 1573024 h 6515100"/>
                <a:gd name="connsiteX1092" fmla="*/ 3448276 w 4829175"/>
                <a:gd name="connsiteY1092" fmla="*/ 1572326 h 6515100"/>
                <a:gd name="connsiteX1093" fmla="*/ 3177864 w 4829175"/>
                <a:gd name="connsiteY1093" fmla="*/ 1843436 h 6515100"/>
                <a:gd name="connsiteX1094" fmla="*/ 3448975 w 4829175"/>
                <a:gd name="connsiteY1094" fmla="*/ 2113150 h 6515100"/>
                <a:gd name="connsiteX1095" fmla="*/ 3713099 w 4829175"/>
                <a:gd name="connsiteY1095" fmla="*/ 2113150 h 6515100"/>
                <a:gd name="connsiteX1096" fmla="*/ 3441988 w 4829175"/>
                <a:gd name="connsiteY1096" fmla="*/ 1842739 h 6515100"/>
                <a:gd name="connsiteX1097" fmla="*/ 3626455 w 4829175"/>
                <a:gd name="connsiteY1097" fmla="*/ 1658271 h 6515100"/>
                <a:gd name="connsiteX1098" fmla="*/ 3712400 w 4829175"/>
                <a:gd name="connsiteY1098" fmla="*/ 1572326 h 6515100"/>
                <a:gd name="connsiteX1099" fmla="*/ 4545297 w 4829175"/>
                <a:gd name="connsiteY1099" fmla="*/ 1570929 h 6515100"/>
                <a:gd name="connsiteX1100" fmla="*/ 4274885 w 4829175"/>
                <a:gd name="connsiteY1100" fmla="*/ 1842040 h 6515100"/>
                <a:gd name="connsiteX1101" fmla="*/ 4545996 w 4829175"/>
                <a:gd name="connsiteY1101" fmla="*/ 2111753 h 6515100"/>
                <a:gd name="connsiteX1102" fmla="*/ 4810119 w 4829175"/>
                <a:gd name="connsiteY1102" fmla="*/ 2111753 h 6515100"/>
                <a:gd name="connsiteX1103" fmla="*/ 4539009 w 4829175"/>
                <a:gd name="connsiteY1103" fmla="*/ 1841341 h 6515100"/>
                <a:gd name="connsiteX1104" fmla="*/ 4809421 w 4829175"/>
                <a:gd name="connsiteY1104" fmla="*/ 1570929 h 6515100"/>
                <a:gd name="connsiteX1105" fmla="*/ 164203 w 4829175"/>
                <a:gd name="connsiteY1105" fmla="*/ 1300517 h 6515100"/>
                <a:gd name="connsiteX1106" fmla="*/ 294168 w 4829175"/>
                <a:gd name="connsiteY1106" fmla="*/ 1430482 h 6515100"/>
                <a:gd name="connsiteX1107" fmla="*/ 434615 w 4829175"/>
                <a:gd name="connsiteY1107" fmla="*/ 1570929 h 6515100"/>
                <a:gd name="connsiteX1108" fmla="*/ 164203 w 4829175"/>
                <a:gd name="connsiteY1108" fmla="*/ 1842040 h 6515100"/>
                <a:gd name="connsiteX1109" fmla="*/ 428326 w 4829175"/>
                <a:gd name="connsiteY1109" fmla="*/ 1842040 h 6515100"/>
                <a:gd name="connsiteX1110" fmla="*/ 698738 w 4829175"/>
                <a:gd name="connsiteY1110" fmla="*/ 1570929 h 6515100"/>
                <a:gd name="connsiteX1111" fmla="*/ 427627 w 4829175"/>
                <a:gd name="connsiteY1111" fmla="*/ 1300517 h 6515100"/>
                <a:gd name="connsiteX1112" fmla="*/ 1809733 w 4829175"/>
                <a:gd name="connsiteY1112" fmla="*/ 1299818 h 6515100"/>
                <a:gd name="connsiteX1113" fmla="*/ 2080844 w 4829175"/>
                <a:gd name="connsiteY1113" fmla="*/ 1570230 h 6515100"/>
                <a:gd name="connsiteX1114" fmla="*/ 1810432 w 4829175"/>
                <a:gd name="connsiteY1114" fmla="*/ 1840642 h 6515100"/>
                <a:gd name="connsiteX1115" fmla="*/ 2074555 w 4829175"/>
                <a:gd name="connsiteY1115" fmla="*/ 1840642 h 6515100"/>
                <a:gd name="connsiteX1116" fmla="*/ 2344968 w 4829175"/>
                <a:gd name="connsiteY1116" fmla="*/ 1570230 h 6515100"/>
                <a:gd name="connsiteX1117" fmla="*/ 2073856 w 4829175"/>
                <a:gd name="connsiteY1117" fmla="*/ 1299818 h 6515100"/>
                <a:gd name="connsiteX1118" fmla="*/ 712014 w 4829175"/>
                <a:gd name="connsiteY1118" fmla="*/ 1299818 h 6515100"/>
                <a:gd name="connsiteX1119" fmla="*/ 983125 w 4829175"/>
                <a:gd name="connsiteY1119" fmla="*/ 1570230 h 6515100"/>
                <a:gd name="connsiteX1120" fmla="*/ 712713 w 4829175"/>
                <a:gd name="connsiteY1120" fmla="*/ 1841341 h 6515100"/>
                <a:gd name="connsiteX1121" fmla="*/ 976837 w 4829175"/>
                <a:gd name="connsiteY1121" fmla="*/ 1841341 h 6515100"/>
                <a:gd name="connsiteX1122" fmla="*/ 1247249 w 4829175"/>
                <a:gd name="connsiteY1122" fmla="*/ 1570230 h 6515100"/>
                <a:gd name="connsiteX1123" fmla="*/ 976138 w 4829175"/>
                <a:gd name="connsiteY1123" fmla="*/ 1299818 h 6515100"/>
                <a:gd name="connsiteX1124" fmla="*/ 2358243 w 4829175"/>
                <a:gd name="connsiteY1124" fmla="*/ 1299119 h 6515100"/>
                <a:gd name="connsiteX1125" fmla="*/ 2629354 w 4829175"/>
                <a:gd name="connsiteY1125" fmla="*/ 1569531 h 6515100"/>
                <a:gd name="connsiteX1126" fmla="*/ 2359641 w 4829175"/>
                <a:gd name="connsiteY1126" fmla="*/ 1840642 h 6515100"/>
                <a:gd name="connsiteX1127" fmla="*/ 2623065 w 4829175"/>
                <a:gd name="connsiteY1127" fmla="*/ 1840642 h 6515100"/>
                <a:gd name="connsiteX1128" fmla="*/ 2893477 w 4829175"/>
                <a:gd name="connsiteY1128" fmla="*/ 1569531 h 6515100"/>
                <a:gd name="connsiteX1129" fmla="*/ 2759320 w 4829175"/>
                <a:gd name="connsiteY1129" fmla="*/ 1436072 h 6515100"/>
                <a:gd name="connsiteX1130" fmla="*/ 2622367 w 4829175"/>
                <a:gd name="connsiteY1130" fmla="*/ 1299119 h 6515100"/>
                <a:gd name="connsiteX1131" fmla="*/ 2906754 w 4829175"/>
                <a:gd name="connsiteY1131" fmla="*/ 1298421 h 6515100"/>
                <a:gd name="connsiteX1132" fmla="*/ 2908151 w 4829175"/>
                <a:gd name="connsiteY1132" fmla="*/ 1299818 h 6515100"/>
                <a:gd name="connsiteX1133" fmla="*/ 3177864 w 4829175"/>
                <a:gd name="connsiteY1133" fmla="*/ 1568832 h 6515100"/>
                <a:gd name="connsiteX1134" fmla="*/ 2907452 w 4829175"/>
                <a:gd name="connsiteY1134" fmla="*/ 1839244 h 6515100"/>
                <a:gd name="connsiteX1135" fmla="*/ 3171576 w 4829175"/>
                <a:gd name="connsiteY1135" fmla="*/ 1839244 h 6515100"/>
                <a:gd name="connsiteX1136" fmla="*/ 3441988 w 4829175"/>
                <a:gd name="connsiteY1136" fmla="*/ 1568832 h 6515100"/>
                <a:gd name="connsiteX1137" fmla="*/ 3436398 w 4829175"/>
                <a:gd name="connsiteY1137" fmla="*/ 1563941 h 6515100"/>
                <a:gd name="connsiteX1138" fmla="*/ 3170877 w 4829175"/>
                <a:gd name="connsiteY1138" fmla="*/ 1298421 h 6515100"/>
                <a:gd name="connsiteX1139" fmla="*/ 1525347 w 4829175"/>
                <a:gd name="connsiteY1139" fmla="*/ 1298421 h 6515100"/>
                <a:gd name="connsiteX1140" fmla="*/ 1523949 w 4829175"/>
                <a:gd name="connsiteY1140" fmla="*/ 1299119 h 6515100"/>
                <a:gd name="connsiteX1141" fmla="*/ 1259826 w 4829175"/>
                <a:gd name="connsiteY1141" fmla="*/ 1299119 h 6515100"/>
                <a:gd name="connsiteX1142" fmla="*/ 1530937 w 4829175"/>
                <a:gd name="connsiteY1142" fmla="*/ 1569531 h 6515100"/>
                <a:gd name="connsiteX1143" fmla="*/ 1526744 w 4829175"/>
                <a:gd name="connsiteY1143" fmla="*/ 1573723 h 6515100"/>
                <a:gd name="connsiteX1144" fmla="*/ 1532333 w 4829175"/>
                <a:gd name="connsiteY1144" fmla="*/ 1570929 h 6515100"/>
                <a:gd name="connsiteX1145" fmla="*/ 1261921 w 4829175"/>
                <a:gd name="connsiteY1145" fmla="*/ 1842040 h 6515100"/>
                <a:gd name="connsiteX1146" fmla="*/ 1526046 w 4829175"/>
                <a:gd name="connsiteY1146" fmla="*/ 1842040 h 6515100"/>
                <a:gd name="connsiteX1147" fmla="*/ 1796458 w 4829175"/>
                <a:gd name="connsiteY1147" fmla="*/ 1570929 h 6515100"/>
                <a:gd name="connsiteX1148" fmla="*/ 1525347 w 4829175"/>
                <a:gd name="connsiteY1148" fmla="*/ 1300517 h 6515100"/>
                <a:gd name="connsiteX1149" fmla="*/ 3454565 w 4829175"/>
                <a:gd name="connsiteY1149" fmla="*/ 1297722 h 6515100"/>
                <a:gd name="connsiteX1150" fmla="*/ 3725676 w 4829175"/>
                <a:gd name="connsiteY1150" fmla="*/ 1568134 h 6515100"/>
                <a:gd name="connsiteX1151" fmla="*/ 3722882 w 4829175"/>
                <a:gd name="connsiteY1151" fmla="*/ 1570929 h 6515100"/>
                <a:gd name="connsiteX1152" fmla="*/ 3632744 w 4829175"/>
                <a:gd name="connsiteY1152" fmla="*/ 1661764 h 6515100"/>
                <a:gd name="connsiteX1153" fmla="*/ 3455264 w 4829175"/>
                <a:gd name="connsiteY1153" fmla="*/ 1838545 h 6515100"/>
                <a:gd name="connsiteX1154" fmla="*/ 3719387 w 4829175"/>
                <a:gd name="connsiteY1154" fmla="*/ 1838545 h 6515100"/>
                <a:gd name="connsiteX1155" fmla="*/ 3808826 w 4829175"/>
                <a:gd name="connsiteY1155" fmla="*/ 1749107 h 6515100"/>
                <a:gd name="connsiteX1156" fmla="*/ 3989799 w 4829175"/>
                <a:gd name="connsiteY1156" fmla="*/ 1568134 h 6515100"/>
                <a:gd name="connsiteX1157" fmla="*/ 3718688 w 4829175"/>
                <a:gd name="connsiteY1157" fmla="*/ 1297722 h 6515100"/>
                <a:gd name="connsiteX1158" fmla="*/ 1802048 w 4829175"/>
                <a:gd name="connsiteY1158" fmla="*/ 1025213 h 6515100"/>
                <a:gd name="connsiteX1159" fmla="*/ 1531636 w 4829175"/>
                <a:gd name="connsiteY1159" fmla="*/ 1296324 h 6515100"/>
                <a:gd name="connsiteX1160" fmla="*/ 1802746 w 4829175"/>
                <a:gd name="connsiteY1160" fmla="*/ 1566736 h 6515100"/>
                <a:gd name="connsiteX1161" fmla="*/ 2066870 w 4829175"/>
                <a:gd name="connsiteY1161" fmla="*/ 1566736 h 6515100"/>
                <a:gd name="connsiteX1162" fmla="*/ 1795759 w 4829175"/>
                <a:gd name="connsiteY1162" fmla="*/ 1296324 h 6515100"/>
                <a:gd name="connsiteX1163" fmla="*/ 2066171 w 4829175"/>
                <a:gd name="connsiteY1163" fmla="*/ 1025213 h 6515100"/>
                <a:gd name="connsiteX1164" fmla="*/ 704328 w 4829175"/>
                <a:gd name="connsiteY1164" fmla="*/ 1025213 h 6515100"/>
                <a:gd name="connsiteX1165" fmla="*/ 433916 w 4829175"/>
                <a:gd name="connsiteY1165" fmla="*/ 1296324 h 6515100"/>
                <a:gd name="connsiteX1166" fmla="*/ 705027 w 4829175"/>
                <a:gd name="connsiteY1166" fmla="*/ 1566736 h 6515100"/>
                <a:gd name="connsiteX1167" fmla="*/ 969150 w 4829175"/>
                <a:gd name="connsiteY1167" fmla="*/ 1566736 h 6515100"/>
                <a:gd name="connsiteX1168" fmla="*/ 698039 w 4829175"/>
                <a:gd name="connsiteY1168" fmla="*/ 1296324 h 6515100"/>
                <a:gd name="connsiteX1169" fmla="*/ 967752 w 4829175"/>
                <a:gd name="connsiteY1169" fmla="*/ 1025213 h 6515100"/>
                <a:gd name="connsiteX1170" fmla="*/ 2899067 w 4829175"/>
                <a:gd name="connsiteY1170" fmla="*/ 1024514 h 6515100"/>
                <a:gd name="connsiteX1171" fmla="*/ 2718793 w 4829175"/>
                <a:gd name="connsiteY1171" fmla="*/ 1204790 h 6515100"/>
                <a:gd name="connsiteX1172" fmla="*/ 2629354 w 4829175"/>
                <a:gd name="connsiteY1172" fmla="*/ 1294927 h 6515100"/>
                <a:gd name="connsiteX1173" fmla="*/ 2763512 w 4829175"/>
                <a:gd name="connsiteY1173" fmla="*/ 1428386 h 6515100"/>
                <a:gd name="connsiteX1174" fmla="*/ 2900465 w 4829175"/>
                <a:gd name="connsiteY1174" fmla="*/ 1565338 h 6515100"/>
                <a:gd name="connsiteX1175" fmla="*/ 3164588 w 4829175"/>
                <a:gd name="connsiteY1175" fmla="*/ 1565338 h 6515100"/>
                <a:gd name="connsiteX1176" fmla="*/ 2893477 w 4829175"/>
                <a:gd name="connsiteY1176" fmla="*/ 1294927 h 6515100"/>
                <a:gd name="connsiteX1177" fmla="*/ 2894875 w 4829175"/>
                <a:gd name="connsiteY1177" fmla="*/ 1293530 h 6515100"/>
                <a:gd name="connsiteX1178" fmla="*/ 3163191 w 4829175"/>
                <a:gd name="connsiteY1178" fmla="*/ 1024514 h 6515100"/>
                <a:gd name="connsiteX1179" fmla="*/ 2350558 w 4829175"/>
                <a:gd name="connsiteY1179" fmla="*/ 1024514 h 6515100"/>
                <a:gd name="connsiteX1180" fmla="*/ 2080145 w 4829175"/>
                <a:gd name="connsiteY1180" fmla="*/ 1295625 h 6515100"/>
                <a:gd name="connsiteX1181" fmla="*/ 2351257 w 4829175"/>
                <a:gd name="connsiteY1181" fmla="*/ 1566037 h 6515100"/>
                <a:gd name="connsiteX1182" fmla="*/ 2615379 w 4829175"/>
                <a:gd name="connsiteY1182" fmla="*/ 1566037 h 6515100"/>
                <a:gd name="connsiteX1183" fmla="*/ 2344269 w 4829175"/>
                <a:gd name="connsiteY1183" fmla="*/ 1295625 h 6515100"/>
                <a:gd name="connsiteX1184" fmla="*/ 2528736 w 4829175"/>
                <a:gd name="connsiteY1184" fmla="*/ 1111159 h 6515100"/>
                <a:gd name="connsiteX1185" fmla="*/ 2614681 w 4829175"/>
                <a:gd name="connsiteY1185" fmla="*/ 1025213 h 6515100"/>
                <a:gd name="connsiteX1186" fmla="*/ 2356148 w 4829175"/>
                <a:gd name="connsiteY1186" fmla="*/ 1025213 h 6515100"/>
                <a:gd name="connsiteX1187" fmla="*/ 1252838 w 4829175"/>
                <a:gd name="connsiteY1187" fmla="*/ 1024514 h 6515100"/>
                <a:gd name="connsiteX1188" fmla="*/ 982426 w 4829175"/>
                <a:gd name="connsiteY1188" fmla="*/ 1295625 h 6515100"/>
                <a:gd name="connsiteX1189" fmla="*/ 1253537 w 4829175"/>
                <a:gd name="connsiteY1189" fmla="*/ 1566037 h 6515100"/>
                <a:gd name="connsiteX1190" fmla="*/ 1517660 w 4829175"/>
                <a:gd name="connsiteY1190" fmla="*/ 1566037 h 6515100"/>
                <a:gd name="connsiteX1191" fmla="*/ 1246550 w 4829175"/>
                <a:gd name="connsiteY1191" fmla="*/ 1295625 h 6515100"/>
                <a:gd name="connsiteX1192" fmla="*/ 1431017 w 4829175"/>
                <a:gd name="connsiteY1192" fmla="*/ 1111159 h 6515100"/>
                <a:gd name="connsiteX1193" fmla="*/ 1516962 w 4829175"/>
                <a:gd name="connsiteY1193" fmla="*/ 1024514 h 6515100"/>
                <a:gd name="connsiteX1194" fmla="*/ 3447578 w 4829175"/>
                <a:gd name="connsiteY1194" fmla="*/ 1023816 h 6515100"/>
                <a:gd name="connsiteX1195" fmla="*/ 3177166 w 4829175"/>
                <a:gd name="connsiteY1195" fmla="*/ 1294927 h 6515100"/>
                <a:gd name="connsiteX1196" fmla="*/ 3448276 w 4829175"/>
                <a:gd name="connsiteY1196" fmla="*/ 1565338 h 6515100"/>
                <a:gd name="connsiteX1197" fmla="*/ 3712400 w 4829175"/>
                <a:gd name="connsiteY1197" fmla="*/ 1565338 h 6515100"/>
                <a:gd name="connsiteX1198" fmla="*/ 3441289 w 4829175"/>
                <a:gd name="connsiteY1198" fmla="*/ 1294927 h 6515100"/>
                <a:gd name="connsiteX1199" fmla="*/ 3711701 w 4829175"/>
                <a:gd name="connsiteY1199" fmla="*/ 1023816 h 6515100"/>
                <a:gd name="connsiteX1200" fmla="*/ 4544598 w 4829175"/>
                <a:gd name="connsiteY1200" fmla="*/ 1022419 h 6515100"/>
                <a:gd name="connsiteX1201" fmla="*/ 4274186 w 4829175"/>
                <a:gd name="connsiteY1201" fmla="*/ 1293530 h 6515100"/>
                <a:gd name="connsiteX1202" fmla="*/ 4545297 w 4829175"/>
                <a:gd name="connsiteY1202" fmla="*/ 1563941 h 6515100"/>
                <a:gd name="connsiteX1203" fmla="*/ 4809421 w 4829175"/>
                <a:gd name="connsiteY1203" fmla="*/ 1563941 h 6515100"/>
                <a:gd name="connsiteX1204" fmla="*/ 4538310 w 4829175"/>
                <a:gd name="connsiteY1204" fmla="*/ 1293530 h 6515100"/>
                <a:gd name="connsiteX1205" fmla="*/ 4722777 w 4829175"/>
                <a:gd name="connsiteY1205" fmla="*/ 1108363 h 6515100"/>
                <a:gd name="connsiteX1206" fmla="*/ 4722078 w 4829175"/>
                <a:gd name="connsiteY1206" fmla="*/ 1107664 h 6515100"/>
                <a:gd name="connsiteX1207" fmla="*/ 4807324 w 4829175"/>
                <a:gd name="connsiteY1207" fmla="*/ 1022419 h 6515100"/>
                <a:gd name="connsiteX1208" fmla="*/ 3995389 w 4829175"/>
                <a:gd name="connsiteY1208" fmla="*/ 1022419 h 6515100"/>
                <a:gd name="connsiteX1209" fmla="*/ 3724977 w 4829175"/>
                <a:gd name="connsiteY1209" fmla="*/ 1293530 h 6515100"/>
                <a:gd name="connsiteX1210" fmla="*/ 3996088 w 4829175"/>
                <a:gd name="connsiteY1210" fmla="*/ 1563941 h 6515100"/>
                <a:gd name="connsiteX1211" fmla="*/ 4064564 w 4829175"/>
                <a:gd name="connsiteY1211" fmla="*/ 1563941 h 6515100"/>
                <a:gd name="connsiteX1212" fmla="*/ 4061071 w 4829175"/>
                <a:gd name="connsiteY1212" fmla="*/ 1570929 h 6515100"/>
                <a:gd name="connsiteX1213" fmla="*/ 3996088 w 4829175"/>
                <a:gd name="connsiteY1213" fmla="*/ 1570929 h 6515100"/>
                <a:gd name="connsiteX1214" fmla="*/ 3815814 w 4829175"/>
                <a:gd name="connsiteY1214" fmla="*/ 1751902 h 6515100"/>
                <a:gd name="connsiteX1215" fmla="*/ 3726375 w 4829175"/>
                <a:gd name="connsiteY1215" fmla="*/ 1842040 h 6515100"/>
                <a:gd name="connsiteX1216" fmla="*/ 3859834 w 4829175"/>
                <a:gd name="connsiteY1216" fmla="*/ 1975498 h 6515100"/>
                <a:gd name="connsiteX1217" fmla="*/ 3857039 w 4829175"/>
                <a:gd name="connsiteY1217" fmla="*/ 1981088 h 6515100"/>
                <a:gd name="connsiteX1218" fmla="*/ 3857739 w 4829175"/>
                <a:gd name="connsiteY1218" fmla="*/ 1981785 h 6515100"/>
                <a:gd name="connsiteX1219" fmla="*/ 3857039 w 4829175"/>
                <a:gd name="connsiteY1219" fmla="*/ 1983185 h 6515100"/>
                <a:gd name="connsiteX1220" fmla="*/ 3720086 w 4829175"/>
                <a:gd name="connsiteY1220" fmla="*/ 1846232 h 6515100"/>
                <a:gd name="connsiteX1221" fmla="*/ 3455963 w 4829175"/>
                <a:gd name="connsiteY1221" fmla="*/ 1846232 h 6515100"/>
                <a:gd name="connsiteX1222" fmla="*/ 3727074 w 4829175"/>
                <a:gd name="connsiteY1222" fmla="*/ 2116644 h 6515100"/>
                <a:gd name="connsiteX1223" fmla="*/ 3456662 w 4829175"/>
                <a:gd name="connsiteY1223" fmla="*/ 2387755 h 6515100"/>
                <a:gd name="connsiteX1224" fmla="*/ 3654754 w 4829175"/>
                <a:gd name="connsiteY1224" fmla="*/ 2387755 h 6515100"/>
                <a:gd name="connsiteX1225" fmla="*/ 3652309 w 4829175"/>
                <a:gd name="connsiteY1225" fmla="*/ 2392646 h 6515100"/>
                <a:gd name="connsiteX1226" fmla="*/ 3652658 w 4829175"/>
                <a:gd name="connsiteY1226" fmla="*/ 2392646 h 6515100"/>
                <a:gd name="connsiteX1227" fmla="*/ 3651610 w 4829175"/>
                <a:gd name="connsiteY1227" fmla="*/ 2394742 h 6515100"/>
                <a:gd name="connsiteX1228" fmla="*/ 3456662 w 4829175"/>
                <a:gd name="connsiteY1228" fmla="*/ 2394742 h 6515100"/>
                <a:gd name="connsiteX1229" fmla="*/ 3586394 w 4829175"/>
                <a:gd name="connsiteY1229" fmla="*/ 2524475 h 6515100"/>
                <a:gd name="connsiteX1230" fmla="*/ 3583832 w 4829175"/>
                <a:gd name="connsiteY1230" fmla="*/ 2529598 h 6515100"/>
                <a:gd name="connsiteX1231" fmla="*/ 3584065 w 4829175"/>
                <a:gd name="connsiteY1231" fmla="*/ 2529831 h 6515100"/>
                <a:gd name="connsiteX1232" fmla="*/ 3583133 w 4829175"/>
                <a:gd name="connsiteY1232" fmla="*/ 2531695 h 6515100"/>
                <a:gd name="connsiteX1233" fmla="*/ 3442687 w 4829175"/>
                <a:gd name="connsiteY1233" fmla="*/ 2391248 h 6515100"/>
                <a:gd name="connsiteX1234" fmla="*/ 3713099 w 4829175"/>
                <a:gd name="connsiteY1234" fmla="*/ 2120137 h 6515100"/>
                <a:gd name="connsiteX1235" fmla="*/ 3448975 w 4829175"/>
                <a:gd name="connsiteY1235" fmla="*/ 2120137 h 6515100"/>
                <a:gd name="connsiteX1236" fmla="*/ 3178563 w 4829175"/>
                <a:gd name="connsiteY1236" fmla="*/ 2391248 h 6515100"/>
                <a:gd name="connsiteX1237" fmla="*/ 3448975 w 4829175"/>
                <a:gd name="connsiteY1237" fmla="*/ 2662359 h 6515100"/>
                <a:gd name="connsiteX1238" fmla="*/ 3517452 w 4829175"/>
                <a:gd name="connsiteY1238" fmla="*/ 2662359 h 6515100"/>
                <a:gd name="connsiteX1239" fmla="*/ 3513958 w 4829175"/>
                <a:gd name="connsiteY1239" fmla="*/ 2669346 h 6515100"/>
                <a:gd name="connsiteX1240" fmla="*/ 3448975 w 4829175"/>
                <a:gd name="connsiteY1240" fmla="*/ 2669346 h 6515100"/>
                <a:gd name="connsiteX1241" fmla="*/ 3268701 w 4829175"/>
                <a:gd name="connsiteY1241" fmla="*/ 2850320 h 6515100"/>
                <a:gd name="connsiteX1242" fmla="*/ 3179262 w 4829175"/>
                <a:gd name="connsiteY1242" fmla="*/ 2939758 h 6515100"/>
                <a:gd name="connsiteX1243" fmla="*/ 3312721 w 4829175"/>
                <a:gd name="connsiteY1243" fmla="*/ 3073916 h 6515100"/>
                <a:gd name="connsiteX1244" fmla="*/ 3451072 w 4829175"/>
                <a:gd name="connsiteY1244" fmla="*/ 3207376 h 6515100"/>
                <a:gd name="connsiteX1245" fmla="*/ 3715195 w 4829175"/>
                <a:gd name="connsiteY1245" fmla="*/ 3207376 h 6515100"/>
                <a:gd name="connsiteX1246" fmla="*/ 3444084 w 4829175"/>
                <a:gd name="connsiteY1246" fmla="*/ 2936964 h 6515100"/>
                <a:gd name="connsiteX1247" fmla="*/ 3445482 w 4829175"/>
                <a:gd name="connsiteY1247" fmla="*/ 2935566 h 6515100"/>
                <a:gd name="connsiteX1248" fmla="*/ 3713797 w 4829175"/>
                <a:gd name="connsiteY1248" fmla="*/ 2666552 h 6515100"/>
                <a:gd name="connsiteX1249" fmla="*/ 3515356 w 4829175"/>
                <a:gd name="connsiteY1249" fmla="*/ 2666552 h 6515100"/>
                <a:gd name="connsiteX1250" fmla="*/ 3518849 w 4829175"/>
                <a:gd name="connsiteY1250" fmla="*/ 2659564 h 6515100"/>
                <a:gd name="connsiteX1251" fmla="*/ 3713797 w 4829175"/>
                <a:gd name="connsiteY1251" fmla="*/ 2659564 h 6515100"/>
                <a:gd name="connsiteX1252" fmla="*/ 3584065 w 4829175"/>
                <a:gd name="connsiteY1252" fmla="*/ 2529831 h 6515100"/>
                <a:gd name="connsiteX1253" fmla="*/ 3586627 w 4829175"/>
                <a:gd name="connsiteY1253" fmla="*/ 2524708 h 6515100"/>
                <a:gd name="connsiteX1254" fmla="*/ 3586394 w 4829175"/>
                <a:gd name="connsiteY1254" fmla="*/ 2524475 h 6515100"/>
                <a:gd name="connsiteX1255" fmla="*/ 3587326 w 4829175"/>
                <a:gd name="connsiteY1255" fmla="*/ 2522611 h 6515100"/>
                <a:gd name="connsiteX1256" fmla="*/ 3727772 w 4829175"/>
                <a:gd name="connsiteY1256" fmla="*/ 2663058 h 6515100"/>
                <a:gd name="connsiteX1257" fmla="*/ 3457360 w 4829175"/>
                <a:gd name="connsiteY1257" fmla="*/ 2934169 h 6515100"/>
                <a:gd name="connsiteX1258" fmla="*/ 3721484 w 4829175"/>
                <a:gd name="connsiteY1258" fmla="*/ 2934169 h 6515100"/>
                <a:gd name="connsiteX1259" fmla="*/ 3991896 w 4829175"/>
                <a:gd name="connsiteY1259" fmla="*/ 2663058 h 6515100"/>
                <a:gd name="connsiteX1260" fmla="*/ 3720785 w 4829175"/>
                <a:gd name="connsiteY1260" fmla="*/ 2392646 h 6515100"/>
                <a:gd name="connsiteX1261" fmla="*/ 3652658 w 4829175"/>
                <a:gd name="connsiteY1261" fmla="*/ 2392646 h 6515100"/>
                <a:gd name="connsiteX1262" fmla="*/ 3655103 w 4829175"/>
                <a:gd name="connsiteY1262" fmla="*/ 2387755 h 6515100"/>
                <a:gd name="connsiteX1263" fmla="*/ 3654754 w 4829175"/>
                <a:gd name="connsiteY1263" fmla="*/ 2387755 h 6515100"/>
                <a:gd name="connsiteX1264" fmla="*/ 3655802 w 4829175"/>
                <a:gd name="connsiteY1264" fmla="*/ 2385658 h 6515100"/>
                <a:gd name="connsiteX1265" fmla="*/ 3720785 w 4829175"/>
                <a:gd name="connsiteY1265" fmla="*/ 2385658 h 6515100"/>
                <a:gd name="connsiteX1266" fmla="*/ 3991197 w 4829175"/>
                <a:gd name="connsiteY1266" fmla="*/ 2114547 h 6515100"/>
                <a:gd name="connsiteX1267" fmla="*/ 3857739 w 4829175"/>
                <a:gd name="connsiteY1267" fmla="*/ 1981785 h 6515100"/>
                <a:gd name="connsiteX1268" fmla="*/ 3860533 w 4829175"/>
                <a:gd name="connsiteY1268" fmla="*/ 1976197 h 6515100"/>
                <a:gd name="connsiteX1269" fmla="*/ 3859834 w 4829175"/>
                <a:gd name="connsiteY1269" fmla="*/ 1975498 h 6515100"/>
                <a:gd name="connsiteX1270" fmla="*/ 3860533 w 4829175"/>
                <a:gd name="connsiteY1270" fmla="*/ 1974101 h 6515100"/>
                <a:gd name="connsiteX1271" fmla="*/ 3997486 w 4829175"/>
                <a:gd name="connsiteY1271" fmla="*/ 2111054 h 6515100"/>
                <a:gd name="connsiteX1272" fmla="*/ 4261609 w 4829175"/>
                <a:gd name="connsiteY1272" fmla="*/ 2111054 h 6515100"/>
                <a:gd name="connsiteX1273" fmla="*/ 3990498 w 4829175"/>
                <a:gd name="connsiteY1273" fmla="*/ 1840642 h 6515100"/>
                <a:gd name="connsiteX1274" fmla="*/ 3991896 w 4829175"/>
                <a:gd name="connsiteY1274" fmla="*/ 1839244 h 6515100"/>
                <a:gd name="connsiteX1275" fmla="*/ 4260211 w 4829175"/>
                <a:gd name="connsiteY1275" fmla="*/ 1570230 h 6515100"/>
                <a:gd name="connsiteX1276" fmla="*/ 4061770 w 4829175"/>
                <a:gd name="connsiteY1276" fmla="*/ 1570230 h 6515100"/>
                <a:gd name="connsiteX1277" fmla="*/ 4065263 w 4829175"/>
                <a:gd name="connsiteY1277" fmla="*/ 1563243 h 6515100"/>
                <a:gd name="connsiteX1278" fmla="*/ 4260211 w 4829175"/>
                <a:gd name="connsiteY1278" fmla="*/ 1563243 h 6515100"/>
                <a:gd name="connsiteX1279" fmla="*/ 4130246 w 4829175"/>
                <a:gd name="connsiteY1279" fmla="*/ 1433278 h 6515100"/>
                <a:gd name="connsiteX1280" fmla="*/ 4133739 w 4829175"/>
                <a:gd name="connsiteY1280" fmla="*/ 1426290 h 6515100"/>
                <a:gd name="connsiteX1281" fmla="*/ 4274186 w 4829175"/>
                <a:gd name="connsiteY1281" fmla="*/ 1566736 h 6515100"/>
                <a:gd name="connsiteX1282" fmla="*/ 4003774 w 4829175"/>
                <a:gd name="connsiteY1282" fmla="*/ 1837847 h 6515100"/>
                <a:gd name="connsiteX1283" fmla="*/ 4267898 w 4829175"/>
                <a:gd name="connsiteY1283" fmla="*/ 1837847 h 6515100"/>
                <a:gd name="connsiteX1284" fmla="*/ 4538310 w 4829175"/>
                <a:gd name="connsiteY1284" fmla="*/ 1566736 h 6515100"/>
                <a:gd name="connsiteX1285" fmla="*/ 4267199 w 4829175"/>
                <a:gd name="connsiteY1285" fmla="*/ 1297023 h 6515100"/>
                <a:gd name="connsiteX1286" fmla="*/ 4198723 w 4829175"/>
                <a:gd name="connsiteY1286" fmla="*/ 1297023 h 6515100"/>
                <a:gd name="connsiteX1287" fmla="*/ 4003774 w 4829175"/>
                <a:gd name="connsiteY1287" fmla="*/ 1297023 h 6515100"/>
                <a:gd name="connsiteX1288" fmla="*/ 4133040 w 4829175"/>
                <a:gd name="connsiteY1288" fmla="*/ 1426989 h 6515100"/>
                <a:gd name="connsiteX1289" fmla="*/ 4129547 w 4829175"/>
                <a:gd name="connsiteY1289" fmla="*/ 1433975 h 6515100"/>
                <a:gd name="connsiteX1290" fmla="*/ 3989100 w 4829175"/>
                <a:gd name="connsiteY1290" fmla="*/ 1293530 h 6515100"/>
                <a:gd name="connsiteX1291" fmla="*/ 4259512 w 4829175"/>
                <a:gd name="connsiteY1291" fmla="*/ 1022419 h 6515100"/>
                <a:gd name="connsiteX1292" fmla="*/ 162805 w 4829175"/>
                <a:gd name="connsiteY1292" fmla="*/ 752007 h 6515100"/>
                <a:gd name="connsiteX1293" fmla="*/ 433916 w 4829175"/>
                <a:gd name="connsiteY1293" fmla="*/ 1022419 h 6515100"/>
                <a:gd name="connsiteX1294" fmla="*/ 164203 w 4829175"/>
                <a:gd name="connsiteY1294" fmla="*/ 1293530 h 6515100"/>
                <a:gd name="connsiteX1295" fmla="*/ 427627 w 4829175"/>
                <a:gd name="connsiteY1295" fmla="*/ 1293530 h 6515100"/>
                <a:gd name="connsiteX1296" fmla="*/ 698039 w 4829175"/>
                <a:gd name="connsiteY1296" fmla="*/ 1022419 h 6515100"/>
                <a:gd name="connsiteX1297" fmla="*/ 563881 w 4829175"/>
                <a:gd name="connsiteY1297" fmla="*/ 888959 h 6515100"/>
                <a:gd name="connsiteX1298" fmla="*/ 426928 w 4829175"/>
                <a:gd name="connsiteY1298" fmla="*/ 752007 h 6515100"/>
                <a:gd name="connsiteX1299" fmla="*/ 1809035 w 4829175"/>
                <a:gd name="connsiteY1299" fmla="*/ 751308 h 6515100"/>
                <a:gd name="connsiteX1300" fmla="*/ 1937603 w 4829175"/>
                <a:gd name="connsiteY1300" fmla="*/ 879876 h 6515100"/>
                <a:gd name="connsiteX1301" fmla="*/ 2079447 w 4829175"/>
                <a:gd name="connsiteY1301" fmla="*/ 1021720 h 6515100"/>
                <a:gd name="connsiteX1302" fmla="*/ 1809035 w 4829175"/>
                <a:gd name="connsiteY1302" fmla="*/ 1292831 h 6515100"/>
                <a:gd name="connsiteX1303" fmla="*/ 2073158 w 4829175"/>
                <a:gd name="connsiteY1303" fmla="*/ 1292831 h 6515100"/>
                <a:gd name="connsiteX1304" fmla="*/ 2343570 w 4829175"/>
                <a:gd name="connsiteY1304" fmla="*/ 1021720 h 6515100"/>
                <a:gd name="connsiteX1305" fmla="*/ 2338678 w 4829175"/>
                <a:gd name="connsiteY1305" fmla="*/ 1016829 h 6515100"/>
                <a:gd name="connsiteX1306" fmla="*/ 2073158 w 4829175"/>
                <a:gd name="connsiteY1306" fmla="*/ 751308 h 6515100"/>
                <a:gd name="connsiteX1307" fmla="*/ 2357544 w 4829175"/>
                <a:gd name="connsiteY1307" fmla="*/ 750609 h 6515100"/>
                <a:gd name="connsiteX1308" fmla="*/ 2628655 w 4829175"/>
                <a:gd name="connsiteY1308" fmla="*/ 1020322 h 6515100"/>
                <a:gd name="connsiteX1309" fmla="*/ 2625861 w 4829175"/>
                <a:gd name="connsiteY1309" fmla="*/ 1023118 h 6515100"/>
                <a:gd name="connsiteX1310" fmla="*/ 2535723 w 4829175"/>
                <a:gd name="connsiteY1310" fmla="*/ 1113953 h 6515100"/>
                <a:gd name="connsiteX1311" fmla="*/ 2358243 w 4829175"/>
                <a:gd name="connsiteY1311" fmla="*/ 1291433 h 6515100"/>
                <a:gd name="connsiteX1312" fmla="*/ 2622367 w 4829175"/>
                <a:gd name="connsiteY1312" fmla="*/ 1291433 h 6515100"/>
                <a:gd name="connsiteX1313" fmla="*/ 2711805 w 4829175"/>
                <a:gd name="connsiteY1313" fmla="*/ 1201994 h 6515100"/>
                <a:gd name="connsiteX1314" fmla="*/ 2892779 w 4829175"/>
                <a:gd name="connsiteY1314" fmla="*/ 1021021 h 6515100"/>
                <a:gd name="connsiteX1315" fmla="*/ 2621668 w 4829175"/>
                <a:gd name="connsiteY1315" fmla="*/ 750609 h 6515100"/>
                <a:gd name="connsiteX1316" fmla="*/ 1259127 w 4829175"/>
                <a:gd name="connsiteY1316" fmla="*/ 750609 h 6515100"/>
                <a:gd name="connsiteX1317" fmla="*/ 1530238 w 4829175"/>
                <a:gd name="connsiteY1317" fmla="*/ 1020322 h 6515100"/>
                <a:gd name="connsiteX1318" fmla="*/ 1527442 w 4829175"/>
                <a:gd name="connsiteY1318" fmla="*/ 1023118 h 6515100"/>
                <a:gd name="connsiteX1319" fmla="*/ 1437306 w 4829175"/>
                <a:gd name="connsiteY1319" fmla="*/ 1113953 h 6515100"/>
                <a:gd name="connsiteX1320" fmla="*/ 1259826 w 4829175"/>
                <a:gd name="connsiteY1320" fmla="*/ 1291433 h 6515100"/>
                <a:gd name="connsiteX1321" fmla="*/ 1523949 w 4829175"/>
                <a:gd name="connsiteY1321" fmla="*/ 1291433 h 6515100"/>
                <a:gd name="connsiteX1322" fmla="*/ 1613388 w 4829175"/>
                <a:gd name="connsiteY1322" fmla="*/ 1201994 h 6515100"/>
                <a:gd name="connsiteX1323" fmla="*/ 1794361 w 4829175"/>
                <a:gd name="connsiteY1323" fmla="*/ 1021021 h 6515100"/>
                <a:gd name="connsiteX1324" fmla="*/ 1523250 w 4829175"/>
                <a:gd name="connsiteY1324" fmla="*/ 750609 h 6515100"/>
                <a:gd name="connsiteX1325" fmla="*/ 710617 w 4829175"/>
                <a:gd name="connsiteY1325" fmla="*/ 750609 h 6515100"/>
                <a:gd name="connsiteX1326" fmla="*/ 712014 w 4829175"/>
                <a:gd name="connsiteY1326" fmla="*/ 752007 h 6515100"/>
                <a:gd name="connsiteX1327" fmla="*/ 981727 w 4829175"/>
                <a:gd name="connsiteY1327" fmla="*/ 1021021 h 6515100"/>
                <a:gd name="connsiteX1328" fmla="*/ 711316 w 4829175"/>
                <a:gd name="connsiteY1328" fmla="*/ 1292132 h 6515100"/>
                <a:gd name="connsiteX1329" fmla="*/ 975439 w 4829175"/>
                <a:gd name="connsiteY1329" fmla="*/ 1292132 h 6515100"/>
                <a:gd name="connsiteX1330" fmla="*/ 1245851 w 4829175"/>
                <a:gd name="connsiteY1330" fmla="*/ 1021021 h 6515100"/>
                <a:gd name="connsiteX1331" fmla="*/ 1240261 w 4829175"/>
                <a:gd name="connsiteY1331" fmla="*/ 1016130 h 6515100"/>
                <a:gd name="connsiteX1332" fmla="*/ 974740 w 4829175"/>
                <a:gd name="connsiteY1332" fmla="*/ 750609 h 6515100"/>
                <a:gd name="connsiteX1333" fmla="*/ 2906055 w 4829175"/>
                <a:gd name="connsiteY1333" fmla="*/ 749910 h 6515100"/>
                <a:gd name="connsiteX1334" fmla="*/ 3036720 w 4829175"/>
                <a:gd name="connsiteY1334" fmla="*/ 879177 h 6515100"/>
                <a:gd name="connsiteX1335" fmla="*/ 3177166 w 4829175"/>
                <a:gd name="connsiteY1335" fmla="*/ 1019623 h 6515100"/>
                <a:gd name="connsiteX1336" fmla="*/ 2906754 w 4829175"/>
                <a:gd name="connsiteY1336" fmla="*/ 1290734 h 6515100"/>
                <a:gd name="connsiteX1337" fmla="*/ 3170877 w 4829175"/>
                <a:gd name="connsiteY1337" fmla="*/ 1290734 h 6515100"/>
                <a:gd name="connsiteX1338" fmla="*/ 3441289 w 4829175"/>
                <a:gd name="connsiteY1338" fmla="*/ 1020322 h 6515100"/>
                <a:gd name="connsiteX1339" fmla="*/ 3170178 w 4829175"/>
                <a:gd name="connsiteY1339" fmla="*/ 749910 h 6515100"/>
                <a:gd name="connsiteX1340" fmla="*/ 3454565 w 4829175"/>
                <a:gd name="connsiteY1340" fmla="*/ 749211 h 6515100"/>
                <a:gd name="connsiteX1341" fmla="*/ 3725676 w 4829175"/>
                <a:gd name="connsiteY1341" fmla="*/ 1019623 h 6515100"/>
                <a:gd name="connsiteX1342" fmla="*/ 3455264 w 4829175"/>
                <a:gd name="connsiteY1342" fmla="*/ 1290734 h 6515100"/>
                <a:gd name="connsiteX1343" fmla="*/ 3719387 w 4829175"/>
                <a:gd name="connsiteY1343" fmla="*/ 1290734 h 6515100"/>
                <a:gd name="connsiteX1344" fmla="*/ 3989799 w 4829175"/>
                <a:gd name="connsiteY1344" fmla="*/ 1019623 h 6515100"/>
                <a:gd name="connsiteX1345" fmla="*/ 3718688 w 4829175"/>
                <a:gd name="connsiteY1345" fmla="*/ 749211 h 6515100"/>
                <a:gd name="connsiteX1346" fmla="*/ 4003075 w 4829175"/>
                <a:gd name="connsiteY1346" fmla="*/ 748512 h 6515100"/>
                <a:gd name="connsiteX1347" fmla="*/ 4274186 w 4829175"/>
                <a:gd name="connsiteY1347" fmla="*/ 1018924 h 6515100"/>
                <a:gd name="connsiteX1348" fmla="*/ 4003774 w 4829175"/>
                <a:gd name="connsiteY1348" fmla="*/ 1290035 h 6515100"/>
                <a:gd name="connsiteX1349" fmla="*/ 4202216 w 4829175"/>
                <a:gd name="connsiteY1349" fmla="*/ 1290035 h 6515100"/>
                <a:gd name="connsiteX1350" fmla="*/ 4267199 w 4829175"/>
                <a:gd name="connsiteY1350" fmla="*/ 1290035 h 6515100"/>
                <a:gd name="connsiteX1351" fmla="*/ 4538310 w 4829175"/>
                <a:gd name="connsiteY1351" fmla="*/ 1018924 h 6515100"/>
                <a:gd name="connsiteX1352" fmla="*/ 4404151 w 4829175"/>
                <a:gd name="connsiteY1352" fmla="*/ 885466 h 6515100"/>
                <a:gd name="connsiteX1353" fmla="*/ 4267199 w 4829175"/>
                <a:gd name="connsiteY1353" fmla="*/ 748512 h 6515100"/>
                <a:gd name="connsiteX1354" fmla="*/ 702930 w 4829175"/>
                <a:gd name="connsiteY1354" fmla="*/ 476704 h 6515100"/>
                <a:gd name="connsiteX1355" fmla="*/ 522656 w 4829175"/>
                <a:gd name="connsiteY1355" fmla="*/ 657677 h 6515100"/>
                <a:gd name="connsiteX1356" fmla="*/ 433217 w 4829175"/>
                <a:gd name="connsiteY1356" fmla="*/ 747814 h 6515100"/>
                <a:gd name="connsiteX1357" fmla="*/ 567375 w 4829175"/>
                <a:gd name="connsiteY1357" fmla="*/ 881273 h 6515100"/>
                <a:gd name="connsiteX1358" fmla="*/ 704328 w 4829175"/>
                <a:gd name="connsiteY1358" fmla="*/ 1018227 h 6515100"/>
                <a:gd name="connsiteX1359" fmla="*/ 968451 w 4829175"/>
                <a:gd name="connsiteY1359" fmla="*/ 1018227 h 6515100"/>
                <a:gd name="connsiteX1360" fmla="*/ 697340 w 4829175"/>
                <a:gd name="connsiteY1360" fmla="*/ 747814 h 6515100"/>
                <a:gd name="connsiteX1361" fmla="*/ 698738 w 4829175"/>
                <a:gd name="connsiteY1361" fmla="*/ 746417 h 6515100"/>
                <a:gd name="connsiteX1362" fmla="*/ 967054 w 4829175"/>
                <a:gd name="connsiteY1362" fmla="*/ 476704 h 6515100"/>
                <a:gd name="connsiteX1363" fmla="*/ 1252140 w 4829175"/>
                <a:gd name="connsiteY1363" fmla="*/ 476005 h 6515100"/>
                <a:gd name="connsiteX1364" fmla="*/ 981727 w 4829175"/>
                <a:gd name="connsiteY1364" fmla="*/ 747116 h 6515100"/>
                <a:gd name="connsiteX1365" fmla="*/ 1252838 w 4829175"/>
                <a:gd name="connsiteY1365" fmla="*/ 1017528 h 6515100"/>
                <a:gd name="connsiteX1366" fmla="*/ 1516962 w 4829175"/>
                <a:gd name="connsiteY1366" fmla="*/ 1017528 h 6515100"/>
                <a:gd name="connsiteX1367" fmla="*/ 1245851 w 4829175"/>
                <a:gd name="connsiteY1367" fmla="*/ 747116 h 6515100"/>
                <a:gd name="connsiteX1368" fmla="*/ 1516263 w 4829175"/>
                <a:gd name="connsiteY1368" fmla="*/ 476005 h 6515100"/>
                <a:gd name="connsiteX1369" fmla="*/ 2899067 w 4829175"/>
                <a:gd name="connsiteY1369" fmla="*/ 475306 h 6515100"/>
                <a:gd name="connsiteX1370" fmla="*/ 2628655 w 4829175"/>
                <a:gd name="connsiteY1370" fmla="*/ 746417 h 6515100"/>
                <a:gd name="connsiteX1371" fmla="*/ 2899766 w 4829175"/>
                <a:gd name="connsiteY1371" fmla="*/ 1016829 h 6515100"/>
                <a:gd name="connsiteX1372" fmla="*/ 3163191 w 4829175"/>
                <a:gd name="connsiteY1372" fmla="*/ 1016829 h 6515100"/>
                <a:gd name="connsiteX1373" fmla="*/ 3032527 w 4829175"/>
                <a:gd name="connsiteY1373" fmla="*/ 886863 h 6515100"/>
                <a:gd name="connsiteX1374" fmla="*/ 2892081 w 4829175"/>
                <a:gd name="connsiteY1374" fmla="*/ 746417 h 6515100"/>
                <a:gd name="connsiteX1375" fmla="*/ 3163191 w 4829175"/>
                <a:gd name="connsiteY1375" fmla="*/ 475306 h 6515100"/>
                <a:gd name="connsiteX1376" fmla="*/ 1799951 w 4829175"/>
                <a:gd name="connsiteY1376" fmla="*/ 475306 h 6515100"/>
                <a:gd name="connsiteX1377" fmla="*/ 1529539 w 4829175"/>
                <a:gd name="connsiteY1377" fmla="*/ 746417 h 6515100"/>
                <a:gd name="connsiteX1378" fmla="*/ 1800650 w 4829175"/>
                <a:gd name="connsiteY1378" fmla="*/ 1016829 h 6515100"/>
                <a:gd name="connsiteX1379" fmla="*/ 1802048 w 4829175"/>
                <a:gd name="connsiteY1379" fmla="*/ 1018227 h 6515100"/>
                <a:gd name="connsiteX1380" fmla="*/ 2066171 w 4829175"/>
                <a:gd name="connsiteY1380" fmla="*/ 1018227 h 6515100"/>
                <a:gd name="connsiteX1381" fmla="*/ 1934808 w 4829175"/>
                <a:gd name="connsiteY1381" fmla="*/ 886863 h 6515100"/>
                <a:gd name="connsiteX1382" fmla="*/ 1797155 w 4829175"/>
                <a:gd name="connsiteY1382" fmla="*/ 749211 h 6515100"/>
                <a:gd name="connsiteX1383" fmla="*/ 2066171 w 4829175"/>
                <a:gd name="connsiteY1383" fmla="*/ 475306 h 6515100"/>
                <a:gd name="connsiteX1384" fmla="*/ 3446879 w 4829175"/>
                <a:gd name="connsiteY1384" fmla="*/ 474607 h 6515100"/>
                <a:gd name="connsiteX1385" fmla="*/ 3176467 w 4829175"/>
                <a:gd name="connsiteY1385" fmla="*/ 745718 h 6515100"/>
                <a:gd name="connsiteX1386" fmla="*/ 3447578 w 4829175"/>
                <a:gd name="connsiteY1386" fmla="*/ 1016130 h 6515100"/>
                <a:gd name="connsiteX1387" fmla="*/ 3711701 w 4829175"/>
                <a:gd name="connsiteY1387" fmla="*/ 1016130 h 6515100"/>
                <a:gd name="connsiteX1388" fmla="*/ 3440590 w 4829175"/>
                <a:gd name="connsiteY1388" fmla="*/ 745718 h 6515100"/>
                <a:gd name="connsiteX1389" fmla="*/ 3625057 w 4829175"/>
                <a:gd name="connsiteY1389" fmla="*/ 561251 h 6515100"/>
                <a:gd name="connsiteX1390" fmla="*/ 3709605 w 4829175"/>
                <a:gd name="connsiteY1390" fmla="*/ 474607 h 6515100"/>
                <a:gd name="connsiteX1391" fmla="*/ 3995389 w 4829175"/>
                <a:gd name="connsiteY1391" fmla="*/ 473908 h 6515100"/>
                <a:gd name="connsiteX1392" fmla="*/ 3724977 w 4829175"/>
                <a:gd name="connsiteY1392" fmla="*/ 745019 h 6515100"/>
                <a:gd name="connsiteX1393" fmla="*/ 3996088 w 4829175"/>
                <a:gd name="connsiteY1393" fmla="*/ 1015431 h 6515100"/>
                <a:gd name="connsiteX1394" fmla="*/ 4260211 w 4829175"/>
                <a:gd name="connsiteY1394" fmla="*/ 1015431 h 6515100"/>
                <a:gd name="connsiteX1395" fmla="*/ 3989100 w 4829175"/>
                <a:gd name="connsiteY1395" fmla="*/ 745019 h 6515100"/>
                <a:gd name="connsiteX1396" fmla="*/ 3990498 w 4829175"/>
                <a:gd name="connsiteY1396" fmla="*/ 743621 h 6515100"/>
                <a:gd name="connsiteX1397" fmla="*/ 3989799 w 4829175"/>
                <a:gd name="connsiteY1397" fmla="*/ 743621 h 6515100"/>
                <a:gd name="connsiteX1398" fmla="*/ 4258116 w 4829175"/>
                <a:gd name="connsiteY1398" fmla="*/ 474607 h 6515100"/>
                <a:gd name="connsiteX1399" fmla="*/ 3999582 w 4829175"/>
                <a:gd name="connsiteY1399" fmla="*/ 474607 h 6515100"/>
                <a:gd name="connsiteX1400" fmla="*/ 4000979 w 4829175"/>
                <a:gd name="connsiteY1400" fmla="*/ 473908 h 6515100"/>
                <a:gd name="connsiteX1401" fmla="*/ 4543201 w 4829175"/>
                <a:gd name="connsiteY1401" fmla="*/ 473209 h 6515100"/>
                <a:gd name="connsiteX1402" fmla="*/ 4362227 w 4829175"/>
                <a:gd name="connsiteY1402" fmla="*/ 654183 h 6515100"/>
                <a:gd name="connsiteX1403" fmla="*/ 4362926 w 4829175"/>
                <a:gd name="connsiteY1403" fmla="*/ 654882 h 6515100"/>
                <a:gd name="connsiteX1404" fmla="*/ 4273487 w 4829175"/>
                <a:gd name="connsiteY1404" fmla="*/ 745019 h 6515100"/>
                <a:gd name="connsiteX1405" fmla="*/ 4407646 w 4829175"/>
                <a:gd name="connsiteY1405" fmla="*/ 878479 h 6515100"/>
                <a:gd name="connsiteX1406" fmla="*/ 4543899 w 4829175"/>
                <a:gd name="connsiteY1406" fmla="*/ 1014732 h 6515100"/>
                <a:gd name="connsiteX1407" fmla="*/ 4808023 w 4829175"/>
                <a:gd name="connsiteY1407" fmla="*/ 1014732 h 6515100"/>
                <a:gd name="connsiteX1408" fmla="*/ 4536912 w 4829175"/>
                <a:gd name="connsiteY1408" fmla="*/ 744320 h 6515100"/>
                <a:gd name="connsiteX1409" fmla="*/ 4807324 w 4829175"/>
                <a:gd name="connsiteY1409" fmla="*/ 473209 h 6515100"/>
                <a:gd name="connsiteX1410" fmla="*/ 2616078 w 4829175"/>
                <a:gd name="connsiteY1410" fmla="*/ 473209 h 6515100"/>
                <a:gd name="connsiteX1411" fmla="*/ 2349859 w 4829175"/>
                <a:gd name="connsiteY1411" fmla="*/ 476005 h 6515100"/>
                <a:gd name="connsiteX1412" fmla="*/ 2079447 w 4829175"/>
                <a:gd name="connsiteY1412" fmla="*/ 747116 h 6515100"/>
                <a:gd name="connsiteX1413" fmla="*/ 2350558 w 4829175"/>
                <a:gd name="connsiteY1413" fmla="*/ 1017528 h 6515100"/>
                <a:gd name="connsiteX1414" fmla="*/ 2614681 w 4829175"/>
                <a:gd name="connsiteY1414" fmla="*/ 1017528 h 6515100"/>
                <a:gd name="connsiteX1415" fmla="*/ 2343570 w 4829175"/>
                <a:gd name="connsiteY1415" fmla="*/ 747116 h 6515100"/>
                <a:gd name="connsiteX1416" fmla="*/ 161407 w 4829175"/>
                <a:gd name="connsiteY1416" fmla="*/ 203496 h 6515100"/>
                <a:gd name="connsiteX1417" fmla="*/ 432518 w 4829175"/>
                <a:gd name="connsiteY1417" fmla="*/ 473908 h 6515100"/>
                <a:gd name="connsiteX1418" fmla="*/ 429724 w 4829175"/>
                <a:gd name="connsiteY1418" fmla="*/ 476704 h 6515100"/>
                <a:gd name="connsiteX1419" fmla="*/ 339586 w 4829175"/>
                <a:gd name="connsiteY1419" fmla="*/ 567539 h 6515100"/>
                <a:gd name="connsiteX1420" fmla="*/ 162106 w 4829175"/>
                <a:gd name="connsiteY1420" fmla="*/ 744320 h 6515100"/>
                <a:gd name="connsiteX1421" fmla="*/ 426230 w 4829175"/>
                <a:gd name="connsiteY1421" fmla="*/ 744320 h 6515100"/>
                <a:gd name="connsiteX1422" fmla="*/ 515668 w 4829175"/>
                <a:gd name="connsiteY1422" fmla="*/ 654882 h 6515100"/>
                <a:gd name="connsiteX1423" fmla="*/ 696642 w 4829175"/>
                <a:gd name="connsiteY1423" fmla="*/ 473908 h 6515100"/>
                <a:gd name="connsiteX1424" fmla="*/ 425531 w 4829175"/>
                <a:gd name="connsiteY1424" fmla="*/ 203496 h 6515100"/>
                <a:gd name="connsiteX1425" fmla="*/ 710617 w 4829175"/>
                <a:gd name="connsiteY1425" fmla="*/ 202798 h 6515100"/>
                <a:gd name="connsiteX1426" fmla="*/ 840582 w 4829175"/>
                <a:gd name="connsiteY1426" fmla="*/ 332763 h 6515100"/>
                <a:gd name="connsiteX1427" fmla="*/ 981029 w 4829175"/>
                <a:gd name="connsiteY1427" fmla="*/ 472511 h 6515100"/>
                <a:gd name="connsiteX1428" fmla="*/ 710617 w 4829175"/>
                <a:gd name="connsiteY1428" fmla="*/ 743621 h 6515100"/>
                <a:gd name="connsiteX1429" fmla="*/ 974740 w 4829175"/>
                <a:gd name="connsiteY1429" fmla="*/ 743621 h 6515100"/>
                <a:gd name="connsiteX1430" fmla="*/ 1245851 w 4829175"/>
                <a:gd name="connsiteY1430" fmla="*/ 473209 h 6515100"/>
                <a:gd name="connsiteX1431" fmla="*/ 974740 w 4829175"/>
                <a:gd name="connsiteY1431" fmla="*/ 202798 h 6515100"/>
                <a:gd name="connsiteX1432" fmla="*/ 2906055 w 4829175"/>
                <a:gd name="connsiteY1432" fmla="*/ 202099 h 6515100"/>
                <a:gd name="connsiteX1433" fmla="*/ 3035322 w 4829175"/>
                <a:gd name="connsiteY1433" fmla="*/ 329968 h 6515100"/>
                <a:gd name="connsiteX1434" fmla="*/ 3035322 w 4829175"/>
                <a:gd name="connsiteY1434" fmla="*/ 330667 h 6515100"/>
                <a:gd name="connsiteX1435" fmla="*/ 3177166 w 4829175"/>
                <a:gd name="connsiteY1435" fmla="*/ 472511 h 6515100"/>
                <a:gd name="connsiteX1436" fmla="*/ 2906754 w 4829175"/>
                <a:gd name="connsiteY1436" fmla="*/ 743621 h 6515100"/>
                <a:gd name="connsiteX1437" fmla="*/ 3170178 w 4829175"/>
                <a:gd name="connsiteY1437" fmla="*/ 743621 h 6515100"/>
                <a:gd name="connsiteX1438" fmla="*/ 3440590 w 4829175"/>
                <a:gd name="connsiteY1438" fmla="*/ 472511 h 6515100"/>
                <a:gd name="connsiteX1439" fmla="*/ 3435000 w 4829175"/>
                <a:gd name="connsiteY1439" fmla="*/ 466921 h 6515100"/>
                <a:gd name="connsiteX1440" fmla="*/ 3434301 w 4829175"/>
                <a:gd name="connsiteY1440" fmla="*/ 466921 h 6515100"/>
                <a:gd name="connsiteX1441" fmla="*/ 3168781 w 4829175"/>
                <a:gd name="connsiteY1441" fmla="*/ 202099 h 6515100"/>
                <a:gd name="connsiteX1442" fmla="*/ 1808336 w 4829175"/>
                <a:gd name="connsiteY1442" fmla="*/ 202099 h 6515100"/>
                <a:gd name="connsiteX1443" fmla="*/ 1810426 w 4829175"/>
                <a:gd name="connsiteY1443" fmla="*/ 204887 h 6515100"/>
                <a:gd name="connsiteX1444" fmla="*/ 1809733 w 4829175"/>
                <a:gd name="connsiteY1444" fmla="*/ 204195 h 6515100"/>
                <a:gd name="connsiteX1445" fmla="*/ 1810432 w 4829175"/>
                <a:gd name="connsiteY1445" fmla="*/ 204894 h 6515100"/>
                <a:gd name="connsiteX1446" fmla="*/ 1810426 w 4829175"/>
                <a:gd name="connsiteY1446" fmla="*/ 204887 h 6515100"/>
                <a:gd name="connsiteX1447" fmla="*/ 2068965 w 4829175"/>
                <a:gd name="connsiteY1447" fmla="*/ 462729 h 6515100"/>
                <a:gd name="connsiteX1448" fmla="*/ 2078748 w 4829175"/>
                <a:gd name="connsiteY1448" fmla="*/ 471812 h 6515100"/>
                <a:gd name="connsiteX1449" fmla="*/ 2080844 w 4829175"/>
                <a:gd name="connsiteY1449" fmla="*/ 473908 h 6515100"/>
                <a:gd name="connsiteX1450" fmla="*/ 1816022 w 4829175"/>
                <a:gd name="connsiteY1450" fmla="*/ 743621 h 6515100"/>
                <a:gd name="connsiteX1451" fmla="*/ 2075254 w 4829175"/>
                <a:gd name="connsiteY1451" fmla="*/ 744320 h 6515100"/>
                <a:gd name="connsiteX1452" fmla="*/ 2344968 w 4829175"/>
                <a:gd name="connsiteY1452" fmla="*/ 473908 h 6515100"/>
                <a:gd name="connsiteX1453" fmla="*/ 2209412 w 4829175"/>
                <a:gd name="connsiteY1453" fmla="*/ 339051 h 6515100"/>
                <a:gd name="connsiteX1454" fmla="*/ 2192643 w 4829175"/>
                <a:gd name="connsiteY1454" fmla="*/ 322282 h 6515100"/>
                <a:gd name="connsiteX1455" fmla="*/ 2073158 w 4829175"/>
                <a:gd name="connsiteY1455" fmla="*/ 203496 h 6515100"/>
                <a:gd name="connsiteX1456" fmla="*/ 2068965 w 4829175"/>
                <a:gd name="connsiteY1456" fmla="*/ 202099 h 6515100"/>
                <a:gd name="connsiteX1457" fmla="*/ 1258428 w 4829175"/>
                <a:gd name="connsiteY1457" fmla="*/ 202099 h 6515100"/>
                <a:gd name="connsiteX1458" fmla="*/ 1529539 w 4829175"/>
                <a:gd name="connsiteY1458" fmla="*/ 472511 h 6515100"/>
                <a:gd name="connsiteX1459" fmla="*/ 1259127 w 4829175"/>
                <a:gd name="connsiteY1459" fmla="*/ 743621 h 6515100"/>
                <a:gd name="connsiteX1460" fmla="*/ 1523250 w 4829175"/>
                <a:gd name="connsiteY1460" fmla="*/ 743621 h 6515100"/>
                <a:gd name="connsiteX1461" fmla="*/ 1793662 w 4829175"/>
                <a:gd name="connsiteY1461" fmla="*/ 472511 h 6515100"/>
                <a:gd name="connsiteX1462" fmla="*/ 1522551 w 4829175"/>
                <a:gd name="connsiteY1462" fmla="*/ 202099 h 6515100"/>
                <a:gd name="connsiteX1463" fmla="*/ 2621668 w 4829175"/>
                <a:gd name="connsiteY1463" fmla="*/ 200701 h 6515100"/>
                <a:gd name="connsiteX1464" fmla="*/ 2358243 w 4829175"/>
                <a:gd name="connsiteY1464" fmla="*/ 201400 h 6515100"/>
                <a:gd name="connsiteX1465" fmla="*/ 2627259 w 4829175"/>
                <a:gd name="connsiteY1465" fmla="*/ 469716 h 6515100"/>
                <a:gd name="connsiteX1466" fmla="*/ 2626560 w 4829175"/>
                <a:gd name="connsiteY1466" fmla="*/ 470415 h 6515100"/>
                <a:gd name="connsiteX1467" fmla="*/ 2627957 w 4829175"/>
                <a:gd name="connsiteY1467" fmla="*/ 471812 h 6515100"/>
                <a:gd name="connsiteX1468" fmla="*/ 2357544 w 4829175"/>
                <a:gd name="connsiteY1468" fmla="*/ 742923 h 6515100"/>
                <a:gd name="connsiteX1469" fmla="*/ 2621668 w 4829175"/>
                <a:gd name="connsiteY1469" fmla="*/ 742923 h 6515100"/>
                <a:gd name="connsiteX1470" fmla="*/ 2711805 w 4829175"/>
                <a:gd name="connsiteY1470" fmla="*/ 652786 h 6515100"/>
                <a:gd name="connsiteX1471" fmla="*/ 2891382 w 4829175"/>
                <a:gd name="connsiteY1471" fmla="*/ 469716 h 6515100"/>
                <a:gd name="connsiteX1472" fmla="*/ 4001678 w 4829175"/>
                <a:gd name="connsiteY1472" fmla="*/ 200003 h 6515100"/>
                <a:gd name="connsiteX1473" fmla="*/ 4131644 w 4829175"/>
                <a:gd name="connsiteY1473" fmla="*/ 329269 h 6515100"/>
                <a:gd name="connsiteX1474" fmla="*/ 4272090 w 4829175"/>
                <a:gd name="connsiteY1474" fmla="*/ 469716 h 6515100"/>
                <a:gd name="connsiteX1475" fmla="*/ 4179158 w 4829175"/>
                <a:gd name="connsiteY1475" fmla="*/ 563347 h 6515100"/>
                <a:gd name="connsiteX1476" fmla="*/ 4179856 w 4829175"/>
                <a:gd name="connsiteY1476" fmla="*/ 564046 h 6515100"/>
                <a:gd name="connsiteX1477" fmla="*/ 4003075 w 4829175"/>
                <a:gd name="connsiteY1477" fmla="*/ 741525 h 6515100"/>
                <a:gd name="connsiteX1478" fmla="*/ 4265801 w 4829175"/>
                <a:gd name="connsiteY1478" fmla="*/ 741525 h 6515100"/>
                <a:gd name="connsiteX1479" fmla="*/ 4536213 w 4829175"/>
                <a:gd name="connsiteY1479" fmla="*/ 470415 h 6515100"/>
                <a:gd name="connsiteX1480" fmla="*/ 4265102 w 4829175"/>
                <a:gd name="connsiteY1480" fmla="*/ 200003 h 6515100"/>
                <a:gd name="connsiteX1481" fmla="*/ 3453167 w 4829175"/>
                <a:gd name="connsiteY1481" fmla="*/ 200003 h 6515100"/>
                <a:gd name="connsiteX1482" fmla="*/ 3724278 w 4829175"/>
                <a:gd name="connsiteY1482" fmla="*/ 470415 h 6515100"/>
                <a:gd name="connsiteX1483" fmla="*/ 3724977 w 4829175"/>
                <a:gd name="connsiteY1483" fmla="*/ 471113 h 6515100"/>
                <a:gd name="connsiteX1484" fmla="*/ 3454565 w 4829175"/>
                <a:gd name="connsiteY1484" fmla="*/ 742224 h 6515100"/>
                <a:gd name="connsiteX1485" fmla="*/ 3718688 w 4829175"/>
                <a:gd name="connsiteY1485" fmla="*/ 742224 h 6515100"/>
                <a:gd name="connsiteX1486" fmla="*/ 3808127 w 4829175"/>
                <a:gd name="connsiteY1486" fmla="*/ 652087 h 6515100"/>
                <a:gd name="connsiteX1487" fmla="*/ 3807428 w 4829175"/>
                <a:gd name="connsiteY1487" fmla="*/ 652087 h 6515100"/>
                <a:gd name="connsiteX1488" fmla="*/ 3988403 w 4829175"/>
                <a:gd name="connsiteY1488" fmla="*/ 471113 h 6515100"/>
                <a:gd name="connsiteX1489" fmla="*/ 3983511 w 4829175"/>
                <a:gd name="connsiteY1489" fmla="*/ 465523 h 6515100"/>
                <a:gd name="connsiteX1490" fmla="*/ 3717291 w 4829175"/>
                <a:gd name="connsiteY1490" fmla="*/ 200003 h 6515100"/>
                <a:gd name="connsiteX1491" fmla="*/ 348134 w 4829175"/>
                <a:gd name="connsiteY1491" fmla="*/ 0 h 6515100"/>
                <a:gd name="connsiteX1492" fmla="*/ 358615 w 4829175"/>
                <a:gd name="connsiteY1492" fmla="*/ 0 h 6515100"/>
                <a:gd name="connsiteX1493" fmla="*/ 162106 w 4829175"/>
                <a:gd name="connsiteY1493" fmla="*/ 196509 h 6515100"/>
                <a:gd name="connsiteX1494" fmla="*/ 426230 w 4829175"/>
                <a:gd name="connsiteY1494" fmla="*/ 196509 h 6515100"/>
                <a:gd name="connsiteX1495" fmla="*/ 622232 w 4829175"/>
                <a:gd name="connsiteY1495" fmla="*/ 0 h 6515100"/>
                <a:gd name="connsiteX1496" fmla="*/ 632006 w 4829175"/>
                <a:gd name="connsiteY1496" fmla="*/ 0 h 6515100"/>
                <a:gd name="connsiteX1497" fmla="*/ 432518 w 4829175"/>
                <a:gd name="connsiteY1497" fmla="*/ 200003 h 6515100"/>
                <a:gd name="connsiteX1498" fmla="*/ 704328 w 4829175"/>
                <a:gd name="connsiteY1498" fmla="*/ 470415 h 6515100"/>
                <a:gd name="connsiteX1499" fmla="*/ 967752 w 4829175"/>
                <a:gd name="connsiteY1499" fmla="*/ 470415 h 6515100"/>
                <a:gd name="connsiteX1500" fmla="*/ 837089 w 4829175"/>
                <a:gd name="connsiteY1500" fmla="*/ 340449 h 6515100"/>
                <a:gd name="connsiteX1501" fmla="*/ 696642 w 4829175"/>
                <a:gd name="connsiteY1501" fmla="*/ 200003 h 6515100"/>
                <a:gd name="connsiteX1502" fmla="*/ 896129 w 4829175"/>
                <a:gd name="connsiteY1502" fmla="*/ 0 h 6515100"/>
                <a:gd name="connsiteX1503" fmla="*/ 907318 w 4829175"/>
                <a:gd name="connsiteY1503" fmla="*/ 0 h 6515100"/>
                <a:gd name="connsiteX1504" fmla="*/ 711316 w 4829175"/>
                <a:gd name="connsiteY1504" fmla="*/ 196509 h 6515100"/>
                <a:gd name="connsiteX1505" fmla="*/ 974740 w 4829175"/>
                <a:gd name="connsiteY1505" fmla="*/ 196509 h 6515100"/>
                <a:gd name="connsiteX1506" fmla="*/ 1170742 w 4829175"/>
                <a:gd name="connsiteY1506" fmla="*/ 0 h 6515100"/>
                <a:gd name="connsiteX1507" fmla="*/ 1179819 w 4829175"/>
                <a:gd name="connsiteY1507" fmla="*/ 0 h 6515100"/>
                <a:gd name="connsiteX1508" fmla="*/ 981029 w 4829175"/>
                <a:gd name="connsiteY1508" fmla="*/ 199304 h 6515100"/>
                <a:gd name="connsiteX1509" fmla="*/ 1252140 w 4829175"/>
                <a:gd name="connsiteY1509" fmla="*/ 469716 h 6515100"/>
                <a:gd name="connsiteX1510" fmla="*/ 1516263 w 4829175"/>
                <a:gd name="connsiteY1510" fmla="*/ 469716 h 6515100"/>
                <a:gd name="connsiteX1511" fmla="*/ 1245152 w 4829175"/>
                <a:gd name="connsiteY1511" fmla="*/ 199304 h 6515100"/>
                <a:gd name="connsiteX1512" fmla="*/ 1443942 w 4829175"/>
                <a:gd name="connsiteY1512" fmla="*/ 0 h 6515100"/>
                <a:gd name="connsiteX1513" fmla="*/ 1453410 w 4829175"/>
                <a:gd name="connsiteY1513" fmla="*/ 0 h 6515100"/>
                <a:gd name="connsiteX1514" fmla="*/ 1436607 w 4829175"/>
                <a:gd name="connsiteY1514" fmla="*/ 16933 h 6515100"/>
                <a:gd name="connsiteX1515" fmla="*/ 1435908 w 4829175"/>
                <a:gd name="connsiteY1515" fmla="*/ 16933 h 6515100"/>
                <a:gd name="connsiteX1516" fmla="*/ 1258428 w 4829175"/>
                <a:gd name="connsiteY1516" fmla="*/ 195111 h 6515100"/>
                <a:gd name="connsiteX1517" fmla="*/ 1522551 w 4829175"/>
                <a:gd name="connsiteY1517" fmla="*/ 195111 h 6515100"/>
                <a:gd name="connsiteX1518" fmla="*/ 1717663 w 4829175"/>
                <a:gd name="connsiteY1518" fmla="*/ 0 h 6515100"/>
                <a:gd name="connsiteX1519" fmla="*/ 1728424 w 4829175"/>
                <a:gd name="connsiteY1519" fmla="*/ 0 h 6515100"/>
                <a:gd name="connsiteX1520" fmla="*/ 1620376 w 4829175"/>
                <a:gd name="connsiteY1520" fmla="*/ 108468 h 6515100"/>
                <a:gd name="connsiteX1521" fmla="*/ 1619677 w 4829175"/>
                <a:gd name="connsiteY1521" fmla="*/ 108468 h 6515100"/>
                <a:gd name="connsiteX1522" fmla="*/ 1529539 w 4829175"/>
                <a:gd name="connsiteY1522" fmla="*/ 198605 h 6515100"/>
                <a:gd name="connsiteX1523" fmla="*/ 1799951 w 4829175"/>
                <a:gd name="connsiteY1523" fmla="*/ 469716 h 6515100"/>
                <a:gd name="connsiteX1524" fmla="*/ 2064074 w 4829175"/>
                <a:gd name="connsiteY1524" fmla="*/ 469716 h 6515100"/>
                <a:gd name="connsiteX1525" fmla="*/ 1792964 w 4829175"/>
                <a:gd name="connsiteY1525" fmla="*/ 199304 h 6515100"/>
                <a:gd name="connsiteX1526" fmla="*/ 1977431 w 4829175"/>
                <a:gd name="connsiteY1526" fmla="*/ 14837 h 6515100"/>
                <a:gd name="connsiteX1527" fmla="*/ 1978130 w 4829175"/>
                <a:gd name="connsiteY1527" fmla="*/ 14837 h 6515100"/>
                <a:gd name="connsiteX1528" fmla="*/ 1992847 w 4829175"/>
                <a:gd name="connsiteY1528" fmla="*/ 0 h 6515100"/>
                <a:gd name="connsiteX1529" fmla="*/ 2002247 w 4829175"/>
                <a:gd name="connsiteY1529" fmla="*/ 0 h 6515100"/>
                <a:gd name="connsiteX1530" fmla="*/ 1808336 w 4829175"/>
                <a:gd name="connsiteY1530" fmla="*/ 194412 h 6515100"/>
                <a:gd name="connsiteX1531" fmla="*/ 2071761 w 4829175"/>
                <a:gd name="connsiteY1531" fmla="*/ 194412 h 6515100"/>
                <a:gd name="connsiteX1532" fmla="*/ 2266173 w 4829175"/>
                <a:gd name="connsiteY1532" fmla="*/ 0 h 6515100"/>
                <a:gd name="connsiteX1533" fmla="*/ 2277539 w 4829175"/>
                <a:gd name="connsiteY1533" fmla="*/ 0 h 6515100"/>
                <a:gd name="connsiteX1534" fmla="*/ 2078748 w 4829175"/>
                <a:gd name="connsiteY1534" fmla="*/ 199304 h 6515100"/>
                <a:gd name="connsiteX1535" fmla="*/ 2348461 w 4829175"/>
                <a:gd name="connsiteY1535" fmla="*/ 468319 h 6515100"/>
                <a:gd name="connsiteX1536" fmla="*/ 2611886 w 4829175"/>
                <a:gd name="connsiteY1536" fmla="*/ 468319 h 6515100"/>
                <a:gd name="connsiteX1537" fmla="*/ 2342872 w 4829175"/>
                <a:gd name="connsiteY1537" fmla="*/ 199304 h 6515100"/>
                <a:gd name="connsiteX1538" fmla="*/ 2343570 w 4829175"/>
                <a:gd name="connsiteY1538" fmla="*/ 198605 h 6515100"/>
                <a:gd name="connsiteX1539" fmla="*/ 2342173 w 4829175"/>
                <a:gd name="connsiteY1539" fmla="*/ 197208 h 6515100"/>
                <a:gd name="connsiteX1540" fmla="*/ 2538868 w 4829175"/>
                <a:gd name="connsiteY1540" fmla="*/ 0 h 6515100"/>
                <a:gd name="connsiteX1541" fmla="*/ 2552152 w 4829175"/>
                <a:gd name="connsiteY1541" fmla="*/ 0 h 6515100"/>
                <a:gd name="connsiteX1542" fmla="*/ 2358243 w 4829175"/>
                <a:gd name="connsiteY1542" fmla="*/ 194412 h 6515100"/>
                <a:gd name="connsiteX1543" fmla="*/ 2620271 w 4829175"/>
                <a:gd name="connsiteY1543" fmla="*/ 194412 h 6515100"/>
                <a:gd name="connsiteX1544" fmla="*/ 2814181 w 4829175"/>
                <a:gd name="connsiteY1544" fmla="*/ 0 h 6515100"/>
                <a:gd name="connsiteX1545" fmla="*/ 2825540 w 4829175"/>
                <a:gd name="connsiteY1545" fmla="*/ 0 h 6515100"/>
                <a:gd name="connsiteX1546" fmla="*/ 2628655 w 4829175"/>
                <a:gd name="connsiteY1546" fmla="*/ 197906 h 6515100"/>
                <a:gd name="connsiteX1547" fmla="*/ 2898368 w 4829175"/>
                <a:gd name="connsiteY1547" fmla="*/ 466921 h 6515100"/>
                <a:gd name="connsiteX1548" fmla="*/ 3163191 w 4829175"/>
                <a:gd name="connsiteY1548" fmla="*/ 468319 h 6515100"/>
                <a:gd name="connsiteX1549" fmla="*/ 2892081 w 4829175"/>
                <a:gd name="connsiteY1549" fmla="*/ 197906 h 6515100"/>
                <a:gd name="connsiteX1550" fmla="*/ 2890683 w 4829175"/>
                <a:gd name="connsiteY1550" fmla="*/ 196509 h 6515100"/>
                <a:gd name="connsiteX1551" fmla="*/ 3086683 w 4829175"/>
                <a:gd name="connsiteY1551" fmla="*/ 0 h 6515100"/>
                <a:gd name="connsiteX1552" fmla="*/ 3097556 w 4829175"/>
                <a:gd name="connsiteY1552" fmla="*/ 0 h 6515100"/>
                <a:gd name="connsiteX1553" fmla="*/ 3082137 w 4829175"/>
                <a:gd name="connsiteY1553" fmla="*/ 15536 h 6515100"/>
                <a:gd name="connsiteX1554" fmla="*/ 3082836 w 4829175"/>
                <a:gd name="connsiteY1554" fmla="*/ 16235 h 6515100"/>
                <a:gd name="connsiteX1555" fmla="*/ 2906754 w 4829175"/>
                <a:gd name="connsiteY1555" fmla="*/ 192317 h 6515100"/>
                <a:gd name="connsiteX1556" fmla="*/ 3103099 w 4829175"/>
                <a:gd name="connsiteY1556" fmla="*/ 192317 h 6515100"/>
                <a:gd name="connsiteX1557" fmla="*/ 3102401 w 4829175"/>
                <a:gd name="connsiteY1557" fmla="*/ 193714 h 6515100"/>
                <a:gd name="connsiteX1558" fmla="*/ 3168083 w 4829175"/>
                <a:gd name="connsiteY1558" fmla="*/ 193714 h 6515100"/>
                <a:gd name="connsiteX1559" fmla="*/ 3361298 w 4829175"/>
                <a:gd name="connsiteY1559" fmla="*/ 0 h 6515100"/>
                <a:gd name="connsiteX1560" fmla="*/ 3371863 w 4829175"/>
                <a:gd name="connsiteY1560" fmla="*/ 0 h 6515100"/>
                <a:gd name="connsiteX1561" fmla="*/ 3264508 w 4829175"/>
                <a:gd name="connsiteY1561" fmla="*/ 107769 h 6515100"/>
                <a:gd name="connsiteX1562" fmla="*/ 3265906 w 4829175"/>
                <a:gd name="connsiteY1562" fmla="*/ 108468 h 6515100"/>
                <a:gd name="connsiteX1563" fmla="*/ 3176467 w 4829175"/>
                <a:gd name="connsiteY1563" fmla="*/ 197906 h 6515100"/>
                <a:gd name="connsiteX1564" fmla="*/ 3446879 w 4829175"/>
                <a:gd name="connsiteY1564" fmla="*/ 467620 h 6515100"/>
                <a:gd name="connsiteX1565" fmla="*/ 3710303 w 4829175"/>
                <a:gd name="connsiteY1565" fmla="*/ 467620 h 6515100"/>
                <a:gd name="connsiteX1566" fmla="*/ 3439891 w 4829175"/>
                <a:gd name="connsiteY1566" fmla="*/ 197906 h 6515100"/>
                <a:gd name="connsiteX1567" fmla="*/ 3439193 w 4829175"/>
                <a:gd name="connsiteY1567" fmla="*/ 197208 h 6515100"/>
                <a:gd name="connsiteX1568" fmla="*/ 3635893 w 4829175"/>
                <a:gd name="connsiteY1568" fmla="*/ 0 h 6515100"/>
                <a:gd name="connsiteX1569" fmla="*/ 3646183 w 4829175"/>
                <a:gd name="connsiteY1569" fmla="*/ 0 h 6515100"/>
                <a:gd name="connsiteX1570" fmla="*/ 3453167 w 4829175"/>
                <a:gd name="connsiteY1570" fmla="*/ 193016 h 6515100"/>
                <a:gd name="connsiteX1571" fmla="*/ 3717291 w 4829175"/>
                <a:gd name="connsiteY1571" fmla="*/ 193016 h 6515100"/>
                <a:gd name="connsiteX1572" fmla="*/ 3910306 w 4829175"/>
                <a:gd name="connsiteY1572" fmla="*/ 0 h 6515100"/>
                <a:gd name="connsiteX1573" fmla="*/ 3919582 w 4829175"/>
                <a:gd name="connsiteY1573" fmla="*/ 0 h 6515100"/>
                <a:gd name="connsiteX1574" fmla="*/ 3723579 w 4829175"/>
                <a:gd name="connsiteY1574" fmla="*/ 196509 h 6515100"/>
                <a:gd name="connsiteX1575" fmla="*/ 3994690 w 4829175"/>
                <a:gd name="connsiteY1575" fmla="*/ 466921 h 6515100"/>
                <a:gd name="connsiteX1576" fmla="*/ 4258116 w 4829175"/>
                <a:gd name="connsiteY1576" fmla="*/ 466921 h 6515100"/>
                <a:gd name="connsiteX1577" fmla="*/ 4128150 w 4829175"/>
                <a:gd name="connsiteY1577" fmla="*/ 336956 h 6515100"/>
                <a:gd name="connsiteX1578" fmla="*/ 3987703 w 4829175"/>
                <a:gd name="connsiteY1578" fmla="*/ 196509 h 6515100"/>
                <a:gd name="connsiteX1579" fmla="*/ 4183705 w 4829175"/>
                <a:gd name="connsiteY1579" fmla="*/ 0 h 6515100"/>
                <a:gd name="connsiteX1580" fmla="*/ 4194197 w 4829175"/>
                <a:gd name="connsiteY1580" fmla="*/ 0 h 6515100"/>
                <a:gd name="connsiteX1581" fmla="*/ 4002377 w 4829175"/>
                <a:gd name="connsiteY1581" fmla="*/ 192317 h 6515100"/>
                <a:gd name="connsiteX1582" fmla="*/ 4265801 w 4829175"/>
                <a:gd name="connsiteY1582" fmla="*/ 192317 h 6515100"/>
                <a:gd name="connsiteX1583" fmla="*/ 4457622 w 4829175"/>
                <a:gd name="connsiteY1583" fmla="*/ 0 h 6515100"/>
                <a:gd name="connsiteX1584" fmla="*/ 4467396 w 4829175"/>
                <a:gd name="connsiteY1584" fmla="*/ 0 h 6515100"/>
                <a:gd name="connsiteX1585" fmla="*/ 4272090 w 4829175"/>
                <a:gd name="connsiteY1585" fmla="*/ 195810 h 6515100"/>
                <a:gd name="connsiteX1586" fmla="*/ 4543201 w 4829175"/>
                <a:gd name="connsiteY1586" fmla="*/ 466222 h 6515100"/>
                <a:gd name="connsiteX1587" fmla="*/ 4807324 w 4829175"/>
                <a:gd name="connsiteY1587" fmla="*/ 466222 h 6515100"/>
                <a:gd name="connsiteX1588" fmla="*/ 4536213 w 4829175"/>
                <a:gd name="connsiteY1588" fmla="*/ 195810 h 6515100"/>
                <a:gd name="connsiteX1589" fmla="*/ 4731518 w 4829175"/>
                <a:gd name="connsiteY1589" fmla="*/ 0 h 6515100"/>
                <a:gd name="connsiteX1590" fmla="*/ 4741806 w 4829175"/>
                <a:gd name="connsiteY1590" fmla="*/ 0 h 6515100"/>
                <a:gd name="connsiteX1591" fmla="*/ 4549489 w 4829175"/>
                <a:gd name="connsiteY1591" fmla="*/ 192317 h 6515100"/>
                <a:gd name="connsiteX1592" fmla="*/ 4813613 w 4829175"/>
                <a:gd name="connsiteY1592" fmla="*/ 192317 h 6515100"/>
                <a:gd name="connsiteX1593" fmla="*/ 4823396 w 4829175"/>
                <a:gd name="connsiteY1593" fmla="*/ 182534 h 6515100"/>
                <a:gd name="connsiteX1594" fmla="*/ 4823396 w 4829175"/>
                <a:gd name="connsiteY1594" fmla="*/ 193016 h 6515100"/>
                <a:gd name="connsiteX1595" fmla="*/ 4820600 w 4829175"/>
                <a:gd name="connsiteY1595" fmla="*/ 195810 h 6515100"/>
                <a:gd name="connsiteX1596" fmla="*/ 4823396 w 4829175"/>
                <a:gd name="connsiteY1596" fmla="*/ 198605 h 6515100"/>
                <a:gd name="connsiteX1597" fmla="*/ 4823396 w 4829175"/>
                <a:gd name="connsiteY1597" fmla="*/ 209086 h 6515100"/>
                <a:gd name="connsiteX1598" fmla="*/ 4814311 w 4829175"/>
                <a:gd name="connsiteY1598" fmla="*/ 200003 h 6515100"/>
                <a:gd name="connsiteX1599" fmla="*/ 4550188 w 4829175"/>
                <a:gd name="connsiteY1599" fmla="*/ 200003 h 6515100"/>
                <a:gd name="connsiteX1600" fmla="*/ 4821299 w 4829175"/>
                <a:gd name="connsiteY1600" fmla="*/ 470415 h 6515100"/>
                <a:gd name="connsiteX1601" fmla="*/ 4550887 w 4829175"/>
                <a:gd name="connsiteY1601" fmla="*/ 741525 h 6515100"/>
                <a:gd name="connsiteX1602" fmla="*/ 4815010 w 4829175"/>
                <a:gd name="connsiteY1602" fmla="*/ 741525 h 6515100"/>
                <a:gd name="connsiteX1603" fmla="*/ 4823396 w 4829175"/>
                <a:gd name="connsiteY1603" fmla="*/ 732442 h 6515100"/>
                <a:gd name="connsiteX1604" fmla="*/ 4823396 w 4829175"/>
                <a:gd name="connsiteY1604" fmla="*/ 742224 h 6515100"/>
                <a:gd name="connsiteX1605" fmla="*/ 4821299 w 4829175"/>
                <a:gd name="connsiteY1605" fmla="*/ 744320 h 6515100"/>
                <a:gd name="connsiteX1606" fmla="*/ 4823396 w 4829175"/>
                <a:gd name="connsiteY1606" fmla="*/ 746417 h 6515100"/>
                <a:gd name="connsiteX1607" fmla="*/ 4823396 w 4829175"/>
                <a:gd name="connsiteY1607" fmla="*/ 756898 h 6515100"/>
                <a:gd name="connsiteX1608" fmla="*/ 4814311 w 4829175"/>
                <a:gd name="connsiteY1608" fmla="*/ 747814 h 6515100"/>
                <a:gd name="connsiteX1609" fmla="*/ 4550188 w 4829175"/>
                <a:gd name="connsiteY1609" fmla="*/ 747814 h 6515100"/>
                <a:gd name="connsiteX1610" fmla="*/ 4821299 w 4829175"/>
                <a:gd name="connsiteY1610" fmla="*/ 1018227 h 6515100"/>
                <a:gd name="connsiteX1611" fmla="*/ 4821998 w 4829175"/>
                <a:gd name="connsiteY1611" fmla="*/ 1018924 h 6515100"/>
                <a:gd name="connsiteX1612" fmla="*/ 4551586 w 4829175"/>
                <a:gd name="connsiteY1612" fmla="*/ 1290035 h 6515100"/>
                <a:gd name="connsiteX1613" fmla="*/ 4815709 w 4829175"/>
                <a:gd name="connsiteY1613" fmla="*/ 1290035 h 6515100"/>
                <a:gd name="connsiteX1614" fmla="*/ 4823396 w 4829175"/>
                <a:gd name="connsiteY1614" fmla="*/ 1282349 h 6515100"/>
                <a:gd name="connsiteX1615" fmla="*/ 4823396 w 4829175"/>
                <a:gd name="connsiteY1615" fmla="*/ 1292831 h 6515100"/>
                <a:gd name="connsiteX1616" fmla="*/ 4822697 w 4829175"/>
                <a:gd name="connsiteY1616" fmla="*/ 1293530 h 6515100"/>
                <a:gd name="connsiteX1617" fmla="*/ 4823396 w 4829175"/>
                <a:gd name="connsiteY1617" fmla="*/ 1294228 h 6515100"/>
                <a:gd name="connsiteX1618" fmla="*/ 4823396 w 4829175"/>
                <a:gd name="connsiteY1618" fmla="*/ 1304010 h 6515100"/>
                <a:gd name="connsiteX1619" fmla="*/ 4815709 w 4829175"/>
                <a:gd name="connsiteY1619" fmla="*/ 1296324 h 6515100"/>
                <a:gd name="connsiteX1620" fmla="*/ 4551586 w 4829175"/>
                <a:gd name="connsiteY1620" fmla="*/ 1297023 h 6515100"/>
                <a:gd name="connsiteX1621" fmla="*/ 4823396 w 4829175"/>
                <a:gd name="connsiteY1621" fmla="*/ 1566736 h 6515100"/>
                <a:gd name="connsiteX1622" fmla="*/ 4552984 w 4829175"/>
                <a:gd name="connsiteY1622" fmla="*/ 1837847 h 6515100"/>
                <a:gd name="connsiteX1623" fmla="*/ 4817107 w 4829175"/>
                <a:gd name="connsiteY1623" fmla="*/ 1837847 h 6515100"/>
                <a:gd name="connsiteX1624" fmla="*/ 4824094 w 4829175"/>
                <a:gd name="connsiteY1624" fmla="*/ 1830859 h 6515100"/>
                <a:gd name="connsiteX1625" fmla="*/ 4824094 w 4829175"/>
                <a:gd name="connsiteY1625" fmla="*/ 1841341 h 6515100"/>
                <a:gd name="connsiteX1626" fmla="*/ 4824094 w 4829175"/>
                <a:gd name="connsiteY1626" fmla="*/ 1851822 h 6515100"/>
                <a:gd name="connsiteX1627" fmla="*/ 4817107 w 4829175"/>
                <a:gd name="connsiteY1627" fmla="*/ 1844834 h 6515100"/>
                <a:gd name="connsiteX1628" fmla="*/ 4552984 w 4829175"/>
                <a:gd name="connsiteY1628" fmla="*/ 1844834 h 6515100"/>
                <a:gd name="connsiteX1629" fmla="*/ 4824094 w 4829175"/>
                <a:gd name="connsiteY1629" fmla="*/ 2115246 h 6515100"/>
                <a:gd name="connsiteX1630" fmla="*/ 4821299 w 4829175"/>
                <a:gd name="connsiteY1630" fmla="*/ 2118042 h 6515100"/>
                <a:gd name="connsiteX1631" fmla="*/ 4731162 w 4829175"/>
                <a:gd name="connsiteY1631" fmla="*/ 2208877 h 6515100"/>
                <a:gd name="connsiteX1632" fmla="*/ 4553682 w 4829175"/>
                <a:gd name="connsiteY1632" fmla="*/ 2386357 h 6515100"/>
                <a:gd name="connsiteX1633" fmla="*/ 4817806 w 4829175"/>
                <a:gd name="connsiteY1633" fmla="*/ 2386357 h 6515100"/>
                <a:gd name="connsiteX1634" fmla="*/ 4824094 w 4829175"/>
                <a:gd name="connsiteY1634" fmla="*/ 2380068 h 6515100"/>
                <a:gd name="connsiteX1635" fmla="*/ 4824094 w 4829175"/>
                <a:gd name="connsiteY1635" fmla="*/ 2398934 h 6515100"/>
                <a:gd name="connsiteX1636" fmla="*/ 4817806 w 4829175"/>
                <a:gd name="connsiteY1636" fmla="*/ 2392646 h 6515100"/>
                <a:gd name="connsiteX1637" fmla="*/ 4553682 w 4829175"/>
                <a:gd name="connsiteY1637" fmla="*/ 2392646 h 6515100"/>
                <a:gd name="connsiteX1638" fmla="*/ 4824094 w 4829175"/>
                <a:gd name="connsiteY1638" fmla="*/ 2662359 h 6515100"/>
                <a:gd name="connsiteX1639" fmla="*/ 4824094 w 4829175"/>
                <a:gd name="connsiteY1639" fmla="*/ 2663757 h 6515100"/>
                <a:gd name="connsiteX1640" fmla="*/ 4554381 w 4829175"/>
                <a:gd name="connsiteY1640" fmla="*/ 2934169 h 6515100"/>
                <a:gd name="connsiteX1641" fmla="*/ 4817806 w 4829175"/>
                <a:gd name="connsiteY1641" fmla="*/ 2934169 h 6515100"/>
                <a:gd name="connsiteX1642" fmla="*/ 4823396 w 4829175"/>
                <a:gd name="connsiteY1642" fmla="*/ 2928579 h 6515100"/>
                <a:gd name="connsiteX1643" fmla="*/ 4823396 w 4829175"/>
                <a:gd name="connsiteY1643" fmla="*/ 2947445 h 6515100"/>
                <a:gd name="connsiteX1644" fmla="*/ 4817806 w 4829175"/>
                <a:gd name="connsiteY1644" fmla="*/ 2941855 h 6515100"/>
                <a:gd name="connsiteX1645" fmla="*/ 4554381 w 4829175"/>
                <a:gd name="connsiteY1645" fmla="*/ 2941855 h 6515100"/>
                <a:gd name="connsiteX1646" fmla="*/ 4684346 w 4829175"/>
                <a:gd name="connsiteY1646" fmla="*/ 3071820 h 6515100"/>
                <a:gd name="connsiteX1647" fmla="*/ 4823396 w 4829175"/>
                <a:gd name="connsiteY1647" fmla="*/ 3210869 h 6515100"/>
                <a:gd name="connsiteX1648" fmla="*/ 4823396 w 4829175"/>
                <a:gd name="connsiteY1648" fmla="*/ 3213665 h 6515100"/>
                <a:gd name="connsiteX1649" fmla="*/ 4554381 w 4829175"/>
                <a:gd name="connsiteY1649" fmla="*/ 3483378 h 6515100"/>
                <a:gd name="connsiteX1650" fmla="*/ 4818505 w 4829175"/>
                <a:gd name="connsiteY1650" fmla="*/ 3483378 h 6515100"/>
                <a:gd name="connsiteX1651" fmla="*/ 4823396 w 4829175"/>
                <a:gd name="connsiteY1651" fmla="*/ 3478487 h 6515100"/>
                <a:gd name="connsiteX1652" fmla="*/ 4823396 w 4829175"/>
                <a:gd name="connsiteY1652" fmla="*/ 3495256 h 6515100"/>
                <a:gd name="connsiteX1653" fmla="*/ 4818505 w 4829175"/>
                <a:gd name="connsiteY1653" fmla="*/ 3490365 h 6515100"/>
                <a:gd name="connsiteX1654" fmla="*/ 4554381 w 4829175"/>
                <a:gd name="connsiteY1654" fmla="*/ 3490365 h 6515100"/>
                <a:gd name="connsiteX1655" fmla="*/ 4555778 w 4829175"/>
                <a:gd name="connsiteY1655" fmla="*/ 3491762 h 6515100"/>
                <a:gd name="connsiteX1656" fmla="*/ 4823396 w 4829175"/>
                <a:gd name="connsiteY1656" fmla="*/ 3758681 h 6515100"/>
                <a:gd name="connsiteX1657" fmla="*/ 4823396 w 4829175"/>
                <a:gd name="connsiteY1657" fmla="*/ 3762174 h 6515100"/>
                <a:gd name="connsiteX1658" fmla="*/ 4555828 w 4829175"/>
                <a:gd name="connsiteY1658" fmla="*/ 4030438 h 6515100"/>
                <a:gd name="connsiteX1659" fmla="*/ 4817996 w 4829175"/>
                <a:gd name="connsiteY1659" fmla="*/ 4030438 h 6515100"/>
                <a:gd name="connsiteX1660" fmla="*/ 4828476 w 4829175"/>
                <a:gd name="connsiteY1660" fmla="*/ 4019957 h 6515100"/>
                <a:gd name="connsiteX1661" fmla="*/ 4828476 w 4829175"/>
                <a:gd name="connsiteY1661" fmla="*/ 4030438 h 6515100"/>
                <a:gd name="connsiteX1662" fmla="*/ 4824983 w 4829175"/>
                <a:gd name="connsiteY1662" fmla="*/ 4033931 h 6515100"/>
                <a:gd name="connsiteX1663" fmla="*/ 4828476 w 4829175"/>
                <a:gd name="connsiteY1663" fmla="*/ 4037426 h 6515100"/>
                <a:gd name="connsiteX1664" fmla="*/ 4828476 w 4829175"/>
                <a:gd name="connsiteY1664" fmla="*/ 4047906 h 6515100"/>
                <a:gd name="connsiteX1665" fmla="*/ 4823396 w 4829175"/>
                <a:gd name="connsiteY1665" fmla="*/ 4042826 h 6515100"/>
                <a:gd name="connsiteX1666" fmla="*/ 4823396 w 4829175"/>
                <a:gd name="connsiteY1666" fmla="*/ 4043068 h 6515100"/>
                <a:gd name="connsiteX1667" fmla="*/ 4819202 w 4829175"/>
                <a:gd name="connsiteY1667" fmla="*/ 4038876 h 6515100"/>
                <a:gd name="connsiteX1668" fmla="*/ 4555321 w 4829175"/>
                <a:gd name="connsiteY1668" fmla="*/ 4038876 h 6515100"/>
                <a:gd name="connsiteX1669" fmla="*/ 4555968 w 4829175"/>
                <a:gd name="connsiteY1669" fmla="*/ 4039522 h 6515100"/>
                <a:gd name="connsiteX1670" fmla="*/ 4825681 w 4829175"/>
                <a:gd name="connsiteY1670" fmla="*/ 4308536 h 6515100"/>
                <a:gd name="connsiteX1671" fmla="*/ 4554570 w 4829175"/>
                <a:gd name="connsiteY1671" fmla="*/ 4579647 h 6515100"/>
                <a:gd name="connsiteX1672" fmla="*/ 4818693 w 4829175"/>
                <a:gd name="connsiteY1672" fmla="*/ 4579647 h 6515100"/>
                <a:gd name="connsiteX1673" fmla="*/ 4828476 w 4829175"/>
                <a:gd name="connsiteY1673" fmla="*/ 4569864 h 6515100"/>
                <a:gd name="connsiteX1674" fmla="*/ 4828476 w 4829175"/>
                <a:gd name="connsiteY1674" fmla="*/ 4580346 h 6515100"/>
                <a:gd name="connsiteX1675" fmla="*/ 4825681 w 4829175"/>
                <a:gd name="connsiteY1675" fmla="*/ 4583140 h 6515100"/>
                <a:gd name="connsiteX1676" fmla="*/ 4828476 w 4829175"/>
                <a:gd name="connsiteY1676" fmla="*/ 4585936 h 6515100"/>
                <a:gd name="connsiteX1677" fmla="*/ 4828476 w 4829175"/>
                <a:gd name="connsiteY1677" fmla="*/ 4596417 h 6515100"/>
                <a:gd name="connsiteX1678" fmla="*/ 4819392 w 4829175"/>
                <a:gd name="connsiteY1678" fmla="*/ 4587334 h 6515100"/>
                <a:gd name="connsiteX1679" fmla="*/ 4555269 w 4829175"/>
                <a:gd name="connsiteY1679" fmla="*/ 4587334 h 6515100"/>
                <a:gd name="connsiteX1680" fmla="*/ 4826380 w 4829175"/>
                <a:gd name="connsiteY1680" fmla="*/ 4857746 h 6515100"/>
                <a:gd name="connsiteX1681" fmla="*/ 4555968 w 4829175"/>
                <a:gd name="connsiteY1681" fmla="*/ 5128855 h 6515100"/>
                <a:gd name="connsiteX1682" fmla="*/ 4820091 w 4829175"/>
                <a:gd name="connsiteY1682" fmla="*/ 5128855 h 6515100"/>
                <a:gd name="connsiteX1683" fmla="*/ 4828476 w 4829175"/>
                <a:gd name="connsiteY1683" fmla="*/ 5119772 h 6515100"/>
                <a:gd name="connsiteX1684" fmla="*/ 4828476 w 4829175"/>
                <a:gd name="connsiteY1684" fmla="*/ 5129554 h 6515100"/>
                <a:gd name="connsiteX1685" fmla="*/ 4826380 w 4829175"/>
                <a:gd name="connsiteY1685" fmla="*/ 5131651 h 6515100"/>
                <a:gd name="connsiteX1686" fmla="*/ 4828476 w 4829175"/>
                <a:gd name="connsiteY1686" fmla="*/ 5133747 h 6515100"/>
                <a:gd name="connsiteX1687" fmla="*/ 4828476 w 4829175"/>
                <a:gd name="connsiteY1687" fmla="*/ 5144228 h 6515100"/>
                <a:gd name="connsiteX1688" fmla="*/ 4819392 w 4829175"/>
                <a:gd name="connsiteY1688" fmla="*/ 5135144 h 6515100"/>
                <a:gd name="connsiteX1689" fmla="*/ 4555269 w 4829175"/>
                <a:gd name="connsiteY1689" fmla="*/ 5135144 h 6515100"/>
                <a:gd name="connsiteX1690" fmla="*/ 4826380 w 4829175"/>
                <a:gd name="connsiteY1690" fmla="*/ 5405557 h 6515100"/>
                <a:gd name="connsiteX1691" fmla="*/ 4827079 w 4829175"/>
                <a:gd name="connsiteY1691" fmla="*/ 5406255 h 6515100"/>
                <a:gd name="connsiteX1692" fmla="*/ 4556667 w 4829175"/>
                <a:gd name="connsiteY1692" fmla="*/ 5677366 h 6515100"/>
                <a:gd name="connsiteX1693" fmla="*/ 4820790 w 4829175"/>
                <a:gd name="connsiteY1693" fmla="*/ 5677366 h 6515100"/>
                <a:gd name="connsiteX1694" fmla="*/ 4828476 w 4829175"/>
                <a:gd name="connsiteY1694" fmla="*/ 5669679 h 6515100"/>
                <a:gd name="connsiteX1695" fmla="*/ 4828476 w 4829175"/>
                <a:gd name="connsiteY1695" fmla="*/ 5680161 h 6515100"/>
                <a:gd name="connsiteX1696" fmla="*/ 4827778 w 4829175"/>
                <a:gd name="connsiteY1696" fmla="*/ 5680860 h 6515100"/>
                <a:gd name="connsiteX1697" fmla="*/ 4828476 w 4829175"/>
                <a:gd name="connsiteY1697" fmla="*/ 5681559 h 6515100"/>
                <a:gd name="connsiteX1698" fmla="*/ 4828476 w 4829175"/>
                <a:gd name="connsiteY1698" fmla="*/ 5691341 h 6515100"/>
                <a:gd name="connsiteX1699" fmla="*/ 4820790 w 4829175"/>
                <a:gd name="connsiteY1699" fmla="*/ 5683654 h 6515100"/>
                <a:gd name="connsiteX1700" fmla="*/ 4556667 w 4829175"/>
                <a:gd name="connsiteY1700" fmla="*/ 5684353 h 6515100"/>
                <a:gd name="connsiteX1701" fmla="*/ 4828476 w 4829175"/>
                <a:gd name="connsiteY1701" fmla="*/ 5954066 h 6515100"/>
                <a:gd name="connsiteX1702" fmla="*/ 4558064 w 4829175"/>
                <a:gd name="connsiteY1702" fmla="*/ 6225177 h 6515100"/>
                <a:gd name="connsiteX1703" fmla="*/ 4822188 w 4829175"/>
                <a:gd name="connsiteY1703" fmla="*/ 6225177 h 6515100"/>
                <a:gd name="connsiteX1704" fmla="*/ 4829175 w 4829175"/>
                <a:gd name="connsiteY1704" fmla="*/ 6218190 h 6515100"/>
                <a:gd name="connsiteX1705" fmla="*/ 4829175 w 4829175"/>
                <a:gd name="connsiteY1705" fmla="*/ 6228671 h 6515100"/>
                <a:gd name="connsiteX1706" fmla="*/ 4829175 w 4829175"/>
                <a:gd name="connsiteY1706" fmla="*/ 6239152 h 6515100"/>
                <a:gd name="connsiteX1707" fmla="*/ 4822188 w 4829175"/>
                <a:gd name="connsiteY1707" fmla="*/ 6232165 h 6515100"/>
                <a:gd name="connsiteX1708" fmla="*/ 4558064 w 4829175"/>
                <a:gd name="connsiteY1708" fmla="*/ 6232165 h 6515100"/>
                <a:gd name="connsiteX1709" fmla="*/ 4829175 w 4829175"/>
                <a:gd name="connsiteY1709" fmla="*/ 6502577 h 6515100"/>
                <a:gd name="connsiteX1710" fmla="*/ 4826380 w 4829175"/>
                <a:gd name="connsiteY1710" fmla="*/ 6505372 h 6515100"/>
                <a:gd name="connsiteX1711" fmla="*/ 4816727 w 4829175"/>
                <a:gd name="connsiteY1711" fmla="*/ 6515100 h 6515100"/>
                <a:gd name="connsiteX1712" fmla="*/ 4806802 w 4829175"/>
                <a:gd name="connsiteY1712" fmla="*/ 6515100 h 6515100"/>
                <a:gd name="connsiteX1713" fmla="*/ 4815200 w 4829175"/>
                <a:gd name="connsiteY1713" fmla="*/ 6506770 h 6515100"/>
                <a:gd name="connsiteX1714" fmla="*/ 4551077 w 4829175"/>
                <a:gd name="connsiteY1714" fmla="*/ 6506770 h 6515100"/>
                <a:gd name="connsiteX1715" fmla="*/ 4542768 w 4829175"/>
                <a:gd name="connsiteY1715" fmla="*/ 6515100 h 6515100"/>
                <a:gd name="connsiteX1716" fmla="*/ 4531598 w 4829175"/>
                <a:gd name="connsiteY1716" fmla="*/ 6515100 h 6515100"/>
                <a:gd name="connsiteX1717" fmla="*/ 4544089 w 4829175"/>
                <a:gd name="connsiteY1717" fmla="*/ 6502577 h 6515100"/>
                <a:gd name="connsiteX1718" fmla="*/ 4539198 w 4829175"/>
                <a:gd name="connsiteY1718" fmla="*/ 6497686 h 6515100"/>
                <a:gd name="connsiteX1719" fmla="*/ 4273677 w 4829175"/>
                <a:gd name="connsiteY1719" fmla="*/ 6232165 h 6515100"/>
                <a:gd name="connsiteX1720" fmla="*/ 4009554 w 4829175"/>
                <a:gd name="connsiteY1720" fmla="*/ 6232165 h 6515100"/>
                <a:gd name="connsiteX1721" fmla="*/ 4010952 w 4829175"/>
                <a:gd name="connsiteY1721" fmla="*/ 6233562 h 6515100"/>
                <a:gd name="connsiteX1722" fmla="*/ 4279966 w 4829175"/>
                <a:gd name="connsiteY1722" fmla="*/ 6502577 h 6515100"/>
                <a:gd name="connsiteX1723" fmla="*/ 4267475 w 4829175"/>
                <a:gd name="connsiteY1723" fmla="*/ 6515100 h 6515100"/>
                <a:gd name="connsiteX1724" fmla="*/ 4259077 w 4829175"/>
                <a:gd name="connsiteY1724" fmla="*/ 6515100 h 6515100"/>
                <a:gd name="connsiteX1725" fmla="*/ 4266690 w 4829175"/>
                <a:gd name="connsiteY1725" fmla="*/ 6507468 h 6515100"/>
                <a:gd name="connsiteX1726" fmla="*/ 4002566 w 4829175"/>
                <a:gd name="connsiteY1726" fmla="*/ 6507468 h 6515100"/>
                <a:gd name="connsiteX1727" fmla="*/ 3994954 w 4829175"/>
                <a:gd name="connsiteY1727" fmla="*/ 6515100 h 6515100"/>
                <a:gd name="connsiteX1728" fmla="*/ 3983089 w 4829175"/>
                <a:gd name="connsiteY1728" fmla="*/ 6515100 h 6515100"/>
                <a:gd name="connsiteX1729" fmla="*/ 3996278 w 4829175"/>
                <a:gd name="connsiteY1729" fmla="*/ 6501878 h 6515100"/>
                <a:gd name="connsiteX1730" fmla="*/ 3862819 w 4829175"/>
                <a:gd name="connsiteY1730" fmla="*/ 6369115 h 6515100"/>
                <a:gd name="connsiteX1731" fmla="*/ 3865614 w 4829175"/>
                <a:gd name="connsiteY1731" fmla="*/ 6363527 h 6515100"/>
                <a:gd name="connsiteX1732" fmla="*/ 3864915 w 4829175"/>
                <a:gd name="connsiteY1732" fmla="*/ 6362829 h 6515100"/>
                <a:gd name="connsiteX1733" fmla="*/ 3865614 w 4829175"/>
                <a:gd name="connsiteY1733" fmla="*/ 6361432 h 6515100"/>
                <a:gd name="connsiteX1734" fmla="*/ 4002566 w 4829175"/>
                <a:gd name="connsiteY1734" fmla="*/ 6498385 h 6515100"/>
                <a:gd name="connsiteX1735" fmla="*/ 4266690 w 4829175"/>
                <a:gd name="connsiteY1735" fmla="*/ 6498385 h 6515100"/>
                <a:gd name="connsiteX1736" fmla="*/ 3995579 w 4829175"/>
                <a:gd name="connsiteY1736" fmla="*/ 6227973 h 6515100"/>
                <a:gd name="connsiteX1737" fmla="*/ 3996977 w 4829175"/>
                <a:gd name="connsiteY1737" fmla="*/ 6226575 h 6515100"/>
                <a:gd name="connsiteX1738" fmla="*/ 4265292 w 4829175"/>
                <a:gd name="connsiteY1738" fmla="*/ 5957561 h 6515100"/>
                <a:gd name="connsiteX1739" fmla="*/ 4066851 w 4829175"/>
                <a:gd name="connsiteY1739" fmla="*/ 5957561 h 6515100"/>
                <a:gd name="connsiteX1740" fmla="*/ 4070344 w 4829175"/>
                <a:gd name="connsiteY1740" fmla="*/ 5950573 h 6515100"/>
                <a:gd name="connsiteX1741" fmla="*/ 4265292 w 4829175"/>
                <a:gd name="connsiteY1741" fmla="*/ 5950573 h 6515100"/>
                <a:gd name="connsiteX1742" fmla="*/ 4135327 w 4829175"/>
                <a:gd name="connsiteY1742" fmla="*/ 5820608 h 6515100"/>
                <a:gd name="connsiteX1743" fmla="*/ 4138820 w 4829175"/>
                <a:gd name="connsiteY1743" fmla="*/ 5813620 h 6515100"/>
                <a:gd name="connsiteX1744" fmla="*/ 4279267 w 4829175"/>
                <a:gd name="connsiteY1744" fmla="*/ 5954066 h 6515100"/>
                <a:gd name="connsiteX1745" fmla="*/ 4008855 w 4829175"/>
                <a:gd name="connsiteY1745" fmla="*/ 6225177 h 6515100"/>
                <a:gd name="connsiteX1746" fmla="*/ 4272979 w 4829175"/>
                <a:gd name="connsiteY1746" fmla="*/ 6225177 h 6515100"/>
                <a:gd name="connsiteX1747" fmla="*/ 4543391 w 4829175"/>
                <a:gd name="connsiteY1747" fmla="*/ 5954066 h 6515100"/>
                <a:gd name="connsiteX1748" fmla="*/ 4272280 w 4829175"/>
                <a:gd name="connsiteY1748" fmla="*/ 5684353 h 6515100"/>
                <a:gd name="connsiteX1749" fmla="*/ 4203803 w 4829175"/>
                <a:gd name="connsiteY1749" fmla="*/ 5684353 h 6515100"/>
                <a:gd name="connsiteX1750" fmla="*/ 4008855 w 4829175"/>
                <a:gd name="connsiteY1750" fmla="*/ 5684353 h 6515100"/>
                <a:gd name="connsiteX1751" fmla="*/ 4138121 w 4829175"/>
                <a:gd name="connsiteY1751" fmla="*/ 5814319 h 6515100"/>
                <a:gd name="connsiteX1752" fmla="*/ 4134628 w 4829175"/>
                <a:gd name="connsiteY1752" fmla="*/ 5821306 h 6515100"/>
                <a:gd name="connsiteX1753" fmla="*/ 3994181 w 4829175"/>
                <a:gd name="connsiteY1753" fmla="*/ 5680860 h 6515100"/>
                <a:gd name="connsiteX1754" fmla="*/ 4264593 w 4829175"/>
                <a:gd name="connsiteY1754" fmla="*/ 5409749 h 6515100"/>
                <a:gd name="connsiteX1755" fmla="*/ 4000470 w 4829175"/>
                <a:gd name="connsiteY1755" fmla="*/ 5409749 h 6515100"/>
                <a:gd name="connsiteX1756" fmla="*/ 3730058 w 4829175"/>
                <a:gd name="connsiteY1756" fmla="*/ 5680860 h 6515100"/>
                <a:gd name="connsiteX1757" fmla="*/ 4001169 w 4829175"/>
                <a:gd name="connsiteY1757" fmla="*/ 5951272 h 6515100"/>
                <a:gd name="connsiteX1758" fmla="*/ 4069645 w 4829175"/>
                <a:gd name="connsiteY1758" fmla="*/ 5951272 h 6515100"/>
                <a:gd name="connsiteX1759" fmla="*/ 4066152 w 4829175"/>
                <a:gd name="connsiteY1759" fmla="*/ 5958259 h 6515100"/>
                <a:gd name="connsiteX1760" fmla="*/ 4001169 w 4829175"/>
                <a:gd name="connsiteY1760" fmla="*/ 5958259 h 6515100"/>
                <a:gd name="connsiteX1761" fmla="*/ 3820894 w 4829175"/>
                <a:gd name="connsiteY1761" fmla="*/ 6139233 h 6515100"/>
                <a:gd name="connsiteX1762" fmla="*/ 3731456 w 4829175"/>
                <a:gd name="connsiteY1762" fmla="*/ 6229370 h 6515100"/>
                <a:gd name="connsiteX1763" fmla="*/ 3864915 w 4829175"/>
                <a:gd name="connsiteY1763" fmla="*/ 6362829 h 6515100"/>
                <a:gd name="connsiteX1764" fmla="*/ 3862120 w 4829175"/>
                <a:gd name="connsiteY1764" fmla="*/ 6368418 h 6515100"/>
                <a:gd name="connsiteX1765" fmla="*/ 3862819 w 4829175"/>
                <a:gd name="connsiteY1765" fmla="*/ 6369115 h 6515100"/>
                <a:gd name="connsiteX1766" fmla="*/ 3862120 w 4829175"/>
                <a:gd name="connsiteY1766" fmla="*/ 6370515 h 6515100"/>
                <a:gd name="connsiteX1767" fmla="*/ 3725167 w 4829175"/>
                <a:gd name="connsiteY1767" fmla="*/ 6233562 h 6515100"/>
                <a:gd name="connsiteX1768" fmla="*/ 3461044 w 4829175"/>
                <a:gd name="connsiteY1768" fmla="*/ 6233562 h 6515100"/>
                <a:gd name="connsiteX1769" fmla="*/ 3732154 w 4829175"/>
                <a:gd name="connsiteY1769" fmla="*/ 6503974 h 6515100"/>
                <a:gd name="connsiteX1770" fmla="*/ 3721057 w 4829175"/>
                <a:gd name="connsiteY1770" fmla="*/ 6515100 h 6515100"/>
                <a:gd name="connsiteX1771" fmla="*/ 3710566 w 4829175"/>
                <a:gd name="connsiteY1771" fmla="*/ 6515100 h 6515100"/>
                <a:gd name="connsiteX1772" fmla="*/ 3718179 w 4829175"/>
                <a:gd name="connsiteY1772" fmla="*/ 6507468 h 6515100"/>
                <a:gd name="connsiteX1773" fmla="*/ 3454056 w 4829175"/>
                <a:gd name="connsiteY1773" fmla="*/ 6507468 h 6515100"/>
                <a:gd name="connsiteX1774" fmla="*/ 3446443 w 4829175"/>
                <a:gd name="connsiteY1774" fmla="*/ 6515100 h 6515100"/>
                <a:gd name="connsiteX1775" fmla="*/ 3437367 w 4829175"/>
                <a:gd name="connsiteY1775" fmla="*/ 6515100 h 6515100"/>
                <a:gd name="connsiteX1776" fmla="*/ 3447767 w 4829175"/>
                <a:gd name="connsiteY1776" fmla="*/ 6504673 h 6515100"/>
                <a:gd name="connsiteX1777" fmla="*/ 3176657 w 4829175"/>
                <a:gd name="connsiteY1777" fmla="*/ 6234261 h 6515100"/>
                <a:gd name="connsiteX1778" fmla="*/ 2912533 w 4829175"/>
                <a:gd name="connsiteY1778" fmla="*/ 6234261 h 6515100"/>
                <a:gd name="connsiteX1779" fmla="*/ 3183644 w 4829175"/>
                <a:gd name="connsiteY1779" fmla="*/ 6504673 h 6515100"/>
                <a:gd name="connsiteX1780" fmla="*/ 3173244 w 4829175"/>
                <a:gd name="connsiteY1780" fmla="*/ 6515100 h 6515100"/>
                <a:gd name="connsiteX1781" fmla="*/ 3163450 w 4829175"/>
                <a:gd name="connsiteY1781" fmla="*/ 6515100 h 6515100"/>
                <a:gd name="connsiteX1782" fmla="*/ 3169669 w 4829175"/>
                <a:gd name="connsiteY1782" fmla="*/ 6508865 h 6515100"/>
                <a:gd name="connsiteX1783" fmla="*/ 2905546 w 4829175"/>
                <a:gd name="connsiteY1783" fmla="*/ 6508865 h 6515100"/>
                <a:gd name="connsiteX1784" fmla="*/ 2899327 w 4829175"/>
                <a:gd name="connsiteY1784" fmla="*/ 6515100 h 6515100"/>
                <a:gd name="connsiteX1785" fmla="*/ 2889554 w 4829175"/>
                <a:gd name="connsiteY1785" fmla="*/ 6515100 h 6515100"/>
                <a:gd name="connsiteX1786" fmla="*/ 2899257 w 4829175"/>
                <a:gd name="connsiteY1786" fmla="*/ 6505372 h 6515100"/>
                <a:gd name="connsiteX1787" fmla="*/ 2628146 w 4829175"/>
                <a:gd name="connsiteY1787" fmla="*/ 6234960 h 6515100"/>
                <a:gd name="connsiteX1788" fmla="*/ 2364722 w 4829175"/>
                <a:gd name="connsiteY1788" fmla="*/ 6234960 h 6515100"/>
                <a:gd name="connsiteX1789" fmla="*/ 2494687 w 4829175"/>
                <a:gd name="connsiteY1789" fmla="*/ 6364925 h 6515100"/>
                <a:gd name="connsiteX1790" fmla="*/ 2635134 w 4829175"/>
                <a:gd name="connsiteY1790" fmla="*/ 6505372 h 6515100"/>
                <a:gd name="connsiteX1791" fmla="*/ 2625431 w 4829175"/>
                <a:gd name="connsiteY1791" fmla="*/ 6515100 h 6515100"/>
                <a:gd name="connsiteX1792" fmla="*/ 2614938 w 4829175"/>
                <a:gd name="connsiteY1792" fmla="*/ 6515100 h 6515100"/>
                <a:gd name="connsiteX1793" fmla="*/ 2620460 w 4829175"/>
                <a:gd name="connsiteY1793" fmla="*/ 6509564 h 6515100"/>
                <a:gd name="connsiteX1794" fmla="*/ 2357035 w 4829175"/>
                <a:gd name="connsiteY1794" fmla="*/ 6509564 h 6515100"/>
                <a:gd name="connsiteX1795" fmla="*/ 2351521 w 4829175"/>
                <a:gd name="connsiteY1795" fmla="*/ 6515100 h 6515100"/>
                <a:gd name="connsiteX1796" fmla="*/ 2341019 w 4829175"/>
                <a:gd name="connsiteY1796" fmla="*/ 6515100 h 6515100"/>
                <a:gd name="connsiteX1797" fmla="*/ 2350747 w 4829175"/>
                <a:gd name="connsiteY1797" fmla="*/ 6505372 h 6515100"/>
                <a:gd name="connsiteX1798" fmla="*/ 2079636 w 4829175"/>
                <a:gd name="connsiteY1798" fmla="*/ 6234960 h 6515100"/>
                <a:gd name="connsiteX1799" fmla="*/ 1815513 w 4829175"/>
                <a:gd name="connsiteY1799" fmla="*/ 6234960 h 6515100"/>
                <a:gd name="connsiteX1800" fmla="*/ 2086623 w 4829175"/>
                <a:gd name="connsiteY1800" fmla="*/ 6505372 h 6515100"/>
                <a:gd name="connsiteX1801" fmla="*/ 2083829 w 4829175"/>
                <a:gd name="connsiteY1801" fmla="*/ 6508166 h 6515100"/>
                <a:gd name="connsiteX1802" fmla="*/ 2076948 w 4829175"/>
                <a:gd name="connsiteY1802" fmla="*/ 6515100 h 6515100"/>
                <a:gd name="connsiteX1803" fmla="*/ 2067112 w 4829175"/>
                <a:gd name="connsiteY1803" fmla="*/ 6515100 h 6515100"/>
                <a:gd name="connsiteX1804" fmla="*/ 2072648 w 4829175"/>
                <a:gd name="connsiteY1804" fmla="*/ 6509564 h 6515100"/>
                <a:gd name="connsiteX1805" fmla="*/ 1808526 w 4829175"/>
                <a:gd name="connsiteY1805" fmla="*/ 6509564 h 6515100"/>
                <a:gd name="connsiteX1806" fmla="*/ 1803004 w 4829175"/>
                <a:gd name="connsiteY1806" fmla="*/ 6515100 h 6515100"/>
                <a:gd name="connsiteX1807" fmla="*/ 1792532 w 4829175"/>
                <a:gd name="connsiteY1807" fmla="*/ 6515100 h 6515100"/>
                <a:gd name="connsiteX1808" fmla="*/ 1801539 w 4829175"/>
                <a:gd name="connsiteY1808" fmla="*/ 6506071 h 6515100"/>
                <a:gd name="connsiteX1809" fmla="*/ 1796647 w 4829175"/>
                <a:gd name="connsiteY1809" fmla="*/ 6501179 h 6515100"/>
                <a:gd name="connsiteX1810" fmla="*/ 1531127 w 4829175"/>
                <a:gd name="connsiteY1810" fmla="*/ 6236358 h 6515100"/>
                <a:gd name="connsiteX1811" fmla="*/ 1267002 w 4829175"/>
                <a:gd name="connsiteY1811" fmla="*/ 6236358 h 6515100"/>
                <a:gd name="connsiteX1812" fmla="*/ 1267701 w 4829175"/>
                <a:gd name="connsiteY1812" fmla="*/ 6237056 h 6515100"/>
                <a:gd name="connsiteX1813" fmla="*/ 1268400 w 4829175"/>
                <a:gd name="connsiteY1813" fmla="*/ 6237056 h 6515100"/>
                <a:gd name="connsiteX1814" fmla="*/ 1537414 w 4829175"/>
                <a:gd name="connsiteY1814" fmla="*/ 6506071 h 6515100"/>
                <a:gd name="connsiteX1815" fmla="*/ 1528408 w 4829175"/>
                <a:gd name="connsiteY1815" fmla="*/ 6515100 h 6515100"/>
                <a:gd name="connsiteX1816" fmla="*/ 1520000 w 4829175"/>
                <a:gd name="connsiteY1816" fmla="*/ 6515100 h 6515100"/>
                <a:gd name="connsiteX1817" fmla="*/ 1524838 w 4829175"/>
                <a:gd name="connsiteY1817" fmla="*/ 6510263 h 6515100"/>
                <a:gd name="connsiteX1818" fmla="*/ 1260714 w 4829175"/>
                <a:gd name="connsiteY1818" fmla="*/ 6510263 h 6515100"/>
                <a:gd name="connsiteX1819" fmla="*/ 1255889 w 4829175"/>
                <a:gd name="connsiteY1819" fmla="*/ 6515100 h 6515100"/>
                <a:gd name="connsiteX1820" fmla="*/ 1243300 w 4829175"/>
                <a:gd name="connsiteY1820" fmla="*/ 6515100 h 6515100"/>
                <a:gd name="connsiteX1821" fmla="*/ 1252329 w 4829175"/>
                <a:gd name="connsiteY1821" fmla="*/ 6506071 h 6515100"/>
                <a:gd name="connsiteX1822" fmla="*/ 1119569 w 4829175"/>
                <a:gd name="connsiteY1822" fmla="*/ 6374009 h 6515100"/>
                <a:gd name="connsiteX1823" fmla="*/ 981219 w 4829175"/>
                <a:gd name="connsiteY1823" fmla="*/ 6235659 h 6515100"/>
                <a:gd name="connsiteX1824" fmla="*/ 717095 w 4829175"/>
                <a:gd name="connsiteY1824" fmla="*/ 6235659 h 6515100"/>
                <a:gd name="connsiteX1825" fmla="*/ 988206 w 4829175"/>
                <a:gd name="connsiteY1825" fmla="*/ 6505372 h 6515100"/>
                <a:gd name="connsiteX1826" fmla="*/ 985411 w 4829175"/>
                <a:gd name="connsiteY1826" fmla="*/ 6508166 h 6515100"/>
                <a:gd name="connsiteX1827" fmla="*/ 978530 w 4829175"/>
                <a:gd name="connsiteY1827" fmla="*/ 6515100 h 6515100"/>
                <a:gd name="connsiteX1828" fmla="*/ 969394 w 4829175"/>
                <a:gd name="connsiteY1828" fmla="*/ 6515100 h 6515100"/>
                <a:gd name="connsiteX1829" fmla="*/ 974930 w 4829175"/>
                <a:gd name="connsiteY1829" fmla="*/ 6509564 h 6515100"/>
                <a:gd name="connsiteX1830" fmla="*/ 716396 w 4829175"/>
                <a:gd name="connsiteY1830" fmla="*/ 6509564 h 6515100"/>
                <a:gd name="connsiteX1831" fmla="*/ 714941 w 4829175"/>
                <a:gd name="connsiteY1831" fmla="*/ 6508865 h 6515100"/>
                <a:gd name="connsiteX1832" fmla="*/ 716396 w 4829175"/>
                <a:gd name="connsiteY1832" fmla="*/ 6508865 h 6515100"/>
                <a:gd name="connsiteX1833" fmla="*/ 698928 w 4829175"/>
                <a:gd name="connsiteY1833" fmla="*/ 6500480 h 6515100"/>
                <a:gd name="connsiteX1834" fmla="*/ 700271 w 4829175"/>
                <a:gd name="connsiteY1834" fmla="*/ 6501824 h 6515100"/>
                <a:gd name="connsiteX1835" fmla="*/ 698928 w 4829175"/>
                <a:gd name="connsiteY1835" fmla="*/ 6501179 h 6515100"/>
                <a:gd name="connsiteX1836" fmla="*/ 433407 w 4829175"/>
                <a:gd name="connsiteY1836" fmla="*/ 6236358 h 6515100"/>
                <a:gd name="connsiteX1837" fmla="*/ 169284 w 4829175"/>
                <a:gd name="connsiteY1837" fmla="*/ 6236358 h 6515100"/>
                <a:gd name="connsiteX1838" fmla="*/ 170681 w 4829175"/>
                <a:gd name="connsiteY1838" fmla="*/ 6237754 h 6515100"/>
                <a:gd name="connsiteX1839" fmla="*/ 439696 w 4829175"/>
                <a:gd name="connsiteY1839" fmla="*/ 6506770 h 6515100"/>
                <a:gd name="connsiteX1840" fmla="*/ 431344 w 4829175"/>
                <a:gd name="connsiteY1840" fmla="*/ 6515100 h 6515100"/>
                <a:gd name="connsiteX1841" fmla="*/ 420908 w 4829175"/>
                <a:gd name="connsiteY1841" fmla="*/ 6515100 h 6515100"/>
                <a:gd name="connsiteX1842" fmla="*/ 425721 w 4829175"/>
                <a:gd name="connsiteY1842" fmla="*/ 6510263 h 6515100"/>
                <a:gd name="connsiteX1843" fmla="*/ 161597 w 4829175"/>
                <a:gd name="connsiteY1843" fmla="*/ 6510263 h 6515100"/>
                <a:gd name="connsiteX1844" fmla="*/ 156781 w 4829175"/>
                <a:gd name="connsiteY1844" fmla="*/ 6515100 h 6515100"/>
                <a:gd name="connsiteX1845" fmla="*/ 146978 w 4829175"/>
                <a:gd name="connsiteY1845" fmla="*/ 6515100 h 6515100"/>
                <a:gd name="connsiteX1846" fmla="*/ 155309 w 4829175"/>
                <a:gd name="connsiteY1846" fmla="*/ 6506770 h 6515100"/>
                <a:gd name="connsiteX1847" fmla="*/ 21150 w 4829175"/>
                <a:gd name="connsiteY1847" fmla="*/ 6373310 h 6515100"/>
                <a:gd name="connsiteX1848" fmla="*/ 5080 w 4829175"/>
                <a:gd name="connsiteY1848" fmla="*/ 6357239 h 6515100"/>
                <a:gd name="connsiteX1849" fmla="*/ 5080 w 4829175"/>
                <a:gd name="connsiteY1849" fmla="*/ 6347457 h 6515100"/>
                <a:gd name="connsiteX1850" fmla="*/ 24645 w 4829175"/>
                <a:gd name="connsiteY1850" fmla="*/ 6367022 h 6515100"/>
                <a:gd name="connsiteX1851" fmla="*/ 161597 w 4829175"/>
                <a:gd name="connsiteY1851" fmla="*/ 6503275 h 6515100"/>
                <a:gd name="connsiteX1852" fmla="*/ 425721 w 4829175"/>
                <a:gd name="connsiteY1852" fmla="*/ 6503275 h 6515100"/>
                <a:gd name="connsiteX1853" fmla="*/ 154610 w 4829175"/>
                <a:gd name="connsiteY1853" fmla="*/ 6232863 h 6515100"/>
                <a:gd name="connsiteX1854" fmla="*/ 156008 w 4829175"/>
                <a:gd name="connsiteY1854" fmla="*/ 6231466 h 6515100"/>
                <a:gd name="connsiteX1855" fmla="*/ 156706 w 4829175"/>
                <a:gd name="connsiteY1855" fmla="*/ 6231466 h 6515100"/>
                <a:gd name="connsiteX1856" fmla="*/ 425022 w 4829175"/>
                <a:gd name="connsiteY1856" fmla="*/ 5962452 h 6515100"/>
                <a:gd name="connsiteX1857" fmla="*/ 161597 w 4829175"/>
                <a:gd name="connsiteY1857" fmla="*/ 5962452 h 6515100"/>
                <a:gd name="connsiteX1858" fmla="*/ 5080 w 4829175"/>
                <a:gd name="connsiteY1858" fmla="*/ 6118969 h 6515100"/>
                <a:gd name="connsiteX1859" fmla="*/ 5080 w 4829175"/>
                <a:gd name="connsiteY1859" fmla="*/ 6108488 h 6515100"/>
                <a:gd name="connsiteX1860" fmla="*/ 154610 w 4829175"/>
                <a:gd name="connsiteY1860" fmla="*/ 5958957 h 6515100"/>
                <a:gd name="connsiteX1861" fmla="*/ 5080 w 4829175"/>
                <a:gd name="connsiteY1861" fmla="*/ 5809427 h 6515100"/>
                <a:gd name="connsiteX1862" fmla="*/ 5080 w 4829175"/>
                <a:gd name="connsiteY1862" fmla="*/ 5798947 h 6515100"/>
                <a:gd name="connsiteX1863" fmla="*/ 161597 w 4829175"/>
                <a:gd name="connsiteY1863" fmla="*/ 5954765 h 6515100"/>
                <a:gd name="connsiteX1864" fmla="*/ 425022 w 4829175"/>
                <a:gd name="connsiteY1864" fmla="*/ 5954765 h 6515100"/>
                <a:gd name="connsiteX1865" fmla="*/ 295057 w 4829175"/>
                <a:gd name="connsiteY1865" fmla="*/ 5824800 h 6515100"/>
                <a:gd name="connsiteX1866" fmla="*/ 154610 w 4829175"/>
                <a:gd name="connsiteY1866" fmla="*/ 5684353 h 6515100"/>
                <a:gd name="connsiteX1867" fmla="*/ 425022 w 4829175"/>
                <a:gd name="connsiteY1867" fmla="*/ 5413941 h 6515100"/>
                <a:gd name="connsiteX1868" fmla="*/ 160898 w 4829175"/>
                <a:gd name="connsiteY1868" fmla="*/ 5413941 h 6515100"/>
                <a:gd name="connsiteX1869" fmla="*/ 5080 w 4829175"/>
                <a:gd name="connsiteY1869" fmla="*/ 5569760 h 6515100"/>
                <a:gd name="connsiteX1870" fmla="*/ 5080 w 4829175"/>
                <a:gd name="connsiteY1870" fmla="*/ 5559279 h 6515100"/>
                <a:gd name="connsiteX1871" fmla="*/ 153911 w 4829175"/>
                <a:gd name="connsiteY1871" fmla="*/ 5410448 h 6515100"/>
                <a:gd name="connsiteX1872" fmla="*/ 5080 w 4829175"/>
                <a:gd name="connsiteY1872" fmla="*/ 5261616 h 6515100"/>
                <a:gd name="connsiteX1873" fmla="*/ 5080 w 4829175"/>
                <a:gd name="connsiteY1873" fmla="*/ 5251135 h 6515100"/>
                <a:gd name="connsiteX1874" fmla="*/ 160898 w 4829175"/>
                <a:gd name="connsiteY1874" fmla="*/ 5406255 h 6515100"/>
                <a:gd name="connsiteX1875" fmla="*/ 425022 w 4829175"/>
                <a:gd name="connsiteY1875" fmla="*/ 5406255 h 6515100"/>
                <a:gd name="connsiteX1876" fmla="*/ 153911 w 4829175"/>
                <a:gd name="connsiteY1876" fmla="*/ 5135843 h 6515100"/>
                <a:gd name="connsiteX1877" fmla="*/ 338378 w 4829175"/>
                <a:gd name="connsiteY1877" fmla="*/ 4951376 h 6515100"/>
                <a:gd name="connsiteX1878" fmla="*/ 424323 w 4829175"/>
                <a:gd name="connsiteY1878" fmla="*/ 4865431 h 6515100"/>
                <a:gd name="connsiteX1879" fmla="*/ 160200 w 4829175"/>
                <a:gd name="connsiteY1879" fmla="*/ 4865431 h 6515100"/>
                <a:gd name="connsiteX1880" fmla="*/ 5080 w 4829175"/>
                <a:gd name="connsiteY1880" fmla="*/ 5020552 h 6515100"/>
                <a:gd name="connsiteX1881" fmla="*/ 5080 w 4829175"/>
                <a:gd name="connsiteY1881" fmla="*/ 5010070 h 6515100"/>
                <a:gd name="connsiteX1882" fmla="*/ 153212 w 4829175"/>
                <a:gd name="connsiteY1882" fmla="*/ 4861239 h 6515100"/>
                <a:gd name="connsiteX1883" fmla="*/ 148321 w 4829175"/>
                <a:gd name="connsiteY1883" fmla="*/ 4856348 h 6515100"/>
                <a:gd name="connsiteX1884" fmla="*/ 5080 w 4829175"/>
                <a:gd name="connsiteY1884" fmla="*/ 4713804 h 6515100"/>
                <a:gd name="connsiteX1885" fmla="*/ 5080 w 4829175"/>
                <a:gd name="connsiteY1885" fmla="*/ 4704023 h 6515100"/>
                <a:gd name="connsiteX1886" fmla="*/ 160200 w 4829175"/>
                <a:gd name="connsiteY1886" fmla="*/ 4858443 h 6515100"/>
                <a:gd name="connsiteX1887" fmla="*/ 424323 w 4829175"/>
                <a:gd name="connsiteY1887" fmla="*/ 4857746 h 6515100"/>
                <a:gd name="connsiteX1888" fmla="*/ 153212 w 4829175"/>
                <a:gd name="connsiteY1888" fmla="*/ 4587334 h 6515100"/>
                <a:gd name="connsiteX1889" fmla="*/ 423624 w 4829175"/>
                <a:gd name="connsiteY1889" fmla="*/ 4316922 h 6515100"/>
                <a:gd name="connsiteX1890" fmla="*/ 159501 w 4829175"/>
                <a:gd name="connsiteY1890" fmla="*/ 4316922 h 6515100"/>
                <a:gd name="connsiteX1891" fmla="*/ 5080 w 4829175"/>
                <a:gd name="connsiteY1891" fmla="*/ 4471342 h 6515100"/>
                <a:gd name="connsiteX1892" fmla="*/ 5080 w 4829175"/>
                <a:gd name="connsiteY1892" fmla="*/ 4460862 h 6515100"/>
                <a:gd name="connsiteX1893" fmla="*/ 152513 w 4829175"/>
                <a:gd name="connsiteY1893" fmla="*/ 4312728 h 6515100"/>
                <a:gd name="connsiteX1894" fmla="*/ 5080 w 4829175"/>
                <a:gd name="connsiteY1894" fmla="*/ 4165993 h 6515100"/>
                <a:gd name="connsiteX1895" fmla="*/ 5080 w 4829175"/>
                <a:gd name="connsiteY1895" fmla="*/ 4155512 h 6515100"/>
                <a:gd name="connsiteX1896" fmla="*/ 159501 w 4829175"/>
                <a:gd name="connsiteY1896" fmla="*/ 4309235 h 6515100"/>
                <a:gd name="connsiteX1897" fmla="*/ 423624 w 4829175"/>
                <a:gd name="connsiteY1897" fmla="*/ 4309235 h 6515100"/>
                <a:gd name="connsiteX1898" fmla="*/ 152513 w 4829175"/>
                <a:gd name="connsiteY1898" fmla="*/ 4039522 h 6515100"/>
                <a:gd name="connsiteX1899" fmla="*/ 331391 w 4829175"/>
                <a:gd name="connsiteY1899" fmla="*/ 3860644 h 6515100"/>
                <a:gd name="connsiteX1900" fmla="*/ 331489 w 4829175"/>
                <a:gd name="connsiteY1900" fmla="*/ 3860644 h 6515100"/>
                <a:gd name="connsiteX1901" fmla="*/ 422038 w 4829175"/>
                <a:gd name="connsiteY1901" fmla="*/ 3769860 h 6515100"/>
                <a:gd name="connsiteX1902" fmla="*/ 225692 w 4829175"/>
                <a:gd name="connsiteY1902" fmla="*/ 3769860 h 6515100"/>
                <a:gd name="connsiteX1903" fmla="*/ 226391 w 4829175"/>
                <a:gd name="connsiteY1903" fmla="*/ 3768464 h 6515100"/>
                <a:gd name="connsiteX1904" fmla="*/ 158613 w 4829175"/>
                <a:gd name="connsiteY1904" fmla="*/ 3768464 h 6515100"/>
                <a:gd name="connsiteX1905" fmla="*/ 0 w 4829175"/>
                <a:gd name="connsiteY1905" fmla="*/ 3927075 h 6515100"/>
                <a:gd name="connsiteX1906" fmla="*/ 0 w 4829175"/>
                <a:gd name="connsiteY1906" fmla="*/ 3917294 h 6515100"/>
                <a:gd name="connsiteX1907" fmla="*/ 152324 w 4829175"/>
                <a:gd name="connsiteY1907" fmla="*/ 3764969 h 6515100"/>
                <a:gd name="connsiteX1908" fmla="*/ 0 w 4829175"/>
                <a:gd name="connsiteY1908" fmla="*/ 3613344 h 6515100"/>
                <a:gd name="connsiteX1909" fmla="*/ 0 w 4829175"/>
                <a:gd name="connsiteY1909" fmla="*/ 3602863 h 6515100"/>
                <a:gd name="connsiteX1910" fmla="*/ 159312 w 4829175"/>
                <a:gd name="connsiteY1910" fmla="*/ 3760776 h 6515100"/>
                <a:gd name="connsiteX1911" fmla="*/ 423435 w 4829175"/>
                <a:gd name="connsiteY1911" fmla="*/ 3760776 h 6515100"/>
                <a:gd name="connsiteX1912" fmla="*/ 294168 w 4829175"/>
                <a:gd name="connsiteY1912" fmla="*/ 3632209 h 6515100"/>
                <a:gd name="connsiteX1913" fmla="*/ 152324 w 4829175"/>
                <a:gd name="connsiteY1913" fmla="*/ 3491064 h 6515100"/>
                <a:gd name="connsiteX1914" fmla="*/ 336093 w 4829175"/>
                <a:gd name="connsiteY1914" fmla="*/ 3305898 h 6515100"/>
                <a:gd name="connsiteX1915" fmla="*/ 422038 w 4829175"/>
                <a:gd name="connsiteY1915" fmla="*/ 3219953 h 6515100"/>
                <a:gd name="connsiteX1916" fmla="*/ 157914 w 4829175"/>
                <a:gd name="connsiteY1916" fmla="*/ 3219953 h 6515100"/>
                <a:gd name="connsiteX1917" fmla="*/ 0 w 4829175"/>
                <a:gd name="connsiteY1917" fmla="*/ 3378566 h 6515100"/>
                <a:gd name="connsiteX1918" fmla="*/ 0 w 4829175"/>
                <a:gd name="connsiteY1918" fmla="*/ 3368084 h 6515100"/>
                <a:gd name="connsiteX1919" fmla="*/ 152324 w 4829175"/>
                <a:gd name="connsiteY1919" fmla="*/ 3216459 h 6515100"/>
                <a:gd name="connsiteX1920" fmla="*/ 146735 w 4829175"/>
                <a:gd name="connsiteY1920" fmla="*/ 3211568 h 6515100"/>
                <a:gd name="connsiteX1921" fmla="*/ 0 w 4829175"/>
                <a:gd name="connsiteY1921" fmla="*/ 3065532 h 6515100"/>
                <a:gd name="connsiteX1922" fmla="*/ 0 w 4829175"/>
                <a:gd name="connsiteY1922" fmla="*/ 3055052 h 6515100"/>
                <a:gd name="connsiteX1923" fmla="*/ 157914 w 4829175"/>
                <a:gd name="connsiteY1923" fmla="*/ 3212966 h 6515100"/>
                <a:gd name="connsiteX1924" fmla="*/ 422038 w 4829175"/>
                <a:gd name="connsiteY1924" fmla="*/ 3212966 h 6515100"/>
                <a:gd name="connsiteX1925" fmla="*/ 150927 w 4829175"/>
                <a:gd name="connsiteY1925" fmla="*/ 2942554 h 6515100"/>
                <a:gd name="connsiteX1926" fmla="*/ 421339 w 4829175"/>
                <a:gd name="connsiteY1926" fmla="*/ 2671443 h 6515100"/>
                <a:gd name="connsiteX1927" fmla="*/ 157215 w 4829175"/>
                <a:gd name="connsiteY1927" fmla="*/ 2671443 h 6515100"/>
                <a:gd name="connsiteX1928" fmla="*/ 0 w 4829175"/>
                <a:gd name="connsiteY1928" fmla="*/ 2829357 h 6515100"/>
                <a:gd name="connsiteX1929" fmla="*/ 0 w 4829175"/>
                <a:gd name="connsiteY1929" fmla="*/ 2818875 h 6515100"/>
                <a:gd name="connsiteX1930" fmla="*/ 150927 w 4829175"/>
                <a:gd name="connsiteY1930" fmla="*/ 2667949 h 6515100"/>
                <a:gd name="connsiteX1931" fmla="*/ 0 w 4829175"/>
                <a:gd name="connsiteY1931" fmla="*/ 2517721 h 6515100"/>
                <a:gd name="connsiteX1932" fmla="*/ 0 w 4829175"/>
                <a:gd name="connsiteY1932" fmla="*/ 2507939 h 6515100"/>
                <a:gd name="connsiteX1933" fmla="*/ 157914 w 4829175"/>
                <a:gd name="connsiteY1933" fmla="*/ 2664456 h 6515100"/>
                <a:gd name="connsiteX1934" fmla="*/ 422038 w 4829175"/>
                <a:gd name="connsiteY1934" fmla="*/ 2664456 h 6515100"/>
                <a:gd name="connsiteX1935" fmla="*/ 150927 w 4829175"/>
                <a:gd name="connsiteY1935" fmla="*/ 2394044 h 6515100"/>
                <a:gd name="connsiteX1936" fmla="*/ 420640 w 4829175"/>
                <a:gd name="connsiteY1936" fmla="*/ 2122933 h 6515100"/>
                <a:gd name="connsiteX1937" fmla="*/ 156517 w 4829175"/>
                <a:gd name="connsiteY1937" fmla="*/ 2122933 h 6515100"/>
                <a:gd name="connsiteX1938" fmla="*/ 0 w 4829175"/>
                <a:gd name="connsiteY1938" fmla="*/ 2280148 h 6515100"/>
                <a:gd name="connsiteX1939" fmla="*/ 0 w 4829175"/>
                <a:gd name="connsiteY1939" fmla="*/ 2269667 h 6515100"/>
                <a:gd name="connsiteX1940" fmla="*/ 150228 w 4829175"/>
                <a:gd name="connsiteY1940" fmla="*/ 2119439 h 6515100"/>
                <a:gd name="connsiteX1941" fmla="*/ 16070 w 4829175"/>
                <a:gd name="connsiteY1941" fmla="*/ 1985980 h 6515100"/>
                <a:gd name="connsiteX1942" fmla="*/ 0 w 4829175"/>
                <a:gd name="connsiteY1942" fmla="*/ 1969909 h 6515100"/>
                <a:gd name="connsiteX1943" fmla="*/ 0 w 4829175"/>
                <a:gd name="connsiteY1943" fmla="*/ 1960127 h 6515100"/>
                <a:gd name="connsiteX1944" fmla="*/ 19564 w 4829175"/>
                <a:gd name="connsiteY1944" fmla="*/ 1979691 h 6515100"/>
                <a:gd name="connsiteX1945" fmla="*/ 156517 w 4829175"/>
                <a:gd name="connsiteY1945" fmla="*/ 2115945 h 6515100"/>
                <a:gd name="connsiteX1946" fmla="*/ 420640 w 4829175"/>
                <a:gd name="connsiteY1946" fmla="*/ 2115945 h 6515100"/>
                <a:gd name="connsiteX1947" fmla="*/ 149529 w 4829175"/>
                <a:gd name="connsiteY1947" fmla="*/ 1845533 h 6515100"/>
                <a:gd name="connsiteX1948" fmla="*/ 150927 w 4829175"/>
                <a:gd name="connsiteY1948" fmla="*/ 1844135 h 6515100"/>
                <a:gd name="connsiteX1949" fmla="*/ 151626 w 4829175"/>
                <a:gd name="connsiteY1949" fmla="*/ 1844135 h 6515100"/>
                <a:gd name="connsiteX1950" fmla="*/ 419941 w 4829175"/>
                <a:gd name="connsiteY1950" fmla="*/ 1575121 h 6515100"/>
                <a:gd name="connsiteX1951" fmla="*/ 156517 w 4829175"/>
                <a:gd name="connsiteY1951" fmla="*/ 1575121 h 6515100"/>
                <a:gd name="connsiteX1952" fmla="*/ 0 w 4829175"/>
                <a:gd name="connsiteY1952" fmla="*/ 1731637 h 6515100"/>
                <a:gd name="connsiteX1953" fmla="*/ 0 w 4829175"/>
                <a:gd name="connsiteY1953" fmla="*/ 1721157 h 6515100"/>
                <a:gd name="connsiteX1954" fmla="*/ 149529 w 4829175"/>
                <a:gd name="connsiteY1954" fmla="*/ 1571627 h 6515100"/>
                <a:gd name="connsiteX1955" fmla="*/ 0 w 4829175"/>
                <a:gd name="connsiteY1955" fmla="*/ 1422098 h 6515100"/>
                <a:gd name="connsiteX1956" fmla="*/ 0 w 4829175"/>
                <a:gd name="connsiteY1956" fmla="*/ 1411617 h 6515100"/>
                <a:gd name="connsiteX1957" fmla="*/ 156517 w 4829175"/>
                <a:gd name="connsiteY1957" fmla="*/ 1567435 h 6515100"/>
                <a:gd name="connsiteX1958" fmla="*/ 419941 w 4829175"/>
                <a:gd name="connsiteY1958" fmla="*/ 1567435 h 6515100"/>
                <a:gd name="connsiteX1959" fmla="*/ 289976 w 4829175"/>
                <a:gd name="connsiteY1959" fmla="*/ 1437470 h 6515100"/>
                <a:gd name="connsiteX1960" fmla="*/ 149529 w 4829175"/>
                <a:gd name="connsiteY1960" fmla="*/ 1297023 h 6515100"/>
                <a:gd name="connsiteX1961" fmla="*/ 419941 w 4829175"/>
                <a:gd name="connsiteY1961" fmla="*/ 1026611 h 6515100"/>
                <a:gd name="connsiteX1962" fmla="*/ 155818 w 4829175"/>
                <a:gd name="connsiteY1962" fmla="*/ 1026611 h 6515100"/>
                <a:gd name="connsiteX1963" fmla="*/ 0 w 4829175"/>
                <a:gd name="connsiteY1963" fmla="*/ 1182428 h 6515100"/>
                <a:gd name="connsiteX1964" fmla="*/ 0 w 4829175"/>
                <a:gd name="connsiteY1964" fmla="*/ 1171948 h 6515100"/>
                <a:gd name="connsiteX1965" fmla="*/ 148830 w 4829175"/>
                <a:gd name="connsiteY1965" fmla="*/ 1023118 h 6515100"/>
                <a:gd name="connsiteX1966" fmla="*/ 0 w 4829175"/>
                <a:gd name="connsiteY1966" fmla="*/ 874286 h 6515100"/>
                <a:gd name="connsiteX1967" fmla="*/ 0 w 4829175"/>
                <a:gd name="connsiteY1967" fmla="*/ 863806 h 6515100"/>
                <a:gd name="connsiteX1968" fmla="*/ 155818 w 4829175"/>
                <a:gd name="connsiteY1968" fmla="*/ 1018924 h 6515100"/>
                <a:gd name="connsiteX1969" fmla="*/ 419941 w 4829175"/>
                <a:gd name="connsiteY1969" fmla="*/ 1018924 h 6515100"/>
                <a:gd name="connsiteX1970" fmla="*/ 148830 w 4829175"/>
                <a:gd name="connsiteY1970" fmla="*/ 748512 h 6515100"/>
                <a:gd name="connsiteX1971" fmla="*/ 333298 w 4829175"/>
                <a:gd name="connsiteY1971" fmla="*/ 564046 h 6515100"/>
                <a:gd name="connsiteX1972" fmla="*/ 419242 w 4829175"/>
                <a:gd name="connsiteY1972" fmla="*/ 478100 h 6515100"/>
                <a:gd name="connsiteX1973" fmla="*/ 155119 w 4829175"/>
                <a:gd name="connsiteY1973" fmla="*/ 478100 h 6515100"/>
                <a:gd name="connsiteX1974" fmla="*/ 0 w 4829175"/>
                <a:gd name="connsiteY1974" fmla="*/ 633220 h 6515100"/>
                <a:gd name="connsiteX1975" fmla="*/ 0 w 4829175"/>
                <a:gd name="connsiteY1975" fmla="*/ 622738 h 6515100"/>
                <a:gd name="connsiteX1976" fmla="*/ 148131 w 4829175"/>
                <a:gd name="connsiteY1976" fmla="*/ 473908 h 6515100"/>
                <a:gd name="connsiteX1977" fmla="*/ 143240 w 4829175"/>
                <a:gd name="connsiteY1977" fmla="*/ 469017 h 6515100"/>
                <a:gd name="connsiteX1978" fmla="*/ 0 w 4829175"/>
                <a:gd name="connsiteY1978" fmla="*/ 326475 h 6515100"/>
                <a:gd name="connsiteX1979" fmla="*/ 0 w 4829175"/>
                <a:gd name="connsiteY1979" fmla="*/ 316693 h 6515100"/>
                <a:gd name="connsiteX1980" fmla="*/ 155119 w 4829175"/>
                <a:gd name="connsiteY1980" fmla="*/ 471113 h 6515100"/>
                <a:gd name="connsiteX1981" fmla="*/ 419242 w 4829175"/>
                <a:gd name="connsiteY1981" fmla="*/ 470415 h 6515100"/>
                <a:gd name="connsiteX1982" fmla="*/ 148131 w 4829175"/>
                <a:gd name="connsiteY1982" fmla="*/ 200003 h 6515100"/>
                <a:gd name="connsiteX1983" fmla="*/ 73183 w 4829175"/>
                <a:gd name="connsiteY1983" fmla="*/ 0 h 6515100"/>
                <a:gd name="connsiteX1984" fmla="*/ 84011 w 4829175"/>
                <a:gd name="connsiteY1984" fmla="*/ 0 h 6515100"/>
                <a:gd name="connsiteX1985" fmla="*/ 0 w 4829175"/>
                <a:gd name="connsiteY1985" fmla="*/ 84011 h 6515100"/>
                <a:gd name="connsiteX1986" fmla="*/ 0 w 4829175"/>
                <a:gd name="connsiteY1986" fmla="*/ 73530 h 6515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Lst>
              <a:rect l="l" t="t" r="r" b="b"/>
              <a:pathLst>
                <a:path w="4829175" h="6515100">
                  <a:moveTo>
                    <a:pt x="700271" y="6501824"/>
                  </a:moveTo>
                  <a:lnTo>
                    <a:pt x="714941" y="6508865"/>
                  </a:lnTo>
                  <a:lnTo>
                    <a:pt x="710807" y="6508865"/>
                  </a:lnTo>
                  <a:lnTo>
                    <a:pt x="704588" y="6515100"/>
                  </a:lnTo>
                  <a:lnTo>
                    <a:pt x="694116" y="6515100"/>
                  </a:lnTo>
                  <a:lnTo>
                    <a:pt x="703819" y="6505372"/>
                  </a:lnTo>
                  <a:close/>
                  <a:moveTo>
                    <a:pt x="710108" y="5961753"/>
                  </a:moveTo>
                  <a:lnTo>
                    <a:pt x="439696" y="6232863"/>
                  </a:lnTo>
                  <a:lnTo>
                    <a:pt x="710807" y="6503275"/>
                  </a:lnTo>
                  <a:lnTo>
                    <a:pt x="974930" y="6503275"/>
                  </a:lnTo>
                  <a:lnTo>
                    <a:pt x="703819" y="6232863"/>
                  </a:lnTo>
                  <a:lnTo>
                    <a:pt x="974231" y="5961753"/>
                  </a:lnTo>
                  <a:close/>
                  <a:moveTo>
                    <a:pt x="1807827" y="5961054"/>
                  </a:moveTo>
                  <a:lnTo>
                    <a:pt x="1537414" y="6232165"/>
                  </a:lnTo>
                  <a:lnTo>
                    <a:pt x="1808526" y="6502577"/>
                  </a:lnTo>
                  <a:lnTo>
                    <a:pt x="2072648" y="6502577"/>
                  </a:lnTo>
                  <a:lnTo>
                    <a:pt x="1801539" y="6232165"/>
                  </a:lnTo>
                  <a:lnTo>
                    <a:pt x="2071951" y="5961054"/>
                  </a:lnTo>
                  <a:close/>
                  <a:moveTo>
                    <a:pt x="1257919" y="5961054"/>
                  </a:moveTo>
                  <a:lnTo>
                    <a:pt x="988206" y="6232165"/>
                  </a:lnTo>
                  <a:lnTo>
                    <a:pt x="1188744" y="6432703"/>
                  </a:lnTo>
                  <a:lnTo>
                    <a:pt x="1259317" y="6502577"/>
                  </a:lnTo>
                  <a:lnTo>
                    <a:pt x="1327793" y="6502577"/>
                  </a:lnTo>
                  <a:lnTo>
                    <a:pt x="1327094" y="6503974"/>
                  </a:lnTo>
                  <a:lnTo>
                    <a:pt x="1524139" y="6503974"/>
                  </a:lnTo>
                  <a:lnTo>
                    <a:pt x="1253028" y="6233562"/>
                  </a:lnTo>
                  <a:lnTo>
                    <a:pt x="1253727" y="6232863"/>
                  </a:lnTo>
                  <a:lnTo>
                    <a:pt x="1251631" y="6232165"/>
                  </a:lnTo>
                  <a:lnTo>
                    <a:pt x="1522043" y="5961054"/>
                  </a:lnTo>
                  <a:close/>
                  <a:moveTo>
                    <a:pt x="2904847" y="5960355"/>
                  </a:moveTo>
                  <a:lnTo>
                    <a:pt x="2634435" y="6231466"/>
                  </a:lnTo>
                  <a:lnTo>
                    <a:pt x="2905546" y="6501878"/>
                  </a:lnTo>
                  <a:lnTo>
                    <a:pt x="3169669" y="6501878"/>
                  </a:lnTo>
                  <a:lnTo>
                    <a:pt x="2898558" y="6231466"/>
                  </a:lnTo>
                  <a:lnTo>
                    <a:pt x="3168970" y="5960355"/>
                  </a:lnTo>
                  <a:close/>
                  <a:moveTo>
                    <a:pt x="2356338" y="5960355"/>
                  </a:moveTo>
                  <a:lnTo>
                    <a:pt x="2085925" y="6231466"/>
                  </a:lnTo>
                  <a:lnTo>
                    <a:pt x="2357035" y="6501878"/>
                  </a:lnTo>
                  <a:lnTo>
                    <a:pt x="2620460" y="6501878"/>
                  </a:lnTo>
                  <a:lnTo>
                    <a:pt x="2490495" y="6371913"/>
                  </a:lnTo>
                  <a:lnTo>
                    <a:pt x="2350049" y="6231466"/>
                  </a:lnTo>
                  <a:lnTo>
                    <a:pt x="2620460" y="5960355"/>
                  </a:lnTo>
                  <a:close/>
                  <a:moveTo>
                    <a:pt x="3453357" y="5959656"/>
                  </a:moveTo>
                  <a:lnTo>
                    <a:pt x="3182945" y="6230767"/>
                  </a:lnTo>
                  <a:lnTo>
                    <a:pt x="3454056" y="6500480"/>
                  </a:lnTo>
                  <a:lnTo>
                    <a:pt x="3718179" y="6500480"/>
                  </a:lnTo>
                  <a:lnTo>
                    <a:pt x="3447069" y="6230069"/>
                  </a:lnTo>
                  <a:lnTo>
                    <a:pt x="3631536" y="6045602"/>
                  </a:lnTo>
                  <a:lnTo>
                    <a:pt x="3717481" y="5959656"/>
                  </a:lnTo>
                  <a:close/>
                  <a:moveTo>
                    <a:pt x="4550378" y="5958259"/>
                  </a:moveTo>
                  <a:lnTo>
                    <a:pt x="4279966" y="6229370"/>
                  </a:lnTo>
                  <a:lnTo>
                    <a:pt x="4551077" y="6499083"/>
                  </a:lnTo>
                  <a:lnTo>
                    <a:pt x="4815200" y="6499083"/>
                  </a:lnTo>
                  <a:lnTo>
                    <a:pt x="4544089" y="6228671"/>
                  </a:lnTo>
                  <a:lnTo>
                    <a:pt x="4814501" y="5958259"/>
                  </a:lnTo>
                  <a:close/>
                  <a:moveTo>
                    <a:pt x="169284" y="5687847"/>
                  </a:moveTo>
                  <a:lnTo>
                    <a:pt x="299249" y="5817813"/>
                  </a:lnTo>
                  <a:lnTo>
                    <a:pt x="439696" y="5958259"/>
                  </a:lnTo>
                  <a:lnTo>
                    <a:pt x="169284" y="6229370"/>
                  </a:lnTo>
                  <a:lnTo>
                    <a:pt x="433407" y="6229370"/>
                  </a:lnTo>
                  <a:lnTo>
                    <a:pt x="703819" y="5958259"/>
                  </a:lnTo>
                  <a:lnTo>
                    <a:pt x="432708" y="5687847"/>
                  </a:lnTo>
                  <a:close/>
                  <a:moveTo>
                    <a:pt x="1814814" y="5687149"/>
                  </a:moveTo>
                  <a:lnTo>
                    <a:pt x="2085925" y="5957561"/>
                  </a:lnTo>
                  <a:lnTo>
                    <a:pt x="1815513" y="6227973"/>
                  </a:lnTo>
                  <a:lnTo>
                    <a:pt x="2079636" y="6227973"/>
                  </a:lnTo>
                  <a:lnTo>
                    <a:pt x="2350049" y="5957561"/>
                  </a:lnTo>
                  <a:lnTo>
                    <a:pt x="2078937" y="5687149"/>
                  </a:lnTo>
                  <a:close/>
                  <a:moveTo>
                    <a:pt x="717095" y="5687149"/>
                  </a:moveTo>
                  <a:lnTo>
                    <a:pt x="988206" y="5957561"/>
                  </a:lnTo>
                  <a:lnTo>
                    <a:pt x="717794" y="6228671"/>
                  </a:lnTo>
                  <a:lnTo>
                    <a:pt x="981917" y="6228671"/>
                  </a:lnTo>
                  <a:lnTo>
                    <a:pt x="1252329" y="5957561"/>
                  </a:lnTo>
                  <a:lnTo>
                    <a:pt x="981219" y="5687149"/>
                  </a:lnTo>
                  <a:close/>
                  <a:moveTo>
                    <a:pt x="2363324" y="5686450"/>
                  </a:moveTo>
                  <a:lnTo>
                    <a:pt x="2634435" y="5956862"/>
                  </a:lnTo>
                  <a:lnTo>
                    <a:pt x="2364722" y="6227973"/>
                  </a:lnTo>
                  <a:lnTo>
                    <a:pt x="2628146" y="6227973"/>
                  </a:lnTo>
                  <a:lnTo>
                    <a:pt x="2898558" y="5956862"/>
                  </a:lnTo>
                  <a:lnTo>
                    <a:pt x="2764401" y="5823402"/>
                  </a:lnTo>
                  <a:lnTo>
                    <a:pt x="2627447" y="5686450"/>
                  </a:lnTo>
                  <a:close/>
                  <a:moveTo>
                    <a:pt x="2911834" y="5685751"/>
                  </a:moveTo>
                  <a:lnTo>
                    <a:pt x="2913232" y="5687149"/>
                  </a:lnTo>
                  <a:lnTo>
                    <a:pt x="3182945" y="5956163"/>
                  </a:lnTo>
                  <a:lnTo>
                    <a:pt x="2912533" y="6226575"/>
                  </a:lnTo>
                  <a:lnTo>
                    <a:pt x="3176657" y="6226575"/>
                  </a:lnTo>
                  <a:lnTo>
                    <a:pt x="3447069" y="5956163"/>
                  </a:lnTo>
                  <a:lnTo>
                    <a:pt x="3441479" y="5951272"/>
                  </a:lnTo>
                  <a:lnTo>
                    <a:pt x="3175958" y="5685751"/>
                  </a:lnTo>
                  <a:close/>
                  <a:moveTo>
                    <a:pt x="1530428" y="5685751"/>
                  </a:moveTo>
                  <a:lnTo>
                    <a:pt x="1529030" y="5686450"/>
                  </a:lnTo>
                  <a:lnTo>
                    <a:pt x="1264907" y="5686450"/>
                  </a:lnTo>
                  <a:lnTo>
                    <a:pt x="1536018" y="5956862"/>
                  </a:lnTo>
                  <a:lnTo>
                    <a:pt x="1531824" y="5961054"/>
                  </a:lnTo>
                  <a:lnTo>
                    <a:pt x="1537414" y="5958259"/>
                  </a:lnTo>
                  <a:lnTo>
                    <a:pt x="1267002" y="6229370"/>
                  </a:lnTo>
                  <a:lnTo>
                    <a:pt x="1531127" y="6229370"/>
                  </a:lnTo>
                  <a:lnTo>
                    <a:pt x="1801539" y="5958259"/>
                  </a:lnTo>
                  <a:lnTo>
                    <a:pt x="1530428" y="5687847"/>
                  </a:lnTo>
                  <a:close/>
                  <a:moveTo>
                    <a:pt x="3459646" y="5685052"/>
                  </a:moveTo>
                  <a:lnTo>
                    <a:pt x="3730757" y="5955464"/>
                  </a:lnTo>
                  <a:lnTo>
                    <a:pt x="3727962" y="5958259"/>
                  </a:lnTo>
                  <a:lnTo>
                    <a:pt x="3637825" y="6049095"/>
                  </a:lnTo>
                  <a:lnTo>
                    <a:pt x="3460345" y="6225876"/>
                  </a:lnTo>
                  <a:lnTo>
                    <a:pt x="3724468" y="6225876"/>
                  </a:lnTo>
                  <a:lnTo>
                    <a:pt x="3813907" y="6136437"/>
                  </a:lnTo>
                  <a:lnTo>
                    <a:pt x="3994880" y="5955464"/>
                  </a:lnTo>
                  <a:lnTo>
                    <a:pt x="3723769" y="5685052"/>
                  </a:lnTo>
                  <a:close/>
                  <a:moveTo>
                    <a:pt x="1807128" y="5412543"/>
                  </a:moveTo>
                  <a:lnTo>
                    <a:pt x="1536716" y="5683654"/>
                  </a:lnTo>
                  <a:lnTo>
                    <a:pt x="1807827" y="5954066"/>
                  </a:lnTo>
                  <a:lnTo>
                    <a:pt x="2071951" y="5954066"/>
                  </a:lnTo>
                  <a:lnTo>
                    <a:pt x="1800840" y="5683654"/>
                  </a:lnTo>
                  <a:lnTo>
                    <a:pt x="2071252" y="5412543"/>
                  </a:lnTo>
                  <a:close/>
                  <a:moveTo>
                    <a:pt x="709409" y="5412543"/>
                  </a:moveTo>
                  <a:lnTo>
                    <a:pt x="438997" y="5683654"/>
                  </a:lnTo>
                  <a:lnTo>
                    <a:pt x="710108" y="5954066"/>
                  </a:lnTo>
                  <a:lnTo>
                    <a:pt x="974231" y="5954066"/>
                  </a:lnTo>
                  <a:lnTo>
                    <a:pt x="703120" y="5683654"/>
                  </a:lnTo>
                  <a:lnTo>
                    <a:pt x="972833" y="5412543"/>
                  </a:lnTo>
                  <a:close/>
                  <a:moveTo>
                    <a:pt x="2904148" y="5411845"/>
                  </a:moveTo>
                  <a:lnTo>
                    <a:pt x="2723874" y="5592120"/>
                  </a:lnTo>
                  <a:lnTo>
                    <a:pt x="2634435" y="5682258"/>
                  </a:lnTo>
                  <a:lnTo>
                    <a:pt x="2768593" y="5815716"/>
                  </a:lnTo>
                  <a:lnTo>
                    <a:pt x="2905546" y="5952669"/>
                  </a:lnTo>
                  <a:lnTo>
                    <a:pt x="3169669" y="5952669"/>
                  </a:lnTo>
                  <a:lnTo>
                    <a:pt x="2898558" y="5682258"/>
                  </a:lnTo>
                  <a:lnTo>
                    <a:pt x="2899956" y="5680860"/>
                  </a:lnTo>
                  <a:lnTo>
                    <a:pt x="3168271" y="5411845"/>
                  </a:lnTo>
                  <a:close/>
                  <a:moveTo>
                    <a:pt x="2355639" y="5411845"/>
                  </a:moveTo>
                  <a:lnTo>
                    <a:pt x="2085226" y="5682955"/>
                  </a:lnTo>
                  <a:lnTo>
                    <a:pt x="2356338" y="5953367"/>
                  </a:lnTo>
                  <a:lnTo>
                    <a:pt x="2620460" y="5953367"/>
                  </a:lnTo>
                  <a:lnTo>
                    <a:pt x="2349350" y="5682955"/>
                  </a:lnTo>
                  <a:lnTo>
                    <a:pt x="2533816" y="5498489"/>
                  </a:lnTo>
                  <a:lnTo>
                    <a:pt x="2619762" y="5412543"/>
                  </a:lnTo>
                  <a:lnTo>
                    <a:pt x="2361229" y="5412543"/>
                  </a:lnTo>
                  <a:close/>
                  <a:moveTo>
                    <a:pt x="1257919" y="5411845"/>
                  </a:moveTo>
                  <a:lnTo>
                    <a:pt x="987507" y="5682955"/>
                  </a:lnTo>
                  <a:lnTo>
                    <a:pt x="1258618" y="5953367"/>
                  </a:lnTo>
                  <a:lnTo>
                    <a:pt x="1522741" y="5953367"/>
                  </a:lnTo>
                  <a:lnTo>
                    <a:pt x="1251631" y="5682955"/>
                  </a:lnTo>
                  <a:lnTo>
                    <a:pt x="1436098" y="5498489"/>
                  </a:lnTo>
                  <a:lnTo>
                    <a:pt x="1522043" y="5411845"/>
                  </a:lnTo>
                  <a:close/>
                  <a:moveTo>
                    <a:pt x="3452658" y="5411147"/>
                  </a:moveTo>
                  <a:lnTo>
                    <a:pt x="3182246" y="5682258"/>
                  </a:lnTo>
                  <a:lnTo>
                    <a:pt x="3453357" y="5952669"/>
                  </a:lnTo>
                  <a:lnTo>
                    <a:pt x="3717481" y="5952669"/>
                  </a:lnTo>
                  <a:lnTo>
                    <a:pt x="3446370" y="5682258"/>
                  </a:lnTo>
                  <a:lnTo>
                    <a:pt x="3716782" y="5411147"/>
                  </a:lnTo>
                  <a:close/>
                  <a:moveTo>
                    <a:pt x="4549679" y="5409749"/>
                  </a:moveTo>
                  <a:lnTo>
                    <a:pt x="4279267" y="5680860"/>
                  </a:lnTo>
                  <a:lnTo>
                    <a:pt x="4550378" y="5951272"/>
                  </a:lnTo>
                  <a:lnTo>
                    <a:pt x="4814501" y="5951272"/>
                  </a:lnTo>
                  <a:lnTo>
                    <a:pt x="4543391" y="5680860"/>
                  </a:lnTo>
                  <a:lnTo>
                    <a:pt x="4727858" y="5495694"/>
                  </a:lnTo>
                  <a:lnTo>
                    <a:pt x="4727159" y="5494995"/>
                  </a:lnTo>
                  <a:lnTo>
                    <a:pt x="4812405" y="5409749"/>
                  </a:lnTo>
                  <a:close/>
                  <a:moveTo>
                    <a:pt x="167886" y="5139337"/>
                  </a:moveTo>
                  <a:lnTo>
                    <a:pt x="438997" y="5409749"/>
                  </a:lnTo>
                  <a:lnTo>
                    <a:pt x="169284" y="5680860"/>
                  </a:lnTo>
                  <a:lnTo>
                    <a:pt x="432708" y="5680860"/>
                  </a:lnTo>
                  <a:lnTo>
                    <a:pt x="703120" y="5409749"/>
                  </a:lnTo>
                  <a:lnTo>
                    <a:pt x="568962" y="5276290"/>
                  </a:lnTo>
                  <a:lnTo>
                    <a:pt x="432009" y="5139337"/>
                  </a:lnTo>
                  <a:close/>
                  <a:moveTo>
                    <a:pt x="1814116" y="5138638"/>
                  </a:moveTo>
                  <a:lnTo>
                    <a:pt x="1942683" y="5267207"/>
                  </a:lnTo>
                  <a:lnTo>
                    <a:pt x="2084528" y="5409050"/>
                  </a:lnTo>
                  <a:lnTo>
                    <a:pt x="1814116" y="5680161"/>
                  </a:lnTo>
                  <a:lnTo>
                    <a:pt x="2078239" y="5680161"/>
                  </a:lnTo>
                  <a:lnTo>
                    <a:pt x="2348651" y="5409050"/>
                  </a:lnTo>
                  <a:lnTo>
                    <a:pt x="2343759" y="5404159"/>
                  </a:lnTo>
                  <a:lnTo>
                    <a:pt x="2078239" y="5138638"/>
                  </a:lnTo>
                  <a:close/>
                  <a:moveTo>
                    <a:pt x="2362625" y="5137939"/>
                  </a:moveTo>
                  <a:lnTo>
                    <a:pt x="2633736" y="5407653"/>
                  </a:lnTo>
                  <a:lnTo>
                    <a:pt x="2630942" y="5410448"/>
                  </a:lnTo>
                  <a:lnTo>
                    <a:pt x="2540804" y="5501283"/>
                  </a:lnTo>
                  <a:lnTo>
                    <a:pt x="2363324" y="5678763"/>
                  </a:lnTo>
                  <a:lnTo>
                    <a:pt x="2627447" y="5678763"/>
                  </a:lnTo>
                  <a:lnTo>
                    <a:pt x="2716886" y="5589325"/>
                  </a:lnTo>
                  <a:lnTo>
                    <a:pt x="2897859" y="5408351"/>
                  </a:lnTo>
                  <a:lnTo>
                    <a:pt x="2626749" y="5137939"/>
                  </a:lnTo>
                  <a:close/>
                  <a:moveTo>
                    <a:pt x="1264208" y="5137939"/>
                  </a:moveTo>
                  <a:lnTo>
                    <a:pt x="1535319" y="5407653"/>
                  </a:lnTo>
                  <a:lnTo>
                    <a:pt x="1532523" y="5410448"/>
                  </a:lnTo>
                  <a:lnTo>
                    <a:pt x="1442387" y="5501283"/>
                  </a:lnTo>
                  <a:lnTo>
                    <a:pt x="1264907" y="5678763"/>
                  </a:lnTo>
                  <a:lnTo>
                    <a:pt x="1529030" y="5678763"/>
                  </a:lnTo>
                  <a:lnTo>
                    <a:pt x="1618469" y="5589325"/>
                  </a:lnTo>
                  <a:lnTo>
                    <a:pt x="1799442" y="5408351"/>
                  </a:lnTo>
                  <a:lnTo>
                    <a:pt x="1528331" y="5137939"/>
                  </a:lnTo>
                  <a:close/>
                  <a:moveTo>
                    <a:pt x="715697" y="5137939"/>
                  </a:moveTo>
                  <a:lnTo>
                    <a:pt x="717095" y="5139337"/>
                  </a:lnTo>
                  <a:lnTo>
                    <a:pt x="986808" y="5408351"/>
                  </a:lnTo>
                  <a:lnTo>
                    <a:pt x="716396" y="5679462"/>
                  </a:lnTo>
                  <a:lnTo>
                    <a:pt x="980520" y="5679462"/>
                  </a:lnTo>
                  <a:lnTo>
                    <a:pt x="1250932" y="5408351"/>
                  </a:lnTo>
                  <a:lnTo>
                    <a:pt x="1245342" y="5403460"/>
                  </a:lnTo>
                  <a:lnTo>
                    <a:pt x="979821" y="5137939"/>
                  </a:lnTo>
                  <a:close/>
                  <a:moveTo>
                    <a:pt x="2911136" y="5137241"/>
                  </a:moveTo>
                  <a:lnTo>
                    <a:pt x="3041801" y="5266508"/>
                  </a:lnTo>
                  <a:lnTo>
                    <a:pt x="3182246" y="5406954"/>
                  </a:lnTo>
                  <a:lnTo>
                    <a:pt x="2911834" y="5678065"/>
                  </a:lnTo>
                  <a:lnTo>
                    <a:pt x="3175958" y="5678065"/>
                  </a:lnTo>
                  <a:lnTo>
                    <a:pt x="3446370" y="5407653"/>
                  </a:lnTo>
                  <a:lnTo>
                    <a:pt x="3175259" y="5137241"/>
                  </a:lnTo>
                  <a:close/>
                  <a:moveTo>
                    <a:pt x="3459646" y="5136542"/>
                  </a:moveTo>
                  <a:lnTo>
                    <a:pt x="3730757" y="5406954"/>
                  </a:lnTo>
                  <a:lnTo>
                    <a:pt x="3460345" y="5678065"/>
                  </a:lnTo>
                  <a:lnTo>
                    <a:pt x="3724468" y="5678065"/>
                  </a:lnTo>
                  <a:lnTo>
                    <a:pt x="3994880" y="5406954"/>
                  </a:lnTo>
                  <a:lnTo>
                    <a:pt x="3723769" y="5136542"/>
                  </a:lnTo>
                  <a:close/>
                  <a:moveTo>
                    <a:pt x="4008156" y="5135843"/>
                  </a:moveTo>
                  <a:lnTo>
                    <a:pt x="4279267" y="5406255"/>
                  </a:lnTo>
                  <a:lnTo>
                    <a:pt x="4008855" y="5677366"/>
                  </a:lnTo>
                  <a:lnTo>
                    <a:pt x="4207297" y="5677366"/>
                  </a:lnTo>
                  <a:lnTo>
                    <a:pt x="4272280" y="5677366"/>
                  </a:lnTo>
                  <a:lnTo>
                    <a:pt x="4543391" y="5406255"/>
                  </a:lnTo>
                  <a:lnTo>
                    <a:pt x="4409232" y="5272797"/>
                  </a:lnTo>
                  <a:lnTo>
                    <a:pt x="4272280" y="5135843"/>
                  </a:lnTo>
                  <a:close/>
                  <a:moveTo>
                    <a:pt x="708011" y="4864034"/>
                  </a:moveTo>
                  <a:lnTo>
                    <a:pt x="527737" y="5045007"/>
                  </a:lnTo>
                  <a:lnTo>
                    <a:pt x="438298" y="5135144"/>
                  </a:lnTo>
                  <a:lnTo>
                    <a:pt x="572456" y="5268603"/>
                  </a:lnTo>
                  <a:lnTo>
                    <a:pt x="709409" y="5405557"/>
                  </a:lnTo>
                  <a:lnTo>
                    <a:pt x="973532" y="5405557"/>
                  </a:lnTo>
                  <a:lnTo>
                    <a:pt x="702421" y="5135144"/>
                  </a:lnTo>
                  <a:lnTo>
                    <a:pt x="703819" y="5133747"/>
                  </a:lnTo>
                  <a:lnTo>
                    <a:pt x="972135" y="4864034"/>
                  </a:lnTo>
                  <a:close/>
                  <a:moveTo>
                    <a:pt x="1257220" y="4863335"/>
                  </a:moveTo>
                  <a:lnTo>
                    <a:pt x="986808" y="5134446"/>
                  </a:lnTo>
                  <a:lnTo>
                    <a:pt x="1257919" y="5404858"/>
                  </a:lnTo>
                  <a:lnTo>
                    <a:pt x="1522043" y="5404858"/>
                  </a:lnTo>
                  <a:lnTo>
                    <a:pt x="1250932" y="5134446"/>
                  </a:lnTo>
                  <a:lnTo>
                    <a:pt x="1521344" y="4863335"/>
                  </a:lnTo>
                  <a:close/>
                  <a:moveTo>
                    <a:pt x="2904148" y="4862636"/>
                  </a:moveTo>
                  <a:lnTo>
                    <a:pt x="2633736" y="5133747"/>
                  </a:lnTo>
                  <a:lnTo>
                    <a:pt x="2904847" y="5404159"/>
                  </a:lnTo>
                  <a:lnTo>
                    <a:pt x="3168271" y="5404159"/>
                  </a:lnTo>
                  <a:lnTo>
                    <a:pt x="3037607" y="5274193"/>
                  </a:lnTo>
                  <a:lnTo>
                    <a:pt x="2897162" y="5133747"/>
                  </a:lnTo>
                  <a:lnTo>
                    <a:pt x="3168271" y="4862636"/>
                  </a:lnTo>
                  <a:close/>
                  <a:moveTo>
                    <a:pt x="1805032" y="4862636"/>
                  </a:moveTo>
                  <a:lnTo>
                    <a:pt x="1534620" y="5133747"/>
                  </a:lnTo>
                  <a:lnTo>
                    <a:pt x="1805731" y="5404159"/>
                  </a:lnTo>
                  <a:lnTo>
                    <a:pt x="1807128" y="5405557"/>
                  </a:lnTo>
                  <a:lnTo>
                    <a:pt x="2071252" y="5405557"/>
                  </a:lnTo>
                  <a:lnTo>
                    <a:pt x="1939889" y="5274193"/>
                  </a:lnTo>
                  <a:lnTo>
                    <a:pt x="1802236" y="5136542"/>
                  </a:lnTo>
                  <a:lnTo>
                    <a:pt x="2071252" y="4862636"/>
                  </a:lnTo>
                  <a:close/>
                  <a:moveTo>
                    <a:pt x="3451960" y="4861938"/>
                  </a:moveTo>
                  <a:lnTo>
                    <a:pt x="3181548" y="5133048"/>
                  </a:lnTo>
                  <a:lnTo>
                    <a:pt x="3452658" y="5403460"/>
                  </a:lnTo>
                  <a:lnTo>
                    <a:pt x="3716782" y="5403460"/>
                  </a:lnTo>
                  <a:lnTo>
                    <a:pt x="3445671" y="5133048"/>
                  </a:lnTo>
                  <a:lnTo>
                    <a:pt x="3630138" y="4948581"/>
                  </a:lnTo>
                  <a:lnTo>
                    <a:pt x="3714686" y="4861938"/>
                  </a:lnTo>
                  <a:close/>
                  <a:moveTo>
                    <a:pt x="4000470" y="4861239"/>
                  </a:moveTo>
                  <a:lnTo>
                    <a:pt x="3730058" y="5132350"/>
                  </a:lnTo>
                  <a:lnTo>
                    <a:pt x="4001169" y="5402762"/>
                  </a:lnTo>
                  <a:lnTo>
                    <a:pt x="4265292" y="5402762"/>
                  </a:lnTo>
                  <a:lnTo>
                    <a:pt x="3994181" y="5132350"/>
                  </a:lnTo>
                  <a:lnTo>
                    <a:pt x="3995579" y="5130952"/>
                  </a:lnTo>
                  <a:lnTo>
                    <a:pt x="3994880" y="5130952"/>
                  </a:lnTo>
                  <a:lnTo>
                    <a:pt x="4263197" y="4861938"/>
                  </a:lnTo>
                  <a:lnTo>
                    <a:pt x="4004663" y="4861938"/>
                  </a:lnTo>
                  <a:lnTo>
                    <a:pt x="4006060" y="4861239"/>
                  </a:lnTo>
                  <a:close/>
                  <a:moveTo>
                    <a:pt x="4548281" y="4860540"/>
                  </a:moveTo>
                  <a:lnTo>
                    <a:pt x="4367308" y="5041513"/>
                  </a:lnTo>
                  <a:lnTo>
                    <a:pt x="4368007" y="5042212"/>
                  </a:lnTo>
                  <a:lnTo>
                    <a:pt x="4278568" y="5132350"/>
                  </a:lnTo>
                  <a:lnTo>
                    <a:pt x="4412727" y="5265809"/>
                  </a:lnTo>
                  <a:lnTo>
                    <a:pt x="4548980" y="5402063"/>
                  </a:lnTo>
                  <a:lnTo>
                    <a:pt x="4813104" y="5402063"/>
                  </a:lnTo>
                  <a:lnTo>
                    <a:pt x="4541993" y="5131651"/>
                  </a:lnTo>
                  <a:lnTo>
                    <a:pt x="4812405" y="4860540"/>
                  </a:lnTo>
                  <a:close/>
                  <a:moveTo>
                    <a:pt x="2621159" y="4860540"/>
                  </a:moveTo>
                  <a:lnTo>
                    <a:pt x="2354940" y="4863335"/>
                  </a:lnTo>
                  <a:lnTo>
                    <a:pt x="2084528" y="5134446"/>
                  </a:lnTo>
                  <a:lnTo>
                    <a:pt x="2355639" y="5404858"/>
                  </a:lnTo>
                  <a:lnTo>
                    <a:pt x="2619762" y="5404858"/>
                  </a:lnTo>
                  <a:lnTo>
                    <a:pt x="2348651" y="5134446"/>
                  </a:lnTo>
                  <a:close/>
                  <a:moveTo>
                    <a:pt x="166488" y="4590827"/>
                  </a:moveTo>
                  <a:lnTo>
                    <a:pt x="437599" y="4861239"/>
                  </a:lnTo>
                  <a:lnTo>
                    <a:pt x="434805" y="4864034"/>
                  </a:lnTo>
                  <a:lnTo>
                    <a:pt x="344667" y="4954870"/>
                  </a:lnTo>
                  <a:lnTo>
                    <a:pt x="167187" y="5131651"/>
                  </a:lnTo>
                  <a:lnTo>
                    <a:pt x="431311" y="5131651"/>
                  </a:lnTo>
                  <a:lnTo>
                    <a:pt x="520749" y="5042212"/>
                  </a:lnTo>
                  <a:lnTo>
                    <a:pt x="701722" y="4861239"/>
                  </a:lnTo>
                  <a:lnTo>
                    <a:pt x="430612" y="4590827"/>
                  </a:lnTo>
                  <a:close/>
                  <a:moveTo>
                    <a:pt x="715697" y="4590128"/>
                  </a:moveTo>
                  <a:lnTo>
                    <a:pt x="845663" y="4720093"/>
                  </a:lnTo>
                  <a:lnTo>
                    <a:pt x="986109" y="4859841"/>
                  </a:lnTo>
                  <a:lnTo>
                    <a:pt x="715697" y="5130952"/>
                  </a:lnTo>
                  <a:lnTo>
                    <a:pt x="979821" y="5130952"/>
                  </a:lnTo>
                  <a:lnTo>
                    <a:pt x="1250932" y="4860540"/>
                  </a:lnTo>
                  <a:lnTo>
                    <a:pt x="979821" y="4590128"/>
                  </a:lnTo>
                  <a:close/>
                  <a:moveTo>
                    <a:pt x="2911136" y="4589429"/>
                  </a:moveTo>
                  <a:lnTo>
                    <a:pt x="3040403" y="4717299"/>
                  </a:lnTo>
                  <a:lnTo>
                    <a:pt x="3040403" y="4717998"/>
                  </a:lnTo>
                  <a:lnTo>
                    <a:pt x="3182246" y="4859841"/>
                  </a:lnTo>
                  <a:lnTo>
                    <a:pt x="2911834" y="5130952"/>
                  </a:lnTo>
                  <a:lnTo>
                    <a:pt x="3175259" y="5130952"/>
                  </a:lnTo>
                  <a:lnTo>
                    <a:pt x="3445671" y="4859841"/>
                  </a:lnTo>
                  <a:lnTo>
                    <a:pt x="3440081" y="4854251"/>
                  </a:lnTo>
                  <a:lnTo>
                    <a:pt x="3439382" y="4854251"/>
                  </a:lnTo>
                  <a:lnTo>
                    <a:pt x="3173862" y="4589429"/>
                  </a:lnTo>
                  <a:close/>
                  <a:moveTo>
                    <a:pt x="1813417" y="4589429"/>
                  </a:moveTo>
                  <a:lnTo>
                    <a:pt x="1815507" y="4592217"/>
                  </a:lnTo>
                  <a:lnTo>
                    <a:pt x="1814814" y="4591526"/>
                  </a:lnTo>
                  <a:lnTo>
                    <a:pt x="1815513" y="4592225"/>
                  </a:lnTo>
                  <a:lnTo>
                    <a:pt x="1815507" y="4592217"/>
                  </a:lnTo>
                  <a:lnTo>
                    <a:pt x="2074046" y="4850059"/>
                  </a:lnTo>
                  <a:lnTo>
                    <a:pt x="2083829" y="4859142"/>
                  </a:lnTo>
                  <a:lnTo>
                    <a:pt x="2085925" y="4861239"/>
                  </a:lnTo>
                  <a:lnTo>
                    <a:pt x="1821102" y="5130952"/>
                  </a:lnTo>
                  <a:lnTo>
                    <a:pt x="2080335" y="5131651"/>
                  </a:lnTo>
                  <a:lnTo>
                    <a:pt x="2350049" y="4861239"/>
                  </a:lnTo>
                  <a:lnTo>
                    <a:pt x="2214493" y="4726382"/>
                  </a:lnTo>
                  <a:lnTo>
                    <a:pt x="2197724" y="4709612"/>
                  </a:lnTo>
                  <a:lnTo>
                    <a:pt x="2078239" y="4590827"/>
                  </a:lnTo>
                  <a:lnTo>
                    <a:pt x="2074046" y="4589429"/>
                  </a:lnTo>
                  <a:close/>
                  <a:moveTo>
                    <a:pt x="1263509" y="4589429"/>
                  </a:moveTo>
                  <a:lnTo>
                    <a:pt x="1534620" y="4859841"/>
                  </a:lnTo>
                  <a:lnTo>
                    <a:pt x="1264208" y="5130952"/>
                  </a:lnTo>
                  <a:lnTo>
                    <a:pt x="1528331" y="5130952"/>
                  </a:lnTo>
                  <a:lnTo>
                    <a:pt x="1798743" y="4859841"/>
                  </a:lnTo>
                  <a:lnTo>
                    <a:pt x="1527632" y="4589429"/>
                  </a:lnTo>
                  <a:close/>
                  <a:moveTo>
                    <a:pt x="2626749" y="4588031"/>
                  </a:moveTo>
                  <a:lnTo>
                    <a:pt x="2363324" y="4588730"/>
                  </a:lnTo>
                  <a:lnTo>
                    <a:pt x="2632339" y="4857047"/>
                  </a:lnTo>
                  <a:lnTo>
                    <a:pt x="2631641" y="4857746"/>
                  </a:lnTo>
                  <a:lnTo>
                    <a:pt x="2633038" y="4859142"/>
                  </a:lnTo>
                  <a:lnTo>
                    <a:pt x="2362625" y="5130253"/>
                  </a:lnTo>
                  <a:lnTo>
                    <a:pt x="2626749" y="5130253"/>
                  </a:lnTo>
                  <a:lnTo>
                    <a:pt x="2716886" y="5040116"/>
                  </a:lnTo>
                  <a:lnTo>
                    <a:pt x="2896463" y="4857047"/>
                  </a:lnTo>
                  <a:close/>
                  <a:moveTo>
                    <a:pt x="4006759" y="4587334"/>
                  </a:moveTo>
                  <a:lnTo>
                    <a:pt x="4136725" y="4716600"/>
                  </a:lnTo>
                  <a:lnTo>
                    <a:pt x="4277171" y="4857047"/>
                  </a:lnTo>
                  <a:lnTo>
                    <a:pt x="4184238" y="4950678"/>
                  </a:lnTo>
                  <a:lnTo>
                    <a:pt x="4184937" y="4951376"/>
                  </a:lnTo>
                  <a:lnTo>
                    <a:pt x="4008156" y="5128855"/>
                  </a:lnTo>
                  <a:lnTo>
                    <a:pt x="4270882" y="5128855"/>
                  </a:lnTo>
                  <a:lnTo>
                    <a:pt x="4541294" y="4857746"/>
                  </a:lnTo>
                  <a:lnTo>
                    <a:pt x="4270183" y="4587334"/>
                  </a:lnTo>
                  <a:close/>
                  <a:moveTo>
                    <a:pt x="3458248" y="4587334"/>
                  </a:moveTo>
                  <a:lnTo>
                    <a:pt x="3729359" y="4857746"/>
                  </a:lnTo>
                  <a:lnTo>
                    <a:pt x="3730058" y="4858443"/>
                  </a:lnTo>
                  <a:lnTo>
                    <a:pt x="3459646" y="5129554"/>
                  </a:lnTo>
                  <a:lnTo>
                    <a:pt x="3723769" y="5129554"/>
                  </a:lnTo>
                  <a:lnTo>
                    <a:pt x="3813208" y="5039418"/>
                  </a:lnTo>
                  <a:lnTo>
                    <a:pt x="3812509" y="5039418"/>
                  </a:lnTo>
                  <a:lnTo>
                    <a:pt x="3993483" y="4858443"/>
                  </a:lnTo>
                  <a:lnTo>
                    <a:pt x="3988591" y="4852854"/>
                  </a:lnTo>
                  <a:lnTo>
                    <a:pt x="3722372" y="4587334"/>
                  </a:lnTo>
                  <a:close/>
                  <a:moveTo>
                    <a:pt x="708011" y="4316223"/>
                  </a:moveTo>
                  <a:lnTo>
                    <a:pt x="437599" y="4587334"/>
                  </a:lnTo>
                  <a:lnTo>
                    <a:pt x="709409" y="4857746"/>
                  </a:lnTo>
                  <a:lnTo>
                    <a:pt x="972833" y="4857746"/>
                  </a:lnTo>
                  <a:lnTo>
                    <a:pt x="842169" y="4727779"/>
                  </a:lnTo>
                  <a:lnTo>
                    <a:pt x="701722" y="4587334"/>
                  </a:lnTo>
                  <a:lnTo>
                    <a:pt x="972135" y="4316223"/>
                  </a:lnTo>
                  <a:close/>
                  <a:moveTo>
                    <a:pt x="2354241" y="4315524"/>
                  </a:moveTo>
                  <a:lnTo>
                    <a:pt x="2083829" y="4586635"/>
                  </a:lnTo>
                  <a:lnTo>
                    <a:pt x="2353542" y="4855649"/>
                  </a:lnTo>
                  <a:lnTo>
                    <a:pt x="2616967" y="4855649"/>
                  </a:lnTo>
                  <a:lnTo>
                    <a:pt x="2347952" y="4586635"/>
                  </a:lnTo>
                  <a:lnTo>
                    <a:pt x="2348651" y="4585936"/>
                  </a:lnTo>
                  <a:lnTo>
                    <a:pt x="2347254" y="4584538"/>
                  </a:lnTo>
                  <a:lnTo>
                    <a:pt x="2615569" y="4315524"/>
                  </a:lnTo>
                  <a:close/>
                  <a:moveTo>
                    <a:pt x="1256521" y="4315524"/>
                  </a:moveTo>
                  <a:lnTo>
                    <a:pt x="986109" y="4586635"/>
                  </a:lnTo>
                  <a:lnTo>
                    <a:pt x="1257220" y="4857047"/>
                  </a:lnTo>
                  <a:lnTo>
                    <a:pt x="1521344" y="4857047"/>
                  </a:lnTo>
                  <a:lnTo>
                    <a:pt x="1250233" y="4586635"/>
                  </a:lnTo>
                  <a:lnTo>
                    <a:pt x="1520645" y="4315524"/>
                  </a:lnTo>
                  <a:lnTo>
                    <a:pt x="1392775" y="4315524"/>
                  </a:lnTo>
                  <a:close/>
                  <a:moveTo>
                    <a:pt x="1805731" y="4314825"/>
                  </a:moveTo>
                  <a:lnTo>
                    <a:pt x="1625456" y="4495798"/>
                  </a:lnTo>
                  <a:lnTo>
                    <a:pt x="1624758" y="4495798"/>
                  </a:lnTo>
                  <a:lnTo>
                    <a:pt x="1534620" y="4585936"/>
                  </a:lnTo>
                  <a:lnTo>
                    <a:pt x="1805032" y="4857047"/>
                  </a:lnTo>
                  <a:lnTo>
                    <a:pt x="2069155" y="4857047"/>
                  </a:lnTo>
                  <a:lnTo>
                    <a:pt x="1798044" y="4586635"/>
                  </a:lnTo>
                  <a:lnTo>
                    <a:pt x="1982512" y="4402167"/>
                  </a:lnTo>
                  <a:lnTo>
                    <a:pt x="1983211" y="4402167"/>
                  </a:lnTo>
                  <a:lnTo>
                    <a:pt x="2069155" y="4315524"/>
                  </a:lnTo>
                  <a:lnTo>
                    <a:pt x="1810622" y="4315524"/>
                  </a:lnTo>
                  <a:close/>
                  <a:moveTo>
                    <a:pt x="3450563" y="4313427"/>
                  </a:moveTo>
                  <a:lnTo>
                    <a:pt x="3269589" y="4495099"/>
                  </a:lnTo>
                  <a:lnTo>
                    <a:pt x="3270986" y="4495798"/>
                  </a:lnTo>
                  <a:lnTo>
                    <a:pt x="3181548" y="4585237"/>
                  </a:lnTo>
                  <a:lnTo>
                    <a:pt x="3451960" y="4854950"/>
                  </a:lnTo>
                  <a:lnTo>
                    <a:pt x="3715384" y="4854950"/>
                  </a:lnTo>
                  <a:lnTo>
                    <a:pt x="3444972" y="4585237"/>
                  </a:lnTo>
                  <a:lnTo>
                    <a:pt x="3444274" y="4584538"/>
                  </a:lnTo>
                  <a:lnTo>
                    <a:pt x="3714686" y="4313427"/>
                  </a:lnTo>
                  <a:close/>
                  <a:moveTo>
                    <a:pt x="2904847" y="4313427"/>
                  </a:moveTo>
                  <a:lnTo>
                    <a:pt x="2908341" y="4314825"/>
                  </a:lnTo>
                  <a:lnTo>
                    <a:pt x="2902751" y="4314825"/>
                  </a:lnTo>
                  <a:lnTo>
                    <a:pt x="2633736" y="4585237"/>
                  </a:lnTo>
                  <a:lnTo>
                    <a:pt x="2903449" y="4854251"/>
                  </a:lnTo>
                  <a:lnTo>
                    <a:pt x="3168271" y="4855649"/>
                  </a:lnTo>
                  <a:lnTo>
                    <a:pt x="2897162" y="4585237"/>
                  </a:lnTo>
                  <a:lnTo>
                    <a:pt x="2895764" y="4583839"/>
                  </a:lnTo>
                  <a:lnTo>
                    <a:pt x="3164778" y="4314126"/>
                  </a:lnTo>
                  <a:lnTo>
                    <a:pt x="2967035" y="4314126"/>
                  </a:lnTo>
                  <a:lnTo>
                    <a:pt x="2967733" y="4313427"/>
                  </a:lnTo>
                  <a:close/>
                  <a:moveTo>
                    <a:pt x="3999073" y="4312728"/>
                  </a:moveTo>
                  <a:lnTo>
                    <a:pt x="3728660" y="4583839"/>
                  </a:lnTo>
                  <a:lnTo>
                    <a:pt x="3999771" y="4854251"/>
                  </a:lnTo>
                  <a:lnTo>
                    <a:pt x="4263197" y="4854251"/>
                  </a:lnTo>
                  <a:lnTo>
                    <a:pt x="4133230" y="4724286"/>
                  </a:lnTo>
                  <a:lnTo>
                    <a:pt x="3992783" y="4583839"/>
                  </a:lnTo>
                  <a:lnTo>
                    <a:pt x="4263197" y="4312728"/>
                  </a:lnTo>
                  <a:close/>
                  <a:moveTo>
                    <a:pt x="4547584" y="4312030"/>
                  </a:moveTo>
                  <a:lnTo>
                    <a:pt x="4277171" y="4583140"/>
                  </a:lnTo>
                  <a:lnTo>
                    <a:pt x="4548281" y="4853552"/>
                  </a:lnTo>
                  <a:lnTo>
                    <a:pt x="4812405" y="4853552"/>
                  </a:lnTo>
                  <a:lnTo>
                    <a:pt x="4541294" y="4583140"/>
                  </a:lnTo>
                  <a:lnTo>
                    <a:pt x="4811706" y="4312030"/>
                  </a:lnTo>
                  <a:close/>
                  <a:moveTo>
                    <a:pt x="717155" y="4044465"/>
                  </a:moveTo>
                  <a:lnTo>
                    <a:pt x="986808" y="4312728"/>
                  </a:lnTo>
                  <a:lnTo>
                    <a:pt x="716396" y="4583839"/>
                  </a:lnTo>
                  <a:lnTo>
                    <a:pt x="979821" y="4583839"/>
                  </a:lnTo>
                  <a:lnTo>
                    <a:pt x="1250233" y="4312728"/>
                  </a:lnTo>
                  <a:lnTo>
                    <a:pt x="1116075" y="4179269"/>
                  </a:lnTo>
                  <a:lnTo>
                    <a:pt x="1019702" y="4082896"/>
                  </a:lnTo>
                  <a:lnTo>
                    <a:pt x="1018761" y="4082896"/>
                  </a:lnTo>
                  <a:lnTo>
                    <a:pt x="980330" y="4044465"/>
                  </a:lnTo>
                  <a:close/>
                  <a:moveTo>
                    <a:pt x="168395" y="4044465"/>
                  </a:moveTo>
                  <a:lnTo>
                    <a:pt x="206127" y="4082197"/>
                  </a:lnTo>
                  <a:lnTo>
                    <a:pt x="205772" y="4082197"/>
                  </a:lnTo>
                  <a:lnTo>
                    <a:pt x="437599" y="4313427"/>
                  </a:lnTo>
                  <a:lnTo>
                    <a:pt x="167187" y="4583839"/>
                  </a:lnTo>
                  <a:lnTo>
                    <a:pt x="431311" y="4583839"/>
                  </a:lnTo>
                  <a:lnTo>
                    <a:pt x="701722" y="4312728"/>
                  </a:lnTo>
                  <a:lnTo>
                    <a:pt x="470596" y="4082197"/>
                  </a:lnTo>
                  <a:lnTo>
                    <a:pt x="470250" y="4082197"/>
                  </a:lnTo>
                  <a:lnTo>
                    <a:pt x="432518" y="4044465"/>
                  </a:lnTo>
                  <a:close/>
                  <a:moveTo>
                    <a:pt x="1816265" y="4043766"/>
                  </a:moveTo>
                  <a:lnTo>
                    <a:pt x="1942683" y="4170186"/>
                  </a:lnTo>
                  <a:lnTo>
                    <a:pt x="2083829" y="4310632"/>
                  </a:lnTo>
                  <a:lnTo>
                    <a:pt x="1813417" y="4581743"/>
                  </a:lnTo>
                  <a:lnTo>
                    <a:pt x="2076842" y="4581743"/>
                  </a:lnTo>
                  <a:lnTo>
                    <a:pt x="2347254" y="4311331"/>
                  </a:lnTo>
                  <a:lnTo>
                    <a:pt x="2214493" y="4178570"/>
                  </a:lnTo>
                  <a:lnTo>
                    <a:pt x="2214493" y="4177872"/>
                  </a:lnTo>
                  <a:lnTo>
                    <a:pt x="2119736" y="4083594"/>
                  </a:lnTo>
                  <a:lnTo>
                    <a:pt x="2116480" y="4083594"/>
                  </a:lnTo>
                  <a:lnTo>
                    <a:pt x="2076652" y="4043766"/>
                  </a:lnTo>
                  <a:close/>
                  <a:moveTo>
                    <a:pt x="1266369" y="4043766"/>
                  </a:moveTo>
                  <a:lnTo>
                    <a:pt x="1534620" y="4310632"/>
                  </a:lnTo>
                  <a:lnTo>
                    <a:pt x="1531824" y="4313427"/>
                  </a:lnTo>
                  <a:lnTo>
                    <a:pt x="1441688" y="4404264"/>
                  </a:lnTo>
                  <a:lnTo>
                    <a:pt x="1440989" y="4404264"/>
                  </a:lnTo>
                  <a:lnTo>
                    <a:pt x="1263509" y="4582442"/>
                  </a:lnTo>
                  <a:lnTo>
                    <a:pt x="1527632" y="4582442"/>
                  </a:lnTo>
                  <a:lnTo>
                    <a:pt x="1798044" y="4312030"/>
                  </a:lnTo>
                  <a:lnTo>
                    <a:pt x="1793153" y="4307139"/>
                  </a:lnTo>
                  <a:lnTo>
                    <a:pt x="1795249" y="4307838"/>
                  </a:lnTo>
                  <a:lnTo>
                    <a:pt x="1569718" y="4082896"/>
                  </a:lnTo>
                  <a:lnTo>
                    <a:pt x="1567271" y="4082896"/>
                  </a:lnTo>
                  <a:lnTo>
                    <a:pt x="1528141" y="4043766"/>
                  </a:lnTo>
                  <a:close/>
                  <a:moveTo>
                    <a:pt x="2363377" y="4043068"/>
                  </a:moveTo>
                  <a:lnTo>
                    <a:pt x="2630942" y="4310632"/>
                  </a:lnTo>
                  <a:lnTo>
                    <a:pt x="2632339" y="4312030"/>
                  </a:lnTo>
                  <a:lnTo>
                    <a:pt x="2363324" y="4581743"/>
                  </a:lnTo>
                  <a:lnTo>
                    <a:pt x="2625352" y="4581743"/>
                  </a:lnTo>
                  <a:lnTo>
                    <a:pt x="2895065" y="4311331"/>
                  </a:lnTo>
                  <a:lnTo>
                    <a:pt x="2890873" y="4307139"/>
                  </a:lnTo>
                  <a:lnTo>
                    <a:pt x="2892968" y="4307838"/>
                  </a:lnTo>
                  <a:lnTo>
                    <a:pt x="2668140" y="4083594"/>
                  </a:lnTo>
                  <a:lnTo>
                    <a:pt x="2666387" y="4083594"/>
                  </a:lnTo>
                  <a:lnTo>
                    <a:pt x="2625861" y="4043068"/>
                  </a:lnTo>
                  <a:close/>
                  <a:moveTo>
                    <a:pt x="2911879" y="4041670"/>
                  </a:moveTo>
                  <a:lnTo>
                    <a:pt x="3179452" y="4309934"/>
                  </a:lnTo>
                  <a:lnTo>
                    <a:pt x="3087218" y="4402866"/>
                  </a:lnTo>
                  <a:lnTo>
                    <a:pt x="3087917" y="4403565"/>
                  </a:lnTo>
                  <a:lnTo>
                    <a:pt x="2911834" y="4579647"/>
                  </a:lnTo>
                  <a:lnTo>
                    <a:pt x="3108180" y="4579647"/>
                  </a:lnTo>
                  <a:lnTo>
                    <a:pt x="3107481" y="4581045"/>
                  </a:lnTo>
                  <a:lnTo>
                    <a:pt x="3173163" y="4581045"/>
                  </a:lnTo>
                  <a:lnTo>
                    <a:pt x="3443575" y="4309934"/>
                  </a:lnTo>
                  <a:lnTo>
                    <a:pt x="3215951" y="4082896"/>
                  </a:lnTo>
                  <a:lnTo>
                    <a:pt x="3215596" y="4082896"/>
                  </a:lnTo>
                  <a:lnTo>
                    <a:pt x="3174371" y="4041670"/>
                  </a:lnTo>
                  <a:close/>
                  <a:moveTo>
                    <a:pt x="3459004" y="4040971"/>
                  </a:moveTo>
                  <a:lnTo>
                    <a:pt x="3728660" y="4309934"/>
                  </a:lnTo>
                  <a:lnTo>
                    <a:pt x="3458248" y="4580346"/>
                  </a:lnTo>
                  <a:lnTo>
                    <a:pt x="3722372" y="4580346"/>
                  </a:lnTo>
                  <a:lnTo>
                    <a:pt x="3992783" y="4309934"/>
                  </a:lnTo>
                  <a:lnTo>
                    <a:pt x="3765160" y="4082896"/>
                  </a:lnTo>
                  <a:lnTo>
                    <a:pt x="3764107" y="4082896"/>
                  </a:lnTo>
                  <a:lnTo>
                    <a:pt x="3722183" y="4040971"/>
                  </a:lnTo>
                  <a:close/>
                  <a:moveTo>
                    <a:pt x="4007520" y="4040272"/>
                  </a:moveTo>
                  <a:lnTo>
                    <a:pt x="4277869" y="4308536"/>
                  </a:lnTo>
                  <a:lnTo>
                    <a:pt x="4007457" y="4579647"/>
                  </a:lnTo>
                  <a:lnTo>
                    <a:pt x="4270882" y="4579647"/>
                  </a:lnTo>
                  <a:lnTo>
                    <a:pt x="4541294" y="4308536"/>
                  </a:lnTo>
                  <a:lnTo>
                    <a:pt x="4407136" y="4175077"/>
                  </a:lnTo>
                  <a:lnTo>
                    <a:pt x="4314482" y="4082896"/>
                  </a:lnTo>
                  <a:lnTo>
                    <a:pt x="4313316" y="4082896"/>
                  </a:lnTo>
                  <a:lnTo>
                    <a:pt x="4270692" y="4040272"/>
                  </a:lnTo>
                  <a:close/>
                  <a:moveTo>
                    <a:pt x="2354051" y="3769161"/>
                  </a:moveTo>
                  <a:lnTo>
                    <a:pt x="2084461" y="4039450"/>
                  </a:lnTo>
                  <a:lnTo>
                    <a:pt x="2353542" y="4307838"/>
                  </a:lnTo>
                  <a:lnTo>
                    <a:pt x="2616967" y="4307838"/>
                  </a:lnTo>
                  <a:lnTo>
                    <a:pt x="2392140" y="4083594"/>
                  </a:lnTo>
                  <a:lnTo>
                    <a:pt x="2391783" y="4083594"/>
                  </a:lnTo>
                  <a:lnTo>
                    <a:pt x="2347762" y="4039573"/>
                  </a:lnTo>
                  <a:lnTo>
                    <a:pt x="2347884" y="4039452"/>
                  </a:lnTo>
                  <a:lnTo>
                    <a:pt x="2347254" y="4038823"/>
                  </a:lnTo>
                  <a:lnTo>
                    <a:pt x="2347952" y="4038124"/>
                  </a:lnTo>
                  <a:lnTo>
                    <a:pt x="2346555" y="4036727"/>
                  </a:lnTo>
                  <a:lnTo>
                    <a:pt x="2521938" y="3860644"/>
                  </a:lnTo>
                  <a:lnTo>
                    <a:pt x="2526691" y="3860644"/>
                  </a:lnTo>
                  <a:lnTo>
                    <a:pt x="2532230" y="3855106"/>
                  </a:lnTo>
                  <a:lnTo>
                    <a:pt x="2618174" y="3769161"/>
                  </a:lnTo>
                  <a:close/>
                  <a:moveTo>
                    <a:pt x="1804842" y="3769161"/>
                  </a:moveTo>
                  <a:lnTo>
                    <a:pt x="1535948" y="4038751"/>
                  </a:lnTo>
                  <a:lnTo>
                    <a:pt x="1805731" y="4307838"/>
                  </a:lnTo>
                  <a:lnTo>
                    <a:pt x="2069155" y="4307838"/>
                  </a:lnTo>
                  <a:lnTo>
                    <a:pt x="1939190" y="4177872"/>
                  </a:lnTo>
                  <a:lnTo>
                    <a:pt x="1844912" y="4083594"/>
                  </a:lnTo>
                  <a:lnTo>
                    <a:pt x="1841875" y="4083594"/>
                  </a:lnTo>
                  <a:lnTo>
                    <a:pt x="1798553" y="4040272"/>
                  </a:lnTo>
                  <a:lnTo>
                    <a:pt x="1800069" y="4038752"/>
                  </a:lnTo>
                  <a:lnTo>
                    <a:pt x="1798743" y="4037426"/>
                  </a:lnTo>
                  <a:lnTo>
                    <a:pt x="1974825" y="3860644"/>
                  </a:lnTo>
                  <a:lnTo>
                    <a:pt x="1977718" y="3860644"/>
                  </a:lnTo>
                  <a:lnTo>
                    <a:pt x="2068965" y="3769161"/>
                  </a:lnTo>
                  <a:close/>
                  <a:moveTo>
                    <a:pt x="1257031" y="3769161"/>
                  </a:moveTo>
                  <a:lnTo>
                    <a:pt x="987788" y="4039100"/>
                  </a:lnTo>
                  <a:lnTo>
                    <a:pt x="1257220" y="4307838"/>
                  </a:lnTo>
                  <a:lnTo>
                    <a:pt x="1519946" y="4307838"/>
                  </a:lnTo>
                  <a:lnTo>
                    <a:pt x="1294422" y="4082896"/>
                  </a:lnTo>
                  <a:lnTo>
                    <a:pt x="1293365" y="4082896"/>
                  </a:lnTo>
                  <a:lnTo>
                    <a:pt x="1250742" y="4040272"/>
                  </a:lnTo>
                  <a:lnTo>
                    <a:pt x="1251213" y="4039800"/>
                  </a:lnTo>
                  <a:lnTo>
                    <a:pt x="1249534" y="4038124"/>
                  </a:lnTo>
                  <a:lnTo>
                    <a:pt x="1250932" y="4036727"/>
                  </a:lnTo>
                  <a:lnTo>
                    <a:pt x="1426315" y="3860644"/>
                  </a:lnTo>
                  <a:lnTo>
                    <a:pt x="1429907" y="3860644"/>
                  </a:lnTo>
                  <a:lnTo>
                    <a:pt x="1521154" y="3769161"/>
                  </a:lnTo>
                  <a:close/>
                  <a:moveTo>
                    <a:pt x="709219" y="3769161"/>
                  </a:moveTo>
                  <a:lnTo>
                    <a:pt x="438807" y="4040272"/>
                  </a:lnTo>
                  <a:lnTo>
                    <a:pt x="480732" y="4082197"/>
                  </a:lnTo>
                  <a:lnTo>
                    <a:pt x="480499" y="4082197"/>
                  </a:lnTo>
                  <a:lnTo>
                    <a:pt x="708011" y="4308536"/>
                  </a:lnTo>
                  <a:lnTo>
                    <a:pt x="972135" y="4308536"/>
                  </a:lnTo>
                  <a:lnTo>
                    <a:pt x="745211" y="4082197"/>
                  </a:lnTo>
                  <a:lnTo>
                    <a:pt x="744855" y="4082197"/>
                  </a:lnTo>
                  <a:lnTo>
                    <a:pt x="702930" y="4040272"/>
                  </a:lnTo>
                  <a:lnTo>
                    <a:pt x="703053" y="4040149"/>
                  </a:lnTo>
                  <a:lnTo>
                    <a:pt x="701024" y="4038124"/>
                  </a:lnTo>
                  <a:lnTo>
                    <a:pt x="878504" y="3860644"/>
                  </a:lnTo>
                  <a:lnTo>
                    <a:pt x="882095" y="3860644"/>
                  </a:lnTo>
                  <a:lnTo>
                    <a:pt x="973342" y="3769161"/>
                  </a:lnTo>
                  <a:close/>
                  <a:moveTo>
                    <a:pt x="3451072" y="3767066"/>
                  </a:moveTo>
                  <a:lnTo>
                    <a:pt x="3181135" y="4037702"/>
                  </a:lnTo>
                  <a:lnTo>
                    <a:pt x="3312910" y="4168788"/>
                  </a:lnTo>
                  <a:lnTo>
                    <a:pt x="3312910" y="4169487"/>
                  </a:lnTo>
                  <a:lnTo>
                    <a:pt x="3450563" y="4306440"/>
                  </a:lnTo>
                  <a:lnTo>
                    <a:pt x="3714686" y="4306440"/>
                  </a:lnTo>
                  <a:lnTo>
                    <a:pt x="3490444" y="4082197"/>
                  </a:lnTo>
                  <a:lnTo>
                    <a:pt x="3489503" y="4082197"/>
                  </a:lnTo>
                  <a:lnTo>
                    <a:pt x="3444084" y="4036779"/>
                  </a:lnTo>
                  <a:lnTo>
                    <a:pt x="3444556" y="4036310"/>
                  </a:lnTo>
                  <a:lnTo>
                    <a:pt x="3444274" y="4036028"/>
                  </a:lnTo>
                  <a:lnTo>
                    <a:pt x="3618959" y="3860644"/>
                  </a:lnTo>
                  <a:lnTo>
                    <a:pt x="3621132" y="3860644"/>
                  </a:lnTo>
                  <a:lnTo>
                    <a:pt x="3715195" y="3767066"/>
                  </a:lnTo>
                  <a:close/>
                  <a:moveTo>
                    <a:pt x="3999582" y="3766367"/>
                  </a:moveTo>
                  <a:lnTo>
                    <a:pt x="3729642" y="4037004"/>
                  </a:lnTo>
                  <a:lnTo>
                    <a:pt x="3999073" y="4305741"/>
                  </a:lnTo>
                  <a:lnTo>
                    <a:pt x="4263197" y="4305741"/>
                  </a:lnTo>
                  <a:lnTo>
                    <a:pt x="4039076" y="4082197"/>
                  </a:lnTo>
                  <a:lnTo>
                    <a:pt x="4038711" y="4082197"/>
                  </a:lnTo>
                  <a:lnTo>
                    <a:pt x="3992595" y="4036080"/>
                  </a:lnTo>
                  <a:lnTo>
                    <a:pt x="3992717" y="4035958"/>
                  </a:lnTo>
                  <a:lnTo>
                    <a:pt x="3992086" y="4035329"/>
                  </a:lnTo>
                  <a:lnTo>
                    <a:pt x="4166770" y="3860644"/>
                  </a:lnTo>
                  <a:lnTo>
                    <a:pt x="4168939" y="3860644"/>
                  </a:lnTo>
                  <a:lnTo>
                    <a:pt x="4263706" y="3766367"/>
                  </a:lnTo>
                  <a:close/>
                  <a:moveTo>
                    <a:pt x="4547394" y="3765668"/>
                  </a:moveTo>
                  <a:lnTo>
                    <a:pt x="4277804" y="4035954"/>
                  </a:lnTo>
                  <a:lnTo>
                    <a:pt x="4410630" y="4168089"/>
                  </a:lnTo>
                  <a:lnTo>
                    <a:pt x="4547584" y="4305042"/>
                  </a:lnTo>
                  <a:lnTo>
                    <a:pt x="4811706" y="4305042"/>
                  </a:lnTo>
                  <a:lnTo>
                    <a:pt x="4588162" y="4081498"/>
                  </a:lnTo>
                  <a:lnTo>
                    <a:pt x="4587920" y="4081498"/>
                  </a:lnTo>
                  <a:lnTo>
                    <a:pt x="4541105" y="4035381"/>
                  </a:lnTo>
                  <a:lnTo>
                    <a:pt x="4541576" y="4034912"/>
                  </a:lnTo>
                  <a:lnTo>
                    <a:pt x="4541294" y="4034630"/>
                  </a:lnTo>
                  <a:lnTo>
                    <a:pt x="4542692" y="4033233"/>
                  </a:lnTo>
                  <a:lnTo>
                    <a:pt x="4714582" y="3860644"/>
                  </a:lnTo>
                  <a:lnTo>
                    <a:pt x="4716295" y="3860644"/>
                  </a:lnTo>
                  <a:lnTo>
                    <a:pt x="4811517" y="3765668"/>
                  </a:lnTo>
                  <a:close/>
                  <a:moveTo>
                    <a:pt x="1264018" y="3493858"/>
                  </a:moveTo>
                  <a:lnTo>
                    <a:pt x="1535828" y="3763572"/>
                  </a:lnTo>
                  <a:lnTo>
                    <a:pt x="1266165" y="4033931"/>
                  </a:lnTo>
                  <a:lnTo>
                    <a:pt x="1527632" y="4033931"/>
                  </a:lnTo>
                  <a:lnTo>
                    <a:pt x="1700221" y="3860644"/>
                  </a:lnTo>
                  <a:lnTo>
                    <a:pt x="1702878" y="3860644"/>
                  </a:lnTo>
                  <a:lnTo>
                    <a:pt x="1799252" y="3764270"/>
                  </a:lnTo>
                  <a:lnTo>
                    <a:pt x="1665094" y="3630811"/>
                  </a:lnTo>
                  <a:lnTo>
                    <a:pt x="1528141" y="3493858"/>
                  </a:lnTo>
                  <a:close/>
                  <a:moveTo>
                    <a:pt x="715508" y="3493858"/>
                  </a:moveTo>
                  <a:lnTo>
                    <a:pt x="986618" y="3764270"/>
                  </a:lnTo>
                  <a:lnTo>
                    <a:pt x="716955" y="4034630"/>
                  </a:lnTo>
                  <a:lnTo>
                    <a:pt x="979122" y="4034630"/>
                  </a:lnTo>
                  <a:lnTo>
                    <a:pt x="1067862" y="3945192"/>
                  </a:lnTo>
                  <a:lnTo>
                    <a:pt x="1152410" y="3860644"/>
                  </a:lnTo>
                  <a:lnTo>
                    <a:pt x="1154616" y="3860644"/>
                  </a:lnTo>
                  <a:lnTo>
                    <a:pt x="1250742" y="3764270"/>
                  </a:lnTo>
                  <a:lnTo>
                    <a:pt x="979631" y="3493858"/>
                  </a:lnTo>
                  <a:close/>
                  <a:moveTo>
                    <a:pt x="165601" y="3493858"/>
                  </a:moveTo>
                  <a:lnTo>
                    <a:pt x="436711" y="3764270"/>
                  </a:lnTo>
                  <a:lnTo>
                    <a:pt x="438108" y="3764969"/>
                  </a:lnTo>
                  <a:lnTo>
                    <a:pt x="169094" y="4034682"/>
                  </a:lnTo>
                  <a:lnTo>
                    <a:pt x="365440" y="4034682"/>
                  </a:lnTo>
                  <a:lnTo>
                    <a:pt x="365116" y="4035329"/>
                  </a:lnTo>
                  <a:lnTo>
                    <a:pt x="430612" y="4035329"/>
                  </a:lnTo>
                  <a:lnTo>
                    <a:pt x="604598" y="3860644"/>
                  </a:lnTo>
                  <a:lnTo>
                    <a:pt x="606802" y="3860644"/>
                  </a:lnTo>
                  <a:lnTo>
                    <a:pt x="701533" y="3765668"/>
                  </a:lnTo>
                  <a:lnTo>
                    <a:pt x="430423" y="3495256"/>
                  </a:lnTo>
                  <a:lnTo>
                    <a:pt x="362644" y="3493858"/>
                  </a:lnTo>
                  <a:close/>
                  <a:moveTo>
                    <a:pt x="2361039" y="3493160"/>
                  </a:moveTo>
                  <a:lnTo>
                    <a:pt x="2631451" y="3762174"/>
                  </a:lnTo>
                  <a:lnTo>
                    <a:pt x="2628655" y="3764969"/>
                  </a:lnTo>
                  <a:lnTo>
                    <a:pt x="2538519" y="3855806"/>
                  </a:lnTo>
                  <a:lnTo>
                    <a:pt x="2361789" y="4032535"/>
                  </a:lnTo>
                  <a:lnTo>
                    <a:pt x="2624653" y="4032535"/>
                  </a:lnTo>
                  <a:lnTo>
                    <a:pt x="2795844" y="3860644"/>
                  </a:lnTo>
                  <a:lnTo>
                    <a:pt x="2797802" y="3860644"/>
                  </a:lnTo>
                  <a:lnTo>
                    <a:pt x="2895574" y="3762873"/>
                  </a:lnTo>
                  <a:lnTo>
                    <a:pt x="2625162" y="3493160"/>
                  </a:lnTo>
                  <a:close/>
                  <a:moveTo>
                    <a:pt x="1812528" y="3493160"/>
                  </a:moveTo>
                  <a:lnTo>
                    <a:pt x="1813926" y="3494557"/>
                  </a:lnTo>
                  <a:lnTo>
                    <a:pt x="2083639" y="3763572"/>
                  </a:lnTo>
                  <a:lnTo>
                    <a:pt x="1814673" y="4033233"/>
                  </a:lnTo>
                  <a:lnTo>
                    <a:pt x="2076143" y="4033233"/>
                  </a:lnTo>
                  <a:lnTo>
                    <a:pt x="2248033" y="3860644"/>
                  </a:lnTo>
                  <a:lnTo>
                    <a:pt x="2250940" y="3860644"/>
                  </a:lnTo>
                  <a:lnTo>
                    <a:pt x="2347762" y="3763572"/>
                  </a:lnTo>
                  <a:lnTo>
                    <a:pt x="2342173" y="3758681"/>
                  </a:lnTo>
                  <a:lnTo>
                    <a:pt x="2076652" y="3493160"/>
                  </a:lnTo>
                  <a:close/>
                  <a:moveTo>
                    <a:pt x="4005871" y="3491064"/>
                  </a:moveTo>
                  <a:lnTo>
                    <a:pt x="4277680" y="3760776"/>
                  </a:lnTo>
                  <a:lnTo>
                    <a:pt x="4008016" y="4031137"/>
                  </a:lnTo>
                  <a:lnTo>
                    <a:pt x="4270183" y="4031137"/>
                  </a:lnTo>
                  <a:lnTo>
                    <a:pt x="4359622" y="3941698"/>
                  </a:lnTo>
                  <a:lnTo>
                    <a:pt x="4440676" y="3860644"/>
                  </a:lnTo>
                  <a:lnTo>
                    <a:pt x="4441937" y="3860644"/>
                  </a:lnTo>
                  <a:lnTo>
                    <a:pt x="4541105" y="3761476"/>
                  </a:lnTo>
                  <a:lnTo>
                    <a:pt x="4406947" y="3628017"/>
                  </a:lnTo>
                  <a:lnTo>
                    <a:pt x="4269994" y="3491064"/>
                  </a:lnTo>
                  <a:close/>
                  <a:moveTo>
                    <a:pt x="3721484" y="3490365"/>
                  </a:moveTo>
                  <a:lnTo>
                    <a:pt x="3457360" y="3491064"/>
                  </a:lnTo>
                  <a:lnTo>
                    <a:pt x="3728471" y="3761476"/>
                  </a:lnTo>
                  <a:lnTo>
                    <a:pt x="3458808" y="4031836"/>
                  </a:lnTo>
                  <a:lnTo>
                    <a:pt x="3721674" y="4031836"/>
                  </a:lnTo>
                  <a:lnTo>
                    <a:pt x="3892166" y="3859946"/>
                  </a:lnTo>
                  <a:lnTo>
                    <a:pt x="3893935" y="3859946"/>
                  </a:lnTo>
                  <a:lnTo>
                    <a:pt x="3992595" y="3760776"/>
                  </a:lnTo>
                  <a:close/>
                  <a:moveTo>
                    <a:pt x="707821" y="3220651"/>
                  </a:moveTo>
                  <a:lnTo>
                    <a:pt x="437409" y="3491762"/>
                  </a:lnTo>
                  <a:lnTo>
                    <a:pt x="570170" y="3623824"/>
                  </a:lnTo>
                  <a:lnTo>
                    <a:pt x="708520" y="3761476"/>
                  </a:lnTo>
                  <a:lnTo>
                    <a:pt x="972643" y="3761476"/>
                  </a:lnTo>
                  <a:lnTo>
                    <a:pt x="701533" y="3491064"/>
                  </a:lnTo>
                  <a:lnTo>
                    <a:pt x="971945" y="3220651"/>
                  </a:lnTo>
                  <a:close/>
                  <a:moveTo>
                    <a:pt x="1256332" y="3219953"/>
                  </a:moveTo>
                  <a:lnTo>
                    <a:pt x="985920" y="3491064"/>
                  </a:lnTo>
                  <a:lnTo>
                    <a:pt x="1257031" y="3761476"/>
                  </a:lnTo>
                  <a:lnTo>
                    <a:pt x="1521154" y="3760776"/>
                  </a:lnTo>
                  <a:lnTo>
                    <a:pt x="1250043" y="3490365"/>
                  </a:lnTo>
                  <a:lnTo>
                    <a:pt x="1434510" y="3305898"/>
                  </a:lnTo>
                  <a:lnTo>
                    <a:pt x="1520455" y="3219953"/>
                  </a:lnTo>
                  <a:close/>
                  <a:moveTo>
                    <a:pt x="1804143" y="3219255"/>
                  </a:moveTo>
                  <a:lnTo>
                    <a:pt x="1623869" y="3400228"/>
                  </a:lnTo>
                  <a:lnTo>
                    <a:pt x="1534430" y="3490365"/>
                  </a:lnTo>
                  <a:lnTo>
                    <a:pt x="1668588" y="3623824"/>
                  </a:lnTo>
                  <a:lnTo>
                    <a:pt x="1805541" y="3760776"/>
                  </a:lnTo>
                  <a:lnTo>
                    <a:pt x="2069664" y="3760078"/>
                  </a:lnTo>
                  <a:lnTo>
                    <a:pt x="1798553" y="3489666"/>
                  </a:lnTo>
                  <a:lnTo>
                    <a:pt x="1799951" y="3488269"/>
                  </a:lnTo>
                  <a:lnTo>
                    <a:pt x="2068266" y="3219255"/>
                  </a:lnTo>
                  <a:close/>
                  <a:moveTo>
                    <a:pt x="2353352" y="3218555"/>
                  </a:moveTo>
                  <a:lnTo>
                    <a:pt x="2082940" y="3489666"/>
                  </a:lnTo>
                  <a:lnTo>
                    <a:pt x="2354051" y="3760078"/>
                  </a:lnTo>
                  <a:lnTo>
                    <a:pt x="2618174" y="3760078"/>
                  </a:lnTo>
                  <a:lnTo>
                    <a:pt x="2347064" y="3489666"/>
                  </a:lnTo>
                  <a:lnTo>
                    <a:pt x="2617476" y="3218555"/>
                  </a:lnTo>
                  <a:close/>
                  <a:moveTo>
                    <a:pt x="3449674" y="3217158"/>
                  </a:moveTo>
                  <a:lnTo>
                    <a:pt x="3179262" y="3488269"/>
                  </a:lnTo>
                  <a:lnTo>
                    <a:pt x="3450373" y="3758681"/>
                  </a:lnTo>
                  <a:lnTo>
                    <a:pt x="3714496" y="3758681"/>
                  </a:lnTo>
                  <a:lnTo>
                    <a:pt x="3443385" y="3488269"/>
                  </a:lnTo>
                  <a:lnTo>
                    <a:pt x="3713797" y="3217158"/>
                  </a:lnTo>
                  <a:close/>
                  <a:moveTo>
                    <a:pt x="3998184" y="3216459"/>
                  </a:moveTo>
                  <a:lnTo>
                    <a:pt x="3727772" y="3487570"/>
                  </a:lnTo>
                  <a:lnTo>
                    <a:pt x="3998883" y="3757982"/>
                  </a:lnTo>
                  <a:lnTo>
                    <a:pt x="4263007" y="3757283"/>
                  </a:lnTo>
                  <a:lnTo>
                    <a:pt x="3991896" y="3486871"/>
                  </a:lnTo>
                  <a:lnTo>
                    <a:pt x="4176362" y="3302404"/>
                  </a:lnTo>
                  <a:lnTo>
                    <a:pt x="4177062" y="3302404"/>
                  </a:lnTo>
                  <a:lnTo>
                    <a:pt x="4262308" y="3216459"/>
                  </a:lnTo>
                  <a:close/>
                  <a:moveTo>
                    <a:pt x="4546695" y="3215760"/>
                  </a:moveTo>
                  <a:lnTo>
                    <a:pt x="4366420" y="3396734"/>
                  </a:lnTo>
                  <a:lnTo>
                    <a:pt x="4365722" y="3396734"/>
                  </a:lnTo>
                  <a:lnTo>
                    <a:pt x="4276282" y="3486871"/>
                  </a:lnTo>
                  <a:lnTo>
                    <a:pt x="4410440" y="3620330"/>
                  </a:lnTo>
                  <a:lnTo>
                    <a:pt x="4547394" y="3757283"/>
                  </a:lnTo>
                  <a:lnTo>
                    <a:pt x="4811517" y="3757283"/>
                  </a:lnTo>
                  <a:lnTo>
                    <a:pt x="4540406" y="3486871"/>
                  </a:lnTo>
                  <a:lnTo>
                    <a:pt x="4542503" y="3485473"/>
                  </a:lnTo>
                  <a:lnTo>
                    <a:pt x="4810119" y="3215760"/>
                  </a:lnTo>
                  <a:close/>
                  <a:moveTo>
                    <a:pt x="1263319" y="2946047"/>
                  </a:moveTo>
                  <a:lnTo>
                    <a:pt x="1534430" y="3215760"/>
                  </a:lnTo>
                  <a:lnTo>
                    <a:pt x="1531636" y="3218555"/>
                  </a:lnTo>
                  <a:lnTo>
                    <a:pt x="1441498" y="3309391"/>
                  </a:lnTo>
                  <a:lnTo>
                    <a:pt x="1264018" y="3486871"/>
                  </a:lnTo>
                  <a:lnTo>
                    <a:pt x="1528141" y="3486871"/>
                  </a:lnTo>
                  <a:lnTo>
                    <a:pt x="1617580" y="3397432"/>
                  </a:lnTo>
                  <a:lnTo>
                    <a:pt x="1798553" y="3216459"/>
                  </a:lnTo>
                  <a:lnTo>
                    <a:pt x="1527442" y="2946047"/>
                  </a:lnTo>
                  <a:close/>
                  <a:moveTo>
                    <a:pt x="714809" y="2946047"/>
                  </a:moveTo>
                  <a:lnTo>
                    <a:pt x="843377" y="3074615"/>
                  </a:lnTo>
                  <a:lnTo>
                    <a:pt x="985221" y="3216459"/>
                  </a:lnTo>
                  <a:lnTo>
                    <a:pt x="714809" y="3487570"/>
                  </a:lnTo>
                  <a:lnTo>
                    <a:pt x="978932" y="3487570"/>
                  </a:lnTo>
                  <a:lnTo>
                    <a:pt x="1249344" y="3216459"/>
                  </a:lnTo>
                  <a:lnTo>
                    <a:pt x="1244453" y="3211568"/>
                  </a:lnTo>
                  <a:lnTo>
                    <a:pt x="978932" y="2946047"/>
                  </a:lnTo>
                  <a:close/>
                  <a:moveTo>
                    <a:pt x="164902" y="2946047"/>
                  </a:moveTo>
                  <a:lnTo>
                    <a:pt x="436013" y="3215760"/>
                  </a:lnTo>
                  <a:lnTo>
                    <a:pt x="433217" y="3218555"/>
                  </a:lnTo>
                  <a:lnTo>
                    <a:pt x="343079" y="3309391"/>
                  </a:lnTo>
                  <a:lnTo>
                    <a:pt x="165601" y="3486871"/>
                  </a:lnTo>
                  <a:lnTo>
                    <a:pt x="429724" y="3486871"/>
                  </a:lnTo>
                  <a:lnTo>
                    <a:pt x="519162" y="3397432"/>
                  </a:lnTo>
                  <a:lnTo>
                    <a:pt x="700136" y="3216459"/>
                  </a:lnTo>
                  <a:lnTo>
                    <a:pt x="429025" y="2946047"/>
                  </a:lnTo>
                  <a:close/>
                  <a:moveTo>
                    <a:pt x="2908151" y="2945348"/>
                  </a:moveTo>
                  <a:lnTo>
                    <a:pt x="3179262" y="3215760"/>
                  </a:lnTo>
                  <a:lnTo>
                    <a:pt x="2908850" y="3486871"/>
                  </a:lnTo>
                  <a:lnTo>
                    <a:pt x="3107292" y="3486871"/>
                  </a:lnTo>
                  <a:lnTo>
                    <a:pt x="3103798" y="3493858"/>
                  </a:lnTo>
                  <a:lnTo>
                    <a:pt x="2908850" y="3493858"/>
                  </a:lnTo>
                  <a:lnTo>
                    <a:pt x="3038815" y="3623824"/>
                  </a:lnTo>
                  <a:lnTo>
                    <a:pt x="3035322" y="3630811"/>
                  </a:lnTo>
                  <a:lnTo>
                    <a:pt x="2894875" y="3490365"/>
                  </a:lnTo>
                  <a:lnTo>
                    <a:pt x="3165287" y="3219255"/>
                  </a:lnTo>
                  <a:lnTo>
                    <a:pt x="2901164" y="3219255"/>
                  </a:lnTo>
                  <a:lnTo>
                    <a:pt x="2630752" y="3490365"/>
                  </a:lnTo>
                  <a:lnTo>
                    <a:pt x="2901863" y="3760776"/>
                  </a:lnTo>
                  <a:lnTo>
                    <a:pt x="2970339" y="3760776"/>
                  </a:lnTo>
                  <a:lnTo>
                    <a:pt x="2966846" y="3767764"/>
                  </a:lnTo>
                  <a:lnTo>
                    <a:pt x="2901863" y="3767764"/>
                  </a:lnTo>
                  <a:lnTo>
                    <a:pt x="2721588" y="3948738"/>
                  </a:lnTo>
                  <a:lnTo>
                    <a:pt x="2633317" y="4037700"/>
                  </a:lnTo>
                  <a:lnTo>
                    <a:pt x="2902751" y="4306440"/>
                  </a:lnTo>
                  <a:lnTo>
                    <a:pt x="3165477" y="4306440"/>
                  </a:lnTo>
                  <a:lnTo>
                    <a:pt x="3036210" y="4177174"/>
                  </a:lnTo>
                  <a:lnTo>
                    <a:pt x="3036909" y="4176475"/>
                  </a:lnTo>
                  <a:lnTo>
                    <a:pt x="2942163" y="4082197"/>
                  </a:lnTo>
                  <a:lnTo>
                    <a:pt x="2940992" y="4082197"/>
                  </a:lnTo>
                  <a:lnTo>
                    <a:pt x="2896273" y="4037478"/>
                  </a:lnTo>
                  <a:lnTo>
                    <a:pt x="2896745" y="4037005"/>
                  </a:lnTo>
                  <a:lnTo>
                    <a:pt x="2895764" y="4036028"/>
                  </a:lnTo>
                  <a:lnTo>
                    <a:pt x="3070448" y="3860644"/>
                  </a:lnTo>
                  <a:lnTo>
                    <a:pt x="3072651" y="3860644"/>
                  </a:lnTo>
                  <a:lnTo>
                    <a:pt x="3165986" y="3767066"/>
                  </a:lnTo>
                  <a:lnTo>
                    <a:pt x="2967543" y="3767066"/>
                  </a:lnTo>
                  <a:lnTo>
                    <a:pt x="2971038" y="3760078"/>
                  </a:lnTo>
                  <a:lnTo>
                    <a:pt x="3165986" y="3760078"/>
                  </a:lnTo>
                  <a:lnTo>
                    <a:pt x="3036021" y="3630113"/>
                  </a:lnTo>
                  <a:lnTo>
                    <a:pt x="3039514" y="3623126"/>
                  </a:lnTo>
                  <a:lnTo>
                    <a:pt x="3179961" y="3763572"/>
                  </a:lnTo>
                  <a:lnTo>
                    <a:pt x="2912388" y="4031836"/>
                  </a:lnTo>
                  <a:lnTo>
                    <a:pt x="3173163" y="4031836"/>
                  </a:lnTo>
                  <a:lnTo>
                    <a:pt x="3262601" y="3942397"/>
                  </a:lnTo>
                  <a:lnTo>
                    <a:pt x="3344354" y="3860644"/>
                  </a:lnTo>
                  <a:lnTo>
                    <a:pt x="3347262" y="3860644"/>
                  </a:lnTo>
                  <a:lnTo>
                    <a:pt x="3444084" y="3763572"/>
                  </a:lnTo>
                  <a:lnTo>
                    <a:pt x="3172973" y="3493858"/>
                  </a:lnTo>
                  <a:lnTo>
                    <a:pt x="3104497" y="3493858"/>
                  </a:lnTo>
                  <a:lnTo>
                    <a:pt x="3107990" y="3486871"/>
                  </a:lnTo>
                  <a:lnTo>
                    <a:pt x="3172973" y="3486871"/>
                  </a:lnTo>
                  <a:lnTo>
                    <a:pt x="3443385" y="3215760"/>
                  </a:lnTo>
                  <a:lnTo>
                    <a:pt x="3309227" y="3082301"/>
                  </a:lnTo>
                  <a:lnTo>
                    <a:pt x="3172275" y="2945348"/>
                  </a:lnTo>
                  <a:close/>
                  <a:moveTo>
                    <a:pt x="1811829" y="2944649"/>
                  </a:moveTo>
                  <a:lnTo>
                    <a:pt x="1941795" y="3074615"/>
                  </a:lnTo>
                  <a:lnTo>
                    <a:pt x="2082940" y="3215061"/>
                  </a:lnTo>
                  <a:lnTo>
                    <a:pt x="1812528" y="3486172"/>
                  </a:lnTo>
                  <a:lnTo>
                    <a:pt x="2076652" y="3486172"/>
                  </a:lnTo>
                  <a:lnTo>
                    <a:pt x="2347064" y="3215061"/>
                  </a:lnTo>
                  <a:lnTo>
                    <a:pt x="2075953" y="2944649"/>
                  </a:lnTo>
                  <a:close/>
                  <a:moveTo>
                    <a:pt x="2360340" y="2943952"/>
                  </a:moveTo>
                  <a:lnTo>
                    <a:pt x="2631451" y="3214364"/>
                  </a:lnTo>
                  <a:lnTo>
                    <a:pt x="2361039" y="3485473"/>
                  </a:lnTo>
                  <a:lnTo>
                    <a:pt x="2625162" y="3485473"/>
                  </a:lnTo>
                  <a:lnTo>
                    <a:pt x="2895574" y="3214364"/>
                  </a:lnTo>
                  <a:lnTo>
                    <a:pt x="2624463" y="2943952"/>
                  </a:lnTo>
                  <a:close/>
                  <a:moveTo>
                    <a:pt x="4005871" y="2943253"/>
                  </a:moveTo>
                  <a:lnTo>
                    <a:pt x="4275584" y="3212267"/>
                  </a:lnTo>
                  <a:lnTo>
                    <a:pt x="4272789" y="3215061"/>
                  </a:lnTo>
                  <a:lnTo>
                    <a:pt x="4182652" y="3305898"/>
                  </a:lnTo>
                  <a:lnTo>
                    <a:pt x="4181952" y="3305898"/>
                  </a:lnTo>
                  <a:lnTo>
                    <a:pt x="4005172" y="3483378"/>
                  </a:lnTo>
                  <a:lnTo>
                    <a:pt x="4269295" y="3483378"/>
                  </a:lnTo>
                  <a:lnTo>
                    <a:pt x="4358734" y="3393939"/>
                  </a:lnTo>
                  <a:lnTo>
                    <a:pt x="4359432" y="3393939"/>
                  </a:lnTo>
                  <a:lnTo>
                    <a:pt x="4541105" y="3213665"/>
                  </a:lnTo>
                  <a:lnTo>
                    <a:pt x="4269994" y="2943253"/>
                  </a:lnTo>
                  <a:close/>
                  <a:moveTo>
                    <a:pt x="3457360" y="2943253"/>
                  </a:moveTo>
                  <a:lnTo>
                    <a:pt x="3458059" y="2943952"/>
                  </a:lnTo>
                  <a:lnTo>
                    <a:pt x="3458758" y="2943952"/>
                  </a:lnTo>
                  <a:lnTo>
                    <a:pt x="3727772" y="3212966"/>
                  </a:lnTo>
                  <a:lnTo>
                    <a:pt x="3457360" y="3484077"/>
                  </a:lnTo>
                  <a:lnTo>
                    <a:pt x="3721484" y="3484077"/>
                  </a:lnTo>
                  <a:lnTo>
                    <a:pt x="3991896" y="3213665"/>
                  </a:lnTo>
                  <a:lnTo>
                    <a:pt x="3987005" y="3208074"/>
                  </a:lnTo>
                  <a:lnTo>
                    <a:pt x="3721484" y="2943253"/>
                  </a:lnTo>
                  <a:close/>
                  <a:moveTo>
                    <a:pt x="1255633" y="2671443"/>
                  </a:moveTo>
                  <a:lnTo>
                    <a:pt x="985221" y="2942554"/>
                  </a:lnTo>
                  <a:lnTo>
                    <a:pt x="1256332" y="3212966"/>
                  </a:lnTo>
                  <a:lnTo>
                    <a:pt x="1520455" y="3212966"/>
                  </a:lnTo>
                  <a:lnTo>
                    <a:pt x="1249344" y="2942554"/>
                  </a:lnTo>
                  <a:lnTo>
                    <a:pt x="1519757" y="2671443"/>
                  </a:lnTo>
                  <a:close/>
                  <a:moveTo>
                    <a:pt x="1804143" y="2670744"/>
                  </a:moveTo>
                  <a:lnTo>
                    <a:pt x="1533731" y="2941855"/>
                  </a:lnTo>
                  <a:lnTo>
                    <a:pt x="1805541" y="3212267"/>
                  </a:lnTo>
                  <a:lnTo>
                    <a:pt x="2068965" y="3212267"/>
                  </a:lnTo>
                  <a:lnTo>
                    <a:pt x="1938301" y="3082301"/>
                  </a:lnTo>
                  <a:lnTo>
                    <a:pt x="1797854" y="2941855"/>
                  </a:lnTo>
                  <a:lnTo>
                    <a:pt x="2068266" y="2670744"/>
                  </a:lnTo>
                  <a:close/>
                  <a:moveTo>
                    <a:pt x="705027" y="2670744"/>
                  </a:moveTo>
                  <a:lnTo>
                    <a:pt x="434615" y="2941855"/>
                  </a:lnTo>
                  <a:lnTo>
                    <a:pt x="705726" y="3212267"/>
                  </a:lnTo>
                  <a:lnTo>
                    <a:pt x="774202" y="3212267"/>
                  </a:lnTo>
                  <a:lnTo>
                    <a:pt x="773503" y="3213665"/>
                  </a:lnTo>
                  <a:lnTo>
                    <a:pt x="971247" y="3213665"/>
                  </a:lnTo>
                  <a:lnTo>
                    <a:pt x="839884" y="3082301"/>
                  </a:lnTo>
                  <a:lnTo>
                    <a:pt x="699437" y="2941855"/>
                  </a:lnTo>
                  <a:lnTo>
                    <a:pt x="968451" y="2672142"/>
                  </a:lnTo>
                  <a:lnTo>
                    <a:pt x="772105" y="2672142"/>
                  </a:lnTo>
                  <a:lnTo>
                    <a:pt x="772804" y="2670744"/>
                  </a:lnTo>
                  <a:close/>
                  <a:moveTo>
                    <a:pt x="2352653" y="2670045"/>
                  </a:moveTo>
                  <a:lnTo>
                    <a:pt x="2082241" y="2941156"/>
                  </a:lnTo>
                  <a:lnTo>
                    <a:pt x="2353352" y="3211568"/>
                  </a:lnTo>
                  <a:lnTo>
                    <a:pt x="2617476" y="3211568"/>
                  </a:lnTo>
                  <a:lnTo>
                    <a:pt x="2346365" y="2941156"/>
                  </a:lnTo>
                  <a:lnTo>
                    <a:pt x="2616777" y="2670045"/>
                  </a:lnTo>
                  <a:close/>
                  <a:moveTo>
                    <a:pt x="3998184" y="2667949"/>
                  </a:moveTo>
                  <a:lnTo>
                    <a:pt x="3727772" y="2939060"/>
                  </a:lnTo>
                  <a:lnTo>
                    <a:pt x="3998883" y="3209471"/>
                  </a:lnTo>
                  <a:lnTo>
                    <a:pt x="4263007" y="3209471"/>
                  </a:lnTo>
                  <a:lnTo>
                    <a:pt x="3991896" y="2939060"/>
                  </a:lnTo>
                  <a:lnTo>
                    <a:pt x="4262308" y="2667949"/>
                  </a:lnTo>
                  <a:close/>
                  <a:moveTo>
                    <a:pt x="4546695" y="2667250"/>
                  </a:moveTo>
                  <a:lnTo>
                    <a:pt x="4276282" y="2938360"/>
                  </a:lnTo>
                  <a:lnTo>
                    <a:pt x="4547394" y="3208772"/>
                  </a:lnTo>
                  <a:lnTo>
                    <a:pt x="4810818" y="3208772"/>
                  </a:lnTo>
                  <a:lnTo>
                    <a:pt x="4680852" y="3078808"/>
                  </a:lnTo>
                  <a:lnTo>
                    <a:pt x="4540406" y="2938360"/>
                  </a:lnTo>
                  <a:lnTo>
                    <a:pt x="4810818" y="2667250"/>
                  </a:lnTo>
                  <a:close/>
                  <a:moveTo>
                    <a:pt x="164203" y="2397537"/>
                  </a:moveTo>
                  <a:lnTo>
                    <a:pt x="435314" y="2667949"/>
                  </a:lnTo>
                  <a:lnTo>
                    <a:pt x="164902" y="2939060"/>
                  </a:lnTo>
                  <a:lnTo>
                    <a:pt x="429025" y="2939060"/>
                  </a:lnTo>
                  <a:lnTo>
                    <a:pt x="699437" y="2667949"/>
                  </a:lnTo>
                  <a:lnTo>
                    <a:pt x="428326" y="2397537"/>
                  </a:lnTo>
                  <a:close/>
                  <a:moveTo>
                    <a:pt x="1811131" y="2396838"/>
                  </a:moveTo>
                  <a:lnTo>
                    <a:pt x="2082940" y="2667250"/>
                  </a:lnTo>
                  <a:lnTo>
                    <a:pt x="1812528" y="2938360"/>
                  </a:lnTo>
                  <a:lnTo>
                    <a:pt x="2075953" y="2938360"/>
                  </a:lnTo>
                  <a:lnTo>
                    <a:pt x="2346365" y="2667250"/>
                  </a:lnTo>
                  <a:lnTo>
                    <a:pt x="2212208" y="2533791"/>
                  </a:lnTo>
                  <a:lnTo>
                    <a:pt x="2075254" y="2396838"/>
                  </a:lnTo>
                  <a:close/>
                  <a:moveTo>
                    <a:pt x="1262620" y="2396838"/>
                  </a:moveTo>
                  <a:lnTo>
                    <a:pt x="1533731" y="2667250"/>
                  </a:lnTo>
                  <a:lnTo>
                    <a:pt x="1263319" y="2938360"/>
                  </a:lnTo>
                  <a:lnTo>
                    <a:pt x="1527442" y="2938360"/>
                  </a:lnTo>
                  <a:lnTo>
                    <a:pt x="1797854" y="2667250"/>
                  </a:lnTo>
                  <a:lnTo>
                    <a:pt x="1526744" y="2396838"/>
                  </a:lnTo>
                  <a:close/>
                  <a:moveTo>
                    <a:pt x="2359641" y="2396139"/>
                  </a:moveTo>
                  <a:lnTo>
                    <a:pt x="2361039" y="2397537"/>
                  </a:lnTo>
                  <a:lnTo>
                    <a:pt x="2629354" y="2665853"/>
                  </a:lnTo>
                  <a:lnTo>
                    <a:pt x="2358942" y="2936964"/>
                  </a:lnTo>
                  <a:lnTo>
                    <a:pt x="2623065" y="2936964"/>
                  </a:lnTo>
                  <a:lnTo>
                    <a:pt x="2893477" y="2665853"/>
                  </a:lnTo>
                  <a:lnTo>
                    <a:pt x="2888586" y="2660962"/>
                  </a:lnTo>
                  <a:lnTo>
                    <a:pt x="2906055" y="2669346"/>
                  </a:lnTo>
                  <a:lnTo>
                    <a:pt x="2900465" y="2669346"/>
                  </a:lnTo>
                  <a:lnTo>
                    <a:pt x="2630053" y="2940457"/>
                  </a:lnTo>
                  <a:lnTo>
                    <a:pt x="2901164" y="3210869"/>
                  </a:lnTo>
                  <a:lnTo>
                    <a:pt x="3165287" y="3210869"/>
                  </a:lnTo>
                  <a:lnTo>
                    <a:pt x="2894875" y="2939758"/>
                  </a:lnTo>
                  <a:lnTo>
                    <a:pt x="3079343" y="2755292"/>
                  </a:lnTo>
                  <a:lnTo>
                    <a:pt x="3165287" y="2669346"/>
                  </a:lnTo>
                  <a:lnTo>
                    <a:pt x="2906754" y="2669346"/>
                  </a:lnTo>
                  <a:lnTo>
                    <a:pt x="2889285" y="2660962"/>
                  </a:lnTo>
                  <a:lnTo>
                    <a:pt x="2623764" y="2396139"/>
                  </a:lnTo>
                  <a:close/>
                  <a:moveTo>
                    <a:pt x="713412" y="2396139"/>
                  </a:moveTo>
                  <a:lnTo>
                    <a:pt x="844775" y="2527503"/>
                  </a:lnTo>
                  <a:lnTo>
                    <a:pt x="985221" y="2667949"/>
                  </a:lnTo>
                  <a:lnTo>
                    <a:pt x="716206" y="2937662"/>
                  </a:lnTo>
                  <a:lnTo>
                    <a:pt x="912552" y="2937662"/>
                  </a:lnTo>
                  <a:lnTo>
                    <a:pt x="911853" y="2939060"/>
                  </a:lnTo>
                  <a:lnTo>
                    <a:pt x="978932" y="2939060"/>
                  </a:lnTo>
                  <a:lnTo>
                    <a:pt x="1248646" y="2667949"/>
                  </a:lnTo>
                  <a:lnTo>
                    <a:pt x="1113090" y="2533092"/>
                  </a:lnTo>
                  <a:lnTo>
                    <a:pt x="1094923" y="2514926"/>
                  </a:lnTo>
                  <a:lnTo>
                    <a:pt x="977535" y="2398236"/>
                  </a:lnTo>
                  <a:lnTo>
                    <a:pt x="909058" y="2398236"/>
                  </a:lnTo>
                  <a:lnTo>
                    <a:pt x="909757" y="2396838"/>
                  </a:lnTo>
                  <a:close/>
                  <a:moveTo>
                    <a:pt x="2907452" y="2394742"/>
                  </a:moveTo>
                  <a:lnTo>
                    <a:pt x="3178563" y="2665154"/>
                  </a:lnTo>
                  <a:lnTo>
                    <a:pt x="3175769" y="2667949"/>
                  </a:lnTo>
                  <a:lnTo>
                    <a:pt x="3085631" y="2758785"/>
                  </a:lnTo>
                  <a:lnTo>
                    <a:pt x="2908151" y="2936265"/>
                  </a:lnTo>
                  <a:lnTo>
                    <a:pt x="3172275" y="2936265"/>
                  </a:lnTo>
                  <a:lnTo>
                    <a:pt x="3262412" y="2846826"/>
                  </a:lnTo>
                  <a:lnTo>
                    <a:pt x="3442687" y="2665154"/>
                  </a:lnTo>
                  <a:lnTo>
                    <a:pt x="3171576" y="2394742"/>
                  </a:lnTo>
                  <a:close/>
                  <a:moveTo>
                    <a:pt x="4004473" y="2394044"/>
                  </a:moveTo>
                  <a:lnTo>
                    <a:pt x="4275584" y="2663757"/>
                  </a:lnTo>
                  <a:lnTo>
                    <a:pt x="4005172" y="2934868"/>
                  </a:lnTo>
                  <a:lnTo>
                    <a:pt x="4269295" y="2934868"/>
                  </a:lnTo>
                  <a:lnTo>
                    <a:pt x="4539707" y="2664456"/>
                  </a:lnTo>
                  <a:lnTo>
                    <a:pt x="4268597" y="2394044"/>
                  </a:lnTo>
                  <a:close/>
                  <a:moveTo>
                    <a:pt x="1255633" y="2122933"/>
                  </a:moveTo>
                  <a:lnTo>
                    <a:pt x="985221" y="2394044"/>
                  </a:lnTo>
                  <a:lnTo>
                    <a:pt x="1117282" y="2526105"/>
                  </a:lnTo>
                  <a:lnTo>
                    <a:pt x="1255633" y="2664456"/>
                  </a:lnTo>
                  <a:lnTo>
                    <a:pt x="1519757" y="2664456"/>
                  </a:lnTo>
                  <a:lnTo>
                    <a:pt x="1248646" y="2394044"/>
                  </a:lnTo>
                  <a:lnTo>
                    <a:pt x="1519757" y="2122933"/>
                  </a:lnTo>
                  <a:close/>
                  <a:moveTo>
                    <a:pt x="2351955" y="2122234"/>
                  </a:moveTo>
                  <a:lnTo>
                    <a:pt x="2171680" y="2303207"/>
                  </a:lnTo>
                  <a:lnTo>
                    <a:pt x="2170981" y="2303207"/>
                  </a:lnTo>
                  <a:lnTo>
                    <a:pt x="2081543" y="2392646"/>
                  </a:lnTo>
                  <a:lnTo>
                    <a:pt x="2215701" y="2526804"/>
                  </a:lnTo>
                  <a:lnTo>
                    <a:pt x="2352653" y="2663058"/>
                  </a:lnTo>
                  <a:lnTo>
                    <a:pt x="2616078" y="2663058"/>
                  </a:lnTo>
                  <a:lnTo>
                    <a:pt x="2344968" y="2392646"/>
                  </a:lnTo>
                  <a:lnTo>
                    <a:pt x="2346365" y="2391248"/>
                  </a:lnTo>
                  <a:lnTo>
                    <a:pt x="2347064" y="2391248"/>
                  </a:lnTo>
                  <a:lnTo>
                    <a:pt x="2615379" y="2122234"/>
                  </a:lnTo>
                  <a:close/>
                  <a:moveTo>
                    <a:pt x="1803445" y="2122234"/>
                  </a:moveTo>
                  <a:lnTo>
                    <a:pt x="1533032" y="2393345"/>
                  </a:lnTo>
                  <a:lnTo>
                    <a:pt x="1803445" y="2663058"/>
                  </a:lnTo>
                  <a:lnTo>
                    <a:pt x="2067568" y="2663058"/>
                  </a:lnTo>
                  <a:lnTo>
                    <a:pt x="1796458" y="2392646"/>
                  </a:lnTo>
                  <a:lnTo>
                    <a:pt x="1980924" y="2208178"/>
                  </a:lnTo>
                  <a:lnTo>
                    <a:pt x="1981623" y="2208178"/>
                  </a:lnTo>
                  <a:lnTo>
                    <a:pt x="2067568" y="2122234"/>
                  </a:lnTo>
                  <a:close/>
                  <a:moveTo>
                    <a:pt x="2900465" y="2121535"/>
                  </a:moveTo>
                  <a:lnTo>
                    <a:pt x="2630053" y="2392646"/>
                  </a:lnTo>
                  <a:lnTo>
                    <a:pt x="2901164" y="2663058"/>
                  </a:lnTo>
                  <a:lnTo>
                    <a:pt x="3165287" y="2663058"/>
                  </a:lnTo>
                  <a:lnTo>
                    <a:pt x="2894176" y="2392646"/>
                  </a:lnTo>
                  <a:lnTo>
                    <a:pt x="3164588" y="2121535"/>
                  </a:lnTo>
                  <a:close/>
                  <a:moveTo>
                    <a:pt x="3997486" y="2120137"/>
                  </a:moveTo>
                  <a:lnTo>
                    <a:pt x="3727074" y="2391248"/>
                  </a:lnTo>
                  <a:lnTo>
                    <a:pt x="3998184" y="2661660"/>
                  </a:lnTo>
                  <a:lnTo>
                    <a:pt x="4262308" y="2661660"/>
                  </a:lnTo>
                  <a:lnTo>
                    <a:pt x="3991197" y="2391248"/>
                  </a:lnTo>
                  <a:lnTo>
                    <a:pt x="4261609" y="2120137"/>
                  </a:lnTo>
                  <a:close/>
                  <a:moveTo>
                    <a:pt x="4545996" y="2119439"/>
                  </a:moveTo>
                  <a:lnTo>
                    <a:pt x="4275584" y="2390549"/>
                  </a:lnTo>
                  <a:lnTo>
                    <a:pt x="4545996" y="2660263"/>
                  </a:lnTo>
                  <a:lnTo>
                    <a:pt x="4810119" y="2660263"/>
                  </a:lnTo>
                  <a:lnTo>
                    <a:pt x="4539009" y="2389851"/>
                  </a:lnTo>
                  <a:lnTo>
                    <a:pt x="4723476" y="2205384"/>
                  </a:lnTo>
                  <a:lnTo>
                    <a:pt x="4810119" y="2119439"/>
                  </a:lnTo>
                  <a:close/>
                  <a:moveTo>
                    <a:pt x="1261921" y="1849027"/>
                  </a:moveTo>
                  <a:lnTo>
                    <a:pt x="1262620" y="1849725"/>
                  </a:lnTo>
                  <a:lnTo>
                    <a:pt x="1263319" y="1849725"/>
                  </a:lnTo>
                  <a:lnTo>
                    <a:pt x="1532333" y="2118740"/>
                  </a:lnTo>
                  <a:lnTo>
                    <a:pt x="1261921" y="2389851"/>
                  </a:lnTo>
                  <a:lnTo>
                    <a:pt x="1526046" y="2389851"/>
                  </a:lnTo>
                  <a:lnTo>
                    <a:pt x="1796458" y="2118740"/>
                  </a:lnTo>
                  <a:lnTo>
                    <a:pt x="1791566" y="2113849"/>
                  </a:lnTo>
                  <a:lnTo>
                    <a:pt x="1526046" y="1849027"/>
                  </a:lnTo>
                  <a:close/>
                  <a:moveTo>
                    <a:pt x="164203" y="1849027"/>
                  </a:moveTo>
                  <a:lnTo>
                    <a:pt x="165601" y="1850424"/>
                  </a:lnTo>
                  <a:lnTo>
                    <a:pt x="434615" y="2119439"/>
                  </a:lnTo>
                  <a:lnTo>
                    <a:pt x="164203" y="2389152"/>
                  </a:lnTo>
                  <a:lnTo>
                    <a:pt x="428326" y="2389152"/>
                  </a:lnTo>
                  <a:lnTo>
                    <a:pt x="698738" y="2118042"/>
                  </a:lnTo>
                  <a:lnTo>
                    <a:pt x="695191" y="2114493"/>
                  </a:lnTo>
                  <a:lnTo>
                    <a:pt x="709860" y="2121535"/>
                  </a:lnTo>
                  <a:lnTo>
                    <a:pt x="705726" y="2121535"/>
                  </a:lnTo>
                  <a:lnTo>
                    <a:pt x="435314" y="2392646"/>
                  </a:lnTo>
                  <a:lnTo>
                    <a:pt x="706425" y="2663058"/>
                  </a:lnTo>
                  <a:lnTo>
                    <a:pt x="970548" y="2663058"/>
                  </a:lnTo>
                  <a:lnTo>
                    <a:pt x="699437" y="2392646"/>
                  </a:lnTo>
                  <a:lnTo>
                    <a:pt x="883903" y="2208178"/>
                  </a:lnTo>
                  <a:lnTo>
                    <a:pt x="969849" y="2122234"/>
                  </a:lnTo>
                  <a:lnTo>
                    <a:pt x="711316" y="2122234"/>
                  </a:lnTo>
                  <a:lnTo>
                    <a:pt x="709860" y="2121535"/>
                  </a:lnTo>
                  <a:lnTo>
                    <a:pt x="711316" y="2121535"/>
                  </a:lnTo>
                  <a:lnTo>
                    <a:pt x="693847" y="2113150"/>
                  </a:lnTo>
                  <a:lnTo>
                    <a:pt x="695191" y="2114493"/>
                  </a:lnTo>
                  <a:lnTo>
                    <a:pt x="693847" y="2113849"/>
                  </a:lnTo>
                  <a:lnTo>
                    <a:pt x="428326" y="1849027"/>
                  </a:lnTo>
                  <a:close/>
                  <a:moveTo>
                    <a:pt x="712014" y="1848328"/>
                  </a:moveTo>
                  <a:lnTo>
                    <a:pt x="983125" y="2118042"/>
                  </a:lnTo>
                  <a:lnTo>
                    <a:pt x="980330" y="2120836"/>
                  </a:lnTo>
                  <a:lnTo>
                    <a:pt x="890192" y="2211673"/>
                  </a:lnTo>
                  <a:lnTo>
                    <a:pt x="712713" y="2389152"/>
                  </a:lnTo>
                  <a:lnTo>
                    <a:pt x="976837" y="2389152"/>
                  </a:lnTo>
                  <a:lnTo>
                    <a:pt x="1066275" y="2299714"/>
                  </a:lnTo>
                  <a:lnTo>
                    <a:pt x="1247249" y="2118740"/>
                  </a:lnTo>
                  <a:lnTo>
                    <a:pt x="1114488" y="1986679"/>
                  </a:lnTo>
                  <a:lnTo>
                    <a:pt x="976138" y="1848328"/>
                  </a:lnTo>
                  <a:close/>
                  <a:moveTo>
                    <a:pt x="2359641" y="1847630"/>
                  </a:moveTo>
                  <a:lnTo>
                    <a:pt x="2489606" y="1977595"/>
                  </a:lnTo>
                  <a:lnTo>
                    <a:pt x="2630053" y="2118042"/>
                  </a:lnTo>
                  <a:lnTo>
                    <a:pt x="2359641" y="2389152"/>
                  </a:lnTo>
                  <a:lnTo>
                    <a:pt x="2623764" y="2389152"/>
                  </a:lnTo>
                  <a:lnTo>
                    <a:pt x="2894176" y="2118042"/>
                  </a:lnTo>
                  <a:lnTo>
                    <a:pt x="2623065" y="1847630"/>
                  </a:lnTo>
                  <a:close/>
                  <a:moveTo>
                    <a:pt x="1810432" y="1847630"/>
                  </a:moveTo>
                  <a:lnTo>
                    <a:pt x="2081543" y="2118042"/>
                  </a:lnTo>
                  <a:lnTo>
                    <a:pt x="2078748" y="2120836"/>
                  </a:lnTo>
                  <a:lnTo>
                    <a:pt x="1988611" y="2211673"/>
                  </a:lnTo>
                  <a:lnTo>
                    <a:pt x="1987912" y="2211673"/>
                  </a:lnTo>
                  <a:lnTo>
                    <a:pt x="1811131" y="2389152"/>
                  </a:lnTo>
                  <a:lnTo>
                    <a:pt x="2074555" y="2388454"/>
                  </a:lnTo>
                  <a:lnTo>
                    <a:pt x="2163994" y="2299015"/>
                  </a:lnTo>
                  <a:lnTo>
                    <a:pt x="2164693" y="2299015"/>
                  </a:lnTo>
                  <a:lnTo>
                    <a:pt x="2345666" y="2118042"/>
                  </a:lnTo>
                  <a:lnTo>
                    <a:pt x="2074555" y="1847630"/>
                  </a:lnTo>
                  <a:close/>
                  <a:moveTo>
                    <a:pt x="2907452" y="1846931"/>
                  </a:moveTo>
                  <a:lnTo>
                    <a:pt x="3178563" y="2117343"/>
                  </a:lnTo>
                  <a:lnTo>
                    <a:pt x="2908151" y="2388454"/>
                  </a:lnTo>
                  <a:lnTo>
                    <a:pt x="3172275" y="2388454"/>
                  </a:lnTo>
                  <a:lnTo>
                    <a:pt x="3442687" y="2117343"/>
                  </a:lnTo>
                  <a:lnTo>
                    <a:pt x="3171576" y="1846931"/>
                  </a:lnTo>
                  <a:close/>
                  <a:moveTo>
                    <a:pt x="4004473" y="1844834"/>
                  </a:moveTo>
                  <a:lnTo>
                    <a:pt x="4005871" y="1846232"/>
                  </a:lnTo>
                  <a:lnTo>
                    <a:pt x="4274885" y="2115246"/>
                  </a:lnTo>
                  <a:lnTo>
                    <a:pt x="4004473" y="2386357"/>
                  </a:lnTo>
                  <a:lnTo>
                    <a:pt x="4268597" y="2386357"/>
                  </a:lnTo>
                  <a:lnTo>
                    <a:pt x="4539009" y="2115246"/>
                  </a:lnTo>
                  <a:lnTo>
                    <a:pt x="4534118" y="2110355"/>
                  </a:lnTo>
                  <a:lnTo>
                    <a:pt x="4268597" y="1844834"/>
                  </a:lnTo>
                  <a:close/>
                  <a:moveTo>
                    <a:pt x="705027" y="1574422"/>
                  </a:moveTo>
                  <a:lnTo>
                    <a:pt x="434615" y="1845533"/>
                  </a:lnTo>
                  <a:lnTo>
                    <a:pt x="705726" y="2115945"/>
                  </a:lnTo>
                  <a:lnTo>
                    <a:pt x="969849" y="2115945"/>
                  </a:lnTo>
                  <a:lnTo>
                    <a:pt x="698738" y="1845533"/>
                  </a:lnTo>
                  <a:lnTo>
                    <a:pt x="969150" y="1574422"/>
                  </a:lnTo>
                  <a:close/>
                  <a:moveTo>
                    <a:pt x="1802746" y="1573723"/>
                  </a:moveTo>
                  <a:lnTo>
                    <a:pt x="1532333" y="1844834"/>
                  </a:lnTo>
                  <a:lnTo>
                    <a:pt x="1803445" y="2115246"/>
                  </a:lnTo>
                  <a:lnTo>
                    <a:pt x="2067568" y="2115246"/>
                  </a:lnTo>
                  <a:lnTo>
                    <a:pt x="1796458" y="1844834"/>
                  </a:lnTo>
                  <a:lnTo>
                    <a:pt x="2066870" y="1573723"/>
                  </a:lnTo>
                  <a:close/>
                  <a:moveTo>
                    <a:pt x="1252838" y="1573723"/>
                  </a:moveTo>
                  <a:lnTo>
                    <a:pt x="983125" y="1844834"/>
                  </a:lnTo>
                  <a:lnTo>
                    <a:pt x="1183663" y="2045372"/>
                  </a:lnTo>
                  <a:lnTo>
                    <a:pt x="1254236" y="2115246"/>
                  </a:lnTo>
                  <a:lnTo>
                    <a:pt x="1322712" y="2115246"/>
                  </a:lnTo>
                  <a:lnTo>
                    <a:pt x="1322014" y="2116644"/>
                  </a:lnTo>
                  <a:lnTo>
                    <a:pt x="1519058" y="2116644"/>
                  </a:lnTo>
                  <a:lnTo>
                    <a:pt x="1247947" y="1846232"/>
                  </a:lnTo>
                  <a:lnTo>
                    <a:pt x="1248646" y="1845533"/>
                  </a:lnTo>
                  <a:lnTo>
                    <a:pt x="1246550" y="1844834"/>
                  </a:lnTo>
                  <a:lnTo>
                    <a:pt x="1516962" y="1573723"/>
                  </a:lnTo>
                  <a:close/>
                  <a:moveTo>
                    <a:pt x="2899766" y="1573024"/>
                  </a:moveTo>
                  <a:lnTo>
                    <a:pt x="2629354" y="1844135"/>
                  </a:lnTo>
                  <a:lnTo>
                    <a:pt x="2900465" y="2114547"/>
                  </a:lnTo>
                  <a:lnTo>
                    <a:pt x="3164588" y="2114547"/>
                  </a:lnTo>
                  <a:lnTo>
                    <a:pt x="2893477" y="1844135"/>
                  </a:lnTo>
                  <a:lnTo>
                    <a:pt x="3163889" y="1573024"/>
                  </a:lnTo>
                  <a:close/>
                  <a:moveTo>
                    <a:pt x="2351257" y="1573024"/>
                  </a:moveTo>
                  <a:lnTo>
                    <a:pt x="2080844" y="1844135"/>
                  </a:lnTo>
                  <a:lnTo>
                    <a:pt x="2351955" y="2114547"/>
                  </a:lnTo>
                  <a:lnTo>
                    <a:pt x="2615379" y="2114547"/>
                  </a:lnTo>
                  <a:lnTo>
                    <a:pt x="2485414" y="1984582"/>
                  </a:lnTo>
                  <a:lnTo>
                    <a:pt x="2344968" y="1844135"/>
                  </a:lnTo>
                  <a:lnTo>
                    <a:pt x="2615379" y="1573024"/>
                  </a:lnTo>
                  <a:close/>
                  <a:moveTo>
                    <a:pt x="3448276" y="1572326"/>
                  </a:moveTo>
                  <a:lnTo>
                    <a:pt x="3177864" y="1843436"/>
                  </a:lnTo>
                  <a:lnTo>
                    <a:pt x="3448975" y="2113150"/>
                  </a:lnTo>
                  <a:lnTo>
                    <a:pt x="3713099" y="2113150"/>
                  </a:lnTo>
                  <a:lnTo>
                    <a:pt x="3441988" y="1842739"/>
                  </a:lnTo>
                  <a:lnTo>
                    <a:pt x="3626455" y="1658271"/>
                  </a:lnTo>
                  <a:lnTo>
                    <a:pt x="3712400" y="1572326"/>
                  </a:lnTo>
                  <a:close/>
                  <a:moveTo>
                    <a:pt x="4545297" y="1570929"/>
                  </a:moveTo>
                  <a:lnTo>
                    <a:pt x="4274885" y="1842040"/>
                  </a:lnTo>
                  <a:lnTo>
                    <a:pt x="4545996" y="2111753"/>
                  </a:lnTo>
                  <a:lnTo>
                    <a:pt x="4810119" y="2111753"/>
                  </a:lnTo>
                  <a:lnTo>
                    <a:pt x="4539009" y="1841341"/>
                  </a:lnTo>
                  <a:lnTo>
                    <a:pt x="4809421" y="1570929"/>
                  </a:lnTo>
                  <a:close/>
                  <a:moveTo>
                    <a:pt x="164203" y="1300517"/>
                  </a:moveTo>
                  <a:lnTo>
                    <a:pt x="294168" y="1430482"/>
                  </a:lnTo>
                  <a:lnTo>
                    <a:pt x="434615" y="1570929"/>
                  </a:lnTo>
                  <a:lnTo>
                    <a:pt x="164203" y="1842040"/>
                  </a:lnTo>
                  <a:lnTo>
                    <a:pt x="428326" y="1842040"/>
                  </a:lnTo>
                  <a:lnTo>
                    <a:pt x="698738" y="1570929"/>
                  </a:lnTo>
                  <a:lnTo>
                    <a:pt x="427627" y="1300517"/>
                  </a:lnTo>
                  <a:close/>
                  <a:moveTo>
                    <a:pt x="1809733" y="1299818"/>
                  </a:moveTo>
                  <a:lnTo>
                    <a:pt x="2080844" y="1570230"/>
                  </a:lnTo>
                  <a:lnTo>
                    <a:pt x="1810432" y="1840642"/>
                  </a:lnTo>
                  <a:lnTo>
                    <a:pt x="2074555" y="1840642"/>
                  </a:lnTo>
                  <a:lnTo>
                    <a:pt x="2344968" y="1570230"/>
                  </a:lnTo>
                  <a:lnTo>
                    <a:pt x="2073856" y="1299818"/>
                  </a:lnTo>
                  <a:close/>
                  <a:moveTo>
                    <a:pt x="712014" y="1299818"/>
                  </a:moveTo>
                  <a:lnTo>
                    <a:pt x="983125" y="1570230"/>
                  </a:lnTo>
                  <a:lnTo>
                    <a:pt x="712713" y="1841341"/>
                  </a:lnTo>
                  <a:lnTo>
                    <a:pt x="976837" y="1841341"/>
                  </a:lnTo>
                  <a:lnTo>
                    <a:pt x="1247249" y="1570230"/>
                  </a:lnTo>
                  <a:lnTo>
                    <a:pt x="976138" y="1299818"/>
                  </a:lnTo>
                  <a:close/>
                  <a:moveTo>
                    <a:pt x="2358243" y="1299119"/>
                  </a:moveTo>
                  <a:lnTo>
                    <a:pt x="2629354" y="1569531"/>
                  </a:lnTo>
                  <a:lnTo>
                    <a:pt x="2359641" y="1840642"/>
                  </a:lnTo>
                  <a:lnTo>
                    <a:pt x="2623065" y="1840642"/>
                  </a:lnTo>
                  <a:lnTo>
                    <a:pt x="2893477" y="1569531"/>
                  </a:lnTo>
                  <a:lnTo>
                    <a:pt x="2759320" y="1436072"/>
                  </a:lnTo>
                  <a:lnTo>
                    <a:pt x="2622367" y="1299119"/>
                  </a:lnTo>
                  <a:close/>
                  <a:moveTo>
                    <a:pt x="2906754" y="1298421"/>
                  </a:moveTo>
                  <a:lnTo>
                    <a:pt x="2908151" y="1299818"/>
                  </a:lnTo>
                  <a:lnTo>
                    <a:pt x="3177864" y="1568832"/>
                  </a:lnTo>
                  <a:lnTo>
                    <a:pt x="2907452" y="1839244"/>
                  </a:lnTo>
                  <a:lnTo>
                    <a:pt x="3171576" y="1839244"/>
                  </a:lnTo>
                  <a:lnTo>
                    <a:pt x="3441988" y="1568832"/>
                  </a:lnTo>
                  <a:lnTo>
                    <a:pt x="3436398" y="1563941"/>
                  </a:lnTo>
                  <a:lnTo>
                    <a:pt x="3170877" y="1298421"/>
                  </a:lnTo>
                  <a:close/>
                  <a:moveTo>
                    <a:pt x="1525347" y="1298421"/>
                  </a:moveTo>
                  <a:lnTo>
                    <a:pt x="1523949" y="1299119"/>
                  </a:lnTo>
                  <a:lnTo>
                    <a:pt x="1259826" y="1299119"/>
                  </a:lnTo>
                  <a:lnTo>
                    <a:pt x="1530937" y="1569531"/>
                  </a:lnTo>
                  <a:lnTo>
                    <a:pt x="1526744" y="1573723"/>
                  </a:lnTo>
                  <a:lnTo>
                    <a:pt x="1532333" y="1570929"/>
                  </a:lnTo>
                  <a:lnTo>
                    <a:pt x="1261921" y="1842040"/>
                  </a:lnTo>
                  <a:lnTo>
                    <a:pt x="1526046" y="1842040"/>
                  </a:lnTo>
                  <a:lnTo>
                    <a:pt x="1796458" y="1570929"/>
                  </a:lnTo>
                  <a:lnTo>
                    <a:pt x="1525347" y="1300517"/>
                  </a:lnTo>
                  <a:close/>
                  <a:moveTo>
                    <a:pt x="3454565" y="1297722"/>
                  </a:moveTo>
                  <a:lnTo>
                    <a:pt x="3725676" y="1568134"/>
                  </a:lnTo>
                  <a:lnTo>
                    <a:pt x="3722882" y="1570929"/>
                  </a:lnTo>
                  <a:lnTo>
                    <a:pt x="3632744" y="1661764"/>
                  </a:lnTo>
                  <a:lnTo>
                    <a:pt x="3455264" y="1838545"/>
                  </a:lnTo>
                  <a:lnTo>
                    <a:pt x="3719387" y="1838545"/>
                  </a:lnTo>
                  <a:lnTo>
                    <a:pt x="3808826" y="1749107"/>
                  </a:lnTo>
                  <a:lnTo>
                    <a:pt x="3989799" y="1568134"/>
                  </a:lnTo>
                  <a:lnTo>
                    <a:pt x="3718688" y="1297722"/>
                  </a:lnTo>
                  <a:close/>
                  <a:moveTo>
                    <a:pt x="1802048" y="1025213"/>
                  </a:moveTo>
                  <a:lnTo>
                    <a:pt x="1531636" y="1296324"/>
                  </a:lnTo>
                  <a:lnTo>
                    <a:pt x="1802746" y="1566736"/>
                  </a:lnTo>
                  <a:lnTo>
                    <a:pt x="2066870" y="1566736"/>
                  </a:lnTo>
                  <a:lnTo>
                    <a:pt x="1795759" y="1296324"/>
                  </a:lnTo>
                  <a:lnTo>
                    <a:pt x="2066171" y="1025213"/>
                  </a:lnTo>
                  <a:close/>
                  <a:moveTo>
                    <a:pt x="704328" y="1025213"/>
                  </a:moveTo>
                  <a:lnTo>
                    <a:pt x="433916" y="1296324"/>
                  </a:lnTo>
                  <a:lnTo>
                    <a:pt x="705027" y="1566736"/>
                  </a:lnTo>
                  <a:lnTo>
                    <a:pt x="969150" y="1566736"/>
                  </a:lnTo>
                  <a:lnTo>
                    <a:pt x="698039" y="1296324"/>
                  </a:lnTo>
                  <a:lnTo>
                    <a:pt x="967752" y="1025213"/>
                  </a:lnTo>
                  <a:close/>
                  <a:moveTo>
                    <a:pt x="2899067" y="1024514"/>
                  </a:moveTo>
                  <a:lnTo>
                    <a:pt x="2718793" y="1204790"/>
                  </a:lnTo>
                  <a:lnTo>
                    <a:pt x="2629354" y="1294927"/>
                  </a:lnTo>
                  <a:lnTo>
                    <a:pt x="2763512" y="1428386"/>
                  </a:lnTo>
                  <a:lnTo>
                    <a:pt x="2900465" y="1565338"/>
                  </a:lnTo>
                  <a:lnTo>
                    <a:pt x="3164588" y="1565338"/>
                  </a:lnTo>
                  <a:lnTo>
                    <a:pt x="2893477" y="1294927"/>
                  </a:lnTo>
                  <a:lnTo>
                    <a:pt x="2894875" y="1293530"/>
                  </a:lnTo>
                  <a:lnTo>
                    <a:pt x="3163191" y="1024514"/>
                  </a:lnTo>
                  <a:close/>
                  <a:moveTo>
                    <a:pt x="2350558" y="1024514"/>
                  </a:moveTo>
                  <a:lnTo>
                    <a:pt x="2080145" y="1295625"/>
                  </a:lnTo>
                  <a:lnTo>
                    <a:pt x="2351257" y="1566037"/>
                  </a:lnTo>
                  <a:lnTo>
                    <a:pt x="2615379" y="1566037"/>
                  </a:lnTo>
                  <a:lnTo>
                    <a:pt x="2344269" y="1295625"/>
                  </a:lnTo>
                  <a:lnTo>
                    <a:pt x="2528736" y="1111159"/>
                  </a:lnTo>
                  <a:lnTo>
                    <a:pt x="2614681" y="1025213"/>
                  </a:lnTo>
                  <a:lnTo>
                    <a:pt x="2356148" y="1025213"/>
                  </a:lnTo>
                  <a:close/>
                  <a:moveTo>
                    <a:pt x="1252838" y="1024514"/>
                  </a:moveTo>
                  <a:lnTo>
                    <a:pt x="982426" y="1295625"/>
                  </a:lnTo>
                  <a:lnTo>
                    <a:pt x="1253537" y="1566037"/>
                  </a:lnTo>
                  <a:lnTo>
                    <a:pt x="1517660" y="1566037"/>
                  </a:lnTo>
                  <a:lnTo>
                    <a:pt x="1246550" y="1295625"/>
                  </a:lnTo>
                  <a:lnTo>
                    <a:pt x="1431017" y="1111159"/>
                  </a:lnTo>
                  <a:lnTo>
                    <a:pt x="1516962" y="1024514"/>
                  </a:lnTo>
                  <a:close/>
                  <a:moveTo>
                    <a:pt x="3447578" y="1023816"/>
                  </a:moveTo>
                  <a:lnTo>
                    <a:pt x="3177166" y="1294927"/>
                  </a:lnTo>
                  <a:lnTo>
                    <a:pt x="3448276" y="1565338"/>
                  </a:lnTo>
                  <a:lnTo>
                    <a:pt x="3712400" y="1565338"/>
                  </a:lnTo>
                  <a:lnTo>
                    <a:pt x="3441289" y="1294927"/>
                  </a:lnTo>
                  <a:lnTo>
                    <a:pt x="3711701" y="1023816"/>
                  </a:lnTo>
                  <a:close/>
                  <a:moveTo>
                    <a:pt x="4544598" y="1022419"/>
                  </a:moveTo>
                  <a:lnTo>
                    <a:pt x="4274186" y="1293530"/>
                  </a:lnTo>
                  <a:lnTo>
                    <a:pt x="4545297" y="1563941"/>
                  </a:lnTo>
                  <a:lnTo>
                    <a:pt x="4809421" y="1563941"/>
                  </a:lnTo>
                  <a:lnTo>
                    <a:pt x="4538310" y="1293530"/>
                  </a:lnTo>
                  <a:lnTo>
                    <a:pt x="4722777" y="1108363"/>
                  </a:lnTo>
                  <a:lnTo>
                    <a:pt x="4722078" y="1107664"/>
                  </a:lnTo>
                  <a:lnTo>
                    <a:pt x="4807324" y="1022419"/>
                  </a:lnTo>
                  <a:close/>
                  <a:moveTo>
                    <a:pt x="3995389" y="1022419"/>
                  </a:moveTo>
                  <a:lnTo>
                    <a:pt x="3724977" y="1293530"/>
                  </a:lnTo>
                  <a:lnTo>
                    <a:pt x="3996088" y="1563941"/>
                  </a:lnTo>
                  <a:lnTo>
                    <a:pt x="4064564" y="1563941"/>
                  </a:lnTo>
                  <a:lnTo>
                    <a:pt x="4061071" y="1570929"/>
                  </a:lnTo>
                  <a:lnTo>
                    <a:pt x="3996088" y="1570929"/>
                  </a:lnTo>
                  <a:lnTo>
                    <a:pt x="3815814" y="1751902"/>
                  </a:lnTo>
                  <a:lnTo>
                    <a:pt x="3726375" y="1842040"/>
                  </a:lnTo>
                  <a:lnTo>
                    <a:pt x="3859834" y="1975498"/>
                  </a:lnTo>
                  <a:lnTo>
                    <a:pt x="3857039" y="1981088"/>
                  </a:lnTo>
                  <a:lnTo>
                    <a:pt x="3857739" y="1981785"/>
                  </a:lnTo>
                  <a:lnTo>
                    <a:pt x="3857039" y="1983185"/>
                  </a:lnTo>
                  <a:lnTo>
                    <a:pt x="3720086" y="1846232"/>
                  </a:lnTo>
                  <a:lnTo>
                    <a:pt x="3455963" y="1846232"/>
                  </a:lnTo>
                  <a:lnTo>
                    <a:pt x="3727074" y="2116644"/>
                  </a:lnTo>
                  <a:lnTo>
                    <a:pt x="3456662" y="2387755"/>
                  </a:lnTo>
                  <a:lnTo>
                    <a:pt x="3654754" y="2387755"/>
                  </a:lnTo>
                  <a:lnTo>
                    <a:pt x="3652309" y="2392646"/>
                  </a:lnTo>
                  <a:lnTo>
                    <a:pt x="3652658" y="2392646"/>
                  </a:lnTo>
                  <a:lnTo>
                    <a:pt x="3651610" y="2394742"/>
                  </a:lnTo>
                  <a:lnTo>
                    <a:pt x="3456662" y="2394742"/>
                  </a:lnTo>
                  <a:lnTo>
                    <a:pt x="3586394" y="2524475"/>
                  </a:lnTo>
                  <a:lnTo>
                    <a:pt x="3583832" y="2529598"/>
                  </a:lnTo>
                  <a:lnTo>
                    <a:pt x="3584065" y="2529831"/>
                  </a:lnTo>
                  <a:lnTo>
                    <a:pt x="3583133" y="2531695"/>
                  </a:lnTo>
                  <a:lnTo>
                    <a:pt x="3442687" y="2391248"/>
                  </a:lnTo>
                  <a:lnTo>
                    <a:pt x="3713099" y="2120137"/>
                  </a:lnTo>
                  <a:lnTo>
                    <a:pt x="3448975" y="2120137"/>
                  </a:lnTo>
                  <a:lnTo>
                    <a:pt x="3178563" y="2391248"/>
                  </a:lnTo>
                  <a:lnTo>
                    <a:pt x="3448975" y="2662359"/>
                  </a:lnTo>
                  <a:lnTo>
                    <a:pt x="3517452" y="2662359"/>
                  </a:lnTo>
                  <a:lnTo>
                    <a:pt x="3513958" y="2669346"/>
                  </a:lnTo>
                  <a:lnTo>
                    <a:pt x="3448975" y="2669346"/>
                  </a:lnTo>
                  <a:lnTo>
                    <a:pt x="3268701" y="2850320"/>
                  </a:lnTo>
                  <a:lnTo>
                    <a:pt x="3179262" y="2939758"/>
                  </a:lnTo>
                  <a:lnTo>
                    <a:pt x="3312721" y="3073916"/>
                  </a:lnTo>
                  <a:lnTo>
                    <a:pt x="3451072" y="3207376"/>
                  </a:lnTo>
                  <a:lnTo>
                    <a:pt x="3715195" y="3207376"/>
                  </a:lnTo>
                  <a:lnTo>
                    <a:pt x="3444084" y="2936964"/>
                  </a:lnTo>
                  <a:lnTo>
                    <a:pt x="3445482" y="2935566"/>
                  </a:lnTo>
                  <a:lnTo>
                    <a:pt x="3713797" y="2666552"/>
                  </a:lnTo>
                  <a:lnTo>
                    <a:pt x="3515356" y="2666552"/>
                  </a:lnTo>
                  <a:lnTo>
                    <a:pt x="3518849" y="2659564"/>
                  </a:lnTo>
                  <a:lnTo>
                    <a:pt x="3713797" y="2659564"/>
                  </a:lnTo>
                  <a:lnTo>
                    <a:pt x="3584065" y="2529831"/>
                  </a:lnTo>
                  <a:lnTo>
                    <a:pt x="3586627" y="2524708"/>
                  </a:lnTo>
                  <a:lnTo>
                    <a:pt x="3586394" y="2524475"/>
                  </a:lnTo>
                  <a:lnTo>
                    <a:pt x="3587326" y="2522611"/>
                  </a:lnTo>
                  <a:lnTo>
                    <a:pt x="3727772" y="2663058"/>
                  </a:lnTo>
                  <a:lnTo>
                    <a:pt x="3457360" y="2934169"/>
                  </a:lnTo>
                  <a:lnTo>
                    <a:pt x="3721484" y="2934169"/>
                  </a:lnTo>
                  <a:lnTo>
                    <a:pt x="3991896" y="2663058"/>
                  </a:lnTo>
                  <a:lnTo>
                    <a:pt x="3720785" y="2392646"/>
                  </a:lnTo>
                  <a:lnTo>
                    <a:pt x="3652658" y="2392646"/>
                  </a:lnTo>
                  <a:lnTo>
                    <a:pt x="3655103" y="2387755"/>
                  </a:lnTo>
                  <a:lnTo>
                    <a:pt x="3654754" y="2387755"/>
                  </a:lnTo>
                  <a:lnTo>
                    <a:pt x="3655802" y="2385658"/>
                  </a:lnTo>
                  <a:lnTo>
                    <a:pt x="3720785" y="2385658"/>
                  </a:lnTo>
                  <a:lnTo>
                    <a:pt x="3991197" y="2114547"/>
                  </a:lnTo>
                  <a:lnTo>
                    <a:pt x="3857739" y="1981785"/>
                  </a:lnTo>
                  <a:lnTo>
                    <a:pt x="3860533" y="1976197"/>
                  </a:lnTo>
                  <a:lnTo>
                    <a:pt x="3859834" y="1975498"/>
                  </a:lnTo>
                  <a:lnTo>
                    <a:pt x="3860533" y="1974101"/>
                  </a:lnTo>
                  <a:lnTo>
                    <a:pt x="3997486" y="2111054"/>
                  </a:lnTo>
                  <a:lnTo>
                    <a:pt x="4261609" y="2111054"/>
                  </a:lnTo>
                  <a:lnTo>
                    <a:pt x="3990498" y="1840642"/>
                  </a:lnTo>
                  <a:lnTo>
                    <a:pt x="3991896" y="1839244"/>
                  </a:lnTo>
                  <a:lnTo>
                    <a:pt x="4260211" y="1570230"/>
                  </a:lnTo>
                  <a:lnTo>
                    <a:pt x="4061770" y="1570230"/>
                  </a:lnTo>
                  <a:lnTo>
                    <a:pt x="4065263" y="1563243"/>
                  </a:lnTo>
                  <a:lnTo>
                    <a:pt x="4260211" y="1563243"/>
                  </a:lnTo>
                  <a:lnTo>
                    <a:pt x="4130246" y="1433278"/>
                  </a:lnTo>
                  <a:lnTo>
                    <a:pt x="4133739" y="1426290"/>
                  </a:lnTo>
                  <a:lnTo>
                    <a:pt x="4274186" y="1566736"/>
                  </a:lnTo>
                  <a:lnTo>
                    <a:pt x="4003774" y="1837847"/>
                  </a:lnTo>
                  <a:lnTo>
                    <a:pt x="4267898" y="1837847"/>
                  </a:lnTo>
                  <a:lnTo>
                    <a:pt x="4538310" y="1566736"/>
                  </a:lnTo>
                  <a:lnTo>
                    <a:pt x="4267199" y="1297023"/>
                  </a:lnTo>
                  <a:lnTo>
                    <a:pt x="4198723" y="1297023"/>
                  </a:lnTo>
                  <a:lnTo>
                    <a:pt x="4003774" y="1297023"/>
                  </a:lnTo>
                  <a:lnTo>
                    <a:pt x="4133040" y="1426989"/>
                  </a:lnTo>
                  <a:lnTo>
                    <a:pt x="4129547" y="1433975"/>
                  </a:lnTo>
                  <a:lnTo>
                    <a:pt x="3989100" y="1293530"/>
                  </a:lnTo>
                  <a:lnTo>
                    <a:pt x="4259512" y="1022419"/>
                  </a:lnTo>
                  <a:close/>
                  <a:moveTo>
                    <a:pt x="162805" y="752007"/>
                  </a:moveTo>
                  <a:lnTo>
                    <a:pt x="433916" y="1022419"/>
                  </a:lnTo>
                  <a:lnTo>
                    <a:pt x="164203" y="1293530"/>
                  </a:lnTo>
                  <a:lnTo>
                    <a:pt x="427627" y="1293530"/>
                  </a:lnTo>
                  <a:lnTo>
                    <a:pt x="698039" y="1022419"/>
                  </a:lnTo>
                  <a:lnTo>
                    <a:pt x="563881" y="888959"/>
                  </a:lnTo>
                  <a:lnTo>
                    <a:pt x="426928" y="752007"/>
                  </a:lnTo>
                  <a:close/>
                  <a:moveTo>
                    <a:pt x="1809035" y="751308"/>
                  </a:moveTo>
                  <a:lnTo>
                    <a:pt x="1937603" y="879876"/>
                  </a:lnTo>
                  <a:lnTo>
                    <a:pt x="2079447" y="1021720"/>
                  </a:lnTo>
                  <a:lnTo>
                    <a:pt x="1809035" y="1292831"/>
                  </a:lnTo>
                  <a:lnTo>
                    <a:pt x="2073158" y="1292831"/>
                  </a:lnTo>
                  <a:lnTo>
                    <a:pt x="2343570" y="1021720"/>
                  </a:lnTo>
                  <a:lnTo>
                    <a:pt x="2338678" y="1016829"/>
                  </a:lnTo>
                  <a:lnTo>
                    <a:pt x="2073158" y="751308"/>
                  </a:lnTo>
                  <a:close/>
                  <a:moveTo>
                    <a:pt x="2357544" y="750609"/>
                  </a:moveTo>
                  <a:lnTo>
                    <a:pt x="2628655" y="1020322"/>
                  </a:lnTo>
                  <a:lnTo>
                    <a:pt x="2625861" y="1023118"/>
                  </a:lnTo>
                  <a:lnTo>
                    <a:pt x="2535723" y="1113953"/>
                  </a:lnTo>
                  <a:lnTo>
                    <a:pt x="2358243" y="1291433"/>
                  </a:lnTo>
                  <a:lnTo>
                    <a:pt x="2622367" y="1291433"/>
                  </a:lnTo>
                  <a:lnTo>
                    <a:pt x="2711805" y="1201994"/>
                  </a:lnTo>
                  <a:lnTo>
                    <a:pt x="2892779" y="1021021"/>
                  </a:lnTo>
                  <a:lnTo>
                    <a:pt x="2621668" y="750609"/>
                  </a:lnTo>
                  <a:close/>
                  <a:moveTo>
                    <a:pt x="1259127" y="750609"/>
                  </a:moveTo>
                  <a:lnTo>
                    <a:pt x="1530238" y="1020322"/>
                  </a:lnTo>
                  <a:lnTo>
                    <a:pt x="1527442" y="1023118"/>
                  </a:lnTo>
                  <a:lnTo>
                    <a:pt x="1437306" y="1113953"/>
                  </a:lnTo>
                  <a:lnTo>
                    <a:pt x="1259826" y="1291433"/>
                  </a:lnTo>
                  <a:lnTo>
                    <a:pt x="1523949" y="1291433"/>
                  </a:lnTo>
                  <a:lnTo>
                    <a:pt x="1613388" y="1201994"/>
                  </a:lnTo>
                  <a:lnTo>
                    <a:pt x="1794361" y="1021021"/>
                  </a:lnTo>
                  <a:lnTo>
                    <a:pt x="1523250" y="750609"/>
                  </a:lnTo>
                  <a:close/>
                  <a:moveTo>
                    <a:pt x="710617" y="750609"/>
                  </a:moveTo>
                  <a:lnTo>
                    <a:pt x="712014" y="752007"/>
                  </a:lnTo>
                  <a:lnTo>
                    <a:pt x="981727" y="1021021"/>
                  </a:lnTo>
                  <a:lnTo>
                    <a:pt x="711316" y="1292132"/>
                  </a:lnTo>
                  <a:lnTo>
                    <a:pt x="975439" y="1292132"/>
                  </a:lnTo>
                  <a:lnTo>
                    <a:pt x="1245851" y="1021021"/>
                  </a:lnTo>
                  <a:lnTo>
                    <a:pt x="1240261" y="1016130"/>
                  </a:lnTo>
                  <a:lnTo>
                    <a:pt x="974740" y="750609"/>
                  </a:lnTo>
                  <a:close/>
                  <a:moveTo>
                    <a:pt x="2906055" y="749910"/>
                  </a:moveTo>
                  <a:lnTo>
                    <a:pt x="3036720" y="879177"/>
                  </a:lnTo>
                  <a:lnTo>
                    <a:pt x="3177166" y="1019623"/>
                  </a:lnTo>
                  <a:lnTo>
                    <a:pt x="2906754" y="1290734"/>
                  </a:lnTo>
                  <a:lnTo>
                    <a:pt x="3170877" y="1290734"/>
                  </a:lnTo>
                  <a:lnTo>
                    <a:pt x="3441289" y="1020322"/>
                  </a:lnTo>
                  <a:lnTo>
                    <a:pt x="3170178" y="749910"/>
                  </a:lnTo>
                  <a:close/>
                  <a:moveTo>
                    <a:pt x="3454565" y="749211"/>
                  </a:moveTo>
                  <a:lnTo>
                    <a:pt x="3725676" y="1019623"/>
                  </a:lnTo>
                  <a:lnTo>
                    <a:pt x="3455264" y="1290734"/>
                  </a:lnTo>
                  <a:lnTo>
                    <a:pt x="3719387" y="1290734"/>
                  </a:lnTo>
                  <a:lnTo>
                    <a:pt x="3989799" y="1019623"/>
                  </a:lnTo>
                  <a:lnTo>
                    <a:pt x="3718688" y="749211"/>
                  </a:lnTo>
                  <a:close/>
                  <a:moveTo>
                    <a:pt x="4003075" y="748512"/>
                  </a:moveTo>
                  <a:lnTo>
                    <a:pt x="4274186" y="1018924"/>
                  </a:lnTo>
                  <a:lnTo>
                    <a:pt x="4003774" y="1290035"/>
                  </a:lnTo>
                  <a:lnTo>
                    <a:pt x="4202216" y="1290035"/>
                  </a:lnTo>
                  <a:lnTo>
                    <a:pt x="4267199" y="1290035"/>
                  </a:lnTo>
                  <a:lnTo>
                    <a:pt x="4538310" y="1018924"/>
                  </a:lnTo>
                  <a:lnTo>
                    <a:pt x="4404151" y="885466"/>
                  </a:lnTo>
                  <a:lnTo>
                    <a:pt x="4267199" y="748512"/>
                  </a:lnTo>
                  <a:close/>
                  <a:moveTo>
                    <a:pt x="702930" y="476704"/>
                  </a:moveTo>
                  <a:lnTo>
                    <a:pt x="522656" y="657677"/>
                  </a:lnTo>
                  <a:lnTo>
                    <a:pt x="433217" y="747814"/>
                  </a:lnTo>
                  <a:lnTo>
                    <a:pt x="567375" y="881273"/>
                  </a:lnTo>
                  <a:lnTo>
                    <a:pt x="704328" y="1018227"/>
                  </a:lnTo>
                  <a:lnTo>
                    <a:pt x="968451" y="1018227"/>
                  </a:lnTo>
                  <a:lnTo>
                    <a:pt x="697340" y="747814"/>
                  </a:lnTo>
                  <a:lnTo>
                    <a:pt x="698738" y="746417"/>
                  </a:lnTo>
                  <a:lnTo>
                    <a:pt x="967054" y="476704"/>
                  </a:lnTo>
                  <a:close/>
                  <a:moveTo>
                    <a:pt x="1252140" y="476005"/>
                  </a:moveTo>
                  <a:lnTo>
                    <a:pt x="981727" y="747116"/>
                  </a:lnTo>
                  <a:lnTo>
                    <a:pt x="1252838" y="1017528"/>
                  </a:lnTo>
                  <a:lnTo>
                    <a:pt x="1516962" y="1017528"/>
                  </a:lnTo>
                  <a:lnTo>
                    <a:pt x="1245851" y="747116"/>
                  </a:lnTo>
                  <a:lnTo>
                    <a:pt x="1516263" y="476005"/>
                  </a:lnTo>
                  <a:close/>
                  <a:moveTo>
                    <a:pt x="2899067" y="475306"/>
                  </a:moveTo>
                  <a:lnTo>
                    <a:pt x="2628655" y="746417"/>
                  </a:lnTo>
                  <a:lnTo>
                    <a:pt x="2899766" y="1016829"/>
                  </a:lnTo>
                  <a:lnTo>
                    <a:pt x="3163191" y="1016829"/>
                  </a:lnTo>
                  <a:lnTo>
                    <a:pt x="3032527" y="886863"/>
                  </a:lnTo>
                  <a:lnTo>
                    <a:pt x="2892081" y="746417"/>
                  </a:lnTo>
                  <a:lnTo>
                    <a:pt x="3163191" y="475306"/>
                  </a:lnTo>
                  <a:close/>
                  <a:moveTo>
                    <a:pt x="1799951" y="475306"/>
                  </a:moveTo>
                  <a:lnTo>
                    <a:pt x="1529539" y="746417"/>
                  </a:lnTo>
                  <a:lnTo>
                    <a:pt x="1800650" y="1016829"/>
                  </a:lnTo>
                  <a:lnTo>
                    <a:pt x="1802048" y="1018227"/>
                  </a:lnTo>
                  <a:lnTo>
                    <a:pt x="2066171" y="1018227"/>
                  </a:lnTo>
                  <a:lnTo>
                    <a:pt x="1934808" y="886863"/>
                  </a:lnTo>
                  <a:lnTo>
                    <a:pt x="1797155" y="749211"/>
                  </a:lnTo>
                  <a:lnTo>
                    <a:pt x="2066171" y="475306"/>
                  </a:lnTo>
                  <a:close/>
                  <a:moveTo>
                    <a:pt x="3446879" y="474607"/>
                  </a:moveTo>
                  <a:lnTo>
                    <a:pt x="3176467" y="745718"/>
                  </a:lnTo>
                  <a:lnTo>
                    <a:pt x="3447578" y="1016130"/>
                  </a:lnTo>
                  <a:lnTo>
                    <a:pt x="3711701" y="1016130"/>
                  </a:lnTo>
                  <a:lnTo>
                    <a:pt x="3440590" y="745718"/>
                  </a:lnTo>
                  <a:lnTo>
                    <a:pt x="3625057" y="561251"/>
                  </a:lnTo>
                  <a:lnTo>
                    <a:pt x="3709605" y="474607"/>
                  </a:lnTo>
                  <a:close/>
                  <a:moveTo>
                    <a:pt x="3995389" y="473908"/>
                  </a:moveTo>
                  <a:lnTo>
                    <a:pt x="3724977" y="745019"/>
                  </a:lnTo>
                  <a:lnTo>
                    <a:pt x="3996088" y="1015431"/>
                  </a:lnTo>
                  <a:lnTo>
                    <a:pt x="4260211" y="1015431"/>
                  </a:lnTo>
                  <a:lnTo>
                    <a:pt x="3989100" y="745019"/>
                  </a:lnTo>
                  <a:lnTo>
                    <a:pt x="3990498" y="743621"/>
                  </a:lnTo>
                  <a:lnTo>
                    <a:pt x="3989799" y="743621"/>
                  </a:lnTo>
                  <a:lnTo>
                    <a:pt x="4258116" y="474607"/>
                  </a:lnTo>
                  <a:lnTo>
                    <a:pt x="3999582" y="474607"/>
                  </a:lnTo>
                  <a:lnTo>
                    <a:pt x="4000979" y="473908"/>
                  </a:lnTo>
                  <a:close/>
                  <a:moveTo>
                    <a:pt x="4543201" y="473209"/>
                  </a:moveTo>
                  <a:lnTo>
                    <a:pt x="4362227" y="654183"/>
                  </a:lnTo>
                  <a:lnTo>
                    <a:pt x="4362926" y="654882"/>
                  </a:lnTo>
                  <a:lnTo>
                    <a:pt x="4273487" y="745019"/>
                  </a:lnTo>
                  <a:lnTo>
                    <a:pt x="4407646" y="878479"/>
                  </a:lnTo>
                  <a:lnTo>
                    <a:pt x="4543899" y="1014732"/>
                  </a:lnTo>
                  <a:lnTo>
                    <a:pt x="4808023" y="1014732"/>
                  </a:lnTo>
                  <a:lnTo>
                    <a:pt x="4536912" y="744320"/>
                  </a:lnTo>
                  <a:lnTo>
                    <a:pt x="4807324" y="473209"/>
                  </a:lnTo>
                  <a:close/>
                  <a:moveTo>
                    <a:pt x="2616078" y="473209"/>
                  </a:moveTo>
                  <a:lnTo>
                    <a:pt x="2349859" y="476005"/>
                  </a:lnTo>
                  <a:lnTo>
                    <a:pt x="2079447" y="747116"/>
                  </a:lnTo>
                  <a:lnTo>
                    <a:pt x="2350558" y="1017528"/>
                  </a:lnTo>
                  <a:lnTo>
                    <a:pt x="2614681" y="1017528"/>
                  </a:lnTo>
                  <a:lnTo>
                    <a:pt x="2343570" y="747116"/>
                  </a:lnTo>
                  <a:close/>
                  <a:moveTo>
                    <a:pt x="161407" y="203496"/>
                  </a:moveTo>
                  <a:lnTo>
                    <a:pt x="432518" y="473908"/>
                  </a:lnTo>
                  <a:lnTo>
                    <a:pt x="429724" y="476704"/>
                  </a:lnTo>
                  <a:lnTo>
                    <a:pt x="339586" y="567539"/>
                  </a:lnTo>
                  <a:lnTo>
                    <a:pt x="162106" y="744320"/>
                  </a:lnTo>
                  <a:lnTo>
                    <a:pt x="426230" y="744320"/>
                  </a:lnTo>
                  <a:lnTo>
                    <a:pt x="515668" y="654882"/>
                  </a:lnTo>
                  <a:lnTo>
                    <a:pt x="696642" y="473908"/>
                  </a:lnTo>
                  <a:lnTo>
                    <a:pt x="425531" y="203496"/>
                  </a:lnTo>
                  <a:close/>
                  <a:moveTo>
                    <a:pt x="710617" y="202798"/>
                  </a:moveTo>
                  <a:lnTo>
                    <a:pt x="840582" y="332763"/>
                  </a:lnTo>
                  <a:lnTo>
                    <a:pt x="981029" y="472511"/>
                  </a:lnTo>
                  <a:lnTo>
                    <a:pt x="710617" y="743621"/>
                  </a:lnTo>
                  <a:lnTo>
                    <a:pt x="974740" y="743621"/>
                  </a:lnTo>
                  <a:lnTo>
                    <a:pt x="1245851" y="473209"/>
                  </a:lnTo>
                  <a:lnTo>
                    <a:pt x="974740" y="202798"/>
                  </a:lnTo>
                  <a:close/>
                  <a:moveTo>
                    <a:pt x="2906055" y="202099"/>
                  </a:moveTo>
                  <a:lnTo>
                    <a:pt x="3035322" y="329968"/>
                  </a:lnTo>
                  <a:lnTo>
                    <a:pt x="3035322" y="330667"/>
                  </a:lnTo>
                  <a:lnTo>
                    <a:pt x="3177166" y="472511"/>
                  </a:lnTo>
                  <a:lnTo>
                    <a:pt x="2906754" y="743621"/>
                  </a:lnTo>
                  <a:lnTo>
                    <a:pt x="3170178" y="743621"/>
                  </a:lnTo>
                  <a:lnTo>
                    <a:pt x="3440590" y="472511"/>
                  </a:lnTo>
                  <a:lnTo>
                    <a:pt x="3435000" y="466921"/>
                  </a:lnTo>
                  <a:lnTo>
                    <a:pt x="3434301" y="466921"/>
                  </a:lnTo>
                  <a:lnTo>
                    <a:pt x="3168781" y="202099"/>
                  </a:lnTo>
                  <a:close/>
                  <a:moveTo>
                    <a:pt x="1808336" y="202099"/>
                  </a:moveTo>
                  <a:lnTo>
                    <a:pt x="1810426" y="204887"/>
                  </a:lnTo>
                  <a:lnTo>
                    <a:pt x="1809733" y="204195"/>
                  </a:lnTo>
                  <a:lnTo>
                    <a:pt x="1810432" y="204894"/>
                  </a:lnTo>
                  <a:lnTo>
                    <a:pt x="1810426" y="204887"/>
                  </a:lnTo>
                  <a:lnTo>
                    <a:pt x="2068965" y="462729"/>
                  </a:lnTo>
                  <a:lnTo>
                    <a:pt x="2078748" y="471812"/>
                  </a:lnTo>
                  <a:lnTo>
                    <a:pt x="2080844" y="473908"/>
                  </a:lnTo>
                  <a:lnTo>
                    <a:pt x="1816022" y="743621"/>
                  </a:lnTo>
                  <a:lnTo>
                    <a:pt x="2075254" y="744320"/>
                  </a:lnTo>
                  <a:lnTo>
                    <a:pt x="2344968" y="473908"/>
                  </a:lnTo>
                  <a:lnTo>
                    <a:pt x="2209412" y="339051"/>
                  </a:lnTo>
                  <a:lnTo>
                    <a:pt x="2192643" y="322282"/>
                  </a:lnTo>
                  <a:lnTo>
                    <a:pt x="2073158" y="203496"/>
                  </a:lnTo>
                  <a:lnTo>
                    <a:pt x="2068965" y="202099"/>
                  </a:lnTo>
                  <a:close/>
                  <a:moveTo>
                    <a:pt x="1258428" y="202099"/>
                  </a:moveTo>
                  <a:lnTo>
                    <a:pt x="1529539" y="472511"/>
                  </a:lnTo>
                  <a:lnTo>
                    <a:pt x="1259127" y="743621"/>
                  </a:lnTo>
                  <a:lnTo>
                    <a:pt x="1523250" y="743621"/>
                  </a:lnTo>
                  <a:lnTo>
                    <a:pt x="1793662" y="472511"/>
                  </a:lnTo>
                  <a:lnTo>
                    <a:pt x="1522551" y="202099"/>
                  </a:lnTo>
                  <a:close/>
                  <a:moveTo>
                    <a:pt x="2621668" y="200701"/>
                  </a:moveTo>
                  <a:lnTo>
                    <a:pt x="2358243" y="201400"/>
                  </a:lnTo>
                  <a:lnTo>
                    <a:pt x="2627259" y="469716"/>
                  </a:lnTo>
                  <a:lnTo>
                    <a:pt x="2626560" y="470415"/>
                  </a:lnTo>
                  <a:lnTo>
                    <a:pt x="2627957" y="471812"/>
                  </a:lnTo>
                  <a:lnTo>
                    <a:pt x="2357544" y="742923"/>
                  </a:lnTo>
                  <a:lnTo>
                    <a:pt x="2621668" y="742923"/>
                  </a:lnTo>
                  <a:lnTo>
                    <a:pt x="2711805" y="652786"/>
                  </a:lnTo>
                  <a:lnTo>
                    <a:pt x="2891382" y="469716"/>
                  </a:lnTo>
                  <a:close/>
                  <a:moveTo>
                    <a:pt x="4001678" y="200003"/>
                  </a:moveTo>
                  <a:lnTo>
                    <a:pt x="4131644" y="329269"/>
                  </a:lnTo>
                  <a:lnTo>
                    <a:pt x="4272090" y="469716"/>
                  </a:lnTo>
                  <a:lnTo>
                    <a:pt x="4179158" y="563347"/>
                  </a:lnTo>
                  <a:lnTo>
                    <a:pt x="4179856" y="564046"/>
                  </a:lnTo>
                  <a:lnTo>
                    <a:pt x="4003075" y="741525"/>
                  </a:lnTo>
                  <a:lnTo>
                    <a:pt x="4265801" y="741525"/>
                  </a:lnTo>
                  <a:lnTo>
                    <a:pt x="4536213" y="470415"/>
                  </a:lnTo>
                  <a:lnTo>
                    <a:pt x="4265102" y="200003"/>
                  </a:lnTo>
                  <a:close/>
                  <a:moveTo>
                    <a:pt x="3453167" y="200003"/>
                  </a:moveTo>
                  <a:lnTo>
                    <a:pt x="3724278" y="470415"/>
                  </a:lnTo>
                  <a:lnTo>
                    <a:pt x="3724977" y="471113"/>
                  </a:lnTo>
                  <a:lnTo>
                    <a:pt x="3454565" y="742224"/>
                  </a:lnTo>
                  <a:lnTo>
                    <a:pt x="3718688" y="742224"/>
                  </a:lnTo>
                  <a:lnTo>
                    <a:pt x="3808127" y="652087"/>
                  </a:lnTo>
                  <a:lnTo>
                    <a:pt x="3807428" y="652087"/>
                  </a:lnTo>
                  <a:lnTo>
                    <a:pt x="3988403" y="471113"/>
                  </a:lnTo>
                  <a:lnTo>
                    <a:pt x="3983511" y="465523"/>
                  </a:lnTo>
                  <a:lnTo>
                    <a:pt x="3717291" y="200003"/>
                  </a:lnTo>
                  <a:close/>
                  <a:moveTo>
                    <a:pt x="348134" y="0"/>
                  </a:moveTo>
                  <a:lnTo>
                    <a:pt x="358615" y="0"/>
                  </a:lnTo>
                  <a:lnTo>
                    <a:pt x="162106" y="196509"/>
                  </a:lnTo>
                  <a:lnTo>
                    <a:pt x="426230" y="196509"/>
                  </a:lnTo>
                  <a:lnTo>
                    <a:pt x="622232" y="0"/>
                  </a:lnTo>
                  <a:lnTo>
                    <a:pt x="632006" y="0"/>
                  </a:lnTo>
                  <a:lnTo>
                    <a:pt x="432518" y="200003"/>
                  </a:lnTo>
                  <a:lnTo>
                    <a:pt x="704328" y="470415"/>
                  </a:lnTo>
                  <a:lnTo>
                    <a:pt x="967752" y="470415"/>
                  </a:lnTo>
                  <a:lnTo>
                    <a:pt x="837089" y="340449"/>
                  </a:lnTo>
                  <a:lnTo>
                    <a:pt x="696642" y="200003"/>
                  </a:lnTo>
                  <a:lnTo>
                    <a:pt x="896129" y="0"/>
                  </a:lnTo>
                  <a:lnTo>
                    <a:pt x="907318" y="0"/>
                  </a:lnTo>
                  <a:lnTo>
                    <a:pt x="711316" y="196509"/>
                  </a:lnTo>
                  <a:lnTo>
                    <a:pt x="974740" y="196509"/>
                  </a:lnTo>
                  <a:lnTo>
                    <a:pt x="1170742" y="0"/>
                  </a:lnTo>
                  <a:lnTo>
                    <a:pt x="1179819" y="0"/>
                  </a:lnTo>
                  <a:lnTo>
                    <a:pt x="981029" y="199304"/>
                  </a:lnTo>
                  <a:lnTo>
                    <a:pt x="1252140" y="469716"/>
                  </a:lnTo>
                  <a:lnTo>
                    <a:pt x="1516263" y="469716"/>
                  </a:lnTo>
                  <a:lnTo>
                    <a:pt x="1245152" y="199304"/>
                  </a:lnTo>
                  <a:lnTo>
                    <a:pt x="1443942" y="0"/>
                  </a:lnTo>
                  <a:lnTo>
                    <a:pt x="1453410" y="0"/>
                  </a:lnTo>
                  <a:lnTo>
                    <a:pt x="1436607" y="16933"/>
                  </a:lnTo>
                  <a:lnTo>
                    <a:pt x="1435908" y="16933"/>
                  </a:lnTo>
                  <a:lnTo>
                    <a:pt x="1258428" y="195111"/>
                  </a:lnTo>
                  <a:lnTo>
                    <a:pt x="1522551" y="195111"/>
                  </a:lnTo>
                  <a:lnTo>
                    <a:pt x="1717663" y="0"/>
                  </a:lnTo>
                  <a:lnTo>
                    <a:pt x="1728424" y="0"/>
                  </a:lnTo>
                  <a:lnTo>
                    <a:pt x="1620376" y="108468"/>
                  </a:lnTo>
                  <a:lnTo>
                    <a:pt x="1619677" y="108468"/>
                  </a:lnTo>
                  <a:lnTo>
                    <a:pt x="1529539" y="198605"/>
                  </a:lnTo>
                  <a:lnTo>
                    <a:pt x="1799951" y="469716"/>
                  </a:lnTo>
                  <a:lnTo>
                    <a:pt x="2064074" y="469716"/>
                  </a:lnTo>
                  <a:lnTo>
                    <a:pt x="1792964" y="199304"/>
                  </a:lnTo>
                  <a:lnTo>
                    <a:pt x="1977431" y="14837"/>
                  </a:lnTo>
                  <a:lnTo>
                    <a:pt x="1978130" y="14837"/>
                  </a:lnTo>
                  <a:lnTo>
                    <a:pt x="1992847" y="0"/>
                  </a:lnTo>
                  <a:lnTo>
                    <a:pt x="2002247" y="0"/>
                  </a:lnTo>
                  <a:lnTo>
                    <a:pt x="1808336" y="194412"/>
                  </a:lnTo>
                  <a:lnTo>
                    <a:pt x="2071761" y="194412"/>
                  </a:lnTo>
                  <a:lnTo>
                    <a:pt x="2266173" y="0"/>
                  </a:lnTo>
                  <a:lnTo>
                    <a:pt x="2277539" y="0"/>
                  </a:lnTo>
                  <a:lnTo>
                    <a:pt x="2078748" y="199304"/>
                  </a:lnTo>
                  <a:lnTo>
                    <a:pt x="2348461" y="468319"/>
                  </a:lnTo>
                  <a:lnTo>
                    <a:pt x="2611886" y="468319"/>
                  </a:lnTo>
                  <a:lnTo>
                    <a:pt x="2342872" y="199304"/>
                  </a:lnTo>
                  <a:lnTo>
                    <a:pt x="2343570" y="198605"/>
                  </a:lnTo>
                  <a:lnTo>
                    <a:pt x="2342173" y="197208"/>
                  </a:lnTo>
                  <a:lnTo>
                    <a:pt x="2538868" y="0"/>
                  </a:lnTo>
                  <a:lnTo>
                    <a:pt x="2552152" y="0"/>
                  </a:lnTo>
                  <a:lnTo>
                    <a:pt x="2358243" y="194412"/>
                  </a:lnTo>
                  <a:lnTo>
                    <a:pt x="2620271" y="194412"/>
                  </a:lnTo>
                  <a:lnTo>
                    <a:pt x="2814181" y="0"/>
                  </a:lnTo>
                  <a:lnTo>
                    <a:pt x="2825540" y="0"/>
                  </a:lnTo>
                  <a:lnTo>
                    <a:pt x="2628655" y="197906"/>
                  </a:lnTo>
                  <a:lnTo>
                    <a:pt x="2898368" y="466921"/>
                  </a:lnTo>
                  <a:lnTo>
                    <a:pt x="3163191" y="468319"/>
                  </a:lnTo>
                  <a:lnTo>
                    <a:pt x="2892081" y="197906"/>
                  </a:lnTo>
                  <a:lnTo>
                    <a:pt x="2890683" y="196509"/>
                  </a:lnTo>
                  <a:lnTo>
                    <a:pt x="3086683" y="0"/>
                  </a:lnTo>
                  <a:lnTo>
                    <a:pt x="3097556" y="0"/>
                  </a:lnTo>
                  <a:lnTo>
                    <a:pt x="3082137" y="15536"/>
                  </a:lnTo>
                  <a:lnTo>
                    <a:pt x="3082836" y="16235"/>
                  </a:lnTo>
                  <a:lnTo>
                    <a:pt x="2906754" y="192317"/>
                  </a:lnTo>
                  <a:lnTo>
                    <a:pt x="3103099" y="192317"/>
                  </a:lnTo>
                  <a:lnTo>
                    <a:pt x="3102401" y="193714"/>
                  </a:lnTo>
                  <a:lnTo>
                    <a:pt x="3168083" y="193714"/>
                  </a:lnTo>
                  <a:lnTo>
                    <a:pt x="3361298" y="0"/>
                  </a:lnTo>
                  <a:lnTo>
                    <a:pt x="3371863" y="0"/>
                  </a:lnTo>
                  <a:lnTo>
                    <a:pt x="3264508" y="107769"/>
                  </a:lnTo>
                  <a:lnTo>
                    <a:pt x="3265906" y="108468"/>
                  </a:lnTo>
                  <a:lnTo>
                    <a:pt x="3176467" y="197906"/>
                  </a:lnTo>
                  <a:lnTo>
                    <a:pt x="3446879" y="467620"/>
                  </a:lnTo>
                  <a:lnTo>
                    <a:pt x="3710303" y="467620"/>
                  </a:lnTo>
                  <a:lnTo>
                    <a:pt x="3439891" y="197906"/>
                  </a:lnTo>
                  <a:lnTo>
                    <a:pt x="3439193" y="197208"/>
                  </a:lnTo>
                  <a:lnTo>
                    <a:pt x="3635893" y="0"/>
                  </a:lnTo>
                  <a:lnTo>
                    <a:pt x="3646183" y="0"/>
                  </a:lnTo>
                  <a:lnTo>
                    <a:pt x="3453167" y="193016"/>
                  </a:lnTo>
                  <a:lnTo>
                    <a:pt x="3717291" y="193016"/>
                  </a:lnTo>
                  <a:lnTo>
                    <a:pt x="3910306" y="0"/>
                  </a:lnTo>
                  <a:lnTo>
                    <a:pt x="3919582" y="0"/>
                  </a:lnTo>
                  <a:lnTo>
                    <a:pt x="3723579" y="196509"/>
                  </a:lnTo>
                  <a:lnTo>
                    <a:pt x="3994690" y="466921"/>
                  </a:lnTo>
                  <a:lnTo>
                    <a:pt x="4258116" y="466921"/>
                  </a:lnTo>
                  <a:lnTo>
                    <a:pt x="4128150" y="336956"/>
                  </a:lnTo>
                  <a:lnTo>
                    <a:pt x="3987703" y="196509"/>
                  </a:lnTo>
                  <a:lnTo>
                    <a:pt x="4183705" y="0"/>
                  </a:lnTo>
                  <a:lnTo>
                    <a:pt x="4194197" y="0"/>
                  </a:lnTo>
                  <a:lnTo>
                    <a:pt x="4002377" y="192317"/>
                  </a:lnTo>
                  <a:lnTo>
                    <a:pt x="4265801" y="192317"/>
                  </a:lnTo>
                  <a:lnTo>
                    <a:pt x="4457622" y="0"/>
                  </a:lnTo>
                  <a:lnTo>
                    <a:pt x="4467396" y="0"/>
                  </a:lnTo>
                  <a:lnTo>
                    <a:pt x="4272090" y="195810"/>
                  </a:lnTo>
                  <a:lnTo>
                    <a:pt x="4543201" y="466222"/>
                  </a:lnTo>
                  <a:lnTo>
                    <a:pt x="4807324" y="466222"/>
                  </a:lnTo>
                  <a:lnTo>
                    <a:pt x="4536213" y="195810"/>
                  </a:lnTo>
                  <a:lnTo>
                    <a:pt x="4731518" y="0"/>
                  </a:lnTo>
                  <a:lnTo>
                    <a:pt x="4741806" y="0"/>
                  </a:lnTo>
                  <a:lnTo>
                    <a:pt x="4549489" y="192317"/>
                  </a:lnTo>
                  <a:lnTo>
                    <a:pt x="4813613" y="192317"/>
                  </a:lnTo>
                  <a:lnTo>
                    <a:pt x="4823396" y="182534"/>
                  </a:lnTo>
                  <a:lnTo>
                    <a:pt x="4823396" y="193016"/>
                  </a:lnTo>
                  <a:lnTo>
                    <a:pt x="4820600" y="195810"/>
                  </a:lnTo>
                  <a:lnTo>
                    <a:pt x="4823396" y="198605"/>
                  </a:lnTo>
                  <a:lnTo>
                    <a:pt x="4823396" y="209086"/>
                  </a:lnTo>
                  <a:lnTo>
                    <a:pt x="4814311" y="200003"/>
                  </a:lnTo>
                  <a:lnTo>
                    <a:pt x="4550188" y="200003"/>
                  </a:lnTo>
                  <a:lnTo>
                    <a:pt x="4821299" y="470415"/>
                  </a:lnTo>
                  <a:lnTo>
                    <a:pt x="4550887" y="741525"/>
                  </a:lnTo>
                  <a:lnTo>
                    <a:pt x="4815010" y="741525"/>
                  </a:lnTo>
                  <a:lnTo>
                    <a:pt x="4823396" y="732442"/>
                  </a:lnTo>
                  <a:lnTo>
                    <a:pt x="4823396" y="742224"/>
                  </a:lnTo>
                  <a:lnTo>
                    <a:pt x="4821299" y="744320"/>
                  </a:lnTo>
                  <a:lnTo>
                    <a:pt x="4823396" y="746417"/>
                  </a:lnTo>
                  <a:lnTo>
                    <a:pt x="4823396" y="756898"/>
                  </a:lnTo>
                  <a:lnTo>
                    <a:pt x="4814311" y="747814"/>
                  </a:lnTo>
                  <a:lnTo>
                    <a:pt x="4550188" y="747814"/>
                  </a:lnTo>
                  <a:lnTo>
                    <a:pt x="4821299" y="1018227"/>
                  </a:lnTo>
                  <a:lnTo>
                    <a:pt x="4821998" y="1018924"/>
                  </a:lnTo>
                  <a:lnTo>
                    <a:pt x="4551586" y="1290035"/>
                  </a:lnTo>
                  <a:lnTo>
                    <a:pt x="4815709" y="1290035"/>
                  </a:lnTo>
                  <a:lnTo>
                    <a:pt x="4823396" y="1282349"/>
                  </a:lnTo>
                  <a:lnTo>
                    <a:pt x="4823396" y="1292831"/>
                  </a:lnTo>
                  <a:lnTo>
                    <a:pt x="4822697" y="1293530"/>
                  </a:lnTo>
                  <a:lnTo>
                    <a:pt x="4823396" y="1294228"/>
                  </a:lnTo>
                  <a:lnTo>
                    <a:pt x="4823396" y="1304010"/>
                  </a:lnTo>
                  <a:lnTo>
                    <a:pt x="4815709" y="1296324"/>
                  </a:lnTo>
                  <a:lnTo>
                    <a:pt x="4551586" y="1297023"/>
                  </a:lnTo>
                  <a:lnTo>
                    <a:pt x="4823396" y="1566736"/>
                  </a:lnTo>
                  <a:lnTo>
                    <a:pt x="4552984" y="1837847"/>
                  </a:lnTo>
                  <a:lnTo>
                    <a:pt x="4817107" y="1837847"/>
                  </a:lnTo>
                  <a:lnTo>
                    <a:pt x="4824094" y="1830859"/>
                  </a:lnTo>
                  <a:lnTo>
                    <a:pt x="4824094" y="1841341"/>
                  </a:lnTo>
                  <a:lnTo>
                    <a:pt x="4824094" y="1851822"/>
                  </a:lnTo>
                  <a:lnTo>
                    <a:pt x="4817107" y="1844834"/>
                  </a:lnTo>
                  <a:lnTo>
                    <a:pt x="4552984" y="1844834"/>
                  </a:lnTo>
                  <a:lnTo>
                    <a:pt x="4824094" y="2115246"/>
                  </a:lnTo>
                  <a:lnTo>
                    <a:pt x="4821299" y="2118042"/>
                  </a:lnTo>
                  <a:lnTo>
                    <a:pt x="4731162" y="2208877"/>
                  </a:lnTo>
                  <a:lnTo>
                    <a:pt x="4553682" y="2386357"/>
                  </a:lnTo>
                  <a:lnTo>
                    <a:pt x="4817806" y="2386357"/>
                  </a:lnTo>
                  <a:lnTo>
                    <a:pt x="4824094" y="2380068"/>
                  </a:lnTo>
                  <a:lnTo>
                    <a:pt x="4824094" y="2398934"/>
                  </a:lnTo>
                  <a:lnTo>
                    <a:pt x="4817806" y="2392646"/>
                  </a:lnTo>
                  <a:lnTo>
                    <a:pt x="4553682" y="2392646"/>
                  </a:lnTo>
                  <a:lnTo>
                    <a:pt x="4824094" y="2662359"/>
                  </a:lnTo>
                  <a:lnTo>
                    <a:pt x="4824094" y="2663757"/>
                  </a:lnTo>
                  <a:lnTo>
                    <a:pt x="4554381" y="2934169"/>
                  </a:lnTo>
                  <a:lnTo>
                    <a:pt x="4817806" y="2934169"/>
                  </a:lnTo>
                  <a:lnTo>
                    <a:pt x="4823396" y="2928579"/>
                  </a:lnTo>
                  <a:lnTo>
                    <a:pt x="4823396" y="2947445"/>
                  </a:lnTo>
                  <a:lnTo>
                    <a:pt x="4817806" y="2941855"/>
                  </a:lnTo>
                  <a:lnTo>
                    <a:pt x="4554381" y="2941855"/>
                  </a:lnTo>
                  <a:lnTo>
                    <a:pt x="4684346" y="3071820"/>
                  </a:lnTo>
                  <a:lnTo>
                    <a:pt x="4823396" y="3210869"/>
                  </a:lnTo>
                  <a:lnTo>
                    <a:pt x="4823396" y="3213665"/>
                  </a:lnTo>
                  <a:lnTo>
                    <a:pt x="4554381" y="3483378"/>
                  </a:lnTo>
                  <a:lnTo>
                    <a:pt x="4818505" y="3483378"/>
                  </a:lnTo>
                  <a:lnTo>
                    <a:pt x="4823396" y="3478487"/>
                  </a:lnTo>
                  <a:lnTo>
                    <a:pt x="4823396" y="3495256"/>
                  </a:lnTo>
                  <a:lnTo>
                    <a:pt x="4818505" y="3490365"/>
                  </a:lnTo>
                  <a:lnTo>
                    <a:pt x="4554381" y="3490365"/>
                  </a:lnTo>
                  <a:lnTo>
                    <a:pt x="4555778" y="3491762"/>
                  </a:lnTo>
                  <a:lnTo>
                    <a:pt x="4823396" y="3758681"/>
                  </a:lnTo>
                  <a:lnTo>
                    <a:pt x="4823396" y="3762174"/>
                  </a:lnTo>
                  <a:lnTo>
                    <a:pt x="4555828" y="4030438"/>
                  </a:lnTo>
                  <a:lnTo>
                    <a:pt x="4817996" y="4030438"/>
                  </a:lnTo>
                  <a:lnTo>
                    <a:pt x="4828476" y="4019957"/>
                  </a:lnTo>
                  <a:lnTo>
                    <a:pt x="4828476" y="4030438"/>
                  </a:lnTo>
                  <a:lnTo>
                    <a:pt x="4824983" y="4033931"/>
                  </a:lnTo>
                  <a:lnTo>
                    <a:pt x="4828476" y="4037426"/>
                  </a:lnTo>
                  <a:lnTo>
                    <a:pt x="4828476" y="4047906"/>
                  </a:lnTo>
                  <a:lnTo>
                    <a:pt x="4823396" y="4042826"/>
                  </a:lnTo>
                  <a:lnTo>
                    <a:pt x="4823396" y="4043068"/>
                  </a:lnTo>
                  <a:lnTo>
                    <a:pt x="4819202" y="4038876"/>
                  </a:lnTo>
                  <a:lnTo>
                    <a:pt x="4555321" y="4038876"/>
                  </a:lnTo>
                  <a:lnTo>
                    <a:pt x="4555968" y="4039522"/>
                  </a:lnTo>
                  <a:lnTo>
                    <a:pt x="4825681" y="4308536"/>
                  </a:lnTo>
                  <a:lnTo>
                    <a:pt x="4554570" y="4579647"/>
                  </a:lnTo>
                  <a:lnTo>
                    <a:pt x="4818693" y="4579647"/>
                  </a:lnTo>
                  <a:lnTo>
                    <a:pt x="4828476" y="4569864"/>
                  </a:lnTo>
                  <a:lnTo>
                    <a:pt x="4828476" y="4580346"/>
                  </a:lnTo>
                  <a:lnTo>
                    <a:pt x="4825681" y="4583140"/>
                  </a:lnTo>
                  <a:lnTo>
                    <a:pt x="4828476" y="4585936"/>
                  </a:lnTo>
                  <a:lnTo>
                    <a:pt x="4828476" y="4596417"/>
                  </a:lnTo>
                  <a:lnTo>
                    <a:pt x="4819392" y="4587334"/>
                  </a:lnTo>
                  <a:lnTo>
                    <a:pt x="4555269" y="4587334"/>
                  </a:lnTo>
                  <a:lnTo>
                    <a:pt x="4826380" y="4857746"/>
                  </a:lnTo>
                  <a:lnTo>
                    <a:pt x="4555968" y="5128855"/>
                  </a:lnTo>
                  <a:lnTo>
                    <a:pt x="4820091" y="5128855"/>
                  </a:lnTo>
                  <a:lnTo>
                    <a:pt x="4828476" y="5119772"/>
                  </a:lnTo>
                  <a:lnTo>
                    <a:pt x="4828476" y="5129554"/>
                  </a:lnTo>
                  <a:lnTo>
                    <a:pt x="4826380" y="5131651"/>
                  </a:lnTo>
                  <a:lnTo>
                    <a:pt x="4828476" y="5133747"/>
                  </a:lnTo>
                  <a:lnTo>
                    <a:pt x="4828476" y="5144228"/>
                  </a:lnTo>
                  <a:lnTo>
                    <a:pt x="4819392" y="5135144"/>
                  </a:lnTo>
                  <a:lnTo>
                    <a:pt x="4555269" y="5135144"/>
                  </a:lnTo>
                  <a:lnTo>
                    <a:pt x="4826380" y="5405557"/>
                  </a:lnTo>
                  <a:lnTo>
                    <a:pt x="4827079" y="5406255"/>
                  </a:lnTo>
                  <a:lnTo>
                    <a:pt x="4556667" y="5677366"/>
                  </a:lnTo>
                  <a:lnTo>
                    <a:pt x="4820790" y="5677366"/>
                  </a:lnTo>
                  <a:lnTo>
                    <a:pt x="4828476" y="5669679"/>
                  </a:lnTo>
                  <a:lnTo>
                    <a:pt x="4828476" y="5680161"/>
                  </a:lnTo>
                  <a:lnTo>
                    <a:pt x="4827778" y="5680860"/>
                  </a:lnTo>
                  <a:lnTo>
                    <a:pt x="4828476" y="5681559"/>
                  </a:lnTo>
                  <a:lnTo>
                    <a:pt x="4828476" y="5691341"/>
                  </a:lnTo>
                  <a:lnTo>
                    <a:pt x="4820790" y="5683654"/>
                  </a:lnTo>
                  <a:lnTo>
                    <a:pt x="4556667" y="5684353"/>
                  </a:lnTo>
                  <a:lnTo>
                    <a:pt x="4828476" y="5954066"/>
                  </a:lnTo>
                  <a:lnTo>
                    <a:pt x="4558064" y="6225177"/>
                  </a:lnTo>
                  <a:lnTo>
                    <a:pt x="4822188" y="6225177"/>
                  </a:lnTo>
                  <a:lnTo>
                    <a:pt x="4829175" y="6218190"/>
                  </a:lnTo>
                  <a:lnTo>
                    <a:pt x="4829175" y="6228671"/>
                  </a:lnTo>
                  <a:lnTo>
                    <a:pt x="4829175" y="6239152"/>
                  </a:lnTo>
                  <a:lnTo>
                    <a:pt x="4822188" y="6232165"/>
                  </a:lnTo>
                  <a:lnTo>
                    <a:pt x="4558064" y="6232165"/>
                  </a:lnTo>
                  <a:lnTo>
                    <a:pt x="4829175" y="6502577"/>
                  </a:lnTo>
                  <a:lnTo>
                    <a:pt x="4826380" y="6505372"/>
                  </a:lnTo>
                  <a:lnTo>
                    <a:pt x="4816727" y="6515100"/>
                  </a:lnTo>
                  <a:lnTo>
                    <a:pt x="4806802" y="6515100"/>
                  </a:lnTo>
                  <a:lnTo>
                    <a:pt x="4815200" y="6506770"/>
                  </a:lnTo>
                  <a:lnTo>
                    <a:pt x="4551077" y="6506770"/>
                  </a:lnTo>
                  <a:lnTo>
                    <a:pt x="4542768" y="6515100"/>
                  </a:lnTo>
                  <a:lnTo>
                    <a:pt x="4531598" y="6515100"/>
                  </a:lnTo>
                  <a:lnTo>
                    <a:pt x="4544089" y="6502577"/>
                  </a:lnTo>
                  <a:lnTo>
                    <a:pt x="4539198" y="6497686"/>
                  </a:lnTo>
                  <a:lnTo>
                    <a:pt x="4273677" y="6232165"/>
                  </a:lnTo>
                  <a:lnTo>
                    <a:pt x="4009554" y="6232165"/>
                  </a:lnTo>
                  <a:lnTo>
                    <a:pt x="4010952" y="6233562"/>
                  </a:lnTo>
                  <a:lnTo>
                    <a:pt x="4279966" y="6502577"/>
                  </a:lnTo>
                  <a:lnTo>
                    <a:pt x="4267475" y="6515100"/>
                  </a:lnTo>
                  <a:lnTo>
                    <a:pt x="4259077" y="6515100"/>
                  </a:lnTo>
                  <a:lnTo>
                    <a:pt x="4266690" y="6507468"/>
                  </a:lnTo>
                  <a:lnTo>
                    <a:pt x="4002566" y="6507468"/>
                  </a:lnTo>
                  <a:lnTo>
                    <a:pt x="3994954" y="6515100"/>
                  </a:lnTo>
                  <a:lnTo>
                    <a:pt x="3983089" y="6515100"/>
                  </a:lnTo>
                  <a:lnTo>
                    <a:pt x="3996278" y="6501878"/>
                  </a:lnTo>
                  <a:lnTo>
                    <a:pt x="3862819" y="6369115"/>
                  </a:lnTo>
                  <a:lnTo>
                    <a:pt x="3865614" y="6363527"/>
                  </a:lnTo>
                  <a:lnTo>
                    <a:pt x="3864915" y="6362829"/>
                  </a:lnTo>
                  <a:lnTo>
                    <a:pt x="3865614" y="6361432"/>
                  </a:lnTo>
                  <a:lnTo>
                    <a:pt x="4002566" y="6498385"/>
                  </a:lnTo>
                  <a:lnTo>
                    <a:pt x="4266690" y="6498385"/>
                  </a:lnTo>
                  <a:lnTo>
                    <a:pt x="3995579" y="6227973"/>
                  </a:lnTo>
                  <a:lnTo>
                    <a:pt x="3996977" y="6226575"/>
                  </a:lnTo>
                  <a:lnTo>
                    <a:pt x="4265292" y="5957561"/>
                  </a:lnTo>
                  <a:lnTo>
                    <a:pt x="4066851" y="5957561"/>
                  </a:lnTo>
                  <a:lnTo>
                    <a:pt x="4070344" y="5950573"/>
                  </a:lnTo>
                  <a:lnTo>
                    <a:pt x="4265292" y="5950573"/>
                  </a:lnTo>
                  <a:lnTo>
                    <a:pt x="4135327" y="5820608"/>
                  </a:lnTo>
                  <a:lnTo>
                    <a:pt x="4138820" y="5813620"/>
                  </a:lnTo>
                  <a:lnTo>
                    <a:pt x="4279267" y="5954066"/>
                  </a:lnTo>
                  <a:lnTo>
                    <a:pt x="4008855" y="6225177"/>
                  </a:lnTo>
                  <a:lnTo>
                    <a:pt x="4272979" y="6225177"/>
                  </a:lnTo>
                  <a:lnTo>
                    <a:pt x="4543391" y="5954066"/>
                  </a:lnTo>
                  <a:lnTo>
                    <a:pt x="4272280" y="5684353"/>
                  </a:lnTo>
                  <a:lnTo>
                    <a:pt x="4203803" y="5684353"/>
                  </a:lnTo>
                  <a:lnTo>
                    <a:pt x="4008855" y="5684353"/>
                  </a:lnTo>
                  <a:lnTo>
                    <a:pt x="4138121" y="5814319"/>
                  </a:lnTo>
                  <a:lnTo>
                    <a:pt x="4134628" y="5821306"/>
                  </a:lnTo>
                  <a:lnTo>
                    <a:pt x="3994181" y="5680860"/>
                  </a:lnTo>
                  <a:lnTo>
                    <a:pt x="4264593" y="5409749"/>
                  </a:lnTo>
                  <a:lnTo>
                    <a:pt x="4000470" y="5409749"/>
                  </a:lnTo>
                  <a:lnTo>
                    <a:pt x="3730058" y="5680860"/>
                  </a:lnTo>
                  <a:lnTo>
                    <a:pt x="4001169" y="5951272"/>
                  </a:lnTo>
                  <a:lnTo>
                    <a:pt x="4069645" y="5951272"/>
                  </a:lnTo>
                  <a:lnTo>
                    <a:pt x="4066152" y="5958259"/>
                  </a:lnTo>
                  <a:lnTo>
                    <a:pt x="4001169" y="5958259"/>
                  </a:lnTo>
                  <a:lnTo>
                    <a:pt x="3820894" y="6139233"/>
                  </a:lnTo>
                  <a:lnTo>
                    <a:pt x="3731456" y="6229370"/>
                  </a:lnTo>
                  <a:lnTo>
                    <a:pt x="3864915" y="6362829"/>
                  </a:lnTo>
                  <a:lnTo>
                    <a:pt x="3862120" y="6368418"/>
                  </a:lnTo>
                  <a:lnTo>
                    <a:pt x="3862819" y="6369115"/>
                  </a:lnTo>
                  <a:lnTo>
                    <a:pt x="3862120" y="6370515"/>
                  </a:lnTo>
                  <a:lnTo>
                    <a:pt x="3725167" y="6233562"/>
                  </a:lnTo>
                  <a:lnTo>
                    <a:pt x="3461044" y="6233562"/>
                  </a:lnTo>
                  <a:lnTo>
                    <a:pt x="3732154" y="6503974"/>
                  </a:lnTo>
                  <a:lnTo>
                    <a:pt x="3721057" y="6515100"/>
                  </a:lnTo>
                  <a:lnTo>
                    <a:pt x="3710566" y="6515100"/>
                  </a:lnTo>
                  <a:lnTo>
                    <a:pt x="3718179" y="6507468"/>
                  </a:lnTo>
                  <a:lnTo>
                    <a:pt x="3454056" y="6507468"/>
                  </a:lnTo>
                  <a:lnTo>
                    <a:pt x="3446443" y="6515100"/>
                  </a:lnTo>
                  <a:lnTo>
                    <a:pt x="3437367" y="6515100"/>
                  </a:lnTo>
                  <a:lnTo>
                    <a:pt x="3447767" y="6504673"/>
                  </a:lnTo>
                  <a:lnTo>
                    <a:pt x="3176657" y="6234261"/>
                  </a:lnTo>
                  <a:lnTo>
                    <a:pt x="2912533" y="6234261"/>
                  </a:lnTo>
                  <a:lnTo>
                    <a:pt x="3183644" y="6504673"/>
                  </a:lnTo>
                  <a:lnTo>
                    <a:pt x="3173244" y="6515100"/>
                  </a:lnTo>
                  <a:lnTo>
                    <a:pt x="3163450" y="6515100"/>
                  </a:lnTo>
                  <a:lnTo>
                    <a:pt x="3169669" y="6508865"/>
                  </a:lnTo>
                  <a:lnTo>
                    <a:pt x="2905546" y="6508865"/>
                  </a:lnTo>
                  <a:lnTo>
                    <a:pt x="2899327" y="6515100"/>
                  </a:lnTo>
                  <a:lnTo>
                    <a:pt x="2889554" y="6515100"/>
                  </a:lnTo>
                  <a:lnTo>
                    <a:pt x="2899257" y="6505372"/>
                  </a:lnTo>
                  <a:lnTo>
                    <a:pt x="2628146" y="6234960"/>
                  </a:lnTo>
                  <a:lnTo>
                    <a:pt x="2364722" y="6234960"/>
                  </a:lnTo>
                  <a:lnTo>
                    <a:pt x="2494687" y="6364925"/>
                  </a:lnTo>
                  <a:lnTo>
                    <a:pt x="2635134" y="6505372"/>
                  </a:lnTo>
                  <a:lnTo>
                    <a:pt x="2625431" y="6515100"/>
                  </a:lnTo>
                  <a:lnTo>
                    <a:pt x="2614938" y="6515100"/>
                  </a:lnTo>
                  <a:lnTo>
                    <a:pt x="2620460" y="6509564"/>
                  </a:lnTo>
                  <a:lnTo>
                    <a:pt x="2357035" y="6509564"/>
                  </a:lnTo>
                  <a:lnTo>
                    <a:pt x="2351521" y="6515100"/>
                  </a:lnTo>
                  <a:lnTo>
                    <a:pt x="2341019" y="6515100"/>
                  </a:lnTo>
                  <a:lnTo>
                    <a:pt x="2350747" y="6505372"/>
                  </a:lnTo>
                  <a:lnTo>
                    <a:pt x="2079636" y="6234960"/>
                  </a:lnTo>
                  <a:lnTo>
                    <a:pt x="1815513" y="6234960"/>
                  </a:lnTo>
                  <a:lnTo>
                    <a:pt x="2086623" y="6505372"/>
                  </a:lnTo>
                  <a:lnTo>
                    <a:pt x="2083829" y="6508166"/>
                  </a:lnTo>
                  <a:lnTo>
                    <a:pt x="2076948" y="6515100"/>
                  </a:lnTo>
                  <a:lnTo>
                    <a:pt x="2067112" y="6515100"/>
                  </a:lnTo>
                  <a:lnTo>
                    <a:pt x="2072648" y="6509564"/>
                  </a:lnTo>
                  <a:lnTo>
                    <a:pt x="1808526" y="6509564"/>
                  </a:lnTo>
                  <a:lnTo>
                    <a:pt x="1803004" y="6515100"/>
                  </a:lnTo>
                  <a:lnTo>
                    <a:pt x="1792532" y="6515100"/>
                  </a:lnTo>
                  <a:lnTo>
                    <a:pt x="1801539" y="6506071"/>
                  </a:lnTo>
                  <a:lnTo>
                    <a:pt x="1796647" y="6501179"/>
                  </a:lnTo>
                  <a:lnTo>
                    <a:pt x="1531127" y="6236358"/>
                  </a:lnTo>
                  <a:lnTo>
                    <a:pt x="1267002" y="6236358"/>
                  </a:lnTo>
                  <a:lnTo>
                    <a:pt x="1267701" y="6237056"/>
                  </a:lnTo>
                  <a:lnTo>
                    <a:pt x="1268400" y="6237056"/>
                  </a:lnTo>
                  <a:lnTo>
                    <a:pt x="1537414" y="6506071"/>
                  </a:lnTo>
                  <a:lnTo>
                    <a:pt x="1528408" y="6515100"/>
                  </a:lnTo>
                  <a:lnTo>
                    <a:pt x="1520000" y="6515100"/>
                  </a:lnTo>
                  <a:lnTo>
                    <a:pt x="1524838" y="6510263"/>
                  </a:lnTo>
                  <a:lnTo>
                    <a:pt x="1260714" y="6510263"/>
                  </a:lnTo>
                  <a:lnTo>
                    <a:pt x="1255889" y="6515100"/>
                  </a:lnTo>
                  <a:lnTo>
                    <a:pt x="1243300" y="6515100"/>
                  </a:lnTo>
                  <a:lnTo>
                    <a:pt x="1252329" y="6506071"/>
                  </a:lnTo>
                  <a:lnTo>
                    <a:pt x="1119569" y="6374009"/>
                  </a:lnTo>
                  <a:lnTo>
                    <a:pt x="981219" y="6235659"/>
                  </a:lnTo>
                  <a:lnTo>
                    <a:pt x="717095" y="6235659"/>
                  </a:lnTo>
                  <a:lnTo>
                    <a:pt x="988206" y="6505372"/>
                  </a:lnTo>
                  <a:lnTo>
                    <a:pt x="985411" y="6508166"/>
                  </a:lnTo>
                  <a:lnTo>
                    <a:pt x="978530" y="6515100"/>
                  </a:lnTo>
                  <a:lnTo>
                    <a:pt x="969394" y="6515100"/>
                  </a:lnTo>
                  <a:lnTo>
                    <a:pt x="974930" y="6509564"/>
                  </a:lnTo>
                  <a:lnTo>
                    <a:pt x="716396" y="6509564"/>
                  </a:lnTo>
                  <a:lnTo>
                    <a:pt x="714941" y="6508865"/>
                  </a:lnTo>
                  <a:lnTo>
                    <a:pt x="716396" y="6508865"/>
                  </a:lnTo>
                  <a:lnTo>
                    <a:pt x="698928" y="6500480"/>
                  </a:lnTo>
                  <a:lnTo>
                    <a:pt x="700271" y="6501824"/>
                  </a:lnTo>
                  <a:lnTo>
                    <a:pt x="698928" y="6501179"/>
                  </a:lnTo>
                  <a:lnTo>
                    <a:pt x="433407" y="6236358"/>
                  </a:lnTo>
                  <a:lnTo>
                    <a:pt x="169284" y="6236358"/>
                  </a:lnTo>
                  <a:lnTo>
                    <a:pt x="170681" y="6237754"/>
                  </a:lnTo>
                  <a:lnTo>
                    <a:pt x="439696" y="6506770"/>
                  </a:lnTo>
                  <a:lnTo>
                    <a:pt x="431344" y="6515100"/>
                  </a:lnTo>
                  <a:lnTo>
                    <a:pt x="420908" y="6515100"/>
                  </a:lnTo>
                  <a:lnTo>
                    <a:pt x="425721" y="6510263"/>
                  </a:lnTo>
                  <a:lnTo>
                    <a:pt x="161597" y="6510263"/>
                  </a:lnTo>
                  <a:lnTo>
                    <a:pt x="156781" y="6515100"/>
                  </a:lnTo>
                  <a:lnTo>
                    <a:pt x="146978" y="6515100"/>
                  </a:lnTo>
                  <a:lnTo>
                    <a:pt x="155309" y="6506770"/>
                  </a:lnTo>
                  <a:lnTo>
                    <a:pt x="21150" y="6373310"/>
                  </a:lnTo>
                  <a:lnTo>
                    <a:pt x="5080" y="6357239"/>
                  </a:lnTo>
                  <a:lnTo>
                    <a:pt x="5080" y="6347457"/>
                  </a:lnTo>
                  <a:lnTo>
                    <a:pt x="24645" y="6367022"/>
                  </a:lnTo>
                  <a:lnTo>
                    <a:pt x="161597" y="6503275"/>
                  </a:lnTo>
                  <a:lnTo>
                    <a:pt x="425721" y="6503275"/>
                  </a:lnTo>
                  <a:lnTo>
                    <a:pt x="154610" y="6232863"/>
                  </a:lnTo>
                  <a:lnTo>
                    <a:pt x="156008" y="6231466"/>
                  </a:lnTo>
                  <a:lnTo>
                    <a:pt x="156706" y="6231466"/>
                  </a:lnTo>
                  <a:lnTo>
                    <a:pt x="425022" y="5962452"/>
                  </a:lnTo>
                  <a:lnTo>
                    <a:pt x="161597" y="5962452"/>
                  </a:lnTo>
                  <a:lnTo>
                    <a:pt x="5080" y="6118969"/>
                  </a:lnTo>
                  <a:lnTo>
                    <a:pt x="5080" y="6108488"/>
                  </a:lnTo>
                  <a:lnTo>
                    <a:pt x="154610" y="5958957"/>
                  </a:lnTo>
                  <a:lnTo>
                    <a:pt x="5080" y="5809427"/>
                  </a:lnTo>
                  <a:lnTo>
                    <a:pt x="5080" y="5798947"/>
                  </a:lnTo>
                  <a:lnTo>
                    <a:pt x="161597" y="5954765"/>
                  </a:lnTo>
                  <a:lnTo>
                    <a:pt x="425022" y="5954765"/>
                  </a:lnTo>
                  <a:lnTo>
                    <a:pt x="295057" y="5824800"/>
                  </a:lnTo>
                  <a:lnTo>
                    <a:pt x="154610" y="5684353"/>
                  </a:lnTo>
                  <a:lnTo>
                    <a:pt x="425022" y="5413941"/>
                  </a:lnTo>
                  <a:lnTo>
                    <a:pt x="160898" y="5413941"/>
                  </a:lnTo>
                  <a:lnTo>
                    <a:pt x="5080" y="5569760"/>
                  </a:lnTo>
                  <a:lnTo>
                    <a:pt x="5080" y="5559279"/>
                  </a:lnTo>
                  <a:lnTo>
                    <a:pt x="153911" y="5410448"/>
                  </a:lnTo>
                  <a:lnTo>
                    <a:pt x="5080" y="5261616"/>
                  </a:lnTo>
                  <a:lnTo>
                    <a:pt x="5080" y="5251135"/>
                  </a:lnTo>
                  <a:lnTo>
                    <a:pt x="160898" y="5406255"/>
                  </a:lnTo>
                  <a:lnTo>
                    <a:pt x="425022" y="5406255"/>
                  </a:lnTo>
                  <a:lnTo>
                    <a:pt x="153911" y="5135843"/>
                  </a:lnTo>
                  <a:lnTo>
                    <a:pt x="338378" y="4951376"/>
                  </a:lnTo>
                  <a:lnTo>
                    <a:pt x="424323" y="4865431"/>
                  </a:lnTo>
                  <a:lnTo>
                    <a:pt x="160200" y="4865431"/>
                  </a:lnTo>
                  <a:lnTo>
                    <a:pt x="5080" y="5020552"/>
                  </a:lnTo>
                  <a:lnTo>
                    <a:pt x="5080" y="5010070"/>
                  </a:lnTo>
                  <a:lnTo>
                    <a:pt x="153212" y="4861239"/>
                  </a:lnTo>
                  <a:lnTo>
                    <a:pt x="148321" y="4856348"/>
                  </a:lnTo>
                  <a:lnTo>
                    <a:pt x="5080" y="4713804"/>
                  </a:lnTo>
                  <a:lnTo>
                    <a:pt x="5080" y="4704023"/>
                  </a:lnTo>
                  <a:lnTo>
                    <a:pt x="160200" y="4858443"/>
                  </a:lnTo>
                  <a:lnTo>
                    <a:pt x="424323" y="4857746"/>
                  </a:lnTo>
                  <a:lnTo>
                    <a:pt x="153212" y="4587334"/>
                  </a:lnTo>
                  <a:lnTo>
                    <a:pt x="423624" y="4316922"/>
                  </a:lnTo>
                  <a:lnTo>
                    <a:pt x="159501" y="4316922"/>
                  </a:lnTo>
                  <a:lnTo>
                    <a:pt x="5080" y="4471342"/>
                  </a:lnTo>
                  <a:lnTo>
                    <a:pt x="5080" y="4460862"/>
                  </a:lnTo>
                  <a:lnTo>
                    <a:pt x="152513" y="4312728"/>
                  </a:lnTo>
                  <a:lnTo>
                    <a:pt x="5080" y="4165993"/>
                  </a:lnTo>
                  <a:lnTo>
                    <a:pt x="5080" y="4155512"/>
                  </a:lnTo>
                  <a:lnTo>
                    <a:pt x="159501" y="4309235"/>
                  </a:lnTo>
                  <a:lnTo>
                    <a:pt x="423624" y="4309235"/>
                  </a:lnTo>
                  <a:lnTo>
                    <a:pt x="152513" y="4039522"/>
                  </a:lnTo>
                  <a:lnTo>
                    <a:pt x="331391" y="3860644"/>
                  </a:lnTo>
                  <a:lnTo>
                    <a:pt x="331489" y="3860644"/>
                  </a:lnTo>
                  <a:lnTo>
                    <a:pt x="422038" y="3769860"/>
                  </a:lnTo>
                  <a:lnTo>
                    <a:pt x="225692" y="3769860"/>
                  </a:lnTo>
                  <a:lnTo>
                    <a:pt x="226391" y="3768464"/>
                  </a:lnTo>
                  <a:lnTo>
                    <a:pt x="158613" y="3768464"/>
                  </a:lnTo>
                  <a:lnTo>
                    <a:pt x="0" y="3927075"/>
                  </a:lnTo>
                  <a:lnTo>
                    <a:pt x="0" y="3917294"/>
                  </a:lnTo>
                  <a:lnTo>
                    <a:pt x="152324" y="3764969"/>
                  </a:lnTo>
                  <a:lnTo>
                    <a:pt x="0" y="3613344"/>
                  </a:lnTo>
                  <a:lnTo>
                    <a:pt x="0" y="3602863"/>
                  </a:lnTo>
                  <a:lnTo>
                    <a:pt x="159312" y="3760776"/>
                  </a:lnTo>
                  <a:lnTo>
                    <a:pt x="423435" y="3760776"/>
                  </a:lnTo>
                  <a:lnTo>
                    <a:pt x="294168" y="3632209"/>
                  </a:lnTo>
                  <a:lnTo>
                    <a:pt x="152324" y="3491064"/>
                  </a:lnTo>
                  <a:lnTo>
                    <a:pt x="336093" y="3305898"/>
                  </a:lnTo>
                  <a:lnTo>
                    <a:pt x="422038" y="3219953"/>
                  </a:lnTo>
                  <a:lnTo>
                    <a:pt x="157914" y="3219953"/>
                  </a:lnTo>
                  <a:lnTo>
                    <a:pt x="0" y="3378566"/>
                  </a:lnTo>
                  <a:lnTo>
                    <a:pt x="0" y="3368084"/>
                  </a:lnTo>
                  <a:lnTo>
                    <a:pt x="152324" y="3216459"/>
                  </a:lnTo>
                  <a:lnTo>
                    <a:pt x="146735" y="3211568"/>
                  </a:lnTo>
                  <a:lnTo>
                    <a:pt x="0" y="3065532"/>
                  </a:lnTo>
                  <a:lnTo>
                    <a:pt x="0" y="3055052"/>
                  </a:lnTo>
                  <a:lnTo>
                    <a:pt x="157914" y="3212966"/>
                  </a:lnTo>
                  <a:lnTo>
                    <a:pt x="422038" y="3212966"/>
                  </a:lnTo>
                  <a:lnTo>
                    <a:pt x="150927" y="2942554"/>
                  </a:lnTo>
                  <a:lnTo>
                    <a:pt x="421339" y="2671443"/>
                  </a:lnTo>
                  <a:lnTo>
                    <a:pt x="157215" y="2671443"/>
                  </a:lnTo>
                  <a:lnTo>
                    <a:pt x="0" y="2829357"/>
                  </a:lnTo>
                  <a:lnTo>
                    <a:pt x="0" y="2818875"/>
                  </a:lnTo>
                  <a:lnTo>
                    <a:pt x="150927" y="2667949"/>
                  </a:lnTo>
                  <a:lnTo>
                    <a:pt x="0" y="2517721"/>
                  </a:lnTo>
                  <a:lnTo>
                    <a:pt x="0" y="2507939"/>
                  </a:lnTo>
                  <a:lnTo>
                    <a:pt x="157914" y="2664456"/>
                  </a:lnTo>
                  <a:lnTo>
                    <a:pt x="422038" y="2664456"/>
                  </a:lnTo>
                  <a:lnTo>
                    <a:pt x="150927" y="2394044"/>
                  </a:lnTo>
                  <a:lnTo>
                    <a:pt x="420640" y="2122933"/>
                  </a:lnTo>
                  <a:lnTo>
                    <a:pt x="156517" y="2122933"/>
                  </a:lnTo>
                  <a:lnTo>
                    <a:pt x="0" y="2280148"/>
                  </a:lnTo>
                  <a:lnTo>
                    <a:pt x="0" y="2269667"/>
                  </a:lnTo>
                  <a:lnTo>
                    <a:pt x="150228" y="2119439"/>
                  </a:lnTo>
                  <a:lnTo>
                    <a:pt x="16070" y="1985980"/>
                  </a:lnTo>
                  <a:lnTo>
                    <a:pt x="0" y="1969909"/>
                  </a:lnTo>
                  <a:lnTo>
                    <a:pt x="0" y="1960127"/>
                  </a:lnTo>
                  <a:lnTo>
                    <a:pt x="19564" y="1979691"/>
                  </a:lnTo>
                  <a:lnTo>
                    <a:pt x="156517" y="2115945"/>
                  </a:lnTo>
                  <a:lnTo>
                    <a:pt x="420640" y="2115945"/>
                  </a:lnTo>
                  <a:lnTo>
                    <a:pt x="149529" y="1845533"/>
                  </a:lnTo>
                  <a:lnTo>
                    <a:pt x="150927" y="1844135"/>
                  </a:lnTo>
                  <a:lnTo>
                    <a:pt x="151626" y="1844135"/>
                  </a:lnTo>
                  <a:lnTo>
                    <a:pt x="419941" y="1575121"/>
                  </a:lnTo>
                  <a:lnTo>
                    <a:pt x="156517" y="1575121"/>
                  </a:lnTo>
                  <a:lnTo>
                    <a:pt x="0" y="1731637"/>
                  </a:lnTo>
                  <a:lnTo>
                    <a:pt x="0" y="1721157"/>
                  </a:lnTo>
                  <a:lnTo>
                    <a:pt x="149529" y="1571627"/>
                  </a:lnTo>
                  <a:lnTo>
                    <a:pt x="0" y="1422098"/>
                  </a:lnTo>
                  <a:lnTo>
                    <a:pt x="0" y="1411617"/>
                  </a:lnTo>
                  <a:lnTo>
                    <a:pt x="156517" y="1567435"/>
                  </a:lnTo>
                  <a:lnTo>
                    <a:pt x="419941" y="1567435"/>
                  </a:lnTo>
                  <a:lnTo>
                    <a:pt x="289976" y="1437470"/>
                  </a:lnTo>
                  <a:lnTo>
                    <a:pt x="149529" y="1297023"/>
                  </a:lnTo>
                  <a:lnTo>
                    <a:pt x="419941" y="1026611"/>
                  </a:lnTo>
                  <a:lnTo>
                    <a:pt x="155818" y="1026611"/>
                  </a:lnTo>
                  <a:lnTo>
                    <a:pt x="0" y="1182428"/>
                  </a:lnTo>
                  <a:lnTo>
                    <a:pt x="0" y="1171948"/>
                  </a:lnTo>
                  <a:lnTo>
                    <a:pt x="148830" y="1023118"/>
                  </a:lnTo>
                  <a:lnTo>
                    <a:pt x="0" y="874286"/>
                  </a:lnTo>
                  <a:lnTo>
                    <a:pt x="0" y="863806"/>
                  </a:lnTo>
                  <a:lnTo>
                    <a:pt x="155818" y="1018924"/>
                  </a:lnTo>
                  <a:lnTo>
                    <a:pt x="419941" y="1018924"/>
                  </a:lnTo>
                  <a:lnTo>
                    <a:pt x="148830" y="748512"/>
                  </a:lnTo>
                  <a:lnTo>
                    <a:pt x="333298" y="564046"/>
                  </a:lnTo>
                  <a:lnTo>
                    <a:pt x="419242" y="478100"/>
                  </a:lnTo>
                  <a:lnTo>
                    <a:pt x="155119" y="478100"/>
                  </a:lnTo>
                  <a:lnTo>
                    <a:pt x="0" y="633220"/>
                  </a:lnTo>
                  <a:lnTo>
                    <a:pt x="0" y="622738"/>
                  </a:lnTo>
                  <a:lnTo>
                    <a:pt x="148131" y="473908"/>
                  </a:lnTo>
                  <a:lnTo>
                    <a:pt x="143240" y="469017"/>
                  </a:lnTo>
                  <a:lnTo>
                    <a:pt x="0" y="326475"/>
                  </a:lnTo>
                  <a:lnTo>
                    <a:pt x="0" y="316693"/>
                  </a:lnTo>
                  <a:lnTo>
                    <a:pt x="155119" y="471113"/>
                  </a:lnTo>
                  <a:lnTo>
                    <a:pt x="419242" y="470415"/>
                  </a:lnTo>
                  <a:lnTo>
                    <a:pt x="148131" y="200003"/>
                  </a:lnTo>
                  <a:close/>
                  <a:moveTo>
                    <a:pt x="73183" y="0"/>
                  </a:moveTo>
                  <a:lnTo>
                    <a:pt x="84011" y="0"/>
                  </a:lnTo>
                  <a:lnTo>
                    <a:pt x="0" y="84011"/>
                  </a:lnTo>
                  <a:lnTo>
                    <a:pt x="0" y="7353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48" name="Rectangle 47">
              <a:extLst>
                <a:ext uri="{FF2B5EF4-FFF2-40B4-BE49-F238E27FC236}">
                  <a16:creationId xmlns:a16="http://schemas.microsoft.com/office/drawing/2014/main" id="{D3E491C1-2A10-4D23-AA47-35BCE699C6A2}"/>
                </a:ext>
              </a:extLst>
            </p:cNvPr>
            <p:cNvSpPr/>
            <p:nvPr/>
          </p:nvSpPr>
          <p:spPr>
            <a:xfrm>
              <a:off x="1846833" y="0"/>
              <a:ext cx="4829175" cy="6515100"/>
            </a:xfrm>
            <a:prstGeom prst="rect">
              <a:avLst/>
            </a:prstGeom>
            <a:gradFill flip="none" rotWithShape="1">
              <a:gsLst>
                <a:gs pos="7000">
                  <a:schemeClr val="bg1"/>
                </a:gs>
                <a:gs pos="100000">
                  <a:schemeClr val="bg1">
                    <a:shade val="100000"/>
                    <a:satMod val="115000"/>
                    <a:alpha val="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0000"/>
                </a:solidFill>
              </a:endParaRPr>
            </a:p>
          </p:txBody>
        </p:sp>
      </p:grpSp>
      <p:sp>
        <p:nvSpPr>
          <p:cNvPr id="12" name="Rectangle 11" hidden="1">
            <a:extLst>
              <a:ext uri="{FF2B5EF4-FFF2-40B4-BE49-F238E27FC236}">
                <a16:creationId xmlns:a16="http://schemas.microsoft.com/office/drawing/2014/main" id="{973AAAEC-9F7B-4DD5-AEA0-3F8785B5D5C3}"/>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2" name="Picture Placeholder 10">
            <a:extLst>
              <a:ext uri="{FF2B5EF4-FFF2-40B4-BE49-F238E27FC236}">
                <a16:creationId xmlns:a16="http://schemas.microsoft.com/office/drawing/2014/main" id="{F14320BE-7859-4F4C-BBE7-0F4AC7F100A8}"/>
              </a:ext>
            </a:extLst>
          </p:cNvPr>
          <p:cNvSpPr>
            <a:spLocks noGrp="1"/>
          </p:cNvSpPr>
          <p:nvPr>
            <p:ph type="pic" sz="quarter" idx="10" hasCustomPrompt="1"/>
          </p:nvPr>
        </p:nvSpPr>
        <p:spPr>
          <a:xfrm>
            <a:off x="609601" y="1323044"/>
            <a:ext cx="685800" cy="914400"/>
          </a:xfrm>
          <a:solidFill>
            <a:schemeClr val="bg1"/>
          </a:solidFill>
          <a:effectLst>
            <a:outerShdw dist="76200" dir="2700000" algn="tl" rotWithShape="0">
              <a:schemeClr val="tx2">
                <a:lumMod val="60000"/>
                <a:lumOff val="40000"/>
              </a:schemeClr>
            </a:outerShdw>
          </a:effectLst>
        </p:spPr>
        <p:txBody>
          <a:bodyPr anchor="ctr"/>
          <a:lstStyle>
            <a:lvl1pPr marL="0" indent="0" algn="ctr">
              <a:buFont typeface="Arial" panose="020B0604020202020204" pitchFamily="34" charset="0"/>
              <a:buNone/>
              <a:defRPr sz="1400">
                <a:solidFill>
                  <a:schemeClr val="bg1"/>
                </a:solidFill>
              </a:defRPr>
            </a:lvl1pPr>
          </a:lstStyle>
          <a:p>
            <a:r>
              <a:rPr lang="en-US" dirty="0"/>
              <a:t>Click to insert pic</a:t>
            </a:r>
          </a:p>
        </p:txBody>
      </p:sp>
      <p:sp>
        <p:nvSpPr>
          <p:cNvPr id="23" name="Picture Placeholder 10">
            <a:extLst>
              <a:ext uri="{FF2B5EF4-FFF2-40B4-BE49-F238E27FC236}">
                <a16:creationId xmlns:a16="http://schemas.microsoft.com/office/drawing/2014/main" id="{3CAE88BC-331D-4E6C-AFCB-2DDD06BBC165}"/>
              </a:ext>
            </a:extLst>
          </p:cNvPr>
          <p:cNvSpPr>
            <a:spLocks noGrp="1"/>
          </p:cNvSpPr>
          <p:nvPr>
            <p:ph type="pic" sz="quarter" idx="11" hasCustomPrompt="1"/>
          </p:nvPr>
        </p:nvSpPr>
        <p:spPr>
          <a:xfrm>
            <a:off x="609601" y="2610945"/>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24" name="Picture Placeholder 10">
            <a:extLst>
              <a:ext uri="{FF2B5EF4-FFF2-40B4-BE49-F238E27FC236}">
                <a16:creationId xmlns:a16="http://schemas.microsoft.com/office/drawing/2014/main" id="{5B4D3486-AC55-4EB1-8096-BD2C753C316F}"/>
              </a:ext>
            </a:extLst>
          </p:cNvPr>
          <p:cNvSpPr>
            <a:spLocks noGrp="1"/>
          </p:cNvSpPr>
          <p:nvPr>
            <p:ph type="pic" sz="quarter" idx="12" hasCustomPrompt="1"/>
          </p:nvPr>
        </p:nvSpPr>
        <p:spPr>
          <a:xfrm>
            <a:off x="609601" y="3898846"/>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25" name="Picture Placeholder 10">
            <a:extLst>
              <a:ext uri="{FF2B5EF4-FFF2-40B4-BE49-F238E27FC236}">
                <a16:creationId xmlns:a16="http://schemas.microsoft.com/office/drawing/2014/main" id="{D9CA1906-117D-42D2-AC1F-353CB4661082}"/>
              </a:ext>
            </a:extLst>
          </p:cNvPr>
          <p:cNvSpPr>
            <a:spLocks noGrp="1"/>
          </p:cNvSpPr>
          <p:nvPr>
            <p:ph type="pic" sz="quarter" idx="13" hasCustomPrompt="1"/>
          </p:nvPr>
        </p:nvSpPr>
        <p:spPr>
          <a:xfrm>
            <a:off x="609601" y="5186747"/>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10" name="Title 9">
            <a:extLst>
              <a:ext uri="{FF2B5EF4-FFF2-40B4-BE49-F238E27FC236}">
                <a16:creationId xmlns:a16="http://schemas.microsoft.com/office/drawing/2014/main" id="{1E52470F-8620-434E-B590-9ED41A1B426F}"/>
              </a:ext>
            </a:extLst>
          </p:cNvPr>
          <p:cNvSpPr>
            <a:spLocks noGrp="1"/>
          </p:cNvSpPr>
          <p:nvPr>
            <p:ph type="title"/>
          </p:nvPr>
        </p:nvSpPr>
        <p:spPr>
          <a:xfrm>
            <a:off x="609603" y="12035"/>
            <a:ext cx="7273412" cy="769215"/>
          </a:xfrm>
        </p:spPr>
        <p:txBody>
          <a:bodyPr vert="horz"/>
          <a:lstStyle/>
          <a:p>
            <a:r>
              <a:rPr lang="en-US" dirty="0"/>
              <a:t>Click to edit Master title style</a:t>
            </a:r>
          </a:p>
        </p:txBody>
      </p:sp>
      <p:sp>
        <p:nvSpPr>
          <p:cNvPr id="36" name="Picture Placeholder 10">
            <a:extLst>
              <a:ext uri="{FF2B5EF4-FFF2-40B4-BE49-F238E27FC236}">
                <a16:creationId xmlns:a16="http://schemas.microsoft.com/office/drawing/2014/main" id="{B1A25632-D6B2-419A-BF7D-F22B570BBC9D}"/>
              </a:ext>
            </a:extLst>
          </p:cNvPr>
          <p:cNvSpPr>
            <a:spLocks noGrp="1"/>
          </p:cNvSpPr>
          <p:nvPr>
            <p:ph type="pic" sz="quarter" idx="14" hasCustomPrompt="1"/>
          </p:nvPr>
        </p:nvSpPr>
        <p:spPr>
          <a:xfrm>
            <a:off x="3591612" y="1323044"/>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37" name="Picture Placeholder 10">
            <a:extLst>
              <a:ext uri="{FF2B5EF4-FFF2-40B4-BE49-F238E27FC236}">
                <a16:creationId xmlns:a16="http://schemas.microsoft.com/office/drawing/2014/main" id="{C9F144ED-2CBE-4C7B-A9DA-4755DA1FC8DA}"/>
              </a:ext>
            </a:extLst>
          </p:cNvPr>
          <p:cNvSpPr>
            <a:spLocks noGrp="1"/>
          </p:cNvSpPr>
          <p:nvPr>
            <p:ph type="pic" sz="quarter" idx="15" hasCustomPrompt="1"/>
          </p:nvPr>
        </p:nvSpPr>
        <p:spPr>
          <a:xfrm>
            <a:off x="3591612" y="2610945"/>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38" name="Picture Placeholder 10">
            <a:extLst>
              <a:ext uri="{FF2B5EF4-FFF2-40B4-BE49-F238E27FC236}">
                <a16:creationId xmlns:a16="http://schemas.microsoft.com/office/drawing/2014/main" id="{31308774-E22F-4C23-BF30-F8131490AF49}"/>
              </a:ext>
            </a:extLst>
          </p:cNvPr>
          <p:cNvSpPr>
            <a:spLocks noGrp="1"/>
          </p:cNvSpPr>
          <p:nvPr>
            <p:ph type="pic" sz="quarter" idx="16" hasCustomPrompt="1"/>
          </p:nvPr>
        </p:nvSpPr>
        <p:spPr>
          <a:xfrm>
            <a:off x="3591612" y="3898846"/>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39" name="Picture Placeholder 10">
            <a:extLst>
              <a:ext uri="{FF2B5EF4-FFF2-40B4-BE49-F238E27FC236}">
                <a16:creationId xmlns:a16="http://schemas.microsoft.com/office/drawing/2014/main" id="{5C1D7FE9-1446-4DCA-8EE4-F77FE6B65EBA}"/>
              </a:ext>
            </a:extLst>
          </p:cNvPr>
          <p:cNvSpPr>
            <a:spLocks noGrp="1"/>
          </p:cNvSpPr>
          <p:nvPr>
            <p:ph type="pic" sz="quarter" idx="17" hasCustomPrompt="1"/>
          </p:nvPr>
        </p:nvSpPr>
        <p:spPr>
          <a:xfrm>
            <a:off x="3591612" y="5186747"/>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4" name="Picture Placeholder 10">
            <a:extLst>
              <a:ext uri="{FF2B5EF4-FFF2-40B4-BE49-F238E27FC236}">
                <a16:creationId xmlns:a16="http://schemas.microsoft.com/office/drawing/2014/main" id="{55F41F64-1DB6-4516-8BA9-3F703F96FEFD}"/>
              </a:ext>
            </a:extLst>
          </p:cNvPr>
          <p:cNvSpPr>
            <a:spLocks noGrp="1"/>
          </p:cNvSpPr>
          <p:nvPr>
            <p:ph type="pic" sz="quarter" idx="18" hasCustomPrompt="1"/>
          </p:nvPr>
        </p:nvSpPr>
        <p:spPr>
          <a:xfrm>
            <a:off x="6573623" y="1323044"/>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5" name="Picture Placeholder 10">
            <a:extLst>
              <a:ext uri="{FF2B5EF4-FFF2-40B4-BE49-F238E27FC236}">
                <a16:creationId xmlns:a16="http://schemas.microsoft.com/office/drawing/2014/main" id="{8762B3C8-59D5-4751-98FD-C03A4FAB4D47}"/>
              </a:ext>
            </a:extLst>
          </p:cNvPr>
          <p:cNvSpPr>
            <a:spLocks noGrp="1"/>
          </p:cNvSpPr>
          <p:nvPr>
            <p:ph type="pic" sz="quarter" idx="19" hasCustomPrompt="1"/>
          </p:nvPr>
        </p:nvSpPr>
        <p:spPr>
          <a:xfrm>
            <a:off x="6573623" y="2610945"/>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6" name="Picture Placeholder 10">
            <a:extLst>
              <a:ext uri="{FF2B5EF4-FFF2-40B4-BE49-F238E27FC236}">
                <a16:creationId xmlns:a16="http://schemas.microsoft.com/office/drawing/2014/main" id="{4192F5A5-81A9-41FA-A509-D6EC39063B37}"/>
              </a:ext>
            </a:extLst>
          </p:cNvPr>
          <p:cNvSpPr>
            <a:spLocks noGrp="1"/>
          </p:cNvSpPr>
          <p:nvPr>
            <p:ph type="pic" sz="quarter" idx="20" hasCustomPrompt="1"/>
          </p:nvPr>
        </p:nvSpPr>
        <p:spPr>
          <a:xfrm>
            <a:off x="6573623" y="3898846"/>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7" name="Picture Placeholder 10">
            <a:extLst>
              <a:ext uri="{FF2B5EF4-FFF2-40B4-BE49-F238E27FC236}">
                <a16:creationId xmlns:a16="http://schemas.microsoft.com/office/drawing/2014/main" id="{7C54DD85-A1A8-4123-A60A-9A396E762B46}"/>
              </a:ext>
            </a:extLst>
          </p:cNvPr>
          <p:cNvSpPr>
            <a:spLocks noGrp="1"/>
          </p:cNvSpPr>
          <p:nvPr>
            <p:ph type="pic" sz="quarter" idx="21" hasCustomPrompt="1"/>
          </p:nvPr>
        </p:nvSpPr>
        <p:spPr>
          <a:xfrm>
            <a:off x="6573623" y="5186747"/>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9" name="Picture Placeholder 10">
            <a:extLst>
              <a:ext uri="{FF2B5EF4-FFF2-40B4-BE49-F238E27FC236}">
                <a16:creationId xmlns:a16="http://schemas.microsoft.com/office/drawing/2014/main" id="{E2A7E878-049A-4790-B01D-F86066842F86}"/>
              </a:ext>
            </a:extLst>
          </p:cNvPr>
          <p:cNvSpPr>
            <a:spLocks noGrp="1"/>
          </p:cNvSpPr>
          <p:nvPr>
            <p:ph type="pic" sz="quarter" idx="22" hasCustomPrompt="1"/>
          </p:nvPr>
        </p:nvSpPr>
        <p:spPr>
          <a:xfrm>
            <a:off x="9555635" y="1323044"/>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50" name="Picture Placeholder 10">
            <a:extLst>
              <a:ext uri="{FF2B5EF4-FFF2-40B4-BE49-F238E27FC236}">
                <a16:creationId xmlns:a16="http://schemas.microsoft.com/office/drawing/2014/main" id="{F6AE2336-3CE9-434E-9B3B-71D21278A280}"/>
              </a:ext>
            </a:extLst>
          </p:cNvPr>
          <p:cNvSpPr>
            <a:spLocks noGrp="1"/>
          </p:cNvSpPr>
          <p:nvPr>
            <p:ph type="pic" sz="quarter" idx="23" hasCustomPrompt="1"/>
          </p:nvPr>
        </p:nvSpPr>
        <p:spPr>
          <a:xfrm>
            <a:off x="9555635" y="2610945"/>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51" name="Picture Placeholder 10">
            <a:extLst>
              <a:ext uri="{FF2B5EF4-FFF2-40B4-BE49-F238E27FC236}">
                <a16:creationId xmlns:a16="http://schemas.microsoft.com/office/drawing/2014/main" id="{3A9E8B7E-E88A-4EB4-B558-385B58F4743C}"/>
              </a:ext>
            </a:extLst>
          </p:cNvPr>
          <p:cNvSpPr>
            <a:spLocks noGrp="1"/>
          </p:cNvSpPr>
          <p:nvPr>
            <p:ph type="pic" sz="quarter" idx="24" hasCustomPrompt="1"/>
          </p:nvPr>
        </p:nvSpPr>
        <p:spPr>
          <a:xfrm>
            <a:off x="9555635" y="3898846"/>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52" name="Picture Placeholder 10">
            <a:extLst>
              <a:ext uri="{FF2B5EF4-FFF2-40B4-BE49-F238E27FC236}">
                <a16:creationId xmlns:a16="http://schemas.microsoft.com/office/drawing/2014/main" id="{21803631-E6D1-4B58-8955-6FC040D0A472}"/>
              </a:ext>
            </a:extLst>
          </p:cNvPr>
          <p:cNvSpPr>
            <a:spLocks noGrp="1"/>
          </p:cNvSpPr>
          <p:nvPr>
            <p:ph type="pic" sz="quarter" idx="25" hasCustomPrompt="1"/>
          </p:nvPr>
        </p:nvSpPr>
        <p:spPr>
          <a:xfrm>
            <a:off x="9555635" y="5186747"/>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Tree>
    <p:extLst>
      <p:ext uri="{BB962C8B-B14F-4D97-AF65-F5344CB8AC3E}">
        <p14:creationId xmlns:p14="http://schemas.microsoft.com/office/powerpoint/2010/main" val="1476048659"/>
      </p:ext>
    </p:extLst>
  </p:cSld>
  <p:clrMapOvr>
    <a:masterClrMapping/>
  </p:clrMapOvr>
  <p:extLst>
    <p:ext uri="{DCECCB84-F9BA-43D5-87BE-67443E8EF086}">
      <p15:sldGuideLst xmlns:p15="http://schemas.microsoft.com/office/powerpoint/2012/main">
        <p15:guide id="3" orient="horz" pos="2160">
          <p15:clr>
            <a:srgbClr val="FBAE40"/>
          </p15:clr>
        </p15:guide>
        <p15:guide id="4" pos="732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Blank no 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2967247181"/>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4"/>
                      <a:stretch>
                        <a:fillRect/>
                      </a:stretch>
                    </p:blipFill>
                    <p:spPr>
                      <a:xfrm>
                        <a:off x="2119" y="1588"/>
                        <a:ext cx="2117"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CFEFD1D-D1D9-4610-A6A3-708197C1FB91}"/>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5" name="Group 4">
            <a:extLst>
              <a:ext uri="{FF2B5EF4-FFF2-40B4-BE49-F238E27FC236}">
                <a16:creationId xmlns:a16="http://schemas.microsoft.com/office/drawing/2014/main" id="{978B9C28-0CAD-4308-A7C6-FF5D24DA30FC}"/>
              </a:ext>
            </a:extLst>
          </p:cNvPr>
          <p:cNvGrpSpPr/>
          <p:nvPr userDrawn="1"/>
        </p:nvGrpSpPr>
        <p:grpSpPr>
          <a:xfrm>
            <a:off x="-9367" y="-99378"/>
            <a:ext cx="12201368" cy="6596901"/>
            <a:chOff x="-9366" y="-84138"/>
            <a:chExt cx="12201368" cy="6596901"/>
          </a:xfrm>
        </p:grpSpPr>
        <p:sp>
          <p:nvSpPr>
            <p:cNvPr id="6" name="Freeform: Shape 5">
              <a:extLst>
                <a:ext uri="{FF2B5EF4-FFF2-40B4-BE49-F238E27FC236}">
                  <a16:creationId xmlns:a16="http://schemas.microsoft.com/office/drawing/2014/main" id="{3128C750-CAD6-4A60-8ABD-D40B3AEA9DC4}"/>
                </a:ext>
              </a:extLst>
            </p:cNvPr>
            <p:cNvSpPr/>
            <p:nvPr/>
          </p:nvSpPr>
          <p:spPr>
            <a:xfrm>
              <a:off x="1" y="-84137"/>
              <a:ext cx="12192001" cy="6596900"/>
            </a:xfrm>
            <a:custGeom>
              <a:avLst/>
              <a:gdLst>
                <a:gd name="connsiteX0" fmla="*/ 700271 w 12192001"/>
                <a:gd name="connsiteY0" fmla="*/ 6509761 h 6523037"/>
                <a:gd name="connsiteX1" fmla="*/ 714941 w 12192001"/>
                <a:gd name="connsiteY1" fmla="*/ 6516802 h 6523037"/>
                <a:gd name="connsiteX2" fmla="*/ 710807 w 12192001"/>
                <a:gd name="connsiteY2" fmla="*/ 6516802 h 6523037"/>
                <a:gd name="connsiteX3" fmla="*/ 704588 w 12192001"/>
                <a:gd name="connsiteY3" fmla="*/ 6523037 h 6523037"/>
                <a:gd name="connsiteX4" fmla="*/ 694116 w 12192001"/>
                <a:gd name="connsiteY4" fmla="*/ 6523037 h 6523037"/>
                <a:gd name="connsiteX5" fmla="*/ 703819 w 12192001"/>
                <a:gd name="connsiteY5" fmla="*/ 6513309 h 6523037"/>
                <a:gd name="connsiteX6" fmla="*/ 5360377 w 12192001"/>
                <a:gd name="connsiteY6" fmla="*/ 6504999 h 6523037"/>
                <a:gd name="connsiteX7" fmla="*/ 5375047 w 12192001"/>
                <a:gd name="connsiteY7" fmla="*/ 6512040 h 6523037"/>
                <a:gd name="connsiteX8" fmla="*/ 5370913 w 12192001"/>
                <a:gd name="connsiteY8" fmla="*/ 6512040 h 6523037"/>
                <a:gd name="connsiteX9" fmla="*/ 5364694 w 12192001"/>
                <a:gd name="connsiteY9" fmla="*/ 6518275 h 6523037"/>
                <a:gd name="connsiteX10" fmla="*/ 5354222 w 12192001"/>
                <a:gd name="connsiteY10" fmla="*/ 6518275 h 6523037"/>
                <a:gd name="connsiteX11" fmla="*/ 5363925 w 12192001"/>
                <a:gd name="connsiteY11" fmla="*/ 6508547 h 6523037"/>
                <a:gd name="connsiteX12" fmla="*/ 10020794 w 12192001"/>
                <a:gd name="connsiteY12" fmla="*/ 6501824 h 6523037"/>
                <a:gd name="connsiteX13" fmla="*/ 10035464 w 12192001"/>
                <a:gd name="connsiteY13" fmla="*/ 6508865 h 6523037"/>
                <a:gd name="connsiteX14" fmla="*/ 10031330 w 12192001"/>
                <a:gd name="connsiteY14" fmla="*/ 6508865 h 6523037"/>
                <a:gd name="connsiteX15" fmla="*/ 10025111 w 12192001"/>
                <a:gd name="connsiteY15" fmla="*/ 6515100 h 6523037"/>
                <a:gd name="connsiteX16" fmla="*/ 10014639 w 12192001"/>
                <a:gd name="connsiteY16" fmla="*/ 6515100 h 6523037"/>
                <a:gd name="connsiteX17" fmla="*/ 10024342 w 12192001"/>
                <a:gd name="connsiteY17" fmla="*/ 6505372 h 6523037"/>
                <a:gd name="connsiteX18" fmla="*/ 4558064 w 12192001"/>
                <a:gd name="connsiteY18" fmla="*/ 6240102 h 6523037"/>
                <a:gd name="connsiteX19" fmla="*/ 4825101 w 12192001"/>
                <a:gd name="connsiteY19" fmla="*/ 6506450 h 6523037"/>
                <a:gd name="connsiteX20" fmla="*/ 5085827 w 12192001"/>
                <a:gd name="connsiteY20" fmla="*/ 6506450 h 6523037"/>
                <a:gd name="connsiteX21" fmla="*/ 4818791 w 12192001"/>
                <a:gd name="connsiteY21" fmla="*/ 6240102 h 6523037"/>
                <a:gd name="connsiteX22" fmla="*/ 9218170 w 12192001"/>
                <a:gd name="connsiteY22" fmla="*/ 6235340 h 6523037"/>
                <a:gd name="connsiteX23" fmla="*/ 9486798 w 12192001"/>
                <a:gd name="connsiteY23" fmla="*/ 6503275 h 6523037"/>
                <a:gd name="connsiteX24" fmla="*/ 9746244 w 12192001"/>
                <a:gd name="connsiteY24" fmla="*/ 6503275 h 6523037"/>
                <a:gd name="connsiteX25" fmla="*/ 9477616 w 12192001"/>
                <a:gd name="connsiteY25" fmla="*/ 6235340 h 6523037"/>
                <a:gd name="connsiteX26" fmla="*/ 710108 w 12192001"/>
                <a:gd name="connsiteY26" fmla="*/ 5969690 h 6523037"/>
                <a:gd name="connsiteX27" fmla="*/ 439696 w 12192001"/>
                <a:gd name="connsiteY27" fmla="*/ 6240800 h 6523037"/>
                <a:gd name="connsiteX28" fmla="*/ 710807 w 12192001"/>
                <a:gd name="connsiteY28" fmla="*/ 6511212 h 6523037"/>
                <a:gd name="connsiteX29" fmla="*/ 974930 w 12192001"/>
                <a:gd name="connsiteY29" fmla="*/ 6511212 h 6523037"/>
                <a:gd name="connsiteX30" fmla="*/ 703819 w 12192001"/>
                <a:gd name="connsiteY30" fmla="*/ 6240800 h 6523037"/>
                <a:gd name="connsiteX31" fmla="*/ 974231 w 12192001"/>
                <a:gd name="connsiteY31" fmla="*/ 5969690 h 6523037"/>
                <a:gd name="connsiteX32" fmla="*/ 1807827 w 12192001"/>
                <a:gd name="connsiteY32" fmla="*/ 5968991 h 6523037"/>
                <a:gd name="connsiteX33" fmla="*/ 1537414 w 12192001"/>
                <a:gd name="connsiteY33" fmla="*/ 6240102 h 6523037"/>
                <a:gd name="connsiteX34" fmla="*/ 1808526 w 12192001"/>
                <a:gd name="connsiteY34" fmla="*/ 6510514 h 6523037"/>
                <a:gd name="connsiteX35" fmla="*/ 2072648 w 12192001"/>
                <a:gd name="connsiteY35" fmla="*/ 6510514 h 6523037"/>
                <a:gd name="connsiteX36" fmla="*/ 1801539 w 12192001"/>
                <a:gd name="connsiteY36" fmla="*/ 6240102 h 6523037"/>
                <a:gd name="connsiteX37" fmla="*/ 2071951 w 12192001"/>
                <a:gd name="connsiteY37" fmla="*/ 5968991 h 6523037"/>
                <a:gd name="connsiteX38" fmla="*/ 1257919 w 12192001"/>
                <a:gd name="connsiteY38" fmla="*/ 5968991 h 6523037"/>
                <a:gd name="connsiteX39" fmla="*/ 988206 w 12192001"/>
                <a:gd name="connsiteY39" fmla="*/ 6240102 h 6523037"/>
                <a:gd name="connsiteX40" fmla="*/ 1188744 w 12192001"/>
                <a:gd name="connsiteY40" fmla="*/ 6440640 h 6523037"/>
                <a:gd name="connsiteX41" fmla="*/ 1259317 w 12192001"/>
                <a:gd name="connsiteY41" fmla="*/ 6510514 h 6523037"/>
                <a:gd name="connsiteX42" fmla="*/ 1327793 w 12192001"/>
                <a:gd name="connsiteY42" fmla="*/ 6510514 h 6523037"/>
                <a:gd name="connsiteX43" fmla="*/ 1327094 w 12192001"/>
                <a:gd name="connsiteY43" fmla="*/ 6511911 h 6523037"/>
                <a:gd name="connsiteX44" fmla="*/ 1524139 w 12192001"/>
                <a:gd name="connsiteY44" fmla="*/ 6511911 h 6523037"/>
                <a:gd name="connsiteX45" fmla="*/ 1253028 w 12192001"/>
                <a:gd name="connsiteY45" fmla="*/ 6241499 h 6523037"/>
                <a:gd name="connsiteX46" fmla="*/ 1253727 w 12192001"/>
                <a:gd name="connsiteY46" fmla="*/ 6240800 h 6523037"/>
                <a:gd name="connsiteX47" fmla="*/ 1251631 w 12192001"/>
                <a:gd name="connsiteY47" fmla="*/ 6240102 h 6523037"/>
                <a:gd name="connsiteX48" fmla="*/ 1522043 w 12192001"/>
                <a:gd name="connsiteY48" fmla="*/ 5968991 h 6523037"/>
                <a:gd name="connsiteX49" fmla="*/ 2904847 w 12192001"/>
                <a:gd name="connsiteY49" fmla="*/ 5968292 h 6523037"/>
                <a:gd name="connsiteX50" fmla="*/ 2634435 w 12192001"/>
                <a:gd name="connsiteY50" fmla="*/ 6239403 h 6523037"/>
                <a:gd name="connsiteX51" fmla="*/ 2905546 w 12192001"/>
                <a:gd name="connsiteY51" fmla="*/ 6509815 h 6523037"/>
                <a:gd name="connsiteX52" fmla="*/ 3169669 w 12192001"/>
                <a:gd name="connsiteY52" fmla="*/ 6509815 h 6523037"/>
                <a:gd name="connsiteX53" fmla="*/ 2898558 w 12192001"/>
                <a:gd name="connsiteY53" fmla="*/ 6239403 h 6523037"/>
                <a:gd name="connsiteX54" fmla="*/ 3168970 w 12192001"/>
                <a:gd name="connsiteY54" fmla="*/ 5968292 h 6523037"/>
                <a:gd name="connsiteX55" fmla="*/ 2356338 w 12192001"/>
                <a:gd name="connsiteY55" fmla="*/ 5968292 h 6523037"/>
                <a:gd name="connsiteX56" fmla="*/ 2085925 w 12192001"/>
                <a:gd name="connsiteY56" fmla="*/ 6239403 h 6523037"/>
                <a:gd name="connsiteX57" fmla="*/ 2357035 w 12192001"/>
                <a:gd name="connsiteY57" fmla="*/ 6509815 h 6523037"/>
                <a:gd name="connsiteX58" fmla="*/ 2620460 w 12192001"/>
                <a:gd name="connsiteY58" fmla="*/ 6509815 h 6523037"/>
                <a:gd name="connsiteX59" fmla="*/ 2490495 w 12192001"/>
                <a:gd name="connsiteY59" fmla="*/ 6379850 h 6523037"/>
                <a:gd name="connsiteX60" fmla="*/ 2350049 w 12192001"/>
                <a:gd name="connsiteY60" fmla="*/ 6239403 h 6523037"/>
                <a:gd name="connsiteX61" fmla="*/ 2620460 w 12192001"/>
                <a:gd name="connsiteY61" fmla="*/ 5968292 h 6523037"/>
                <a:gd name="connsiteX62" fmla="*/ 3453357 w 12192001"/>
                <a:gd name="connsiteY62" fmla="*/ 5967593 h 6523037"/>
                <a:gd name="connsiteX63" fmla="*/ 3182945 w 12192001"/>
                <a:gd name="connsiteY63" fmla="*/ 6238704 h 6523037"/>
                <a:gd name="connsiteX64" fmla="*/ 3454056 w 12192001"/>
                <a:gd name="connsiteY64" fmla="*/ 6508417 h 6523037"/>
                <a:gd name="connsiteX65" fmla="*/ 3718179 w 12192001"/>
                <a:gd name="connsiteY65" fmla="*/ 6508417 h 6523037"/>
                <a:gd name="connsiteX66" fmla="*/ 3447069 w 12192001"/>
                <a:gd name="connsiteY66" fmla="*/ 6238006 h 6523037"/>
                <a:gd name="connsiteX67" fmla="*/ 3631536 w 12192001"/>
                <a:gd name="connsiteY67" fmla="*/ 6053539 h 6523037"/>
                <a:gd name="connsiteX68" fmla="*/ 3717481 w 12192001"/>
                <a:gd name="connsiteY68" fmla="*/ 5967593 h 6523037"/>
                <a:gd name="connsiteX69" fmla="*/ 4550379 w 12192001"/>
                <a:gd name="connsiteY69" fmla="*/ 5966196 h 6523037"/>
                <a:gd name="connsiteX70" fmla="*/ 4279967 w 12192001"/>
                <a:gd name="connsiteY70" fmla="*/ 6237307 h 6523037"/>
                <a:gd name="connsiteX71" fmla="*/ 4551077 w 12192001"/>
                <a:gd name="connsiteY71" fmla="*/ 6507020 h 6523037"/>
                <a:gd name="connsiteX72" fmla="*/ 4812475 w 12192001"/>
                <a:gd name="connsiteY72" fmla="*/ 6507020 h 6523037"/>
                <a:gd name="connsiteX73" fmla="*/ 4681256 w 12192001"/>
                <a:gd name="connsiteY73" fmla="*/ 6376485 h 6523037"/>
                <a:gd name="connsiteX74" fmla="*/ 4665187 w 12192001"/>
                <a:gd name="connsiteY74" fmla="*/ 6360414 h 6523037"/>
                <a:gd name="connsiteX75" fmla="*/ 4665187 w 12192001"/>
                <a:gd name="connsiteY75" fmla="*/ 6357393 h 6523037"/>
                <a:gd name="connsiteX76" fmla="*/ 4544090 w 12192001"/>
                <a:gd name="connsiteY76" fmla="*/ 6236608 h 6523037"/>
                <a:gd name="connsiteX77" fmla="*/ 4665187 w 12192001"/>
                <a:gd name="connsiteY77" fmla="*/ 6115511 h 6523037"/>
                <a:gd name="connsiteX78" fmla="*/ 4665187 w 12192001"/>
                <a:gd name="connsiteY78" fmla="*/ 6111663 h 6523037"/>
                <a:gd name="connsiteX79" fmla="*/ 4810652 w 12192001"/>
                <a:gd name="connsiteY79" fmla="*/ 5966196 h 6523037"/>
                <a:gd name="connsiteX80" fmla="*/ 4824862 w 12192001"/>
                <a:gd name="connsiteY80" fmla="*/ 5965627 h 6523037"/>
                <a:gd name="connsiteX81" fmla="*/ 4558064 w 12192001"/>
                <a:gd name="connsiteY81" fmla="*/ 6233114 h 6523037"/>
                <a:gd name="connsiteX82" fmla="*/ 4818335 w 12192001"/>
                <a:gd name="connsiteY82" fmla="*/ 6233114 h 6523037"/>
                <a:gd name="connsiteX83" fmla="*/ 5085129 w 12192001"/>
                <a:gd name="connsiteY83" fmla="*/ 5965627 h 6523037"/>
                <a:gd name="connsiteX84" fmla="*/ 5370215 w 12192001"/>
                <a:gd name="connsiteY84" fmla="*/ 5964928 h 6523037"/>
                <a:gd name="connsiteX85" fmla="*/ 5099802 w 12192001"/>
                <a:gd name="connsiteY85" fmla="*/ 6236038 h 6523037"/>
                <a:gd name="connsiteX86" fmla="*/ 5370913 w 12192001"/>
                <a:gd name="connsiteY86" fmla="*/ 6506450 h 6523037"/>
                <a:gd name="connsiteX87" fmla="*/ 5635036 w 12192001"/>
                <a:gd name="connsiteY87" fmla="*/ 6506450 h 6523037"/>
                <a:gd name="connsiteX88" fmla="*/ 5363925 w 12192001"/>
                <a:gd name="connsiteY88" fmla="*/ 6236038 h 6523037"/>
                <a:gd name="connsiteX89" fmla="*/ 5634338 w 12192001"/>
                <a:gd name="connsiteY89" fmla="*/ 5964928 h 6523037"/>
                <a:gd name="connsiteX90" fmla="*/ 6467933 w 12192001"/>
                <a:gd name="connsiteY90" fmla="*/ 5964229 h 6523037"/>
                <a:gd name="connsiteX91" fmla="*/ 6197521 w 12192001"/>
                <a:gd name="connsiteY91" fmla="*/ 6235340 h 6523037"/>
                <a:gd name="connsiteX92" fmla="*/ 6468632 w 12192001"/>
                <a:gd name="connsiteY92" fmla="*/ 6505752 h 6523037"/>
                <a:gd name="connsiteX93" fmla="*/ 6732754 w 12192001"/>
                <a:gd name="connsiteY93" fmla="*/ 6505752 h 6523037"/>
                <a:gd name="connsiteX94" fmla="*/ 6461645 w 12192001"/>
                <a:gd name="connsiteY94" fmla="*/ 6235340 h 6523037"/>
                <a:gd name="connsiteX95" fmla="*/ 6732057 w 12192001"/>
                <a:gd name="connsiteY95" fmla="*/ 5964229 h 6523037"/>
                <a:gd name="connsiteX96" fmla="*/ 5918025 w 12192001"/>
                <a:gd name="connsiteY96" fmla="*/ 5964229 h 6523037"/>
                <a:gd name="connsiteX97" fmla="*/ 5648312 w 12192001"/>
                <a:gd name="connsiteY97" fmla="*/ 6235340 h 6523037"/>
                <a:gd name="connsiteX98" fmla="*/ 5848851 w 12192001"/>
                <a:gd name="connsiteY98" fmla="*/ 6435878 h 6523037"/>
                <a:gd name="connsiteX99" fmla="*/ 5919423 w 12192001"/>
                <a:gd name="connsiteY99" fmla="*/ 6505752 h 6523037"/>
                <a:gd name="connsiteX100" fmla="*/ 5987899 w 12192001"/>
                <a:gd name="connsiteY100" fmla="*/ 6505752 h 6523037"/>
                <a:gd name="connsiteX101" fmla="*/ 5987200 w 12192001"/>
                <a:gd name="connsiteY101" fmla="*/ 6507149 h 6523037"/>
                <a:gd name="connsiteX102" fmla="*/ 6184245 w 12192001"/>
                <a:gd name="connsiteY102" fmla="*/ 6507149 h 6523037"/>
                <a:gd name="connsiteX103" fmla="*/ 5913134 w 12192001"/>
                <a:gd name="connsiteY103" fmla="*/ 6236737 h 6523037"/>
                <a:gd name="connsiteX104" fmla="*/ 5913834 w 12192001"/>
                <a:gd name="connsiteY104" fmla="*/ 6236038 h 6523037"/>
                <a:gd name="connsiteX105" fmla="*/ 5911738 w 12192001"/>
                <a:gd name="connsiteY105" fmla="*/ 6235340 h 6523037"/>
                <a:gd name="connsiteX106" fmla="*/ 6182150 w 12192001"/>
                <a:gd name="connsiteY106" fmla="*/ 5964229 h 6523037"/>
                <a:gd name="connsiteX107" fmla="*/ 7564953 w 12192001"/>
                <a:gd name="connsiteY107" fmla="*/ 5963530 h 6523037"/>
                <a:gd name="connsiteX108" fmla="*/ 7294541 w 12192001"/>
                <a:gd name="connsiteY108" fmla="*/ 6234641 h 6523037"/>
                <a:gd name="connsiteX109" fmla="*/ 7565652 w 12192001"/>
                <a:gd name="connsiteY109" fmla="*/ 6505053 h 6523037"/>
                <a:gd name="connsiteX110" fmla="*/ 7829775 w 12192001"/>
                <a:gd name="connsiteY110" fmla="*/ 6505053 h 6523037"/>
                <a:gd name="connsiteX111" fmla="*/ 7558664 w 12192001"/>
                <a:gd name="connsiteY111" fmla="*/ 6234641 h 6523037"/>
                <a:gd name="connsiteX112" fmla="*/ 7829076 w 12192001"/>
                <a:gd name="connsiteY112" fmla="*/ 5963530 h 6523037"/>
                <a:gd name="connsiteX113" fmla="*/ 7016444 w 12192001"/>
                <a:gd name="connsiteY113" fmla="*/ 5963530 h 6523037"/>
                <a:gd name="connsiteX114" fmla="*/ 6746031 w 12192001"/>
                <a:gd name="connsiteY114" fmla="*/ 6234641 h 6523037"/>
                <a:gd name="connsiteX115" fmla="*/ 7017141 w 12192001"/>
                <a:gd name="connsiteY115" fmla="*/ 6505053 h 6523037"/>
                <a:gd name="connsiteX116" fmla="*/ 7280566 w 12192001"/>
                <a:gd name="connsiteY116" fmla="*/ 6505053 h 6523037"/>
                <a:gd name="connsiteX117" fmla="*/ 7150601 w 12192001"/>
                <a:gd name="connsiteY117" fmla="*/ 6375088 h 6523037"/>
                <a:gd name="connsiteX118" fmla="*/ 7010155 w 12192001"/>
                <a:gd name="connsiteY118" fmla="*/ 6234641 h 6523037"/>
                <a:gd name="connsiteX119" fmla="*/ 7280566 w 12192001"/>
                <a:gd name="connsiteY119" fmla="*/ 5963530 h 6523037"/>
                <a:gd name="connsiteX120" fmla="*/ 8113463 w 12192001"/>
                <a:gd name="connsiteY120" fmla="*/ 5962831 h 6523037"/>
                <a:gd name="connsiteX121" fmla="*/ 7843051 w 12192001"/>
                <a:gd name="connsiteY121" fmla="*/ 6233942 h 6523037"/>
                <a:gd name="connsiteX122" fmla="*/ 8114162 w 12192001"/>
                <a:gd name="connsiteY122" fmla="*/ 6503655 h 6523037"/>
                <a:gd name="connsiteX123" fmla="*/ 8378285 w 12192001"/>
                <a:gd name="connsiteY123" fmla="*/ 6503655 h 6523037"/>
                <a:gd name="connsiteX124" fmla="*/ 8107175 w 12192001"/>
                <a:gd name="connsiteY124" fmla="*/ 6233244 h 6523037"/>
                <a:gd name="connsiteX125" fmla="*/ 8291642 w 12192001"/>
                <a:gd name="connsiteY125" fmla="*/ 6048777 h 6523037"/>
                <a:gd name="connsiteX126" fmla="*/ 8377587 w 12192001"/>
                <a:gd name="connsiteY126" fmla="*/ 5962831 h 6523037"/>
                <a:gd name="connsiteX127" fmla="*/ 9483384 w 12192001"/>
                <a:gd name="connsiteY127" fmla="*/ 5962452 h 6523037"/>
                <a:gd name="connsiteX128" fmla="*/ 9218170 w 12192001"/>
                <a:gd name="connsiteY128" fmla="*/ 6228352 h 6523037"/>
                <a:gd name="connsiteX129" fmla="*/ 9480335 w 12192001"/>
                <a:gd name="connsiteY129" fmla="*/ 6228352 h 6523037"/>
                <a:gd name="connsiteX130" fmla="*/ 9745545 w 12192001"/>
                <a:gd name="connsiteY130" fmla="*/ 5962452 h 6523037"/>
                <a:gd name="connsiteX131" fmla="*/ 10030631 w 12192001"/>
                <a:gd name="connsiteY131" fmla="*/ 5961753 h 6523037"/>
                <a:gd name="connsiteX132" fmla="*/ 9760219 w 12192001"/>
                <a:gd name="connsiteY132" fmla="*/ 6232863 h 6523037"/>
                <a:gd name="connsiteX133" fmla="*/ 10031330 w 12192001"/>
                <a:gd name="connsiteY133" fmla="*/ 6503275 h 6523037"/>
                <a:gd name="connsiteX134" fmla="*/ 10295453 w 12192001"/>
                <a:gd name="connsiteY134" fmla="*/ 6503275 h 6523037"/>
                <a:gd name="connsiteX135" fmla="*/ 10024342 w 12192001"/>
                <a:gd name="connsiteY135" fmla="*/ 6232863 h 6523037"/>
                <a:gd name="connsiteX136" fmla="*/ 10294754 w 12192001"/>
                <a:gd name="connsiteY136" fmla="*/ 5961753 h 6523037"/>
                <a:gd name="connsiteX137" fmla="*/ 9210484 w 12192001"/>
                <a:gd name="connsiteY137" fmla="*/ 5961434 h 6523037"/>
                <a:gd name="connsiteX138" fmla="*/ 8940072 w 12192001"/>
                <a:gd name="connsiteY138" fmla="*/ 6232545 h 6523037"/>
                <a:gd name="connsiteX139" fmla="*/ 9211183 w 12192001"/>
                <a:gd name="connsiteY139" fmla="*/ 6502258 h 6523037"/>
                <a:gd name="connsiteX140" fmla="*/ 9471296 w 12192001"/>
                <a:gd name="connsiteY140" fmla="*/ 6502258 h 6523037"/>
                <a:gd name="connsiteX141" fmla="*/ 9341673 w 12192001"/>
                <a:gd name="connsiteY141" fmla="*/ 6373310 h 6523037"/>
                <a:gd name="connsiteX142" fmla="*/ 9325603 w 12192001"/>
                <a:gd name="connsiteY142" fmla="*/ 6357239 h 6523037"/>
                <a:gd name="connsiteX143" fmla="*/ 9325603 w 12192001"/>
                <a:gd name="connsiteY143" fmla="*/ 6352941 h 6523037"/>
                <a:gd name="connsiteX144" fmla="*/ 9204195 w 12192001"/>
                <a:gd name="connsiteY144" fmla="*/ 6231846 h 6523037"/>
                <a:gd name="connsiteX145" fmla="*/ 9325603 w 12192001"/>
                <a:gd name="connsiteY145" fmla="*/ 6110438 h 6523037"/>
                <a:gd name="connsiteX146" fmla="*/ 9325603 w 12192001"/>
                <a:gd name="connsiteY146" fmla="*/ 6108488 h 6523037"/>
                <a:gd name="connsiteX147" fmla="*/ 9472656 w 12192001"/>
                <a:gd name="connsiteY147" fmla="*/ 5961434 h 6523037"/>
                <a:gd name="connsiteX148" fmla="*/ 11128350 w 12192001"/>
                <a:gd name="connsiteY148" fmla="*/ 5961054 h 6523037"/>
                <a:gd name="connsiteX149" fmla="*/ 10857937 w 12192001"/>
                <a:gd name="connsiteY149" fmla="*/ 6232165 h 6523037"/>
                <a:gd name="connsiteX150" fmla="*/ 11129049 w 12192001"/>
                <a:gd name="connsiteY150" fmla="*/ 6502577 h 6523037"/>
                <a:gd name="connsiteX151" fmla="*/ 11393171 w 12192001"/>
                <a:gd name="connsiteY151" fmla="*/ 6502577 h 6523037"/>
                <a:gd name="connsiteX152" fmla="*/ 11122062 w 12192001"/>
                <a:gd name="connsiteY152" fmla="*/ 6232165 h 6523037"/>
                <a:gd name="connsiteX153" fmla="*/ 11392474 w 12192001"/>
                <a:gd name="connsiteY153" fmla="*/ 5961054 h 6523037"/>
                <a:gd name="connsiteX154" fmla="*/ 10578442 w 12192001"/>
                <a:gd name="connsiteY154" fmla="*/ 5961054 h 6523037"/>
                <a:gd name="connsiteX155" fmla="*/ 10308729 w 12192001"/>
                <a:gd name="connsiteY155" fmla="*/ 6232165 h 6523037"/>
                <a:gd name="connsiteX156" fmla="*/ 10509267 w 12192001"/>
                <a:gd name="connsiteY156" fmla="*/ 6432703 h 6523037"/>
                <a:gd name="connsiteX157" fmla="*/ 10579840 w 12192001"/>
                <a:gd name="connsiteY157" fmla="*/ 6502577 h 6523037"/>
                <a:gd name="connsiteX158" fmla="*/ 10648316 w 12192001"/>
                <a:gd name="connsiteY158" fmla="*/ 6502577 h 6523037"/>
                <a:gd name="connsiteX159" fmla="*/ 10647617 w 12192001"/>
                <a:gd name="connsiteY159" fmla="*/ 6503974 h 6523037"/>
                <a:gd name="connsiteX160" fmla="*/ 10844662 w 12192001"/>
                <a:gd name="connsiteY160" fmla="*/ 6503974 h 6523037"/>
                <a:gd name="connsiteX161" fmla="*/ 10573551 w 12192001"/>
                <a:gd name="connsiteY161" fmla="*/ 6233562 h 6523037"/>
                <a:gd name="connsiteX162" fmla="*/ 10574250 w 12192001"/>
                <a:gd name="connsiteY162" fmla="*/ 6232863 h 6523037"/>
                <a:gd name="connsiteX163" fmla="*/ 10572154 w 12192001"/>
                <a:gd name="connsiteY163" fmla="*/ 6232165 h 6523037"/>
                <a:gd name="connsiteX164" fmla="*/ 10842566 w 12192001"/>
                <a:gd name="connsiteY164" fmla="*/ 5961054 h 6523037"/>
                <a:gd name="connsiteX165" fmla="*/ 11676861 w 12192001"/>
                <a:gd name="connsiteY165" fmla="*/ 5960355 h 6523037"/>
                <a:gd name="connsiteX166" fmla="*/ 11406448 w 12192001"/>
                <a:gd name="connsiteY166" fmla="*/ 6231466 h 6523037"/>
                <a:gd name="connsiteX167" fmla="*/ 11677558 w 12192001"/>
                <a:gd name="connsiteY167" fmla="*/ 6501878 h 6523037"/>
                <a:gd name="connsiteX168" fmla="*/ 11940983 w 12192001"/>
                <a:gd name="connsiteY168" fmla="*/ 6501878 h 6523037"/>
                <a:gd name="connsiteX169" fmla="*/ 11811018 w 12192001"/>
                <a:gd name="connsiteY169" fmla="*/ 6371913 h 6523037"/>
                <a:gd name="connsiteX170" fmla="*/ 11670572 w 12192001"/>
                <a:gd name="connsiteY170" fmla="*/ 6231466 h 6523037"/>
                <a:gd name="connsiteX171" fmla="*/ 11940983 w 12192001"/>
                <a:gd name="connsiteY171" fmla="*/ 5960355 h 6523037"/>
                <a:gd name="connsiteX172" fmla="*/ 169284 w 12192001"/>
                <a:gd name="connsiteY172" fmla="*/ 5695784 h 6523037"/>
                <a:gd name="connsiteX173" fmla="*/ 299249 w 12192001"/>
                <a:gd name="connsiteY173" fmla="*/ 5825750 h 6523037"/>
                <a:gd name="connsiteX174" fmla="*/ 439696 w 12192001"/>
                <a:gd name="connsiteY174" fmla="*/ 5966196 h 6523037"/>
                <a:gd name="connsiteX175" fmla="*/ 169284 w 12192001"/>
                <a:gd name="connsiteY175" fmla="*/ 6237307 h 6523037"/>
                <a:gd name="connsiteX176" fmla="*/ 433407 w 12192001"/>
                <a:gd name="connsiteY176" fmla="*/ 6237307 h 6523037"/>
                <a:gd name="connsiteX177" fmla="*/ 703819 w 12192001"/>
                <a:gd name="connsiteY177" fmla="*/ 5966196 h 6523037"/>
                <a:gd name="connsiteX178" fmla="*/ 432708 w 12192001"/>
                <a:gd name="connsiteY178" fmla="*/ 5695784 h 6523037"/>
                <a:gd name="connsiteX179" fmla="*/ 1814814 w 12192001"/>
                <a:gd name="connsiteY179" fmla="*/ 5695086 h 6523037"/>
                <a:gd name="connsiteX180" fmla="*/ 2085925 w 12192001"/>
                <a:gd name="connsiteY180" fmla="*/ 5965498 h 6523037"/>
                <a:gd name="connsiteX181" fmla="*/ 1815513 w 12192001"/>
                <a:gd name="connsiteY181" fmla="*/ 6235910 h 6523037"/>
                <a:gd name="connsiteX182" fmla="*/ 2079636 w 12192001"/>
                <a:gd name="connsiteY182" fmla="*/ 6235910 h 6523037"/>
                <a:gd name="connsiteX183" fmla="*/ 2350049 w 12192001"/>
                <a:gd name="connsiteY183" fmla="*/ 5965498 h 6523037"/>
                <a:gd name="connsiteX184" fmla="*/ 2078937 w 12192001"/>
                <a:gd name="connsiteY184" fmla="*/ 5695086 h 6523037"/>
                <a:gd name="connsiteX185" fmla="*/ 717095 w 12192001"/>
                <a:gd name="connsiteY185" fmla="*/ 5695086 h 6523037"/>
                <a:gd name="connsiteX186" fmla="*/ 988206 w 12192001"/>
                <a:gd name="connsiteY186" fmla="*/ 5965498 h 6523037"/>
                <a:gd name="connsiteX187" fmla="*/ 717794 w 12192001"/>
                <a:gd name="connsiteY187" fmla="*/ 6236608 h 6523037"/>
                <a:gd name="connsiteX188" fmla="*/ 981917 w 12192001"/>
                <a:gd name="connsiteY188" fmla="*/ 6236608 h 6523037"/>
                <a:gd name="connsiteX189" fmla="*/ 1252329 w 12192001"/>
                <a:gd name="connsiteY189" fmla="*/ 5965498 h 6523037"/>
                <a:gd name="connsiteX190" fmla="*/ 981219 w 12192001"/>
                <a:gd name="connsiteY190" fmla="*/ 5695086 h 6523037"/>
                <a:gd name="connsiteX191" fmla="*/ 2363324 w 12192001"/>
                <a:gd name="connsiteY191" fmla="*/ 5694387 h 6523037"/>
                <a:gd name="connsiteX192" fmla="*/ 2634435 w 12192001"/>
                <a:gd name="connsiteY192" fmla="*/ 5964799 h 6523037"/>
                <a:gd name="connsiteX193" fmla="*/ 2364722 w 12192001"/>
                <a:gd name="connsiteY193" fmla="*/ 6235910 h 6523037"/>
                <a:gd name="connsiteX194" fmla="*/ 2628146 w 12192001"/>
                <a:gd name="connsiteY194" fmla="*/ 6235910 h 6523037"/>
                <a:gd name="connsiteX195" fmla="*/ 2898558 w 12192001"/>
                <a:gd name="connsiteY195" fmla="*/ 5964799 h 6523037"/>
                <a:gd name="connsiteX196" fmla="*/ 2764401 w 12192001"/>
                <a:gd name="connsiteY196" fmla="*/ 5831339 h 6523037"/>
                <a:gd name="connsiteX197" fmla="*/ 2627447 w 12192001"/>
                <a:gd name="connsiteY197" fmla="*/ 5694387 h 6523037"/>
                <a:gd name="connsiteX198" fmla="*/ 2911834 w 12192001"/>
                <a:gd name="connsiteY198" fmla="*/ 5693688 h 6523037"/>
                <a:gd name="connsiteX199" fmla="*/ 2913232 w 12192001"/>
                <a:gd name="connsiteY199" fmla="*/ 5695086 h 6523037"/>
                <a:gd name="connsiteX200" fmla="*/ 3182945 w 12192001"/>
                <a:gd name="connsiteY200" fmla="*/ 5964100 h 6523037"/>
                <a:gd name="connsiteX201" fmla="*/ 2912533 w 12192001"/>
                <a:gd name="connsiteY201" fmla="*/ 6234512 h 6523037"/>
                <a:gd name="connsiteX202" fmla="*/ 3176657 w 12192001"/>
                <a:gd name="connsiteY202" fmla="*/ 6234512 h 6523037"/>
                <a:gd name="connsiteX203" fmla="*/ 3447069 w 12192001"/>
                <a:gd name="connsiteY203" fmla="*/ 5964100 h 6523037"/>
                <a:gd name="connsiteX204" fmla="*/ 3441479 w 12192001"/>
                <a:gd name="connsiteY204" fmla="*/ 5959209 h 6523037"/>
                <a:gd name="connsiteX205" fmla="*/ 3175958 w 12192001"/>
                <a:gd name="connsiteY205" fmla="*/ 5693688 h 6523037"/>
                <a:gd name="connsiteX206" fmla="*/ 1530428 w 12192001"/>
                <a:gd name="connsiteY206" fmla="*/ 5693688 h 6523037"/>
                <a:gd name="connsiteX207" fmla="*/ 1529030 w 12192001"/>
                <a:gd name="connsiteY207" fmla="*/ 5694387 h 6523037"/>
                <a:gd name="connsiteX208" fmla="*/ 1264907 w 12192001"/>
                <a:gd name="connsiteY208" fmla="*/ 5694387 h 6523037"/>
                <a:gd name="connsiteX209" fmla="*/ 1536018 w 12192001"/>
                <a:gd name="connsiteY209" fmla="*/ 5964799 h 6523037"/>
                <a:gd name="connsiteX210" fmla="*/ 1531824 w 12192001"/>
                <a:gd name="connsiteY210" fmla="*/ 5968991 h 6523037"/>
                <a:gd name="connsiteX211" fmla="*/ 1537414 w 12192001"/>
                <a:gd name="connsiteY211" fmla="*/ 5966196 h 6523037"/>
                <a:gd name="connsiteX212" fmla="*/ 1267002 w 12192001"/>
                <a:gd name="connsiteY212" fmla="*/ 6237307 h 6523037"/>
                <a:gd name="connsiteX213" fmla="*/ 1531127 w 12192001"/>
                <a:gd name="connsiteY213" fmla="*/ 6237307 h 6523037"/>
                <a:gd name="connsiteX214" fmla="*/ 1801539 w 12192001"/>
                <a:gd name="connsiteY214" fmla="*/ 5966196 h 6523037"/>
                <a:gd name="connsiteX215" fmla="*/ 1530428 w 12192001"/>
                <a:gd name="connsiteY215" fmla="*/ 5695784 h 6523037"/>
                <a:gd name="connsiteX216" fmla="*/ 3459646 w 12192001"/>
                <a:gd name="connsiteY216" fmla="*/ 5692989 h 6523037"/>
                <a:gd name="connsiteX217" fmla="*/ 3730757 w 12192001"/>
                <a:gd name="connsiteY217" fmla="*/ 5963401 h 6523037"/>
                <a:gd name="connsiteX218" fmla="*/ 3727962 w 12192001"/>
                <a:gd name="connsiteY218" fmla="*/ 5966196 h 6523037"/>
                <a:gd name="connsiteX219" fmla="*/ 3637825 w 12192001"/>
                <a:gd name="connsiteY219" fmla="*/ 6057032 h 6523037"/>
                <a:gd name="connsiteX220" fmla="*/ 3460345 w 12192001"/>
                <a:gd name="connsiteY220" fmla="*/ 6233813 h 6523037"/>
                <a:gd name="connsiteX221" fmla="*/ 3724468 w 12192001"/>
                <a:gd name="connsiteY221" fmla="*/ 6233813 h 6523037"/>
                <a:gd name="connsiteX222" fmla="*/ 3813907 w 12192001"/>
                <a:gd name="connsiteY222" fmla="*/ 6144374 h 6523037"/>
                <a:gd name="connsiteX223" fmla="*/ 3994880 w 12192001"/>
                <a:gd name="connsiteY223" fmla="*/ 5963401 h 6523037"/>
                <a:gd name="connsiteX224" fmla="*/ 3723769 w 12192001"/>
                <a:gd name="connsiteY224" fmla="*/ 5692989 h 6523037"/>
                <a:gd name="connsiteX225" fmla="*/ 4818785 w 12192001"/>
                <a:gd name="connsiteY225" fmla="*/ 5691597 h 6523037"/>
                <a:gd name="connsiteX226" fmla="*/ 4556667 w 12192001"/>
                <a:gd name="connsiteY226" fmla="*/ 5692290 h 6523037"/>
                <a:gd name="connsiteX227" fmla="*/ 4824382 w 12192001"/>
                <a:gd name="connsiteY227" fmla="*/ 5957940 h 6523037"/>
                <a:gd name="connsiteX228" fmla="*/ 5085129 w 12192001"/>
                <a:gd name="connsiteY228" fmla="*/ 5957940 h 6523037"/>
                <a:gd name="connsiteX229" fmla="*/ 4955163 w 12192001"/>
                <a:gd name="connsiteY229" fmla="*/ 5827975 h 6523037"/>
                <a:gd name="connsiteX230" fmla="*/ 4829390 w 12192001"/>
                <a:gd name="connsiteY230" fmla="*/ 5691022 h 6523037"/>
                <a:gd name="connsiteX231" fmla="*/ 4959356 w 12192001"/>
                <a:gd name="connsiteY231" fmla="*/ 5820988 h 6523037"/>
                <a:gd name="connsiteX232" fmla="*/ 5099802 w 12192001"/>
                <a:gd name="connsiteY232" fmla="*/ 5961434 h 6523037"/>
                <a:gd name="connsiteX233" fmla="*/ 4829390 w 12192001"/>
                <a:gd name="connsiteY233" fmla="*/ 6232545 h 6523037"/>
                <a:gd name="connsiteX234" fmla="*/ 5093513 w 12192001"/>
                <a:gd name="connsiteY234" fmla="*/ 6232545 h 6523037"/>
                <a:gd name="connsiteX235" fmla="*/ 5363925 w 12192001"/>
                <a:gd name="connsiteY235" fmla="*/ 5961434 h 6523037"/>
                <a:gd name="connsiteX236" fmla="*/ 5092815 w 12192001"/>
                <a:gd name="connsiteY236" fmla="*/ 5691022 h 6523037"/>
                <a:gd name="connsiteX237" fmla="*/ 6474921 w 12192001"/>
                <a:gd name="connsiteY237" fmla="*/ 5690324 h 6523037"/>
                <a:gd name="connsiteX238" fmla="*/ 6746031 w 12192001"/>
                <a:gd name="connsiteY238" fmla="*/ 5960736 h 6523037"/>
                <a:gd name="connsiteX239" fmla="*/ 6475619 w 12192001"/>
                <a:gd name="connsiteY239" fmla="*/ 6231148 h 6523037"/>
                <a:gd name="connsiteX240" fmla="*/ 6739742 w 12192001"/>
                <a:gd name="connsiteY240" fmla="*/ 6231148 h 6523037"/>
                <a:gd name="connsiteX241" fmla="*/ 7010155 w 12192001"/>
                <a:gd name="connsiteY241" fmla="*/ 5960736 h 6523037"/>
                <a:gd name="connsiteX242" fmla="*/ 6739044 w 12192001"/>
                <a:gd name="connsiteY242" fmla="*/ 5690324 h 6523037"/>
                <a:gd name="connsiteX243" fmla="*/ 5377202 w 12192001"/>
                <a:gd name="connsiteY243" fmla="*/ 5690324 h 6523037"/>
                <a:gd name="connsiteX244" fmla="*/ 5648312 w 12192001"/>
                <a:gd name="connsiteY244" fmla="*/ 5960736 h 6523037"/>
                <a:gd name="connsiteX245" fmla="*/ 5377900 w 12192001"/>
                <a:gd name="connsiteY245" fmla="*/ 6231846 h 6523037"/>
                <a:gd name="connsiteX246" fmla="*/ 5642023 w 12192001"/>
                <a:gd name="connsiteY246" fmla="*/ 6231846 h 6523037"/>
                <a:gd name="connsiteX247" fmla="*/ 5912435 w 12192001"/>
                <a:gd name="connsiteY247" fmla="*/ 5960736 h 6523037"/>
                <a:gd name="connsiteX248" fmla="*/ 5641325 w 12192001"/>
                <a:gd name="connsiteY248" fmla="*/ 5690324 h 6523037"/>
                <a:gd name="connsiteX249" fmla="*/ 7023431 w 12192001"/>
                <a:gd name="connsiteY249" fmla="*/ 5689625 h 6523037"/>
                <a:gd name="connsiteX250" fmla="*/ 7294541 w 12192001"/>
                <a:gd name="connsiteY250" fmla="*/ 5960037 h 6523037"/>
                <a:gd name="connsiteX251" fmla="*/ 7024828 w 12192001"/>
                <a:gd name="connsiteY251" fmla="*/ 6231148 h 6523037"/>
                <a:gd name="connsiteX252" fmla="*/ 7288252 w 12192001"/>
                <a:gd name="connsiteY252" fmla="*/ 6231148 h 6523037"/>
                <a:gd name="connsiteX253" fmla="*/ 7558664 w 12192001"/>
                <a:gd name="connsiteY253" fmla="*/ 5960037 h 6523037"/>
                <a:gd name="connsiteX254" fmla="*/ 7424507 w 12192001"/>
                <a:gd name="connsiteY254" fmla="*/ 5826577 h 6523037"/>
                <a:gd name="connsiteX255" fmla="*/ 7287553 w 12192001"/>
                <a:gd name="connsiteY255" fmla="*/ 5689625 h 6523037"/>
                <a:gd name="connsiteX256" fmla="*/ 7571940 w 12192001"/>
                <a:gd name="connsiteY256" fmla="*/ 5688926 h 6523037"/>
                <a:gd name="connsiteX257" fmla="*/ 7573338 w 12192001"/>
                <a:gd name="connsiteY257" fmla="*/ 5690324 h 6523037"/>
                <a:gd name="connsiteX258" fmla="*/ 7843051 w 12192001"/>
                <a:gd name="connsiteY258" fmla="*/ 5959338 h 6523037"/>
                <a:gd name="connsiteX259" fmla="*/ 7572639 w 12192001"/>
                <a:gd name="connsiteY259" fmla="*/ 6229750 h 6523037"/>
                <a:gd name="connsiteX260" fmla="*/ 7836763 w 12192001"/>
                <a:gd name="connsiteY260" fmla="*/ 6229750 h 6523037"/>
                <a:gd name="connsiteX261" fmla="*/ 8107175 w 12192001"/>
                <a:gd name="connsiteY261" fmla="*/ 5959338 h 6523037"/>
                <a:gd name="connsiteX262" fmla="*/ 8101585 w 12192001"/>
                <a:gd name="connsiteY262" fmla="*/ 5954447 h 6523037"/>
                <a:gd name="connsiteX263" fmla="*/ 7836064 w 12192001"/>
                <a:gd name="connsiteY263" fmla="*/ 5688926 h 6523037"/>
                <a:gd name="connsiteX264" fmla="*/ 6190534 w 12192001"/>
                <a:gd name="connsiteY264" fmla="*/ 5688926 h 6523037"/>
                <a:gd name="connsiteX265" fmla="*/ 6189136 w 12192001"/>
                <a:gd name="connsiteY265" fmla="*/ 5689625 h 6523037"/>
                <a:gd name="connsiteX266" fmla="*/ 5925013 w 12192001"/>
                <a:gd name="connsiteY266" fmla="*/ 5689625 h 6523037"/>
                <a:gd name="connsiteX267" fmla="*/ 6196125 w 12192001"/>
                <a:gd name="connsiteY267" fmla="*/ 5960037 h 6523037"/>
                <a:gd name="connsiteX268" fmla="*/ 6191930 w 12192001"/>
                <a:gd name="connsiteY268" fmla="*/ 5964229 h 6523037"/>
                <a:gd name="connsiteX269" fmla="*/ 6197521 w 12192001"/>
                <a:gd name="connsiteY269" fmla="*/ 5961434 h 6523037"/>
                <a:gd name="connsiteX270" fmla="*/ 5927108 w 12192001"/>
                <a:gd name="connsiteY270" fmla="*/ 6232545 h 6523037"/>
                <a:gd name="connsiteX271" fmla="*/ 6191234 w 12192001"/>
                <a:gd name="connsiteY271" fmla="*/ 6232545 h 6523037"/>
                <a:gd name="connsiteX272" fmla="*/ 6461645 w 12192001"/>
                <a:gd name="connsiteY272" fmla="*/ 5961434 h 6523037"/>
                <a:gd name="connsiteX273" fmla="*/ 6190534 w 12192001"/>
                <a:gd name="connsiteY273" fmla="*/ 5691022 h 6523037"/>
                <a:gd name="connsiteX274" fmla="*/ 8119752 w 12192001"/>
                <a:gd name="connsiteY274" fmla="*/ 5688227 h 6523037"/>
                <a:gd name="connsiteX275" fmla="*/ 8390863 w 12192001"/>
                <a:gd name="connsiteY275" fmla="*/ 5958639 h 6523037"/>
                <a:gd name="connsiteX276" fmla="*/ 8388068 w 12192001"/>
                <a:gd name="connsiteY276" fmla="*/ 5961434 h 6523037"/>
                <a:gd name="connsiteX277" fmla="*/ 8297931 w 12192001"/>
                <a:gd name="connsiteY277" fmla="*/ 6052270 h 6523037"/>
                <a:gd name="connsiteX278" fmla="*/ 8120451 w 12192001"/>
                <a:gd name="connsiteY278" fmla="*/ 6229051 h 6523037"/>
                <a:gd name="connsiteX279" fmla="*/ 8384574 w 12192001"/>
                <a:gd name="connsiteY279" fmla="*/ 6229051 h 6523037"/>
                <a:gd name="connsiteX280" fmla="*/ 8474013 w 12192001"/>
                <a:gd name="connsiteY280" fmla="*/ 6139612 h 6523037"/>
                <a:gd name="connsiteX281" fmla="*/ 8654986 w 12192001"/>
                <a:gd name="connsiteY281" fmla="*/ 5958639 h 6523037"/>
                <a:gd name="connsiteX282" fmla="*/ 8383875 w 12192001"/>
                <a:gd name="connsiteY282" fmla="*/ 5688227 h 6523037"/>
                <a:gd name="connsiteX283" fmla="*/ 9489807 w 12192001"/>
                <a:gd name="connsiteY283" fmla="*/ 5687847 h 6523037"/>
                <a:gd name="connsiteX284" fmla="*/ 9619772 w 12192001"/>
                <a:gd name="connsiteY284" fmla="*/ 5817813 h 6523037"/>
                <a:gd name="connsiteX285" fmla="*/ 9760219 w 12192001"/>
                <a:gd name="connsiteY285" fmla="*/ 5958259 h 6523037"/>
                <a:gd name="connsiteX286" fmla="*/ 9489807 w 12192001"/>
                <a:gd name="connsiteY286" fmla="*/ 6229370 h 6523037"/>
                <a:gd name="connsiteX287" fmla="*/ 9753930 w 12192001"/>
                <a:gd name="connsiteY287" fmla="*/ 6229370 h 6523037"/>
                <a:gd name="connsiteX288" fmla="*/ 10024342 w 12192001"/>
                <a:gd name="connsiteY288" fmla="*/ 5958259 h 6523037"/>
                <a:gd name="connsiteX289" fmla="*/ 9753231 w 12192001"/>
                <a:gd name="connsiteY289" fmla="*/ 5687847 h 6523037"/>
                <a:gd name="connsiteX290" fmla="*/ 11135337 w 12192001"/>
                <a:gd name="connsiteY290" fmla="*/ 5687149 h 6523037"/>
                <a:gd name="connsiteX291" fmla="*/ 11406448 w 12192001"/>
                <a:gd name="connsiteY291" fmla="*/ 5957561 h 6523037"/>
                <a:gd name="connsiteX292" fmla="*/ 11136036 w 12192001"/>
                <a:gd name="connsiteY292" fmla="*/ 6227973 h 6523037"/>
                <a:gd name="connsiteX293" fmla="*/ 11400159 w 12192001"/>
                <a:gd name="connsiteY293" fmla="*/ 6227973 h 6523037"/>
                <a:gd name="connsiteX294" fmla="*/ 11670572 w 12192001"/>
                <a:gd name="connsiteY294" fmla="*/ 5957561 h 6523037"/>
                <a:gd name="connsiteX295" fmla="*/ 11399460 w 12192001"/>
                <a:gd name="connsiteY295" fmla="*/ 5687149 h 6523037"/>
                <a:gd name="connsiteX296" fmla="*/ 10037618 w 12192001"/>
                <a:gd name="connsiteY296" fmla="*/ 5687149 h 6523037"/>
                <a:gd name="connsiteX297" fmla="*/ 10308729 w 12192001"/>
                <a:gd name="connsiteY297" fmla="*/ 5957561 h 6523037"/>
                <a:gd name="connsiteX298" fmla="*/ 10038317 w 12192001"/>
                <a:gd name="connsiteY298" fmla="*/ 6228671 h 6523037"/>
                <a:gd name="connsiteX299" fmla="*/ 10302440 w 12192001"/>
                <a:gd name="connsiteY299" fmla="*/ 6228671 h 6523037"/>
                <a:gd name="connsiteX300" fmla="*/ 10572852 w 12192001"/>
                <a:gd name="connsiteY300" fmla="*/ 5957561 h 6523037"/>
                <a:gd name="connsiteX301" fmla="*/ 10301742 w 12192001"/>
                <a:gd name="connsiteY301" fmla="*/ 5687149 h 6523037"/>
                <a:gd name="connsiteX302" fmla="*/ 9477618 w 12192001"/>
                <a:gd name="connsiteY302" fmla="*/ 5686838 h 6523037"/>
                <a:gd name="connsiteX303" fmla="*/ 9216773 w 12192001"/>
                <a:gd name="connsiteY303" fmla="*/ 5687528 h 6523037"/>
                <a:gd name="connsiteX304" fmla="*/ 9486087 w 12192001"/>
                <a:gd name="connsiteY304" fmla="*/ 5954765 h 6523037"/>
                <a:gd name="connsiteX305" fmla="*/ 9745545 w 12192001"/>
                <a:gd name="connsiteY305" fmla="*/ 5954765 h 6523037"/>
                <a:gd name="connsiteX306" fmla="*/ 9615580 w 12192001"/>
                <a:gd name="connsiteY306" fmla="*/ 5824800 h 6523037"/>
                <a:gd name="connsiteX307" fmla="*/ 10850951 w 12192001"/>
                <a:gd name="connsiteY307" fmla="*/ 5685751 h 6523037"/>
                <a:gd name="connsiteX308" fmla="*/ 10849553 w 12192001"/>
                <a:gd name="connsiteY308" fmla="*/ 5686450 h 6523037"/>
                <a:gd name="connsiteX309" fmla="*/ 10585430 w 12192001"/>
                <a:gd name="connsiteY309" fmla="*/ 5686450 h 6523037"/>
                <a:gd name="connsiteX310" fmla="*/ 10856541 w 12192001"/>
                <a:gd name="connsiteY310" fmla="*/ 5956862 h 6523037"/>
                <a:gd name="connsiteX311" fmla="*/ 10852347 w 12192001"/>
                <a:gd name="connsiteY311" fmla="*/ 5961054 h 6523037"/>
                <a:gd name="connsiteX312" fmla="*/ 10857937 w 12192001"/>
                <a:gd name="connsiteY312" fmla="*/ 5958259 h 6523037"/>
                <a:gd name="connsiteX313" fmla="*/ 10587525 w 12192001"/>
                <a:gd name="connsiteY313" fmla="*/ 6229370 h 6523037"/>
                <a:gd name="connsiteX314" fmla="*/ 10851650 w 12192001"/>
                <a:gd name="connsiteY314" fmla="*/ 6229370 h 6523037"/>
                <a:gd name="connsiteX315" fmla="*/ 11122062 w 12192001"/>
                <a:gd name="connsiteY315" fmla="*/ 5958259 h 6523037"/>
                <a:gd name="connsiteX316" fmla="*/ 10850951 w 12192001"/>
                <a:gd name="connsiteY316" fmla="*/ 5687847 h 6523037"/>
                <a:gd name="connsiteX317" fmla="*/ 1807128 w 12192001"/>
                <a:gd name="connsiteY317" fmla="*/ 5420480 h 6523037"/>
                <a:gd name="connsiteX318" fmla="*/ 1536716 w 12192001"/>
                <a:gd name="connsiteY318" fmla="*/ 5691591 h 6523037"/>
                <a:gd name="connsiteX319" fmla="*/ 1807827 w 12192001"/>
                <a:gd name="connsiteY319" fmla="*/ 5962003 h 6523037"/>
                <a:gd name="connsiteX320" fmla="*/ 2071951 w 12192001"/>
                <a:gd name="connsiteY320" fmla="*/ 5962003 h 6523037"/>
                <a:gd name="connsiteX321" fmla="*/ 1800840 w 12192001"/>
                <a:gd name="connsiteY321" fmla="*/ 5691591 h 6523037"/>
                <a:gd name="connsiteX322" fmla="*/ 2071252 w 12192001"/>
                <a:gd name="connsiteY322" fmla="*/ 5420480 h 6523037"/>
                <a:gd name="connsiteX323" fmla="*/ 709409 w 12192001"/>
                <a:gd name="connsiteY323" fmla="*/ 5420480 h 6523037"/>
                <a:gd name="connsiteX324" fmla="*/ 438997 w 12192001"/>
                <a:gd name="connsiteY324" fmla="*/ 5691591 h 6523037"/>
                <a:gd name="connsiteX325" fmla="*/ 710108 w 12192001"/>
                <a:gd name="connsiteY325" fmla="*/ 5962003 h 6523037"/>
                <a:gd name="connsiteX326" fmla="*/ 974231 w 12192001"/>
                <a:gd name="connsiteY326" fmla="*/ 5962003 h 6523037"/>
                <a:gd name="connsiteX327" fmla="*/ 703120 w 12192001"/>
                <a:gd name="connsiteY327" fmla="*/ 5691591 h 6523037"/>
                <a:gd name="connsiteX328" fmla="*/ 972833 w 12192001"/>
                <a:gd name="connsiteY328" fmla="*/ 5420480 h 6523037"/>
                <a:gd name="connsiteX329" fmla="*/ 2904148 w 12192001"/>
                <a:gd name="connsiteY329" fmla="*/ 5419782 h 6523037"/>
                <a:gd name="connsiteX330" fmla="*/ 2723874 w 12192001"/>
                <a:gd name="connsiteY330" fmla="*/ 5600057 h 6523037"/>
                <a:gd name="connsiteX331" fmla="*/ 2634435 w 12192001"/>
                <a:gd name="connsiteY331" fmla="*/ 5690195 h 6523037"/>
                <a:gd name="connsiteX332" fmla="*/ 2768593 w 12192001"/>
                <a:gd name="connsiteY332" fmla="*/ 5823653 h 6523037"/>
                <a:gd name="connsiteX333" fmla="*/ 2905546 w 12192001"/>
                <a:gd name="connsiteY333" fmla="*/ 5960606 h 6523037"/>
                <a:gd name="connsiteX334" fmla="*/ 3169669 w 12192001"/>
                <a:gd name="connsiteY334" fmla="*/ 5960606 h 6523037"/>
                <a:gd name="connsiteX335" fmla="*/ 2898558 w 12192001"/>
                <a:gd name="connsiteY335" fmla="*/ 5690195 h 6523037"/>
                <a:gd name="connsiteX336" fmla="*/ 2899956 w 12192001"/>
                <a:gd name="connsiteY336" fmla="*/ 5688797 h 6523037"/>
                <a:gd name="connsiteX337" fmla="*/ 3168271 w 12192001"/>
                <a:gd name="connsiteY337" fmla="*/ 5419782 h 6523037"/>
                <a:gd name="connsiteX338" fmla="*/ 2355639 w 12192001"/>
                <a:gd name="connsiteY338" fmla="*/ 5419782 h 6523037"/>
                <a:gd name="connsiteX339" fmla="*/ 2085226 w 12192001"/>
                <a:gd name="connsiteY339" fmla="*/ 5690892 h 6523037"/>
                <a:gd name="connsiteX340" fmla="*/ 2356338 w 12192001"/>
                <a:gd name="connsiteY340" fmla="*/ 5961304 h 6523037"/>
                <a:gd name="connsiteX341" fmla="*/ 2620460 w 12192001"/>
                <a:gd name="connsiteY341" fmla="*/ 5961304 h 6523037"/>
                <a:gd name="connsiteX342" fmla="*/ 2349350 w 12192001"/>
                <a:gd name="connsiteY342" fmla="*/ 5690892 h 6523037"/>
                <a:gd name="connsiteX343" fmla="*/ 2533816 w 12192001"/>
                <a:gd name="connsiteY343" fmla="*/ 5506426 h 6523037"/>
                <a:gd name="connsiteX344" fmla="*/ 2619762 w 12192001"/>
                <a:gd name="connsiteY344" fmla="*/ 5420480 h 6523037"/>
                <a:gd name="connsiteX345" fmla="*/ 2361229 w 12192001"/>
                <a:gd name="connsiteY345" fmla="*/ 5420480 h 6523037"/>
                <a:gd name="connsiteX346" fmla="*/ 1257919 w 12192001"/>
                <a:gd name="connsiteY346" fmla="*/ 5419782 h 6523037"/>
                <a:gd name="connsiteX347" fmla="*/ 987507 w 12192001"/>
                <a:gd name="connsiteY347" fmla="*/ 5690892 h 6523037"/>
                <a:gd name="connsiteX348" fmla="*/ 1258618 w 12192001"/>
                <a:gd name="connsiteY348" fmla="*/ 5961304 h 6523037"/>
                <a:gd name="connsiteX349" fmla="*/ 1522741 w 12192001"/>
                <a:gd name="connsiteY349" fmla="*/ 5961304 h 6523037"/>
                <a:gd name="connsiteX350" fmla="*/ 1251631 w 12192001"/>
                <a:gd name="connsiteY350" fmla="*/ 5690892 h 6523037"/>
                <a:gd name="connsiteX351" fmla="*/ 1436098 w 12192001"/>
                <a:gd name="connsiteY351" fmla="*/ 5506426 h 6523037"/>
                <a:gd name="connsiteX352" fmla="*/ 1522043 w 12192001"/>
                <a:gd name="connsiteY352" fmla="*/ 5419782 h 6523037"/>
                <a:gd name="connsiteX353" fmla="*/ 3452658 w 12192001"/>
                <a:gd name="connsiteY353" fmla="*/ 5419084 h 6523037"/>
                <a:gd name="connsiteX354" fmla="*/ 3182246 w 12192001"/>
                <a:gd name="connsiteY354" fmla="*/ 5690195 h 6523037"/>
                <a:gd name="connsiteX355" fmla="*/ 3453357 w 12192001"/>
                <a:gd name="connsiteY355" fmla="*/ 5960606 h 6523037"/>
                <a:gd name="connsiteX356" fmla="*/ 3717481 w 12192001"/>
                <a:gd name="connsiteY356" fmla="*/ 5960606 h 6523037"/>
                <a:gd name="connsiteX357" fmla="*/ 3446370 w 12192001"/>
                <a:gd name="connsiteY357" fmla="*/ 5690195 h 6523037"/>
                <a:gd name="connsiteX358" fmla="*/ 3716782 w 12192001"/>
                <a:gd name="connsiteY358" fmla="*/ 5419084 h 6523037"/>
                <a:gd name="connsiteX359" fmla="*/ 4549679 w 12192001"/>
                <a:gd name="connsiteY359" fmla="*/ 5417686 h 6523037"/>
                <a:gd name="connsiteX360" fmla="*/ 4279267 w 12192001"/>
                <a:gd name="connsiteY360" fmla="*/ 5688797 h 6523037"/>
                <a:gd name="connsiteX361" fmla="*/ 4550379 w 12192001"/>
                <a:gd name="connsiteY361" fmla="*/ 5959209 h 6523037"/>
                <a:gd name="connsiteX362" fmla="*/ 4811794 w 12192001"/>
                <a:gd name="connsiteY362" fmla="*/ 5959209 h 6523037"/>
                <a:gd name="connsiteX363" fmla="*/ 4665187 w 12192001"/>
                <a:gd name="connsiteY363" fmla="*/ 5812602 h 6523037"/>
                <a:gd name="connsiteX364" fmla="*/ 4665187 w 12192001"/>
                <a:gd name="connsiteY364" fmla="*/ 5810279 h 6523037"/>
                <a:gd name="connsiteX365" fmla="*/ 4543392 w 12192001"/>
                <a:gd name="connsiteY365" fmla="*/ 5688797 h 6523037"/>
                <a:gd name="connsiteX366" fmla="*/ 4665187 w 12192001"/>
                <a:gd name="connsiteY366" fmla="*/ 5566541 h 6523037"/>
                <a:gd name="connsiteX367" fmla="*/ 4665187 w 12192001"/>
                <a:gd name="connsiteY367" fmla="*/ 5562454 h 6523037"/>
                <a:gd name="connsiteX368" fmla="*/ 4809954 w 12192001"/>
                <a:gd name="connsiteY368" fmla="*/ 5417686 h 6523037"/>
                <a:gd name="connsiteX369" fmla="*/ 4824163 w 12192001"/>
                <a:gd name="connsiteY369" fmla="*/ 5417116 h 6523037"/>
                <a:gd name="connsiteX370" fmla="*/ 4556667 w 12192001"/>
                <a:gd name="connsiteY370" fmla="*/ 5685303 h 6523037"/>
                <a:gd name="connsiteX371" fmla="*/ 4816942 w 12192001"/>
                <a:gd name="connsiteY371" fmla="*/ 5685303 h 6523037"/>
                <a:gd name="connsiteX372" fmla="*/ 5085129 w 12192001"/>
                <a:gd name="connsiteY372" fmla="*/ 5417116 h 6523037"/>
                <a:gd name="connsiteX373" fmla="*/ 6467235 w 12192001"/>
                <a:gd name="connsiteY373" fmla="*/ 5415718 h 6523037"/>
                <a:gd name="connsiteX374" fmla="*/ 6196823 w 12192001"/>
                <a:gd name="connsiteY374" fmla="*/ 5686829 h 6523037"/>
                <a:gd name="connsiteX375" fmla="*/ 6467933 w 12192001"/>
                <a:gd name="connsiteY375" fmla="*/ 5957241 h 6523037"/>
                <a:gd name="connsiteX376" fmla="*/ 6732057 w 12192001"/>
                <a:gd name="connsiteY376" fmla="*/ 5957241 h 6523037"/>
                <a:gd name="connsiteX377" fmla="*/ 6460946 w 12192001"/>
                <a:gd name="connsiteY377" fmla="*/ 5686829 h 6523037"/>
                <a:gd name="connsiteX378" fmla="*/ 6731358 w 12192001"/>
                <a:gd name="connsiteY378" fmla="*/ 5415718 h 6523037"/>
                <a:gd name="connsiteX379" fmla="*/ 5369515 w 12192001"/>
                <a:gd name="connsiteY379" fmla="*/ 5415718 h 6523037"/>
                <a:gd name="connsiteX380" fmla="*/ 5099104 w 12192001"/>
                <a:gd name="connsiteY380" fmla="*/ 5686829 h 6523037"/>
                <a:gd name="connsiteX381" fmla="*/ 5370215 w 12192001"/>
                <a:gd name="connsiteY381" fmla="*/ 5957241 h 6523037"/>
                <a:gd name="connsiteX382" fmla="*/ 5634338 w 12192001"/>
                <a:gd name="connsiteY382" fmla="*/ 5957241 h 6523037"/>
                <a:gd name="connsiteX383" fmla="*/ 5363227 w 12192001"/>
                <a:gd name="connsiteY383" fmla="*/ 5686829 h 6523037"/>
                <a:gd name="connsiteX384" fmla="*/ 5632939 w 12192001"/>
                <a:gd name="connsiteY384" fmla="*/ 5415718 h 6523037"/>
                <a:gd name="connsiteX385" fmla="*/ 7564254 w 12192001"/>
                <a:gd name="connsiteY385" fmla="*/ 5415020 h 6523037"/>
                <a:gd name="connsiteX386" fmla="*/ 7383980 w 12192001"/>
                <a:gd name="connsiteY386" fmla="*/ 5595295 h 6523037"/>
                <a:gd name="connsiteX387" fmla="*/ 7294541 w 12192001"/>
                <a:gd name="connsiteY387" fmla="*/ 5685433 h 6523037"/>
                <a:gd name="connsiteX388" fmla="*/ 7428699 w 12192001"/>
                <a:gd name="connsiteY388" fmla="*/ 5818891 h 6523037"/>
                <a:gd name="connsiteX389" fmla="*/ 7565652 w 12192001"/>
                <a:gd name="connsiteY389" fmla="*/ 5955844 h 6523037"/>
                <a:gd name="connsiteX390" fmla="*/ 7829775 w 12192001"/>
                <a:gd name="connsiteY390" fmla="*/ 5955844 h 6523037"/>
                <a:gd name="connsiteX391" fmla="*/ 7558664 w 12192001"/>
                <a:gd name="connsiteY391" fmla="*/ 5685433 h 6523037"/>
                <a:gd name="connsiteX392" fmla="*/ 7560062 w 12192001"/>
                <a:gd name="connsiteY392" fmla="*/ 5684035 h 6523037"/>
                <a:gd name="connsiteX393" fmla="*/ 7828377 w 12192001"/>
                <a:gd name="connsiteY393" fmla="*/ 5415020 h 6523037"/>
                <a:gd name="connsiteX394" fmla="*/ 7015746 w 12192001"/>
                <a:gd name="connsiteY394" fmla="*/ 5415020 h 6523037"/>
                <a:gd name="connsiteX395" fmla="*/ 6745333 w 12192001"/>
                <a:gd name="connsiteY395" fmla="*/ 5686130 h 6523037"/>
                <a:gd name="connsiteX396" fmla="*/ 7016444 w 12192001"/>
                <a:gd name="connsiteY396" fmla="*/ 5956542 h 6523037"/>
                <a:gd name="connsiteX397" fmla="*/ 7280566 w 12192001"/>
                <a:gd name="connsiteY397" fmla="*/ 5956542 h 6523037"/>
                <a:gd name="connsiteX398" fmla="*/ 7009456 w 12192001"/>
                <a:gd name="connsiteY398" fmla="*/ 5686130 h 6523037"/>
                <a:gd name="connsiteX399" fmla="*/ 7193922 w 12192001"/>
                <a:gd name="connsiteY399" fmla="*/ 5501664 h 6523037"/>
                <a:gd name="connsiteX400" fmla="*/ 7279868 w 12192001"/>
                <a:gd name="connsiteY400" fmla="*/ 5415718 h 6523037"/>
                <a:gd name="connsiteX401" fmla="*/ 7021335 w 12192001"/>
                <a:gd name="connsiteY401" fmla="*/ 5415718 h 6523037"/>
                <a:gd name="connsiteX402" fmla="*/ 5918025 w 12192001"/>
                <a:gd name="connsiteY402" fmla="*/ 5415020 h 6523037"/>
                <a:gd name="connsiteX403" fmla="*/ 5647613 w 12192001"/>
                <a:gd name="connsiteY403" fmla="*/ 5686130 h 6523037"/>
                <a:gd name="connsiteX404" fmla="*/ 5918725 w 12192001"/>
                <a:gd name="connsiteY404" fmla="*/ 5956542 h 6523037"/>
                <a:gd name="connsiteX405" fmla="*/ 6182848 w 12192001"/>
                <a:gd name="connsiteY405" fmla="*/ 5956542 h 6523037"/>
                <a:gd name="connsiteX406" fmla="*/ 5911738 w 12192001"/>
                <a:gd name="connsiteY406" fmla="*/ 5686130 h 6523037"/>
                <a:gd name="connsiteX407" fmla="*/ 6096205 w 12192001"/>
                <a:gd name="connsiteY407" fmla="*/ 5501664 h 6523037"/>
                <a:gd name="connsiteX408" fmla="*/ 6182150 w 12192001"/>
                <a:gd name="connsiteY408" fmla="*/ 5415020 h 6523037"/>
                <a:gd name="connsiteX409" fmla="*/ 8112764 w 12192001"/>
                <a:gd name="connsiteY409" fmla="*/ 5414322 h 6523037"/>
                <a:gd name="connsiteX410" fmla="*/ 7842352 w 12192001"/>
                <a:gd name="connsiteY410" fmla="*/ 5685433 h 6523037"/>
                <a:gd name="connsiteX411" fmla="*/ 8113463 w 12192001"/>
                <a:gd name="connsiteY411" fmla="*/ 5955844 h 6523037"/>
                <a:gd name="connsiteX412" fmla="*/ 8377587 w 12192001"/>
                <a:gd name="connsiteY412" fmla="*/ 5955844 h 6523037"/>
                <a:gd name="connsiteX413" fmla="*/ 8106476 w 12192001"/>
                <a:gd name="connsiteY413" fmla="*/ 5685433 h 6523037"/>
                <a:gd name="connsiteX414" fmla="*/ 8376888 w 12192001"/>
                <a:gd name="connsiteY414" fmla="*/ 5414322 h 6523037"/>
                <a:gd name="connsiteX415" fmla="*/ 9482686 w 12192001"/>
                <a:gd name="connsiteY415" fmla="*/ 5413941 h 6523037"/>
                <a:gd name="connsiteX416" fmla="*/ 9216773 w 12192001"/>
                <a:gd name="connsiteY416" fmla="*/ 5680541 h 6523037"/>
                <a:gd name="connsiteX417" fmla="*/ 9478945 w 12192001"/>
                <a:gd name="connsiteY417" fmla="*/ 5680541 h 6523037"/>
                <a:gd name="connsiteX418" fmla="*/ 9745545 w 12192001"/>
                <a:gd name="connsiteY418" fmla="*/ 5413941 h 6523037"/>
                <a:gd name="connsiteX419" fmla="*/ 9209785 w 12192001"/>
                <a:gd name="connsiteY419" fmla="*/ 5412924 h 6523037"/>
                <a:gd name="connsiteX420" fmla="*/ 8939373 w 12192001"/>
                <a:gd name="connsiteY420" fmla="*/ 5684035 h 6523037"/>
                <a:gd name="connsiteX421" fmla="*/ 9210484 w 12192001"/>
                <a:gd name="connsiteY421" fmla="*/ 5954447 h 6523037"/>
                <a:gd name="connsiteX422" fmla="*/ 9470623 w 12192001"/>
                <a:gd name="connsiteY422" fmla="*/ 5954447 h 6523037"/>
                <a:gd name="connsiteX423" fmla="*/ 9325603 w 12192001"/>
                <a:gd name="connsiteY423" fmla="*/ 5809427 h 6523037"/>
                <a:gd name="connsiteX424" fmla="*/ 9325603 w 12192001"/>
                <a:gd name="connsiteY424" fmla="*/ 5805827 h 6523037"/>
                <a:gd name="connsiteX425" fmla="*/ 9203497 w 12192001"/>
                <a:gd name="connsiteY425" fmla="*/ 5684035 h 6523037"/>
                <a:gd name="connsiteX426" fmla="*/ 9325603 w 12192001"/>
                <a:gd name="connsiteY426" fmla="*/ 5561467 h 6523037"/>
                <a:gd name="connsiteX427" fmla="*/ 9325603 w 12192001"/>
                <a:gd name="connsiteY427" fmla="*/ 5559279 h 6523037"/>
                <a:gd name="connsiteX428" fmla="*/ 9471958 w 12192001"/>
                <a:gd name="connsiteY428" fmla="*/ 5412924 h 6523037"/>
                <a:gd name="connsiteX429" fmla="*/ 11127651 w 12192001"/>
                <a:gd name="connsiteY429" fmla="*/ 5412543 h 6523037"/>
                <a:gd name="connsiteX430" fmla="*/ 10857239 w 12192001"/>
                <a:gd name="connsiteY430" fmla="*/ 5683654 h 6523037"/>
                <a:gd name="connsiteX431" fmla="*/ 11128350 w 12192001"/>
                <a:gd name="connsiteY431" fmla="*/ 5954066 h 6523037"/>
                <a:gd name="connsiteX432" fmla="*/ 11392474 w 12192001"/>
                <a:gd name="connsiteY432" fmla="*/ 5954066 h 6523037"/>
                <a:gd name="connsiteX433" fmla="*/ 11121363 w 12192001"/>
                <a:gd name="connsiteY433" fmla="*/ 5683654 h 6523037"/>
                <a:gd name="connsiteX434" fmla="*/ 11391775 w 12192001"/>
                <a:gd name="connsiteY434" fmla="*/ 5412543 h 6523037"/>
                <a:gd name="connsiteX435" fmla="*/ 10029932 w 12192001"/>
                <a:gd name="connsiteY435" fmla="*/ 5412543 h 6523037"/>
                <a:gd name="connsiteX436" fmla="*/ 9759520 w 12192001"/>
                <a:gd name="connsiteY436" fmla="*/ 5683654 h 6523037"/>
                <a:gd name="connsiteX437" fmla="*/ 10030631 w 12192001"/>
                <a:gd name="connsiteY437" fmla="*/ 5954066 h 6523037"/>
                <a:gd name="connsiteX438" fmla="*/ 10294754 w 12192001"/>
                <a:gd name="connsiteY438" fmla="*/ 5954066 h 6523037"/>
                <a:gd name="connsiteX439" fmla="*/ 10023643 w 12192001"/>
                <a:gd name="connsiteY439" fmla="*/ 5683654 h 6523037"/>
                <a:gd name="connsiteX440" fmla="*/ 10293356 w 12192001"/>
                <a:gd name="connsiteY440" fmla="*/ 5412543 h 6523037"/>
                <a:gd name="connsiteX441" fmla="*/ 11676162 w 12192001"/>
                <a:gd name="connsiteY441" fmla="*/ 5411845 h 6523037"/>
                <a:gd name="connsiteX442" fmla="*/ 11405749 w 12192001"/>
                <a:gd name="connsiteY442" fmla="*/ 5682955 h 6523037"/>
                <a:gd name="connsiteX443" fmla="*/ 11676861 w 12192001"/>
                <a:gd name="connsiteY443" fmla="*/ 5953367 h 6523037"/>
                <a:gd name="connsiteX444" fmla="*/ 11940983 w 12192001"/>
                <a:gd name="connsiteY444" fmla="*/ 5953367 h 6523037"/>
                <a:gd name="connsiteX445" fmla="*/ 11669873 w 12192001"/>
                <a:gd name="connsiteY445" fmla="*/ 5682955 h 6523037"/>
                <a:gd name="connsiteX446" fmla="*/ 11854339 w 12192001"/>
                <a:gd name="connsiteY446" fmla="*/ 5498489 h 6523037"/>
                <a:gd name="connsiteX447" fmla="*/ 11940285 w 12192001"/>
                <a:gd name="connsiteY447" fmla="*/ 5412543 h 6523037"/>
                <a:gd name="connsiteX448" fmla="*/ 11681752 w 12192001"/>
                <a:gd name="connsiteY448" fmla="*/ 5412543 h 6523037"/>
                <a:gd name="connsiteX449" fmla="*/ 10578442 w 12192001"/>
                <a:gd name="connsiteY449" fmla="*/ 5411845 h 6523037"/>
                <a:gd name="connsiteX450" fmla="*/ 10308030 w 12192001"/>
                <a:gd name="connsiteY450" fmla="*/ 5682955 h 6523037"/>
                <a:gd name="connsiteX451" fmla="*/ 10579141 w 12192001"/>
                <a:gd name="connsiteY451" fmla="*/ 5953367 h 6523037"/>
                <a:gd name="connsiteX452" fmla="*/ 10843264 w 12192001"/>
                <a:gd name="connsiteY452" fmla="*/ 5953367 h 6523037"/>
                <a:gd name="connsiteX453" fmla="*/ 10572154 w 12192001"/>
                <a:gd name="connsiteY453" fmla="*/ 5682955 h 6523037"/>
                <a:gd name="connsiteX454" fmla="*/ 10756621 w 12192001"/>
                <a:gd name="connsiteY454" fmla="*/ 5498489 h 6523037"/>
                <a:gd name="connsiteX455" fmla="*/ 10842566 w 12192001"/>
                <a:gd name="connsiteY455" fmla="*/ 5411845 h 6523037"/>
                <a:gd name="connsiteX456" fmla="*/ 167886 w 12192001"/>
                <a:gd name="connsiteY456" fmla="*/ 5147274 h 6523037"/>
                <a:gd name="connsiteX457" fmla="*/ 438997 w 12192001"/>
                <a:gd name="connsiteY457" fmla="*/ 5417686 h 6523037"/>
                <a:gd name="connsiteX458" fmla="*/ 169284 w 12192001"/>
                <a:gd name="connsiteY458" fmla="*/ 5688797 h 6523037"/>
                <a:gd name="connsiteX459" fmla="*/ 432708 w 12192001"/>
                <a:gd name="connsiteY459" fmla="*/ 5688797 h 6523037"/>
                <a:gd name="connsiteX460" fmla="*/ 703120 w 12192001"/>
                <a:gd name="connsiteY460" fmla="*/ 5417686 h 6523037"/>
                <a:gd name="connsiteX461" fmla="*/ 568962 w 12192001"/>
                <a:gd name="connsiteY461" fmla="*/ 5284227 h 6523037"/>
                <a:gd name="connsiteX462" fmla="*/ 432009 w 12192001"/>
                <a:gd name="connsiteY462" fmla="*/ 5147274 h 6523037"/>
                <a:gd name="connsiteX463" fmla="*/ 1814116 w 12192001"/>
                <a:gd name="connsiteY463" fmla="*/ 5146575 h 6523037"/>
                <a:gd name="connsiteX464" fmla="*/ 1942683 w 12192001"/>
                <a:gd name="connsiteY464" fmla="*/ 5275144 h 6523037"/>
                <a:gd name="connsiteX465" fmla="*/ 2084528 w 12192001"/>
                <a:gd name="connsiteY465" fmla="*/ 5416987 h 6523037"/>
                <a:gd name="connsiteX466" fmla="*/ 1814116 w 12192001"/>
                <a:gd name="connsiteY466" fmla="*/ 5688098 h 6523037"/>
                <a:gd name="connsiteX467" fmla="*/ 2078239 w 12192001"/>
                <a:gd name="connsiteY467" fmla="*/ 5688098 h 6523037"/>
                <a:gd name="connsiteX468" fmla="*/ 2348651 w 12192001"/>
                <a:gd name="connsiteY468" fmla="*/ 5416987 h 6523037"/>
                <a:gd name="connsiteX469" fmla="*/ 2343759 w 12192001"/>
                <a:gd name="connsiteY469" fmla="*/ 5412096 h 6523037"/>
                <a:gd name="connsiteX470" fmla="*/ 2078239 w 12192001"/>
                <a:gd name="connsiteY470" fmla="*/ 5146575 h 6523037"/>
                <a:gd name="connsiteX471" fmla="*/ 2362625 w 12192001"/>
                <a:gd name="connsiteY471" fmla="*/ 5145876 h 6523037"/>
                <a:gd name="connsiteX472" fmla="*/ 2633736 w 12192001"/>
                <a:gd name="connsiteY472" fmla="*/ 5415590 h 6523037"/>
                <a:gd name="connsiteX473" fmla="*/ 2630942 w 12192001"/>
                <a:gd name="connsiteY473" fmla="*/ 5418385 h 6523037"/>
                <a:gd name="connsiteX474" fmla="*/ 2540804 w 12192001"/>
                <a:gd name="connsiteY474" fmla="*/ 5509220 h 6523037"/>
                <a:gd name="connsiteX475" fmla="*/ 2363324 w 12192001"/>
                <a:gd name="connsiteY475" fmla="*/ 5686700 h 6523037"/>
                <a:gd name="connsiteX476" fmla="*/ 2627447 w 12192001"/>
                <a:gd name="connsiteY476" fmla="*/ 5686700 h 6523037"/>
                <a:gd name="connsiteX477" fmla="*/ 2716886 w 12192001"/>
                <a:gd name="connsiteY477" fmla="*/ 5597262 h 6523037"/>
                <a:gd name="connsiteX478" fmla="*/ 2897859 w 12192001"/>
                <a:gd name="connsiteY478" fmla="*/ 5416288 h 6523037"/>
                <a:gd name="connsiteX479" fmla="*/ 2626749 w 12192001"/>
                <a:gd name="connsiteY479" fmla="*/ 5145876 h 6523037"/>
                <a:gd name="connsiteX480" fmla="*/ 1264208 w 12192001"/>
                <a:gd name="connsiteY480" fmla="*/ 5145876 h 6523037"/>
                <a:gd name="connsiteX481" fmla="*/ 1535319 w 12192001"/>
                <a:gd name="connsiteY481" fmla="*/ 5415590 h 6523037"/>
                <a:gd name="connsiteX482" fmla="*/ 1532523 w 12192001"/>
                <a:gd name="connsiteY482" fmla="*/ 5418385 h 6523037"/>
                <a:gd name="connsiteX483" fmla="*/ 1442387 w 12192001"/>
                <a:gd name="connsiteY483" fmla="*/ 5509220 h 6523037"/>
                <a:gd name="connsiteX484" fmla="*/ 1264907 w 12192001"/>
                <a:gd name="connsiteY484" fmla="*/ 5686700 h 6523037"/>
                <a:gd name="connsiteX485" fmla="*/ 1529030 w 12192001"/>
                <a:gd name="connsiteY485" fmla="*/ 5686700 h 6523037"/>
                <a:gd name="connsiteX486" fmla="*/ 1618469 w 12192001"/>
                <a:gd name="connsiteY486" fmla="*/ 5597262 h 6523037"/>
                <a:gd name="connsiteX487" fmla="*/ 1799442 w 12192001"/>
                <a:gd name="connsiteY487" fmla="*/ 5416288 h 6523037"/>
                <a:gd name="connsiteX488" fmla="*/ 1528331 w 12192001"/>
                <a:gd name="connsiteY488" fmla="*/ 5145876 h 6523037"/>
                <a:gd name="connsiteX489" fmla="*/ 715697 w 12192001"/>
                <a:gd name="connsiteY489" fmla="*/ 5145876 h 6523037"/>
                <a:gd name="connsiteX490" fmla="*/ 717095 w 12192001"/>
                <a:gd name="connsiteY490" fmla="*/ 5147274 h 6523037"/>
                <a:gd name="connsiteX491" fmla="*/ 986808 w 12192001"/>
                <a:gd name="connsiteY491" fmla="*/ 5416288 h 6523037"/>
                <a:gd name="connsiteX492" fmla="*/ 716396 w 12192001"/>
                <a:gd name="connsiteY492" fmla="*/ 5687399 h 6523037"/>
                <a:gd name="connsiteX493" fmla="*/ 980520 w 12192001"/>
                <a:gd name="connsiteY493" fmla="*/ 5687399 h 6523037"/>
                <a:gd name="connsiteX494" fmla="*/ 1250932 w 12192001"/>
                <a:gd name="connsiteY494" fmla="*/ 5416288 h 6523037"/>
                <a:gd name="connsiteX495" fmla="*/ 1245342 w 12192001"/>
                <a:gd name="connsiteY495" fmla="*/ 5411397 h 6523037"/>
                <a:gd name="connsiteX496" fmla="*/ 979821 w 12192001"/>
                <a:gd name="connsiteY496" fmla="*/ 5145876 h 6523037"/>
                <a:gd name="connsiteX497" fmla="*/ 2911136 w 12192001"/>
                <a:gd name="connsiteY497" fmla="*/ 5145178 h 6523037"/>
                <a:gd name="connsiteX498" fmla="*/ 3041801 w 12192001"/>
                <a:gd name="connsiteY498" fmla="*/ 5274445 h 6523037"/>
                <a:gd name="connsiteX499" fmla="*/ 3182246 w 12192001"/>
                <a:gd name="connsiteY499" fmla="*/ 5414891 h 6523037"/>
                <a:gd name="connsiteX500" fmla="*/ 2911834 w 12192001"/>
                <a:gd name="connsiteY500" fmla="*/ 5686002 h 6523037"/>
                <a:gd name="connsiteX501" fmla="*/ 3175958 w 12192001"/>
                <a:gd name="connsiteY501" fmla="*/ 5686002 h 6523037"/>
                <a:gd name="connsiteX502" fmla="*/ 3446370 w 12192001"/>
                <a:gd name="connsiteY502" fmla="*/ 5415590 h 6523037"/>
                <a:gd name="connsiteX503" fmla="*/ 3175259 w 12192001"/>
                <a:gd name="connsiteY503" fmla="*/ 5145178 h 6523037"/>
                <a:gd name="connsiteX504" fmla="*/ 3459646 w 12192001"/>
                <a:gd name="connsiteY504" fmla="*/ 5144479 h 6523037"/>
                <a:gd name="connsiteX505" fmla="*/ 3730757 w 12192001"/>
                <a:gd name="connsiteY505" fmla="*/ 5414891 h 6523037"/>
                <a:gd name="connsiteX506" fmla="*/ 3460345 w 12192001"/>
                <a:gd name="connsiteY506" fmla="*/ 5686002 h 6523037"/>
                <a:gd name="connsiteX507" fmla="*/ 3724468 w 12192001"/>
                <a:gd name="connsiteY507" fmla="*/ 5686002 h 6523037"/>
                <a:gd name="connsiteX508" fmla="*/ 3994880 w 12192001"/>
                <a:gd name="connsiteY508" fmla="*/ 5414891 h 6523037"/>
                <a:gd name="connsiteX509" fmla="*/ 3723769 w 12192001"/>
                <a:gd name="connsiteY509" fmla="*/ 5144479 h 6523037"/>
                <a:gd name="connsiteX510" fmla="*/ 4008156 w 12192001"/>
                <a:gd name="connsiteY510" fmla="*/ 5143780 h 6523037"/>
                <a:gd name="connsiteX511" fmla="*/ 4279267 w 12192001"/>
                <a:gd name="connsiteY511" fmla="*/ 5414192 h 6523037"/>
                <a:gd name="connsiteX512" fmla="*/ 4008855 w 12192001"/>
                <a:gd name="connsiteY512" fmla="*/ 5685303 h 6523037"/>
                <a:gd name="connsiteX513" fmla="*/ 4207298 w 12192001"/>
                <a:gd name="connsiteY513" fmla="*/ 5685303 h 6523037"/>
                <a:gd name="connsiteX514" fmla="*/ 4272281 w 12192001"/>
                <a:gd name="connsiteY514" fmla="*/ 5685303 h 6523037"/>
                <a:gd name="connsiteX515" fmla="*/ 4543392 w 12192001"/>
                <a:gd name="connsiteY515" fmla="*/ 5414192 h 6523037"/>
                <a:gd name="connsiteX516" fmla="*/ 4409232 w 12192001"/>
                <a:gd name="connsiteY516" fmla="*/ 5280734 h 6523037"/>
                <a:gd name="connsiteX517" fmla="*/ 4272281 w 12192001"/>
                <a:gd name="connsiteY517" fmla="*/ 5143780 h 6523037"/>
                <a:gd name="connsiteX518" fmla="*/ 4555270 w 12192001"/>
                <a:gd name="connsiteY518" fmla="*/ 5143081 h 6523037"/>
                <a:gd name="connsiteX519" fmla="*/ 4822307 w 12192001"/>
                <a:gd name="connsiteY519" fmla="*/ 5409430 h 6523037"/>
                <a:gd name="connsiteX520" fmla="*/ 5085129 w 12192001"/>
                <a:gd name="connsiteY520" fmla="*/ 5409430 h 6523037"/>
                <a:gd name="connsiteX521" fmla="*/ 4818091 w 12192001"/>
                <a:gd name="connsiteY521" fmla="*/ 5143081 h 6523037"/>
                <a:gd name="connsiteX522" fmla="*/ 4828477 w 12192001"/>
                <a:gd name="connsiteY522" fmla="*/ 5142512 h 6523037"/>
                <a:gd name="connsiteX523" fmla="*/ 4828477 w 12192001"/>
                <a:gd name="connsiteY523" fmla="*/ 5142995 h 6523037"/>
                <a:gd name="connsiteX524" fmla="*/ 5099104 w 12192001"/>
                <a:gd name="connsiteY524" fmla="*/ 5412924 h 6523037"/>
                <a:gd name="connsiteX525" fmla="*/ 4829390 w 12192001"/>
                <a:gd name="connsiteY525" fmla="*/ 5684035 h 6523037"/>
                <a:gd name="connsiteX526" fmla="*/ 5092815 w 12192001"/>
                <a:gd name="connsiteY526" fmla="*/ 5684035 h 6523037"/>
                <a:gd name="connsiteX527" fmla="*/ 5363227 w 12192001"/>
                <a:gd name="connsiteY527" fmla="*/ 5412924 h 6523037"/>
                <a:gd name="connsiteX528" fmla="*/ 5229068 w 12192001"/>
                <a:gd name="connsiteY528" fmla="*/ 5279465 h 6523037"/>
                <a:gd name="connsiteX529" fmla="*/ 5092115 w 12192001"/>
                <a:gd name="connsiteY529" fmla="*/ 5142512 h 6523037"/>
                <a:gd name="connsiteX530" fmla="*/ 6474223 w 12192001"/>
                <a:gd name="connsiteY530" fmla="*/ 5141813 h 6523037"/>
                <a:gd name="connsiteX531" fmla="*/ 6602789 w 12192001"/>
                <a:gd name="connsiteY531" fmla="*/ 5270382 h 6523037"/>
                <a:gd name="connsiteX532" fmla="*/ 6744635 w 12192001"/>
                <a:gd name="connsiteY532" fmla="*/ 5412225 h 6523037"/>
                <a:gd name="connsiteX533" fmla="*/ 6474223 w 12192001"/>
                <a:gd name="connsiteY533" fmla="*/ 5683336 h 6523037"/>
                <a:gd name="connsiteX534" fmla="*/ 6738346 w 12192001"/>
                <a:gd name="connsiteY534" fmla="*/ 5683336 h 6523037"/>
                <a:gd name="connsiteX535" fmla="*/ 7008758 w 12192001"/>
                <a:gd name="connsiteY535" fmla="*/ 5412225 h 6523037"/>
                <a:gd name="connsiteX536" fmla="*/ 7003865 w 12192001"/>
                <a:gd name="connsiteY536" fmla="*/ 5407334 h 6523037"/>
                <a:gd name="connsiteX537" fmla="*/ 6738346 w 12192001"/>
                <a:gd name="connsiteY537" fmla="*/ 5141813 h 6523037"/>
                <a:gd name="connsiteX538" fmla="*/ 7022731 w 12192001"/>
                <a:gd name="connsiteY538" fmla="*/ 5141114 h 6523037"/>
                <a:gd name="connsiteX539" fmla="*/ 7293842 w 12192001"/>
                <a:gd name="connsiteY539" fmla="*/ 5410828 h 6523037"/>
                <a:gd name="connsiteX540" fmla="*/ 7291048 w 12192001"/>
                <a:gd name="connsiteY540" fmla="*/ 5413623 h 6523037"/>
                <a:gd name="connsiteX541" fmla="*/ 7200910 w 12192001"/>
                <a:gd name="connsiteY541" fmla="*/ 5504458 h 6523037"/>
                <a:gd name="connsiteX542" fmla="*/ 7023431 w 12192001"/>
                <a:gd name="connsiteY542" fmla="*/ 5681938 h 6523037"/>
                <a:gd name="connsiteX543" fmla="*/ 7287553 w 12192001"/>
                <a:gd name="connsiteY543" fmla="*/ 5681938 h 6523037"/>
                <a:gd name="connsiteX544" fmla="*/ 7376992 w 12192001"/>
                <a:gd name="connsiteY544" fmla="*/ 5592500 h 6523037"/>
                <a:gd name="connsiteX545" fmla="*/ 7557965 w 12192001"/>
                <a:gd name="connsiteY545" fmla="*/ 5411526 h 6523037"/>
                <a:gd name="connsiteX546" fmla="*/ 7286855 w 12192001"/>
                <a:gd name="connsiteY546" fmla="*/ 5141114 h 6523037"/>
                <a:gd name="connsiteX547" fmla="*/ 5924314 w 12192001"/>
                <a:gd name="connsiteY547" fmla="*/ 5141114 h 6523037"/>
                <a:gd name="connsiteX548" fmla="*/ 6195425 w 12192001"/>
                <a:gd name="connsiteY548" fmla="*/ 5410828 h 6523037"/>
                <a:gd name="connsiteX549" fmla="*/ 6192630 w 12192001"/>
                <a:gd name="connsiteY549" fmla="*/ 5413623 h 6523037"/>
                <a:gd name="connsiteX550" fmla="*/ 6102494 w 12192001"/>
                <a:gd name="connsiteY550" fmla="*/ 5504458 h 6523037"/>
                <a:gd name="connsiteX551" fmla="*/ 5925013 w 12192001"/>
                <a:gd name="connsiteY551" fmla="*/ 5681938 h 6523037"/>
                <a:gd name="connsiteX552" fmla="*/ 6189136 w 12192001"/>
                <a:gd name="connsiteY552" fmla="*/ 5681938 h 6523037"/>
                <a:gd name="connsiteX553" fmla="*/ 6278575 w 12192001"/>
                <a:gd name="connsiteY553" fmla="*/ 5592500 h 6523037"/>
                <a:gd name="connsiteX554" fmla="*/ 6459548 w 12192001"/>
                <a:gd name="connsiteY554" fmla="*/ 5411526 h 6523037"/>
                <a:gd name="connsiteX555" fmla="*/ 6188437 w 12192001"/>
                <a:gd name="connsiteY555" fmla="*/ 5141114 h 6523037"/>
                <a:gd name="connsiteX556" fmla="*/ 5375803 w 12192001"/>
                <a:gd name="connsiteY556" fmla="*/ 5141114 h 6523037"/>
                <a:gd name="connsiteX557" fmla="*/ 5377202 w 12192001"/>
                <a:gd name="connsiteY557" fmla="*/ 5142512 h 6523037"/>
                <a:gd name="connsiteX558" fmla="*/ 5646914 w 12192001"/>
                <a:gd name="connsiteY558" fmla="*/ 5411526 h 6523037"/>
                <a:gd name="connsiteX559" fmla="*/ 5376502 w 12192001"/>
                <a:gd name="connsiteY559" fmla="*/ 5682637 h 6523037"/>
                <a:gd name="connsiteX560" fmla="*/ 5640627 w 12192001"/>
                <a:gd name="connsiteY560" fmla="*/ 5682637 h 6523037"/>
                <a:gd name="connsiteX561" fmla="*/ 5911038 w 12192001"/>
                <a:gd name="connsiteY561" fmla="*/ 5411526 h 6523037"/>
                <a:gd name="connsiteX562" fmla="*/ 5905448 w 12192001"/>
                <a:gd name="connsiteY562" fmla="*/ 5406635 h 6523037"/>
                <a:gd name="connsiteX563" fmla="*/ 5639927 w 12192001"/>
                <a:gd name="connsiteY563" fmla="*/ 5141114 h 6523037"/>
                <a:gd name="connsiteX564" fmla="*/ 7571242 w 12192001"/>
                <a:gd name="connsiteY564" fmla="*/ 5140416 h 6523037"/>
                <a:gd name="connsiteX565" fmla="*/ 7701907 w 12192001"/>
                <a:gd name="connsiteY565" fmla="*/ 5269683 h 6523037"/>
                <a:gd name="connsiteX566" fmla="*/ 7842352 w 12192001"/>
                <a:gd name="connsiteY566" fmla="*/ 5410129 h 6523037"/>
                <a:gd name="connsiteX567" fmla="*/ 7571940 w 12192001"/>
                <a:gd name="connsiteY567" fmla="*/ 5681240 h 6523037"/>
                <a:gd name="connsiteX568" fmla="*/ 7836064 w 12192001"/>
                <a:gd name="connsiteY568" fmla="*/ 5681240 h 6523037"/>
                <a:gd name="connsiteX569" fmla="*/ 8106476 w 12192001"/>
                <a:gd name="connsiteY569" fmla="*/ 5410828 h 6523037"/>
                <a:gd name="connsiteX570" fmla="*/ 7835365 w 12192001"/>
                <a:gd name="connsiteY570" fmla="*/ 5140416 h 6523037"/>
                <a:gd name="connsiteX571" fmla="*/ 8119752 w 12192001"/>
                <a:gd name="connsiteY571" fmla="*/ 5139717 h 6523037"/>
                <a:gd name="connsiteX572" fmla="*/ 8390863 w 12192001"/>
                <a:gd name="connsiteY572" fmla="*/ 5410129 h 6523037"/>
                <a:gd name="connsiteX573" fmla="*/ 8120451 w 12192001"/>
                <a:gd name="connsiteY573" fmla="*/ 5681240 h 6523037"/>
                <a:gd name="connsiteX574" fmla="*/ 8384574 w 12192001"/>
                <a:gd name="connsiteY574" fmla="*/ 5681240 h 6523037"/>
                <a:gd name="connsiteX575" fmla="*/ 8654986 w 12192001"/>
                <a:gd name="connsiteY575" fmla="*/ 5410129 h 6523037"/>
                <a:gd name="connsiteX576" fmla="*/ 8383875 w 12192001"/>
                <a:gd name="connsiteY576" fmla="*/ 5139717 h 6523037"/>
                <a:gd name="connsiteX577" fmla="*/ 9488582 w 12192001"/>
                <a:gd name="connsiteY577" fmla="*/ 5139337 h 6523037"/>
                <a:gd name="connsiteX578" fmla="*/ 9488582 w 12192001"/>
                <a:gd name="connsiteY578" fmla="*/ 5139510 h 6523037"/>
                <a:gd name="connsiteX579" fmla="*/ 9759520 w 12192001"/>
                <a:gd name="connsiteY579" fmla="*/ 5409749 h 6523037"/>
                <a:gd name="connsiteX580" fmla="*/ 9489807 w 12192001"/>
                <a:gd name="connsiteY580" fmla="*/ 5680860 h 6523037"/>
                <a:gd name="connsiteX581" fmla="*/ 9753231 w 12192001"/>
                <a:gd name="connsiteY581" fmla="*/ 5680860 h 6523037"/>
                <a:gd name="connsiteX582" fmla="*/ 10023643 w 12192001"/>
                <a:gd name="connsiteY582" fmla="*/ 5409749 h 6523037"/>
                <a:gd name="connsiteX583" fmla="*/ 9889485 w 12192001"/>
                <a:gd name="connsiteY583" fmla="*/ 5276290 h 6523037"/>
                <a:gd name="connsiteX584" fmla="*/ 9752532 w 12192001"/>
                <a:gd name="connsiteY584" fmla="*/ 5139337 h 6523037"/>
                <a:gd name="connsiteX585" fmla="*/ 8668262 w 12192001"/>
                <a:gd name="connsiteY585" fmla="*/ 5139018 h 6523037"/>
                <a:gd name="connsiteX586" fmla="*/ 8939373 w 12192001"/>
                <a:gd name="connsiteY586" fmla="*/ 5409430 h 6523037"/>
                <a:gd name="connsiteX587" fmla="*/ 8668961 w 12192001"/>
                <a:gd name="connsiteY587" fmla="*/ 5680541 h 6523037"/>
                <a:gd name="connsiteX588" fmla="*/ 8867403 w 12192001"/>
                <a:gd name="connsiteY588" fmla="*/ 5680541 h 6523037"/>
                <a:gd name="connsiteX589" fmla="*/ 8932386 w 12192001"/>
                <a:gd name="connsiteY589" fmla="*/ 5680541 h 6523037"/>
                <a:gd name="connsiteX590" fmla="*/ 9203497 w 12192001"/>
                <a:gd name="connsiteY590" fmla="*/ 5409430 h 6523037"/>
                <a:gd name="connsiteX591" fmla="*/ 9069338 w 12192001"/>
                <a:gd name="connsiteY591" fmla="*/ 5275972 h 6523037"/>
                <a:gd name="connsiteX592" fmla="*/ 8932386 w 12192001"/>
                <a:gd name="connsiteY592" fmla="*/ 5139018 h 6523037"/>
                <a:gd name="connsiteX593" fmla="*/ 11134639 w 12192001"/>
                <a:gd name="connsiteY593" fmla="*/ 5138638 h 6523037"/>
                <a:gd name="connsiteX594" fmla="*/ 11263206 w 12192001"/>
                <a:gd name="connsiteY594" fmla="*/ 5267207 h 6523037"/>
                <a:gd name="connsiteX595" fmla="*/ 11405051 w 12192001"/>
                <a:gd name="connsiteY595" fmla="*/ 5409050 h 6523037"/>
                <a:gd name="connsiteX596" fmla="*/ 11134639 w 12192001"/>
                <a:gd name="connsiteY596" fmla="*/ 5680161 h 6523037"/>
                <a:gd name="connsiteX597" fmla="*/ 11398762 w 12192001"/>
                <a:gd name="connsiteY597" fmla="*/ 5680161 h 6523037"/>
                <a:gd name="connsiteX598" fmla="*/ 11669174 w 12192001"/>
                <a:gd name="connsiteY598" fmla="*/ 5409050 h 6523037"/>
                <a:gd name="connsiteX599" fmla="*/ 11664282 w 12192001"/>
                <a:gd name="connsiteY599" fmla="*/ 5404159 h 6523037"/>
                <a:gd name="connsiteX600" fmla="*/ 11398762 w 12192001"/>
                <a:gd name="connsiteY600" fmla="*/ 5138638 h 6523037"/>
                <a:gd name="connsiteX601" fmla="*/ 9215375 w 12192001"/>
                <a:gd name="connsiteY601" fmla="*/ 5138319 h 6523037"/>
                <a:gd name="connsiteX602" fmla="*/ 9484003 w 12192001"/>
                <a:gd name="connsiteY602" fmla="*/ 5406255 h 6523037"/>
                <a:gd name="connsiteX603" fmla="*/ 9745545 w 12192001"/>
                <a:gd name="connsiteY603" fmla="*/ 5406255 h 6523037"/>
                <a:gd name="connsiteX604" fmla="*/ 9476916 w 12192001"/>
                <a:gd name="connsiteY604" fmla="*/ 5138319 h 6523037"/>
                <a:gd name="connsiteX605" fmla="*/ 10584731 w 12192001"/>
                <a:gd name="connsiteY605" fmla="*/ 5137939 h 6523037"/>
                <a:gd name="connsiteX606" fmla="*/ 10855842 w 12192001"/>
                <a:gd name="connsiteY606" fmla="*/ 5407653 h 6523037"/>
                <a:gd name="connsiteX607" fmla="*/ 10853046 w 12192001"/>
                <a:gd name="connsiteY607" fmla="*/ 5410448 h 6523037"/>
                <a:gd name="connsiteX608" fmla="*/ 10762910 w 12192001"/>
                <a:gd name="connsiteY608" fmla="*/ 5501283 h 6523037"/>
                <a:gd name="connsiteX609" fmla="*/ 10585430 w 12192001"/>
                <a:gd name="connsiteY609" fmla="*/ 5678763 h 6523037"/>
                <a:gd name="connsiteX610" fmla="*/ 10849553 w 12192001"/>
                <a:gd name="connsiteY610" fmla="*/ 5678763 h 6523037"/>
                <a:gd name="connsiteX611" fmla="*/ 10938992 w 12192001"/>
                <a:gd name="connsiteY611" fmla="*/ 5589325 h 6523037"/>
                <a:gd name="connsiteX612" fmla="*/ 11119965 w 12192001"/>
                <a:gd name="connsiteY612" fmla="*/ 5408351 h 6523037"/>
                <a:gd name="connsiteX613" fmla="*/ 10848854 w 12192001"/>
                <a:gd name="connsiteY613" fmla="*/ 5137939 h 6523037"/>
                <a:gd name="connsiteX614" fmla="*/ 10036220 w 12192001"/>
                <a:gd name="connsiteY614" fmla="*/ 5137939 h 6523037"/>
                <a:gd name="connsiteX615" fmla="*/ 10037618 w 12192001"/>
                <a:gd name="connsiteY615" fmla="*/ 5139337 h 6523037"/>
                <a:gd name="connsiteX616" fmla="*/ 10307331 w 12192001"/>
                <a:gd name="connsiteY616" fmla="*/ 5408351 h 6523037"/>
                <a:gd name="connsiteX617" fmla="*/ 10036919 w 12192001"/>
                <a:gd name="connsiteY617" fmla="*/ 5679462 h 6523037"/>
                <a:gd name="connsiteX618" fmla="*/ 10301043 w 12192001"/>
                <a:gd name="connsiteY618" fmla="*/ 5679462 h 6523037"/>
                <a:gd name="connsiteX619" fmla="*/ 10571455 w 12192001"/>
                <a:gd name="connsiteY619" fmla="*/ 5408351 h 6523037"/>
                <a:gd name="connsiteX620" fmla="*/ 10565865 w 12192001"/>
                <a:gd name="connsiteY620" fmla="*/ 5403460 h 6523037"/>
                <a:gd name="connsiteX621" fmla="*/ 10300344 w 12192001"/>
                <a:gd name="connsiteY621" fmla="*/ 5137939 h 6523037"/>
                <a:gd name="connsiteX622" fmla="*/ 708011 w 12192001"/>
                <a:gd name="connsiteY622" fmla="*/ 4871971 h 6523037"/>
                <a:gd name="connsiteX623" fmla="*/ 527737 w 12192001"/>
                <a:gd name="connsiteY623" fmla="*/ 5052944 h 6523037"/>
                <a:gd name="connsiteX624" fmla="*/ 438298 w 12192001"/>
                <a:gd name="connsiteY624" fmla="*/ 5143081 h 6523037"/>
                <a:gd name="connsiteX625" fmla="*/ 572456 w 12192001"/>
                <a:gd name="connsiteY625" fmla="*/ 5276540 h 6523037"/>
                <a:gd name="connsiteX626" fmla="*/ 709409 w 12192001"/>
                <a:gd name="connsiteY626" fmla="*/ 5413494 h 6523037"/>
                <a:gd name="connsiteX627" fmla="*/ 973532 w 12192001"/>
                <a:gd name="connsiteY627" fmla="*/ 5413494 h 6523037"/>
                <a:gd name="connsiteX628" fmla="*/ 702421 w 12192001"/>
                <a:gd name="connsiteY628" fmla="*/ 5143081 h 6523037"/>
                <a:gd name="connsiteX629" fmla="*/ 703819 w 12192001"/>
                <a:gd name="connsiteY629" fmla="*/ 5141684 h 6523037"/>
                <a:gd name="connsiteX630" fmla="*/ 972135 w 12192001"/>
                <a:gd name="connsiteY630" fmla="*/ 4871971 h 6523037"/>
                <a:gd name="connsiteX631" fmla="*/ 1257220 w 12192001"/>
                <a:gd name="connsiteY631" fmla="*/ 4871272 h 6523037"/>
                <a:gd name="connsiteX632" fmla="*/ 986808 w 12192001"/>
                <a:gd name="connsiteY632" fmla="*/ 5142383 h 6523037"/>
                <a:gd name="connsiteX633" fmla="*/ 1257919 w 12192001"/>
                <a:gd name="connsiteY633" fmla="*/ 5412795 h 6523037"/>
                <a:gd name="connsiteX634" fmla="*/ 1522043 w 12192001"/>
                <a:gd name="connsiteY634" fmla="*/ 5412795 h 6523037"/>
                <a:gd name="connsiteX635" fmla="*/ 1250932 w 12192001"/>
                <a:gd name="connsiteY635" fmla="*/ 5142383 h 6523037"/>
                <a:gd name="connsiteX636" fmla="*/ 1521344 w 12192001"/>
                <a:gd name="connsiteY636" fmla="*/ 4871272 h 6523037"/>
                <a:gd name="connsiteX637" fmla="*/ 2904148 w 12192001"/>
                <a:gd name="connsiteY637" fmla="*/ 4870573 h 6523037"/>
                <a:gd name="connsiteX638" fmla="*/ 2633736 w 12192001"/>
                <a:gd name="connsiteY638" fmla="*/ 5141684 h 6523037"/>
                <a:gd name="connsiteX639" fmla="*/ 2904847 w 12192001"/>
                <a:gd name="connsiteY639" fmla="*/ 5412096 h 6523037"/>
                <a:gd name="connsiteX640" fmla="*/ 3168271 w 12192001"/>
                <a:gd name="connsiteY640" fmla="*/ 5412096 h 6523037"/>
                <a:gd name="connsiteX641" fmla="*/ 3037607 w 12192001"/>
                <a:gd name="connsiteY641" fmla="*/ 5282130 h 6523037"/>
                <a:gd name="connsiteX642" fmla="*/ 2897162 w 12192001"/>
                <a:gd name="connsiteY642" fmla="*/ 5141684 h 6523037"/>
                <a:gd name="connsiteX643" fmla="*/ 3168271 w 12192001"/>
                <a:gd name="connsiteY643" fmla="*/ 4870573 h 6523037"/>
                <a:gd name="connsiteX644" fmla="*/ 1805032 w 12192001"/>
                <a:gd name="connsiteY644" fmla="*/ 4870573 h 6523037"/>
                <a:gd name="connsiteX645" fmla="*/ 1534620 w 12192001"/>
                <a:gd name="connsiteY645" fmla="*/ 5141684 h 6523037"/>
                <a:gd name="connsiteX646" fmla="*/ 1805731 w 12192001"/>
                <a:gd name="connsiteY646" fmla="*/ 5412096 h 6523037"/>
                <a:gd name="connsiteX647" fmla="*/ 1807128 w 12192001"/>
                <a:gd name="connsiteY647" fmla="*/ 5413494 h 6523037"/>
                <a:gd name="connsiteX648" fmla="*/ 2071252 w 12192001"/>
                <a:gd name="connsiteY648" fmla="*/ 5413494 h 6523037"/>
                <a:gd name="connsiteX649" fmla="*/ 1939889 w 12192001"/>
                <a:gd name="connsiteY649" fmla="*/ 5282130 h 6523037"/>
                <a:gd name="connsiteX650" fmla="*/ 1802236 w 12192001"/>
                <a:gd name="connsiteY650" fmla="*/ 5144479 h 6523037"/>
                <a:gd name="connsiteX651" fmla="*/ 2071252 w 12192001"/>
                <a:gd name="connsiteY651" fmla="*/ 4870573 h 6523037"/>
                <a:gd name="connsiteX652" fmla="*/ 3451960 w 12192001"/>
                <a:gd name="connsiteY652" fmla="*/ 4869875 h 6523037"/>
                <a:gd name="connsiteX653" fmla="*/ 3181548 w 12192001"/>
                <a:gd name="connsiteY653" fmla="*/ 5140985 h 6523037"/>
                <a:gd name="connsiteX654" fmla="*/ 3452658 w 12192001"/>
                <a:gd name="connsiteY654" fmla="*/ 5411397 h 6523037"/>
                <a:gd name="connsiteX655" fmla="*/ 3716782 w 12192001"/>
                <a:gd name="connsiteY655" fmla="*/ 5411397 h 6523037"/>
                <a:gd name="connsiteX656" fmla="*/ 3445671 w 12192001"/>
                <a:gd name="connsiteY656" fmla="*/ 5140985 h 6523037"/>
                <a:gd name="connsiteX657" fmla="*/ 3630138 w 12192001"/>
                <a:gd name="connsiteY657" fmla="*/ 4956518 h 6523037"/>
                <a:gd name="connsiteX658" fmla="*/ 3714686 w 12192001"/>
                <a:gd name="connsiteY658" fmla="*/ 4869875 h 6523037"/>
                <a:gd name="connsiteX659" fmla="*/ 4000470 w 12192001"/>
                <a:gd name="connsiteY659" fmla="*/ 4869176 h 6523037"/>
                <a:gd name="connsiteX660" fmla="*/ 3730058 w 12192001"/>
                <a:gd name="connsiteY660" fmla="*/ 5140287 h 6523037"/>
                <a:gd name="connsiteX661" fmla="*/ 4001169 w 12192001"/>
                <a:gd name="connsiteY661" fmla="*/ 5410699 h 6523037"/>
                <a:gd name="connsiteX662" fmla="*/ 4265292 w 12192001"/>
                <a:gd name="connsiteY662" fmla="*/ 5410699 h 6523037"/>
                <a:gd name="connsiteX663" fmla="*/ 3994181 w 12192001"/>
                <a:gd name="connsiteY663" fmla="*/ 5140287 h 6523037"/>
                <a:gd name="connsiteX664" fmla="*/ 3995579 w 12192001"/>
                <a:gd name="connsiteY664" fmla="*/ 5138889 h 6523037"/>
                <a:gd name="connsiteX665" fmla="*/ 3994880 w 12192001"/>
                <a:gd name="connsiteY665" fmla="*/ 5138889 h 6523037"/>
                <a:gd name="connsiteX666" fmla="*/ 4263197 w 12192001"/>
                <a:gd name="connsiteY666" fmla="*/ 4869875 h 6523037"/>
                <a:gd name="connsiteX667" fmla="*/ 4004663 w 12192001"/>
                <a:gd name="connsiteY667" fmla="*/ 4869875 h 6523037"/>
                <a:gd name="connsiteX668" fmla="*/ 4006060 w 12192001"/>
                <a:gd name="connsiteY668" fmla="*/ 4869176 h 6523037"/>
                <a:gd name="connsiteX669" fmla="*/ 4823465 w 12192001"/>
                <a:gd name="connsiteY669" fmla="*/ 4868606 h 6523037"/>
                <a:gd name="connsiteX670" fmla="*/ 4555968 w 12192001"/>
                <a:gd name="connsiteY670" fmla="*/ 5136792 h 6523037"/>
                <a:gd name="connsiteX671" fmla="*/ 4816244 w 12192001"/>
                <a:gd name="connsiteY671" fmla="*/ 5136792 h 6523037"/>
                <a:gd name="connsiteX672" fmla="*/ 4998484 w 12192001"/>
                <a:gd name="connsiteY672" fmla="*/ 4954551 h 6523037"/>
                <a:gd name="connsiteX673" fmla="*/ 5084429 w 12192001"/>
                <a:gd name="connsiteY673" fmla="*/ 4868606 h 6523037"/>
                <a:gd name="connsiteX674" fmla="*/ 4548281 w 12192001"/>
                <a:gd name="connsiteY674" fmla="*/ 4868477 h 6523037"/>
                <a:gd name="connsiteX675" fmla="*/ 4367308 w 12192001"/>
                <a:gd name="connsiteY675" fmla="*/ 5049450 h 6523037"/>
                <a:gd name="connsiteX676" fmla="*/ 4368007 w 12192001"/>
                <a:gd name="connsiteY676" fmla="*/ 5050149 h 6523037"/>
                <a:gd name="connsiteX677" fmla="*/ 4278568 w 12192001"/>
                <a:gd name="connsiteY677" fmla="*/ 5140287 h 6523037"/>
                <a:gd name="connsiteX678" fmla="*/ 4412727 w 12192001"/>
                <a:gd name="connsiteY678" fmla="*/ 5273746 h 6523037"/>
                <a:gd name="connsiteX679" fmla="*/ 4548980 w 12192001"/>
                <a:gd name="connsiteY679" fmla="*/ 5410000 h 6523037"/>
                <a:gd name="connsiteX680" fmla="*/ 4810394 w 12192001"/>
                <a:gd name="connsiteY680" fmla="*/ 5410000 h 6523037"/>
                <a:gd name="connsiteX681" fmla="*/ 4665187 w 12192001"/>
                <a:gd name="connsiteY681" fmla="*/ 5264791 h 6523037"/>
                <a:gd name="connsiteX682" fmla="*/ 4665187 w 12192001"/>
                <a:gd name="connsiteY682" fmla="*/ 5262463 h 6523037"/>
                <a:gd name="connsiteX683" fmla="*/ 4541993 w 12192001"/>
                <a:gd name="connsiteY683" fmla="*/ 5139588 h 6523037"/>
                <a:gd name="connsiteX684" fmla="*/ 4665187 w 12192001"/>
                <a:gd name="connsiteY684" fmla="*/ 5016077 h 6523037"/>
                <a:gd name="connsiteX685" fmla="*/ 4665187 w 12192001"/>
                <a:gd name="connsiteY685" fmla="*/ 5013245 h 6523037"/>
                <a:gd name="connsiteX686" fmla="*/ 4809274 w 12192001"/>
                <a:gd name="connsiteY686" fmla="*/ 4868477 h 6523037"/>
                <a:gd name="connsiteX687" fmla="*/ 2621159 w 12192001"/>
                <a:gd name="connsiteY687" fmla="*/ 4868477 h 6523037"/>
                <a:gd name="connsiteX688" fmla="*/ 2354940 w 12192001"/>
                <a:gd name="connsiteY688" fmla="*/ 4871272 h 6523037"/>
                <a:gd name="connsiteX689" fmla="*/ 2084528 w 12192001"/>
                <a:gd name="connsiteY689" fmla="*/ 5142383 h 6523037"/>
                <a:gd name="connsiteX690" fmla="*/ 2355639 w 12192001"/>
                <a:gd name="connsiteY690" fmla="*/ 5412795 h 6523037"/>
                <a:gd name="connsiteX691" fmla="*/ 2619762 w 12192001"/>
                <a:gd name="connsiteY691" fmla="*/ 5412795 h 6523037"/>
                <a:gd name="connsiteX692" fmla="*/ 2348651 w 12192001"/>
                <a:gd name="connsiteY692" fmla="*/ 5142383 h 6523037"/>
                <a:gd name="connsiteX693" fmla="*/ 5368118 w 12192001"/>
                <a:gd name="connsiteY693" fmla="*/ 4867209 h 6523037"/>
                <a:gd name="connsiteX694" fmla="*/ 5187844 w 12192001"/>
                <a:gd name="connsiteY694" fmla="*/ 5048182 h 6523037"/>
                <a:gd name="connsiteX695" fmla="*/ 5098404 w 12192001"/>
                <a:gd name="connsiteY695" fmla="*/ 5138319 h 6523037"/>
                <a:gd name="connsiteX696" fmla="*/ 5232563 w 12192001"/>
                <a:gd name="connsiteY696" fmla="*/ 5271778 h 6523037"/>
                <a:gd name="connsiteX697" fmla="*/ 5369515 w 12192001"/>
                <a:gd name="connsiteY697" fmla="*/ 5408732 h 6523037"/>
                <a:gd name="connsiteX698" fmla="*/ 5633638 w 12192001"/>
                <a:gd name="connsiteY698" fmla="*/ 5408732 h 6523037"/>
                <a:gd name="connsiteX699" fmla="*/ 5362527 w 12192001"/>
                <a:gd name="connsiteY699" fmla="*/ 5138319 h 6523037"/>
                <a:gd name="connsiteX700" fmla="*/ 5363925 w 12192001"/>
                <a:gd name="connsiteY700" fmla="*/ 5136922 h 6523037"/>
                <a:gd name="connsiteX701" fmla="*/ 5632241 w 12192001"/>
                <a:gd name="connsiteY701" fmla="*/ 4867209 h 6523037"/>
                <a:gd name="connsiteX702" fmla="*/ 5917326 w 12192001"/>
                <a:gd name="connsiteY702" fmla="*/ 4866510 h 6523037"/>
                <a:gd name="connsiteX703" fmla="*/ 5646914 w 12192001"/>
                <a:gd name="connsiteY703" fmla="*/ 5137621 h 6523037"/>
                <a:gd name="connsiteX704" fmla="*/ 5918025 w 12192001"/>
                <a:gd name="connsiteY704" fmla="*/ 5408033 h 6523037"/>
                <a:gd name="connsiteX705" fmla="*/ 6182150 w 12192001"/>
                <a:gd name="connsiteY705" fmla="*/ 5408033 h 6523037"/>
                <a:gd name="connsiteX706" fmla="*/ 5911038 w 12192001"/>
                <a:gd name="connsiteY706" fmla="*/ 5137621 h 6523037"/>
                <a:gd name="connsiteX707" fmla="*/ 6181450 w 12192001"/>
                <a:gd name="connsiteY707" fmla="*/ 4866510 h 6523037"/>
                <a:gd name="connsiteX708" fmla="*/ 7564254 w 12192001"/>
                <a:gd name="connsiteY708" fmla="*/ 4865811 h 6523037"/>
                <a:gd name="connsiteX709" fmla="*/ 7293842 w 12192001"/>
                <a:gd name="connsiteY709" fmla="*/ 5136922 h 6523037"/>
                <a:gd name="connsiteX710" fmla="*/ 7564953 w 12192001"/>
                <a:gd name="connsiteY710" fmla="*/ 5407334 h 6523037"/>
                <a:gd name="connsiteX711" fmla="*/ 7828377 w 12192001"/>
                <a:gd name="connsiteY711" fmla="*/ 5407334 h 6523037"/>
                <a:gd name="connsiteX712" fmla="*/ 7697713 w 12192001"/>
                <a:gd name="connsiteY712" fmla="*/ 5277368 h 6523037"/>
                <a:gd name="connsiteX713" fmla="*/ 7557268 w 12192001"/>
                <a:gd name="connsiteY713" fmla="*/ 5136922 h 6523037"/>
                <a:gd name="connsiteX714" fmla="*/ 7828377 w 12192001"/>
                <a:gd name="connsiteY714" fmla="*/ 4865811 h 6523037"/>
                <a:gd name="connsiteX715" fmla="*/ 6465139 w 12192001"/>
                <a:gd name="connsiteY715" fmla="*/ 4865811 h 6523037"/>
                <a:gd name="connsiteX716" fmla="*/ 6194726 w 12192001"/>
                <a:gd name="connsiteY716" fmla="*/ 5136922 h 6523037"/>
                <a:gd name="connsiteX717" fmla="*/ 6465837 w 12192001"/>
                <a:gd name="connsiteY717" fmla="*/ 5407334 h 6523037"/>
                <a:gd name="connsiteX718" fmla="*/ 6467235 w 12192001"/>
                <a:gd name="connsiteY718" fmla="*/ 5408732 h 6523037"/>
                <a:gd name="connsiteX719" fmla="*/ 6731358 w 12192001"/>
                <a:gd name="connsiteY719" fmla="*/ 5408732 h 6523037"/>
                <a:gd name="connsiteX720" fmla="*/ 6599996 w 12192001"/>
                <a:gd name="connsiteY720" fmla="*/ 5277368 h 6523037"/>
                <a:gd name="connsiteX721" fmla="*/ 6462342 w 12192001"/>
                <a:gd name="connsiteY721" fmla="*/ 5139717 h 6523037"/>
                <a:gd name="connsiteX722" fmla="*/ 6731358 w 12192001"/>
                <a:gd name="connsiteY722" fmla="*/ 4865811 h 6523037"/>
                <a:gd name="connsiteX723" fmla="*/ 9481988 w 12192001"/>
                <a:gd name="connsiteY723" fmla="*/ 4865431 h 6523037"/>
                <a:gd name="connsiteX724" fmla="*/ 9216074 w 12192001"/>
                <a:gd name="connsiteY724" fmla="*/ 5132030 h 6523037"/>
                <a:gd name="connsiteX725" fmla="*/ 9478247 w 12192001"/>
                <a:gd name="connsiteY725" fmla="*/ 5132030 h 6523037"/>
                <a:gd name="connsiteX726" fmla="*/ 9658901 w 12192001"/>
                <a:gd name="connsiteY726" fmla="*/ 4951376 h 6523037"/>
                <a:gd name="connsiteX727" fmla="*/ 9744846 w 12192001"/>
                <a:gd name="connsiteY727" fmla="*/ 4865431 h 6523037"/>
                <a:gd name="connsiteX728" fmla="*/ 8112066 w 12192001"/>
                <a:gd name="connsiteY728" fmla="*/ 4865113 h 6523037"/>
                <a:gd name="connsiteX729" fmla="*/ 7841654 w 12192001"/>
                <a:gd name="connsiteY729" fmla="*/ 5136223 h 6523037"/>
                <a:gd name="connsiteX730" fmla="*/ 8112764 w 12192001"/>
                <a:gd name="connsiteY730" fmla="*/ 5406635 h 6523037"/>
                <a:gd name="connsiteX731" fmla="*/ 8376888 w 12192001"/>
                <a:gd name="connsiteY731" fmla="*/ 5406635 h 6523037"/>
                <a:gd name="connsiteX732" fmla="*/ 8105777 w 12192001"/>
                <a:gd name="connsiteY732" fmla="*/ 5136223 h 6523037"/>
                <a:gd name="connsiteX733" fmla="*/ 8290244 w 12192001"/>
                <a:gd name="connsiteY733" fmla="*/ 4951756 h 6523037"/>
                <a:gd name="connsiteX734" fmla="*/ 8374792 w 12192001"/>
                <a:gd name="connsiteY734" fmla="*/ 4865113 h 6523037"/>
                <a:gd name="connsiteX735" fmla="*/ 8660576 w 12192001"/>
                <a:gd name="connsiteY735" fmla="*/ 4864414 h 6523037"/>
                <a:gd name="connsiteX736" fmla="*/ 8390164 w 12192001"/>
                <a:gd name="connsiteY736" fmla="*/ 5135525 h 6523037"/>
                <a:gd name="connsiteX737" fmla="*/ 8661275 w 12192001"/>
                <a:gd name="connsiteY737" fmla="*/ 5405937 h 6523037"/>
                <a:gd name="connsiteX738" fmla="*/ 8925398 w 12192001"/>
                <a:gd name="connsiteY738" fmla="*/ 5405937 h 6523037"/>
                <a:gd name="connsiteX739" fmla="*/ 8654287 w 12192001"/>
                <a:gd name="connsiteY739" fmla="*/ 5135525 h 6523037"/>
                <a:gd name="connsiteX740" fmla="*/ 8655685 w 12192001"/>
                <a:gd name="connsiteY740" fmla="*/ 5134127 h 6523037"/>
                <a:gd name="connsiteX741" fmla="*/ 8654986 w 12192001"/>
                <a:gd name="connsiteY741" fmla="*/ 5134127 h 6523037"/>
                <a:gd name="connsiteX742" fmla="*/ 8923303 w 12192001"/>
                <a:gd name="connsiteY742" fmla="*/ 4865113 h 6523037"/>
                <a:gd name="connsiteX743" fmla="*/ 8664769 w 12192001"/>
                <a:gd name="connsiteY743" fmla="*/ 4865113 h 6523037"/>
                <a:gd name="connsiteX744" fmla="*/ 8666166 w 12192001"/>
                <a:gd name="connsiteY744" fmla="*/ 4864414 h 6523037"/>
                <a:gd name="connsiteX745" fmla="*/ 10028534 w 12192001"/>
                <a:gd name="connsiteY745" fmla="*/ 4864034 h 6523037"/>
                <a:gd name="connsiteX746" fmla="*/ 9848260 w 12192001"/>
                <a:gd name="connsiteY746" fmla="*/ 5045007 h 6523037"/>
                <a:gd name="connsiteX747" fmla="*/ 9758821 w 12192001"/>
                <a:gd name="connsiteY747" fmla="*/ 5135144 h 6523037"/>
                <a:gd name="connsiteX748" fmla="*/ 9892979 w 12192001"/>
                <a:gd name="connsiteY748" fmla="*/ 5268603 h 6523037"/>
                <a:gd name="connsiteX749" fmla="*/ 10029932 w 12192001"/>
                <a:gd name="connsiteY749" fmla="*/ 5405557 h 6523037"/>
                <a:gd name="connsiteX750" fmla="*/ 10294055 w 12192001"/>
                <a:gd name="connsiteY750" fmla="*/ 5405557 h 6523037"/>
                <a:gd name="connsiteX751" fmla="*/ 10022944 w 12192001"/>
                <a:gd name="connsiteY751" fmla="*/ 5135144 h 6523037"/>
                <a:gd name="connsiteX752" fmla="*/ 10024342 w 12192001"/>
                <a:gd name="connsiteY752" fmla="*/ 5133747 h 6523037"/>
                <a:gd name="connsiteX753" fmla="*/ 10292658 w 12192001"/>
                <a:gd name="connsiteY753" fmla="*/ 4864034 h 6523037"/>
                <a:gd name="connsiteX754" fmla="*/ 9208387 w 12192001"/>
                <a:gd name="connsiteY754" fmla="*/ 4863715 h 6523037"/>
                <a:gd name="connsiteX755" fmla="*/ 9027414 w 12192001"/>
                <a:gd name="connsiteY755" fmla="*/ 5044688 h 6523037"/>
                <a:gd name="connsiteX756" fmla="*/ 9028113 w 12192001"/>
                <a:gd name="connsiteY756" fmla="*/ 5045387 h 6523037"/>
                <a:gd name="connsiteX757" fmla="*/ 8938674 w 12192001"/>
                <a:gd name="connsiteY757" fmla="*/ 5135525 h 6523037"/>
                <a:gd name="connsiteX758" fmla="*/ 9072833 w 12192001"/>
                <a:gd name="connsiteY758" fmla="*/ 5268984 h 6523037"/>
                <a:gd name="connsiteX759" fmla="*/ 9209086 w 12192001"/>
                <a:gd name="connsiteY759" fmla="*/ 5405238 h 6523037"/>
                <a:gd name="connsiteX760" fmla="*/ 9469224 w 12192001"/>
                <a:gd name="connsiteY760" fmla="*/ 5405238 h 6523037"/>
                <a:gd name="connsiteX761" fmla="*/ 9325603 w 12192001"/>
                <a:gd name="connsiteY761" fmla="*/ 5261616 h 6523037"/>
                <a:gd name="connsiteX762" fmla="*/ 9325603 w 12192001"/>
                <a:gd name="connsiteY762" fmla="*/ 5258012 h 6523037"/>
                <a:gd name="connsiteX763" fmla="*/ 9202099 w 12192001"/>
                <a:gd name="connsiteY763" fmla="*/ 5134826 h 6523037"/>
                <a:gd name="connsiteX764" fmla="*/ 9325603 w 12192001"/>
                <a:gd name="connsiteY764" fmla="*/ 5011003 h 6523037"/>
                <a:gd name="connsiteX765" fmla="*/ 9325603 w 12192001"/>
                <a:gd name="connsiteY765" fmla="*/ 5010070 h 6523037"/>
                <a:gd name="connsiteX766" fmla="*/ 9471271 w 12192001"/>
                <a:gd name="connsiteY766" fmla="*/ 4863715 h 6523037"/>
                <a:gd name="connsiteX767" fmla="*/ 7281265 w 12192001"/>
                <a:gd name="connsiteY767" fmla="*/ 4863715 h 6523037"/>
                <a:gd name="connsiteX768" fmla="*/ 7015046 w 12192001"/>
                <a:gd name="connsiteY768" fmla="*/ 4866510 h 6523037"/>
                <a:gd name="connsiteX769" fmla="*/ 6744635 w 12192001"/>
                <a:gd name="connsiteY769" fmla="*/ 5137621 h 6523037"/>
                <a:gd name="connsiteX770" fmla="*/ 7015746 w 12192001"/>
                <a:gd name="connsiteY770" fmla="*/ 5408033 h 6523037"/>
                <a:gd name="connsiteX771" fmla="*/ 7279868 w 12192001"/>
                <a:gd name="connsiteY771" fmla="*/ 5408033 h 6523037"/>
                <a:gd name="connsiteX772" fmla="*/ 7008758 w 12192001"/>
                <a:gd name="connsiteY772" fmla="*/ 5137621 h 6523037"/>
                <a:gd name="connsiteX773" fmla="*/ 10577743 w 12192001"/>
                <a:gd name="connsiteY773" fmla="*/ 4863335 h 6523037"/>
                <a:gd name="connsiteX774" fmla="*/ 10307331 w 12192001"/>
                <a:gd name="connsiteY774" fmla="*/ 5134446 h 6523037"/>
                <a:gd name="connsiteX775" fmla="*/ 10578442 w 12192001"/>
                <a:gd name="connsiteY775" fmla="*/ 5404858 h 6523037"/>
                <a:gd name="connsiteX776" fmla="*/ 10842566 w 12192001"/>
                <a:gd name="connsiteY776" fmla="*/ 5404858 h 6523037"/>
                <a:gd name="connsiteX777" fmla="*/ 10571455 w 12192001"/>
                <a:gd name="connsiteY777" fmla="*/ 5134446 h 6523037"/>
                <a:gd name="connsiteX778" fmla="*/ 10841867 w 12192001"/>
                <a:gd name="connsiteY778" fmla="*/ 4863335 h 6523037"/>
                <a:gd name="connsiteX779" fmla="*/ 11125555 w 12192001"/>
                <a:gd name="connsiteY779" fmla="*/ 4862636 h 6523037"/>
                <a:gd name="connsiteX780" fmla="*/ 10855143 w 12192001"/>
                <a:gd name="connsiteY780" fmla="*/ 5133747 h 6523037"/>
                <a:gd name="connsiteX781" fmla="*/ 11126254 w 12192001"/>
                <a:gd name="connsiteY781" fmla="*/ 5404159 h 6523037"/>
                <a:gd name="connsiteX782" fmla="*/ 11127651 w 12192001"/>
                <a:gd name="connsiteY782" fmla="*/ 5405557 h 6523037"/>
                <a:gd name="connsiteX783" fmla="*/ 11391775 w 12192001"/>
                <a:gd name="connsiteY783" fmla="*/ 5405557 h 6523037"/>
                <a:gd name="connsiteX784" fmla="*/ 11260412 w 12192001"/>
                <a:gd name="connsiteY784" fmla="*/ 5274193 h 6523037"/>
                <a:gd name="connsiteX785" fmla="*/ 11122759 w 12192001"/>
                <a:gd name="connsiteY785" fmla="*/ 5136542 h 6523037"/>
                <a:gd name="connsiteX786" fmla="*/ 11391775 w 12192001"/>
                <a:gd name="connsiteY786" fmla="*/ 4862636 h 6523037"/>
                <a:gd name="connsiteX787" fmla="*/ 11941682 w 12192001"/>
                <a:gd name="connsiteY787" fmla="*/ 4860540 h 6523037"/>
                <a:gd name="connsiteX788" fmla="*/ 11675463 w 12192001"/>
                <a:gd name="connsiteY788" fmla="*/ 4863335 h 6523037"/>
                <a:gd name="connsiteX789" fmla="*/ 11405051 w 12192001"/>
                <a:gd name="connsiteY789" fmla="*/ 5134446 h 6523037"/>
                <a:gd name="connsiteX790" fmla="*/ 11676162 w 12192001"/>
                <a:gd name="connsiteY790" fmla="*/ 5404858 h 6523037"/>
                <a:gd name="connsiteX791" fmla="*/ 11940285 w 12192001"/>
                <a:gd name="connsiteY791" fmla="*/ 5404858 h 6523037"/>
                <a:gd name="connsiteX792" fmla="*/ 11669174 w 12192001"/>
                <a:gd name="connsiteY792" fmla="*/ 5134446 h 6523037"/>
                <a:gd name="connsiteX793" fmla="*/ 166488 w 12192001"/>
                <a:gd name="connsiteY793" fmla="*/ 4598764 h 6523037"/>
                <a:gd name="connsiteX794" fmla="*/ 437599 w 12192001"/>
                <a:gd name="connsiteY794" fmla="*/ 4869176 h 6523037"/>
                <a:gd name="connsiteX795" fmla="*/ 434805 w 12192001"/>
                <a:gd name="connsiteY795" fmla="*/ 4871971 h 6523037"/>
                <a:gd name="connsiteX796" fmla="*/ 344667 w 12192001"/>
                <a:gd name="connsiteY796" fmla="*/ 4962807 h 6523037"/>
                <a:gd name="connsiteX797" fmla="*/ 167187 w 12192001"/>
                <a:gd name="connsiteY797" fmla="*/ 5139588 h 6523037"/>
                <a:gd name="connsiteX798" fmla="*/ 431311 w 12192001"/>
                <a:gd name="connsiteY798" fmla="*/ 5139588 h 6523037"/>
                <a:gd name="connsiteX799" fmla="*/ 520749 w 12192001"/>
                <a:gd name="connsiteY799" fmla="*/ 5050149 h 6523037"/>
                <a:gd name="connsiteX800" fmla="*/ 701722 w 12192001"/>
                <a:gd name="connsiteY800" fmla="*/ 4869176 h 6523037"/>
                <a:gd name="connsiteX801" fmla="*/ 430612 w 12192001"/>
                <a:gd name="connsiteY801" fmla="*/ 4598764 h 6523037"/>
                <a:gd name="connsiteX802" fmla="*/ 715697 w 12192001"/>
                <a:gd name="connsiteY802" fmla="*/ 4598065 h 6523037"/>
                <a:gd name="connsiteX803" fmla="*/ 845663 w 12192001"/>
                <a:gd name="connsiteY803" fmla="*/ 4728030 h 6523037"/>
                <a:gd name="connsiteX804" fmla="*/ 986109 w 12192001"/>
                <a:gd name="connsiteY804" fmla="*/ 4867778 h 6523037"/>
                <a:gd name="connsiteX805" fmla="*/ 715697 w 12192001"/>
                <a:gd name="connsiteY805" fmla="*/ 5138889 h 6523037"/>
                <a:gd name="connsiteX806" fmla="*/ 979821 w 12192001"/>
                <a:gd name="connsiteY806" fmla="*/ 5138889 h 6523037"/>
                <a:gd name="connsiteX807" fmla="*/ 1250932 w 12192001"/>
                <a:gd name="connsiteY807" fmla="*/ 4868477 h 6523037"/>
                <a:gd name="connsiteX808" fmla="*/ 979821 w 12192001"/>
                <a:gd name="connsiteY808" fmla="*/ 4598065 h 6523037"/>
                <a:gd name="connsiteX809" fmla="*/ 2911136 w 12192001"/>
                <a:gd name="connsiteY809" fmla="*/ 4597366 h 6523037"/>
                <a:gd name="connsiteX810" fmla="*/ 3040403 w 12192001"/>
                <a:gd name="connsiteY810" fmla="*/ 4725236 h 6523037"/>
                <a:gd name="connsiteX811" fmla="*/ 3040403 w 12192001"/>
                <a:gd name="connsiteY811" fmla="*/ 4725935 h 6523037"/>
                <a:gd name="connsiteX812" fmla="*/ 3182246 w 12192001"/>
                <a:gd name="connsiteY812" fmla="*/ 4867778 h 6523037"/>
                <a:gd name="connsiteX813" fmla="*/ 2911834 w 12192001"/>
                <a:gd name="connsiteY813" fmla="*/ 5138889 h 6523037"/>
                <a:gd name="connsiteX814" fmla="*/ 3175259 w 12192001"/>
                <a:gd name="connsiteY814" fmla="*/ 5138889 h 6523037"/>
                <a:gd name="connsiteX815" fmla="*/ 3445671 w 12192001"/>
                <a:gd name="connsiteY815" fmla="*/ 4867778 h 6523037"/>
                <a:gd name="connsiteX816" fmla="*/ 3440081 w 12192001"/>
                <a:gd name="connsiteY816" fmla="*/ 4862188 h 6523037"/>
                <a:gd name="connsiteX817" fmla="*/ 3439382 w 12192001"/>
                <a:gd name="connsiteY817" fmla="*/ 4862188 h 6523037"/>
                <a:gd name="connsiteX818" fmla="*/ 3173862 w 12192001"/>
                <a:gd name="connsiteY818" fmla="*/ 4597366 h 6523037"/>
                <a:gd name="connsiteX819" fmla="*/ 1813417 w 12192001"/>
                <a:gd name="connsiteY819" fmla="*/ 4597366 h 6523037"/>
                <a:gd name="connsiteX820" fmla="*/ 1815507 w 12192001"/>
                <a:gd name="connsiteY820" fmla="*/ 4600154 h 6523037"/>
                <a:gd name="connsiteX821" fmla="*/ 1814814 w 12192001"/>
                <a:gd name="connsiteY821" fmla="*/ 4599463 h 6523037"/>
                <a:gd name="connsiteX822" fmla="*/ 1815513 w 12192001"/>
                <a:gd name="connsiteY822" fmla="*/ 4600162 h 6523037"/>
                <a:gd name="connsiteX823" fmla="*/ 1815507 w 12192001"/>
                <a:gd name="connsiteY823" fmla="*/ 4600154 h 6523037"/>
                <a:gd name="connsiteX824" fmla="*/ 2074046 w 12192001"/>
                <a:gd name="connsiteY824" fmla="*/ 4857996 h 6523037"/>
                <a:gd name="connsiteX825" fmla="*/ 2083829 w 12192001"/>
                <a:gd name="connsiteY825" fmla="*/ 4867079 h 6523037"/>
                <a:gd name="connsiteX826" fmla="*/ 2085925 w 12192001"/>
                <a:gd name="connsiteY826" fmla="*/ 4869176 h 6523037"/>
                <a:gd name="connsiteX827" fmla="*/ 1821102 w 12192001"/>
                <a:gd name="connsiteY827" fmla="*/ 5138889 h 6523037"/>
                <a:gd name="connsiteX828" fmla="*/ 2080335 w 12192001"/>
                <a:gd name="connsiteY828" fmla="*/ 5139588 h 6523037"/>
                <a:gd name="connsiteX829" fmla="*/ 2350049 w 12192001"/>
                <a:gd name="connsiteY829" fmla="*/ 4869176 h 6523037"/>
                <a:gd name="connsiteX830" fmla="*/ 2214493 w 12192001"/>
                <a:gd name="connsiteY830" fmla="*/ 4734319 h 6523037"/>
                <a:gd name="connsiteX831" fmla="*/ 2197724 w 12192001"/>
                <a:gd name="connsiteY831" fmla="*/ 4717549 h 6523037"/>
                <a:gd name="connsiteX832" fmla="*/ 2078239 w 12192001"/>
                <a:gd name="connsiteY832" fmla="*/ 4598764 h 6523037"/>
                <a:gd name="connsiteX833" fmla="*/ 2074046 w 12192001"/>
                <a:gd name="connsiteY833" fmla="*/ 4597366 h 6523037"/>
                <a:gd name="connsiteX834" fmla="*/ 1263509 w 12192001"/>
                <a:gd name="connsiteY834" fmla="*/ 4597366 h 6523037"/>
                <a:gd name="connsiteX835" fmla="*/ 1534620 w 12192001"/>
                <a:gd name="connsiteY835" fmla="*/ 4867778 h 6523037"/>
                <a:gd name="connsiteX836" fmla="*/ 1264208 w 12192001"/>
                <a:gd name="connsiteY836" fmla="*/ 5138889 h 6523037"/>
                <a:gd name="connsiteX837" fmla="*/ 1528331 w 12192001"/>
                <a:gd name="connsiteY837" fmla="*/ 5138889 h 6523037"/>
                <a:gd name="connsiteX838" fmla="*/ 1798743 w 12192001"/>
                <a:gd name="connsiteY838" fmla="*/ 4867778 h 6523037"/>
                <a:gd name="connsiteX839" fmla="*/ 1527632 w 12192001"/>
                <a:gd name="connsiteY839" fmla="*/ 4597366 h 6523037"/>
                <a:gd name="connsiteX840" fmla="*/ 2626749 w 12192001"/>
                <a:gd name="connsiteY840" fmla="*/ 4595968 h 6523037"/>
                <a:gd name="connsiteX841" fmla="*/ 2363324 w 12192001"/>
                <a:gd name="connsiteY841" fmla="*/ 4596667 h 6523037"/>
                <a:gd name="connsiteX842" fmla="*/ 2632339 w 12192001"/>
                <a:gd name="connsiteY842" fmla="*/ 4864984 h 6523037"/>
                <a:gd name="connsiteX843" fmla="*/ 2631641 w 12192001"/>
                <a:gd name="connsiteY843" fmla="*/ 4865683 h 6523037"/>
                <a:gd name="connsiteX844" fmla="*/ 2633038 w 12192001"/>
                <a:gd name="connsiteY844" fmla="*/ 4867079 h 6523037"/>
                <a:gd name="connsiteX845" fmla="*/ 2362625 w 12192001"/>
                <a:gd name="connsiteY845" fmla="*/ 5138190 h 6523037"/>
                <a:gd name="connsiteX846" fmla="*/ 2626749 w 12192001"/>
                <a:gd name="connsiteY846" fmla="*/ 5138190 h 6523037"/>
                <a:gd name="connsiteX847" fmla="*/ 2716886 w 12192001"/>
                <a:gd name="connsiteY847" fmla="*/ 5048053 h 6523037"/>
                <a:gd name="connsiteX848" fmla="*/ 2896463 w 12192001"/>
                <a:gd name="connsiteY848" fmla="*/ 4864984 h 6523037"/>
                <a:gd name="connsiteX849" fmla="*/ 4555270 w 12192001"/>
                <a:gd name="connsiteY849" fmla="*/ 4595271 h 6523037"/>
                <a:gd name="connsiteX850" fmla="*/ 4822299 w 12192001"/>
                <a:gd name="connsiteY850" fmla="*/ 4861613 h 6523037"/>
                <a:gd name="connsiteX851" fmla="*/ 5084429 w 12192001"/>
                <a:gd name="connsiteY851" fmla="*/ 4860921 h 6523037"/>
                <a:gd name="connsiteX852" fmla="*/ 4818093 w 12192001"/>
                <a:gd name="connsiteY852" fmla="*/ 4595271 h 6523037"/>
                <a:gd name="connsiteX853" fmla="*/ 4006759 w 12192001"/>
                <a:gd name="connsiteY853" fmla="*/ 4595271 h 6523037"/>
                <a:gd name="connsiteX854" fmla="*/ 4136725 w 12192001"/>
                <a:gd name="connsiteY854" fmla="*/ 4724537 h 6523037"/>
                <a:gd name="connsiteX855" fmla="*/ 4277172 w 12192001"/>
                <a:gd name="connsiteY855" fmla="*/ 4864984 h 6523037"/>
                <a:gd name="connsiteX856" fmla="*/ 4184238 w 12192001"/>
                <a:gd name="connsiteY856" fmla="*/ 4958615 h 6523037"/>
                <a:gd name="connsiteX857" fmla="*/ 4184937 w 12192001"/>
                <a:gd name="connsiteY857" fmla="*/ 4959313 h 6523037"/>
                <a:gd name="connsiteX858" fmla="*/ 4008156 w 12192001"/>
                <a:gd name="connsiteY858" fmla="*/ 5136792 h 6523037"/>
                <a:gd name="connsiteX859" fmla="*/ 4270883 w 12192001"/>
                <a:gd name="connsiteY859" fmla="*/ 5136792 h 6523037"/>
                <a:gd name="connsiteX860" fmla="*/ 4541295 w 12192001"/>
                <a:gd name="connsiteY860" fmla="*/ 4865683 h 6523037"/>
                <a:gd name="connsiteX861" fmla="*/ 4270183 w 12192001"/>
                <a:gd name="connsiteY861" fmla="*/ 4595271 h 6523037"/>
                <a:gd name="connsiteX862" fmla="*/ 3458248 w 12192001"/>
                <a:gd name="connsiteY862" fmla="*/ 4595271 h 6523037"/>
                <a:gd name="connsiteX863" fmla="*/ 3729359 w 12192001"/>
                <a:gd name="connsiteY863" fmla="*/ 4865683 h 6523037"/>
                <a:gd name="connsiteX864" fmla="*/ 3730058 w 12192001"/>
                <a:gd name="connsiteY864" fmla="*/ 4866380 h 6523037"/>
                <a:gd name="connsiteX865" fmla="*/ 3459646 w 12192001"/>
                <a:gd name="connsiteY865" fmla="*/ 5137491 h 6523037"/>
                <a:gd name="connsiteX866" fmla="*/ 3723769 w 12192001"/>
                <a:gd name="connsiteY866" fmla="*/ 5137491 h 6523037"/>
                <a:gd name="connsiteX867" fmla="*/ 3813208 w 12192001"/>
                <a:gd name="connsiteY867" fmla="*/ 5047355 h 6523037"/>
                <a:gd name="connsiteX868" fmla="*/ 3812509 w 12192001"/>
                <a:gd name="connsiteY868" fmla="*/ 5047355 h 6523037"/>
                <a:gd name="connsiteX869" fmla="*/ 3993483 w 12192001"/>
                <a:gd name="connsiteY869" fmla="*/ 4866380 h 6523037"/>
                <a:gd name="connsiteX870" fmla="*/ 3988591 w 12192001"/>
                <a:gd name="connsiteY870" fmla="*/ 4860791 h 6523037"/>
                <a:gd name="connsiteX871" fmla="*/ 3722372 w 12192001"/>
                <a:gd name="connsiteY871" fmla="*/ 4595271 h 6523037"/>
                <a:gd name="connsiteX872" fmla="*/ 4828477 w 12192001"/>
                <a:gd name="connsiteY872" fmla="*/ 4594002 h 6523037"/>
                <a:gd name="connsiteX873" fmla="*/ 4828477 w 12192001"/>
                <a:gd name="connsiteY873" fmla="*/ 4595879 h 6523037"/>
                <a:gd name="connsiteX874" fmla="*/ 5097706 w 12192001"/>
                <a:gd name="connsiteY874" fmla="*/ 4864414 h 6523037"/>
                <a:gd name="connsiteX875" fmla="*/ 5094911 w 12192001"/>
                <a:gd name="connsiteY875" fmla="*/ 4867209 h 6523037"/>
                <a:gd name="connsiteX876" fmla="*/ 5004773 w 12192001"/>
                <a:gd name="connsiteY876" fmla="*/ 4958045 h 6523037"/>
                <a:gd name="connsiteX877" fmla="*/ 4828477 w 12192001"/>
                <a:gd name="connsiteY877" fmla="*/ 5133648 h 6523037"/>
                <a:gd name="connsiteX878" fmla="*/ 4828477 w 12192001"/>
                <a:gd name="connsiteY878" fmla="*/ 5134826 h 6523037"/>
                <a:gd name="connsiteX879" fmla="*/ 5091417 w 12192001"/>
                <a:gd name="connsiteY879" fmla="*/ 5134826 h 6523037"/>
                <a:gd name="connsiteX880" fmla="*/ 5180855 w 12192001"/>
                <a:gd name="connsiteY880" fmla="*/ 5045387 h 6523037"/>
                <a:gd name="connsiteX881" fmla="*/ 5361829 w 12192001"/>
                <a:gd name="connsiteY881" fmla="*/ 4864414 h 6523037"/>
                <a:gd name="connsiteX882" fmla="*/ 5090718 w 12192001"/>
                <a:gd name="connsiteY882" fmla="*/ 4594002 h 6523037"/>
                <a:gd name="connsiteX883" fmla="*/ 5375803 w 12192001"/>
                <a:gd name="connsiteY883" fmla="*/ 4593303 h 6523037"/>
                <a:gd name="connsiteX884" fmla="*/ 5505770 w 12192001"/>
                <a:gd name="connsiteY884" fmla="*/ 4723268 h 6523037"/>
                <a:gd name="connsiteX885" fmla="*/ 5646216 w 12192001"/>
                <a:gd name="connsiteY885" fmla="*/ 4863016 h 6523037"/>
                <a:gd name="connsiteX886" fmla="*/ 5375803 w 12192001"/>
                <a:gd name="connsiteY886" fmla="*/ 5134127 h 6523037"/>
                <a:gd name="connsiteX887" fmla="*/ 5639927 w 12192001"/>
                <a:gd name="connsiteY887" fmla="*/ 5134127 h 6523037"/>
                <a:gd name="connsiteX888" fmla="*/ 5911038 w 12192001"/>
                <a:gd name="connsiteY888" fmla="*/ 4863715 h 6523037"/>
                <a:gd name="connsiteX889" fmla="*/ 5639927 w 12192001"/>
                <a:gd name="connsiteY889" fmla="*/ 4593303 h 6523037"/>
                <a:gd name="connsiteX890" fmla="*/ 7571242 w 12192001"/>
                <a:gd name="connsiteY890" fmla="*/ 4592604 h 6523037"/>
                <a:gd name="connsiteX891" fmla="*/ 7700509 w 12192001"/>
                <a:gd name="connsiteY891" fmla="*/ 4720474 h 6523037"/>
                <a:gd name="connsiteX892" fmla="*/ 7700509 w 12192001"/>
                <a:gd name="connsiteY892" fmla="*/ 4721173 h 6523037"/>
                <a:gd name="connsiteX893" fmla="*/ 7842352 w 12192001"/>
                <a:gd name="connsiteY893" fmla="*/ 4863016 h 6523037"/>
                <a:gd name="connsiteX894" fmla="*/ 7571940 w 12192001"/>
                <a:gd name="connsiteY894" fmla="*/ 5134127 h 6523037"/>
                <a:gd name="connsiteX895" fmla="*/ 7835365 w 12192001"/>
                <a:gd name="connsiteY895" fmla="*/ 5134127 h 6523037"/>
                <a:gd name="connsiteX896" fmla="*/ 8105777 w 12192001"/>
                <a:gd name="connsiteY896" fmla="*/ 4863016 h 6523037"/>
                <a:gd name="connsiteX897" fmla="*/ 8100187 w 12192001"/>
                <a:gd name="connsiteY897" fmla="*/ 4857426 h 6523037"/>
                <a:gd name="connsiteX898" fmla="*/ 8099488 w 12192001"/>
                <a:gd name="connsiteY898" fmla="*/ 4857426 h 6523037"/>
                <a:gd name="connsiteX899" fmla="*/ 7833968 w 12192001"/>
                <a:gd name="connsiteY899" fmla="*/ 4592604 h 6523037"/>
                <a:gd name="connsiteX900" fmla="*/ 6473523 w 12192001"/>
                <a:gd name="connsiteY900" fmla="*/ 4592604 h 6523037"/>
                <a:gd name="connsiteX901" fmla="*/ 6475613 w 12192001"/>
                <a:gd name="connsiteY901" fmla="*/ 4595392 h 6523037"/>
                <a:gd name="connsiteX902" fmla="*/ 6474921 w 12192001"/>
                <a:gd name="connsiteY902" fmla="*/ 4594701 h 6523037"/>
                <a:gd name="connsiteX903" fmla="*/ 6475619 w 12192001"/>
                <a:gd name="connsiteY903" fmla="*/ 4595400 h 6523037"/>
                <a:gd name="connsiteX904" fmla="*/ 6475613 w 12192001"/>
                <a:gd name="connsiteY904" fmla="*/ 4595392 h 6523037"/>
                <a:gd name="connsiteX905" fmla="*/ 6734153 w 12192001"/>
                <a:gd name="connsiteY905" fmla="*/ 4853234 h 6523037"/>
                <a:gd name="connsiteX906" fmla="*/ 6743935 w 12192001"/>
                <a:gd name="connsiteY906" fmla="*/ 4862317 h 6523037"/>
                <a:gd name="connsiteX907" fmla="*/ 6746031 w 12192001"/>
                <a:gd name="connsiteY907" fmla="*/ 4864414 h 6523037"/>
                <a:gd name="connsiteX908" fmla="*/ 6481208 w 12192001"/>
                <a:gd name="connsiteY908" fmla="*/ 5134127 h 6523037"/>
                <a:gd name="connsiteX909" fmla="*/ 6740442 w 12192001"/>
                <a:gd name="connsiteY909" fmla="*/ 5134826 h 6523037"/>
                <a:gd name="connsiteX910" fmla="*/ 7010155 w 12192001"/>
                <a:gd name="connsiteY910" fmla="*/ 4864414 h 6523037"/>
                <a:gd name="connsiteX911" fmla="*/ 6874599 w 12192001"/>
                <a:gd name="connsiteY911" fmla="*/ 4729557 h 6523037"/>
                <a:gd name="connsiteX912" fmla="*/ 6857830 w 12192001"/>
                <a:gd name="connsiteY912" fmla="*/ 4712787 h 6523037"/>
                <a:gd name="connsiteX913" fmla="*/ 6738346 w 12192001"/>
                <a:gd name="connsiteY913" fmla="*/ 4594002 h 6523037"/>
                <a:gd name="connsiteX914" fmla="*/ 6734153 w 12192001"/>
                <a:gd name="connsiteY914" fmla="*/ 4592604 h 6523037"/>
                <a:gd name="connsiteX915" fmla="*/ 5923616 w 12192001"/>
                <a:gd name="connsiteY915" fmla="*/ 4592604 h 6523037"/>
                <a:gd name="connsiteX916" fmla="*/ 6194726 w 12192001"/>
                <a:gd name="connsiteY916" fmla="*/ 4863016 h 6523037"/>
                <a:gd name="connsiteX917" fmla="*/ 5924314 w 12192001"/>
                <a:gd name="connsiteY917" fmla="*/ 5134127 h 6523037"/>
                <a:gd name="connsiteX918" fmla="*/ 6188437 w 12192001"/>
                <a:gd name="connsiteY918" fmla="*/ 5134127 h 6523037"/>
                <a:gd name="connsiteX919" fmla="*/ 6458849 w 12192001"/>
                <a:gd name="connsiteY919" fmla="*/ 4863016 h 6523037"/>
                <a:gd name="connsiteX920" fmla="*/ 6187739 w 12192001"/>
                <a:gd name="connsiteY920" fmla="*/ 4592604 h 6523037"/>
                <a:gd name="connsiteX921" fmla="*/ 7286855 w 12192001"/>
                <a:gd name="connsiteY921" fmla="*/ 4591206 h 6523037"/>
                <a:gd name="connsiteX922" fmla="*/ 7023431 w 12192001"/>
                <a:gd name="connsiteY922" fmla="*/ 4591905 h 6523037"/>
                <a:gd name="connsiteX923" fmla="*/ 7292445 w 12192001"/>
                <a:gd name="connsiteY923" fmla="*/ 4860222 h 6523037"/>
                <a:gd name="connsiteX924" fmla="*/ 7291747 w 12192001"/>
                <a:gd name="connsiteY924" fmla="*/ 4860921 h 6523037"/>
                <a:gd name="connsiteX925" fmla="*/ 7293144 w 12192001"/>
                <a:gd name="connsiteY925" fmla="*/ 4862317 h 6523037"/>
                <a:gd name="connsiteX926" fmla="*/ 7022731 w 12192001"/>
                <a:gd name="connsiteY926" fmla="*/ 5133428 h 6523037"/>
                <a:gd name="connsiteX927" fmla="*/ 7286855 w 12192001"/>
                <a:gd name="connsiteY927" fmla="*/ 5133428 h 6523037"/>
                <a:gd name="connsiteX928" fmla="*/ 7376992 w 12192001"/>
                <a:gd name="connsiteY928" fmla="*/ 5043291 h 6523037"/>
                <a:gd name="connsiteX929" fmla="*/ 7556569 w 12192001"/>
                <a:gd name="connsiteY929" fmla="*/ 4860222 h 6523037"/>
                <a:gd name="connsiteX930" fmla="*/ 9488582 w 12192001"/>
                <a:gd name="connsiteY930" fmla="*/ 4590827 h 6523037"/>
                <a:gd name="connsiteX931" fmla="*/ 9488582 w 12192001"/>
                <a:gd name="connsiteY931" fmla="*/ 4592394 h 6523037"/>
                <a:gd name="connsiteX932" fmla="*/ 9758122 w 12192001"/>
                <a:gd name="connsiteY932" fmla="*/ 4861239 h 6523037"/>
                <a:gd name="connsiteX933" fmla="*/ 9755328 w 12192001"/>
                <a:gd name="connsiteY933" fmla="*/ 4864034 h 6523037"/>
                <a:gd name="connsiteX934" fmla="*/ 9665190 w 12192001"/>
                <a:gd name="connsiteY934" fmla="*/ 4954870 h 6523037"/>
                <a:gd name="connsiteX935" fmla="*/ 9488582 w 12192001"/>
                <a:gd name="connsiteY935" fmla="*/ 5130783 h 6523037"/>
                <a:gd name="connsiteX936" fmla="*/ 9488582 w 12192001"/>
                <a:gd name="connsiteY936" fmla="*/ 5131651 h 6523037"/>
                <a:gd name="connsiteX937" fmla="*/ 9751834 w 12192001"/>
                <a:gd name="connsiteY937" fmla="*/ 5131651 h 6523037"/>
                <a:gd name="connsiteX938" fmla="*/ 9841272 w 12192001"/>
                <a:gd name="connsiteY938" fmla="*/ 5042212 h 6523037"/>
                <a:gd name="connsiteX939" fmla="*/ 10022245 w 12192001"/>
                <a:gd name="connsiteY939" fmla="*/ 4861239 h 6523037"/>
                <a:gd name="connsiteX940" fmla="*/ 9751135 w 12192001"/>
                <a:gd name="connsiteY940" fmla="*/ 4590827 h 6523037"/>
                <a:gd name="connsiteX941" fmla="*/ 9215375 w 12192001"/>
                <a:gd name="connsiteY941" fmla="*/ 4590509 h 6523037"/>
                <a:gd name="connsiteX942" fmla="*/ 9483993 w 12192001"/>
                <a:gd name="connsiteY942" fmla="*/ 4858435 h 6523037"/>
                <a:gd name="connsiteX943" fmla="*/ 9744846 w 12192001"/>
                <a:gd name="connsiteY943" fmla="*/ 4857746 h 6523037"/>
                <a:gd name="connsiteX944" fmla="*/ 9476918 w 12192001"/>
                <a:gd name="connsiteY944" fmla="*/ 4590509 h 6523037"/>
                <a:gd name="connsiteX945" fmla="*/ 8666865 w 12192001"/>
                <a:gd name="connsiteY945" fmla="*/ 4590509 h 6523037"/>
                <a:gd name="connsiteX946" fmla="*/ 8796831 w 12192001"/>
                <a:gd name="connsiteY946" fmla="*/ 4719775 h 6523037"/>
                <a:gd name="connsiteX947" fmla="*/ 8937277 w 12192001"/>
                <a:gd name="connsiteY947" fmla="*/ 4860222 h 6523037"/>
                <a:gd name="connsiteX948" fmla="*/ 8844344 w 12192001"/>
                <a:gd name="connsiteY948" fmla="*/ 4953853 h 6523037"/>
                <a:gd name="connsiteX949" fmla="*/ 8845043 w 12192001"/>
                <a:gd name="connsiteY949" fmla="*/ 4954551 h 6523037"/>
                <a:gd name="connsiteX950" fmla="*/ 8668262 w 12192001"/>
                <a:gd name="connsiteY950" fmla="*/ 5132030 h 6523037"/>
                <a:gd name="connsiteX951" fmla="*/ 8930988 w 12192001"/>
                <a:gd name="connsiteY951" fmla="*/ 5132030 h 6523037"/>
                <a:gd name="connsiteX952" fmla="*/ 9201400 w 12192001"/>
                <a:gd name="connsiteY952" fmla="*/ 4860921 h 6523037"/>
                <a:gd name="connsiteX953" fmla="*/ 8930289 w 12192001"/>
                <a:gd name="connsiteY953" fmla="*/ 4590509 h 6523037"/>
                <a:gd name="connsiteX954" fmla="*/ 8118354 w 12192001"/>
                <a:gd name="connsiteY954" fmla="*/ 4590509 h 6523037"/>
                <a:gd name="connsiteX955" fmla="*/ 8389465 w 12192001"/>
                <a:gd name="connsiteY955" fmla="*/ 4860921 h 6523037"/>
                <a:gd name="connsiteX956" fmla="*/ 8390164 w 12192001"/>
                <a:gd name="connsiteY956" fmla="*/ 4861618 h 6523037"/>
                <a:gd name="connsiteX957" fmla="*/ 8119752 w 12192001"/>
                <a:gd name="connsiteY957" fmla="*/ 5132729 h 6523037"/>
                <a:gd name="connsiteX958" fmla="*/ 8383875 w 12192001"/>
                <a:gd name="connsiteY958" fmla="*/ 5132729 h 6523037"/>
                <a:gd name="connsiteX959" fmla="*/ 8473314 w 12192001"/>
                <a:gd name="connsiteY959" fmla="*/ 5042593 h 6523037"/>
                <a:gd name="connsiteX960" fmla="*/ 8472615 w 12192001"/>
                <a:gd name="connsiteY960" fmla="*/ 5042593 h 6523037"/>
                <a:gd name="connsiteX961" fmla="*/ 8653589 w 12192001"/>
                <a:gd name="connsiteY961" fmla="*/ 4861618 h 6523037"/>
                <a:gd name="connsiteX962" fmla="*/ 8648697 w 12192001"/>
                <a:gd name="connsiteY962" fmla="*/ 4856029 h 6523037"/>
                <a:gd name="connsiteX963" fmla="*/ 8382478 w 12192001"/>
                <a:gd name="connsiteY963" fmla="*/ 4590509 h 6523037"/>
                <a:gd name="connsiteX964" fmla="*/ 10036220 w 12192001"/>
                <a:gd name="connsiteY964" fmla="*/ 4590128 h 6523037"/>
                <a:gd name="connsiteX965" fmla="*/ 10166186 w 12192001"/>
                <a:gd name="connsiteY965" fmla="*/ 4720093 h 6523037"/>
                <a:gd name="connsiteX966" fmla="*/ 10306632 w 12192001"/>
                <a:gd name="connsiteY966" fmla="*/ 4859841 h 6523037"/>
                <a:gd name="connsiteX967" fmla="*/ 10036220 w 12192001"/>
                <a:gd name="connsiteY967" fmla="*/ 5130952 h 6523037"/>
                <a:gd name="connsiteX968" fmla="*/ 10300344 w 12192001"/>
                <a:gd name="connsiteY968" fmla="*/ 5130952 h 6523037"/>
                <a:gd name="connsiteX969" fmla="*/ 10571455 w 12192001"/>
                <a:gd name="connsiteY969" fmla="*/ 4860540 h 6523037"/>
                <a:gd name="connsiteX970" fmla="*/ 10300344 w 12192001"/>
                <a:gd name="connsiteY970" fmla="*/ 4590128 h 6523037"/>
                <a:gd name="connsiteX971" fmla="*/ 11133940 w 12192001"/>
                <a:gd name="connsiteY971" fmla="*/ 4589429 h 6523037"/>
                <a:gd name="connsiteX972" fmla="*/ 11136030 w 12192001"/>
                <a:gd name="connsiteY972" fmla="*/ 4592217 h 6523037"/>
                <a:gd name="connsiteX973" fmla="*/ 11135337 w 12192001"/>
                <a:gd name="connsiteY973" fmla="*/ 4591526 h 6523037"/>
                <a:gd name="connsiteX974" fmla="*/ 11136036 w 12192001"/>
                <a:gd name="connsiteY974" fmla="*/ 4592225 h 6523037"/>
                <a:gd name="connsiteX975" fmla="*/ 11136030 w 12192001"/>
                <a:gd name="connsiteY975" fmla="*/ 4592217 h 6523037"/>
                <a:gd name="connsiteX976" fmla="*/ 11394569 w 12192001"/>
                <a:gd name="connsiteY976" fmla="*/ 4850059 h 6523037"/>
                <a:gd name="connsiteX977" fmla="*/ 11404352 w 12192001"/>
                <a:gd name="connsiteY977" fmla="*/ 4859142 h 6523037"/>
                <a:gd name="connsiteX978" fmla="*/ 11406448 w 12192001"/>
                <a:gd name="connsiteY978" fmla="*/ 4861239 h 6523037"/>
                <a:gd name="connsiteX979" fmla="*/ 11141625 w 12192001"/>
                <a:gd name="connsiteY979" fmla="*/ 5130952 h 6523037"/>
                <a:gd name="connsiteX980" fmla="*/ 11400858 w 12192001"/>
                <a:gd name="connsiteY980" fmla="*/ 5131651 h 6523037"/>
                <a:gd name="connsiteX981" fmla="*/ 11670572 w 12192001"/>
                <a:gd name="connsiteY981" fmla="*/ 4861239 h 6523037"/>
                <a:gd name="connsiteX982" fmla="*/ 11535016 w 12192001"/>
                <a:gd name="connsiteY982" fmla="*/ 4726382 h 6523037"/>
                <a:gd name="connsiteX983" fmla="*/ 11518247 w 12192001"/>
                <a:gd name="connsiteY983" fmla="*/ 4709612 h 6523037"/>
                <a:gd name="connsiteX984" fmla="*/ 11398762 w 12192001"/>
                <a:gd name="connsiteY984" fmla="*/ 4590827 h 6523037"/>
                <a:gd name="connsiteX985" fmla="*/ 11394569 w 12192001"/>
                <a:gd name="connsiteY985" fmla="*/ 4589429 h 6523037"/>
                <a:gd name="connsiteX986" fmla="*/ 10584032 w 12192001"/>
                <a:gd name="connsiteY986" fmla="*/ 4589429 h 6523037"/>
                <a:gd name="connsiteX987" fmla="*/ 10855143 w 12192001"/>
                <a:gd name="connsiteY987" fmla="*/ 4859841 h 6523037"/>
                <a:gd name="connsiteX988" fmla="*/ 10584731 w 12192001"/>
                <a:gd name="connsiteY988" fmla="*/ 5130952 h 6523037"/>
                <a:gd name="connsiteX989" fmla="*/ 10848854 w 12192001"/>
                <a:gd name="connsiteY989" fmla="*/ 5130952 h 6523037"/>
                <a:gd name="connsiteX990" fmla="*/ 11119266 w 12192001"/>
                <a:gd name="connsiteY990" fmla="*/ 4859841 h 6523037"/>
                <a:gd name="connsiteX991" fmla="*/ 10848155 w 12192001"/>
                <a:gd name="connsiteY991" fmla="*/ 4589429 h 6523037"/>
                <a:gd name="connsiteX992" fmla="*/ 708011 w 12192001"/>
                <a:gd name="connsiteY992" fmla="*/ 4324160 h 6523037"/>
                <a:gd name="connsiteX993" fmla="*/ 437599 w 12192001"/>
                <a:gd name="connsiteY993" fmla="*/ 4595271 h 6523037"/>
                <a:gd name="connsiteX994" fmla="*/ 709409 w 12192001"/>
                <a:gd name="connsiteY994" fmla="*/ 4865683 h 6523037"/>
                <a:gd name="connsiteX995" fmla="*/ 972833 w 12192001"/>
                <a:gd name="connsiteY995" fmla="*/ 4865683 h 6523037"/>
                <a:gd name="connsiteX996" fmla="*/ 842169 w 12192001"/>
                <a:gd name="connsiteY996" fmla="*/ 4735716 h 6523037"/>
                <a:gd name="connsiteX997" fmla="*/ 701722 w 12192001"/>
                <a:gd name="connsiteY997" fmla="*/ 4595271 h 6523037"/>
                <a:gd name="connsiteX998" fmla="*/ 972135 w 12192001"/>
                <a:gd name="connsiteY998" fmla="*/ 4324160 h 6523037"/>
                <a:gd name="connsiteX999" fmla="*/ 2354241 w 12192001"/>
                <a:gd name="connsiteY999" fmla="*/ 4323461 h 6523037"/>
                <a:gd name="connsiteX1000" fmla="*/ 2083829 w 12192001"/>
                <a:gd name="connsiteY1000" fmla="*/ 4594572 h 6523037"/>
                <a:gd name="connsiteX1001" fmla="*/ 2353542 w 12192001"/>
                <a:gd name="connsiteY1001" fmla="*/ 4863586 h 6523037"/>
                <a:gd name="connsiteX1002" fmla="*/ 2616967 w 12192001"/>
                <a:gd name="connsiteY1002" fmla="*/ 4863586 h 6523037"/>
                <a:gd name="connsiteX1003" fmla="*/ 2347952 w 12192001"/>
                <a:gd name="connsiteY1003" fmla="*/ 4594572 h 6523037"/>
                <a:gd name="connsiteX1004" fmla="*/ 2348651 w 12192001"/>
                <a:gd name="connsiteY1004" fmla="*/ 4593873 h 6523037"/>
                <a:gd name="connsiteX1005" fmla="*/ 2347254 w 12192001"/>
                <a:gd name="connsiteY1005" fmla="*/ 4592475 h 6523037"/>
                <a:gd name="connsiteX1006" fmla="*/ 2615569 w 12192001"/>
                <a:gd name="connsiteY1006" fmla="*/ 4323461 h 6523037"/>
                <a:gd name="connsiteX1007" fmla="*/ 1256521 w 12192001"/>
                <a:gd name="connsiteY1007" fmla="*/ 4323461 h 6523037"/>
                <a:gd name="connsiteX1008" fmla="*/ 986109 w 12192001"/>
                <a:gd name="connsiteY1008" fmla="*/ 4594572 h 6523037"/>
                <a:gd name="connsiteX1009" fmla="*/ 1257220 w 12192001"/>
                <a:gd name="connsiteY1009" fmla="*/ 4864984 h 6523037"/>
                <a:gd name="connsiteX1010" fmla="*/ 1521344 w 12192001"/>
                <a:gd name="connsiteY1010" fmla="*/ 4864984 h 6523037"/>
                <a:gd name="connsiteX1011" fmla="*/ 1250233 w 12192001"/>
                <a:gd name="connsiteY1011" fmla="*/ 4594572 h 6523037"/>
                <a:gd name="connsiteX1012" fmla="*/ 1520645 w 12192001"/>
                <a:gd name="connsiteY1012" fmla="*/ 4323461 h 6523037"/>
                <a:gd name="connsiteX1013" fmla="*/ 1392775 w 12192001"/>
                <a:gd name="connsiteY1013" fmla="*/ 4323461 h 6523037"/>
                <a:gd name="connsiteX1014" fmla="*/ 1805731 w 12192001"/>
                <a:gd name="connsiteY1014" fmla="*/ 4322762 h 6523037"/>
                <a:gd name="connsiteX1015" fmla="*/ 1625456 w 12192001"/>
                <a:gd name="connsiteY1015" fmla="*/ 4503735 h 6523037"/>
                <a:gd name="connsiteX1016" fmla="*/ 1624758 w 12192001"/>
                <a:gd name="connsiteY1016" fmla="*/ 4503735 h 6523037"/>
                <a:gd name="connsiteX1017" fmla="*/ 1534620 w 12192001"/>
                <a:gd name="connsiteY1017" fmla="*/ 4593873 h 6523037"/>
                <a:gd name="connsiteX1018" fmla="*/ 1805032 w 12192001"/>
                <a:gd name="connsiteY1018" fmla="*/ 4864984 h 6523037"/>
                <a:gd name="connsiteX1019" fmla="*/ 2069155 w 12192001"/>
                <a:gd name="connsiteY1019" fmla="*/ 4864984 h 6523037"/>
                <a:gd name="connsiteX1020" fmla="*/ 1798044 w 12192001"/>
                <a:gd name="connsiteY1020" fmla="*/ 4594572 h 6523037"/>
                <a:gd name="connsiteX1021" fmla="*/ 1982512 w 12192001"/>
                <a:gd name="connsiteY1021" fmla="*/ 4410104 h 6523037"/>
                <a:gd name="connsiteX1022" fmla="*/ 1983211 w 12192001"/>
                <a:gd name="connsiteY1022" fmla="*/ 4410104 h 6523037"/>
                <a:gd name="connsiteX1023" fmla="*/ 2069155 w 12192001"/>
                <a:gd name="connsiteY1023" fmla="*/ 4323461 h 6523037"/>
                <a:gd name="connsiteX1024" fmla="*/ 1810622 w 12192001"/>
                <a:gd name="connsiteY1024" fmla="*/ 4323461 h 6523037"/>
                <a:gd name="connsiteX1025" fmla="*/ 3450563 w 12192001"/>
                <a:gd name="connsiteY1025" fmla="*/ 4321364 h 6523037"/>
                <a:gd name="connsiteX1026" fmla="*/ 3269589 w 12192001"/>
                <a:gd name="connsiteY1026" fmla="*/ 4503036 h 6523037"/>
                <a:gd name="connsiteX1027" fmla="*/ 3270986 w 12192001"/>
                <a:gd name="connsiteY1027" fmla="*/ 4503735 h 6523037"/>
                <a:gd name="connsiteX1028" fmla="*/ 3181548 w 12192001"/>
                <a:gd name="connsiteY1028" fmla="*/ 4593174 h 6523037"/>
                <a:gd name="connsiteX1029" fmla="*/ 3451960 w 12192001"/>
                <a:gd name="connsiteY1029" fmla="*/ 4862887 h 6523037"/>
                <a:gd name="connsiteX1030" fmla="*/ 3715384 w 12192001"/>
                <a:gd name="connsiteY1030" fmla="*/ 4862887 h 6523037"/>
                <a:gd name="connsiteX1031" fmla="*/ 3444972 w 12192001"/>
                <a:gd name="connsiteY1031" fmla="*/ 4593174 h 6523037"/>
                <a:gd name="connsiteX1032" fmla="*/ 3444274 w 12192001"/>
                <a:gd name="connsiteY1032" fmla="*/ 4592475 h 6523037"/>
                <a:gd name="connsiteX1033" fmla="*/ 3714686 w 12192001"/>
                <a:gd name="connsiteY1033" fmla="*/ 4321364 h 6523037"/>
                <a:gd name="connsiteX1034" fmla="*/ 2904847 w 12192001"/>
                <a:gd name="connsiteY1034" fmla="*/ 4321364 h 6523037"/>
                <a:gd name="connsiteX1035" fmla="*/ 2908341 w 12192001"/>
                <a:gd name="connsiteY1035" fmla="*/ 4322762 h 6523037"/>
                <a:gd name="connsiteX1036" fmla="*/ 2902751 w 12192001"/>
                <a:gd name="connsiteY1036" fmla="*/ 4322762 h 6523037"/>
                <a:gd name="connsiteX1037" fmla="*/ 2633736 w 12192001"/>
                <a:gd name="connsiteY1037" fmla="*/ 4593174 h 6523037"/>
                <a:gd name="connsiteX1038" fmla="*/ 2903449 w 12192001"/>
                <a:gd name="connsiteY1038" fmla="*/ 4862188 h 6523037"/>
                <a:gd name="connsiteX1039" fmla="*/ 3168271 w 12192001"/>
                <a:gd name="connsiteY1039" fmla="*/ 4863586 h 6523037"/>
                <a:gd name="connsiteX1040" fmla="*/ 2897162 w 12192001"/>
                <a:gd name="connsiteY1040" fmla="*/ 4593174 h 6523037"/>
                <a:gd name="connsiteX1041" fmla="*/ 2895764 w 12192001"/>
                <a:gd name="connsiteY1041" fmla="*/ 4591776 h 6523037"/>
                <a:gd name="connsiteX1042" fmla="*/ 3164778 w 12192001"/>
                <a:gd name="connsiteY1042" fmla="*/ 4322063 h 6523037"/>
                <a:gd name="connsiteX1043" fmla="*/ 2967035 w 12192001"/>
                <a:gd name="connsiteY1043" fmla="*/ 4322063 h 6523037"/>
                <a:gd name="connsiteX1044" fmla="*/ 2967733 w 12192001"/>
                <a:gd name="connsiteY1044" fmla="*/ 4321364 h 6523037"/>
                <a:gd name="connsiteX1045" fmla="*/ 3999073 w 12192001"/>
                <a:gd name="connsiteY1045" fmla="*/ 4320665 h 6523037"/>
                <a:gd name="connsiteX1046" fmla="*/ 3728660 w 12192001"/>
                <a:gd name="connsiteY1046" fmla="*/ 4591776 h 6523037"/>
                <a:gd name="connsiteX1047" fmla="*/ 3999771 w 12192001"/>
                <a:gd name="connsiteY1047" fmla="*/ 4862188 h 6523037"/>
                <a:gd name="connsiteX1048" fmla="*/ 4263197 w 12192001"/>
                <a:gd name="connsiteY1048" fmla="*/ 4862188 h 6523037"/>
                <a:gd name="connsiteX1049" fmla="*/ 4133230 w 12192001"/>
                <a:gd name="connsiteY1049" fmla="*/ 4732223 h 6523037"/>
                <a:gd name="connsiteX1050" fmla="*/ 3992783 w 12192001"/>
                <a:gd name="connsiteY1050" fmla="*/ 4591776 h 6523037"/>
                <a:gd name="connsiteX1051" fmla="*/ 4263197 w 12192001"/>
                <a:gd name="connsiteY1051" fmla="*/ 4320665 h 6523037"/>
                <a:gd name="connsiteX1052" fmla="*/ 4822057 w 12192001"/>
                <a:gd name="connsiteY1052" fmla="*/ 4320097 h 6523037"/>
                <a:gd name="connsiteX1053" fmla="*/ 4554570 w 12192001"/>
                <a:gd name="connsiteY1053" fmla="*/ 4587584 h 6523037"/>
                <a:gd name="connsiteX1054" fmla="*/ 4816244 w 12192001"/>
                <a:gd name="connsiteY1054" fmla="*/ 4587584 h 6523037"/>
                <a:gd name="connsiteX1055" fmla="*/ 5083731 w 12192001"/>
                <a:gd name="connsiteY1055" fmla="*/ 4320097 h 6523037"/>
                <a:gd name="connsiteX1056" fmla="*/ 4547585 w 12192001"/>
                <a:gd name="connsiteY1056" fmla="*/ 4319967 h 6523037"/>
                <a:gd name="connsiteX1057" fmla="*/ 4277172 w 12192001"/>
                <a:gd name="connsiteY1057" fmla="*/ 4591077 h 6523037"/>
                <a:gd name="connsiteX1058" fmla="*/ 4548281 w 12192001"/>
                <a:gd name="connsiteY1058" fmla="*/ 4861489 h 6523037"/>
                <a:gd name="connsiteX1059" fmla="*/ 4810393 w 12192001"/>
                <a:gd name="connsiteY1059" fmla="*/ 4861489 h 6523037"/>
                <a:gd name="connsiteX1060" fmla="*/ 4808427 w 12192001"/>
                <a:gd name="connsiteY1060" fmla="*/ 4859523 h 6523037"/>
                <a:gd name="connsiteX1061" fmla="*/ 4665187 w 12192001"/>
                <a:gd name="connsiteY1061" fmla="*/ 4716979 h 6523037"/>
                <a:gd name="connsiteX1062" fmla="*/ 4665187 w 12192001"/>
                <a:gd name="connsiteY1062" fmla="*/ 4714650 h 6523037"/>
                <a:gd name="connsiteX1063" fmla="*/ 4541295 w 12192001"/>
                <a:gd name="connsiteY1063" fmla="*/ 4591077 h 6523037"/>
                <a:gd name="connsiteX1064" fmla="*/ 4665187 w 12192001"/>
                <a:gd name="connsiteY1064" fmla="*/ 4466865 h 6523037"/>
                <a:gd name="connsiteX1065" fmla="*/ 4665187 w 12192001"/>
                <a:gd name="connsiteY1065" fmla="*/ 4464037 h 6523037"/>
                <a:gd name="connsiteX1066" fmla="*/ 4808574 w 12192001"/>
                <a:gd name="connsiteY1066" fmla="*/ 4319967 h 6523037"/>
                <a:gd name="connsiteX1067" fmla="*/ 5368118 w 12192001"/>
                <a:gd name="connsiteY1067" fmla="*/ 4319398 h 6523037"/>
                <a:gd name="connsiteX1068" fmla="*/ 5097706 w 12192001"/>
                <a:gd name="connsiteY1068" fmla="*/ 4590509 h 6523037"/>
                <a:gd name="connsiteX1069" fmla="*/ 5369515 w 12192001"/>
                <a:gd name="connsiteY1069" fmla="*/ 4860921 h 6523037"/>
                <a:gd name="connsiteX1070" fmla="*/ 5632939 w 12192001"/>
                <a:gd name="connsiteY1070" fmla="*/ 4860921 h 6523037"/>
                <a:gd name="connsiteX1071" fmla="*/ 5502275 w 12192001"/>
                <a:gd name="connsiteY1071" fmla="*/ 4730954 h 6523037"/>
                <a:gd name="connsiteX1072" fmla="*/ 5361829 w 12192001"/>
                <a:gd name="connsiteY1072" fmla="*/ 4590509 h 6523037"/>
                <a:gd name="connsiteX1073" fmla="*/ 5632241 w 12192001"/>
                <a:gd name="connsiteY1073" fmla="*/ 4319398 h 6523037"/>
                <a:gd name="connsiteX1074" fmla="*/ 7014347 w 12192001"/>
                <a:gd name="connsiteY1074" fmla="*/ 4318699 h 6523037"/>
                <a:gd name="connsiteX1075" fmla="*/ 6743935 w 12192001"/>
                <a:gd name="connsiteY1075" fmla="*/ 4589810 h 6523037"/>
                <a:gd name="connsiteX1076" fmla="*/ 7013649 w 12192001"/>
                <a:gd name="connsiteY1076" fmla="*/ 4858824 h 6523037"/>
                <a:gd name="connsiteX1077" fmla="*/ 7277073 w 12192001"/>
                <a:gd name="connsiteY1077" fmla="*/ 4858824 h 6523037"/>
                <a:gd name="connsiteX1078" fmla="*/ 7008058 w 12192001"/>
                <a:gd name="connsiteY1078" fmla="*/ 4589810 h 6523037"/>
                <a:gd name="connsiteX1079" fmla="*/ 7008758 w 12192001"/>
                <a:gd name="connsiteY1079" fmla="*/ 4589111 h 6523037"/>
                <a:gd name="connsiteX1080" fmla="*/ 7007360 w 12192001"/>
                <a:gd name="connsiteY1080" fmla="*/ 4587713 h 6523037"/>
                <a:gd name="connsiteX1081" fmla="*/ 7275675 w 12192001"/>
                <a:gd name="connsiteY1081" fmla="*/ 4318699 h 6523037"/>
                <a:gd name="connsiteX1082" fmla="*/ 5916628 w 12192001"/>
                <a:gd name="connsiteY1082" fmla="*/ 4318699 h 6523037"/>
                <a:gd name="connsiteX1083" fmla="*/ 5646216 w 12192001"/>
                <a:gd name="connsiteY1083" fmla="*/ 4589810 h 6523037"/>
                <a:gd name="connsiteX1084" fmla="*/ 5917326 w 12192001"/>
                <a:gd name="connsiteY1084" fmla="*/ 4860222 h 6523037"/>
                <a:gd name="connsiteX1085" fmla="*/ 6181450 w 12192001"/>
                <a:gd name="connsiteY1085" fmla="*/ 4860222 h 6523037"/>
                <a:gd name="connsiteX1086" fmla="*/ 5910339 w 12192001"/>
                <a:gd name="connsiteY1086" fmla="*/ 4589810 h 6523037"/>
                <a:gd name="connsiteX1087" fmla="*/ 6180751 w 12192001"/>
                <a:gd name="connsiteY1087" fmla="*/ 4318699 h 6523037"/>
                <a:gd name="connsiteX1088" fmla="*/ 6052882 w 12192001"/>
                <a:gd name="connsiteY1088" fmla="*/ 4318699 h 6523037"/>
                <a:gd name="connsiteX1089" fmla="*/ 6465837 w 12192001"/>
                <a:gd name="connsiteY1089" fmla="*/ 4318000 h 6523037"/>
                <a:gd name="connsiteX1090" fmla="*/ 6285563 w 12192001"/>
                <a:gd name="connsiteY1090" fmla="*/ 4498973 h 6523037"/>
                <a:gd name="connsiteX1091" fmla="*/ 6284865 w 12192001"/>
                <a:gd name="connsiteY1091" fmla="*/ 4498973 h 6523037"/>
                <a:gd name="connsiteX1092" fmla="*/ 6194726 w 12192001"/>
                <a:gd name="connsiteY1092" fmla="*/ 4589111 h 6523037"/>
                <a:gd name="connsiteX1093" fmla="*/ 6465139 w 12192001"/>
                <a:gd name="connsiteY1093" fmla="*/ 4860222 h 6523037"/>
                <a:gd name="connsiteX1094" fmla="*/ 6729262 w 12192001"/>
                <a:gd name="connsiteY1094" fmla="*/ 4860222 h 6523037"/>
                <a:gd name="connsiteX1095" fmla="*/ 6458151 w 12192001"/>
                <a:gd name="connsiteY1095" fmla="*/ 4589810 h 6523037"/>
                <a:gd name="connsiteX1096" fmla="*/ 6642619 w 12192001"/>
                <a:gd name="connsiteY1096" fmla="*/ 4405342 h 6523037"/>
                <a:gd name="connsiteX1097" fmla="*/ 6643317 w 12192001"/>
                <a:gd name="connsiteY1097" fmla="*/ 4405342 h 6523037"/>
                <a:gd name="connsiteX1098" fmla="*/ 6729262 w 12192001"/>
                <a:gd name="connsiteY1098" fmla="*/ 4318699 h 6523037"/>
                <a:gd name="connsiteX1099" fmla="*/ 6470728 w 12192001"/>
                <a:gd name="connsiteY1099" fmla="*/ 4318699 h 6523037"/>
                <a:gd name="connsiteX1100" fmla="*/ 9480576 w 12192001"/>
                <a:gd name="connsiteY1100" fmla="*/ 4316922 h 6523037"/>
                <a:gd name="connsiteX1101" fmla="*/ 9214676 w 12192001"/>
                <a:gd name="connsiteY1101" fmla="*/ 4582822 h 6523037"/>
                <a:gd name="connsiteX1102" fmla="*/ 9478247 w 12192001"/>
                <a:gd name="connsiteY1102" fmla="*/ 4582822 h 6523037"/>
                <a:gd name="connsiteX1103" fmla="*/ 9744147 w 12192001"/>
                <a:gd name="connsiteY1103" fmla="*/ 4316922 h 6523037"/>
                <a:gd name="connsiteX1104" fmla="*/ 8110669 w 12192001"/>
                <a:gd name="connsiteY1104" fmla="*/ 4316602 h 6523037"/>
                <a:gd name="connsiteX1105" fmla="*/ 7929695 w 12192001"/>
                <a:gd name="connsiteY1105" fmla="*/ 4498274 h 6523037"/>
                <a:gd name="connsiteX1106" fmla="*/ 7931092 w 12192001"/>
                <a:gd name="connsiteY1106" fmla="*/ 4498973 h 6523037"/>
                <a:gd name="connsiteX1107" fmla="*/ 7841654 w 12192001"/>
                <a:gd name="connsiteY1107" fmla="*/ 4588412 h 6523037"/>
                <a:gd name="connsiteX1108" fmla="*/ 8112066 w 12192001"/>
                <a:gd name="connsiteY1108" fmla="*/ 4858125 h 6523037"/>
                <a:gd name="connsiteX1109" fmla="*/ 8375490 w 12192001"/>
                <a:gd name="connsiteY1109" fmla="*/ 4858125 h 6523037"/>
                <a:gd name="connsiteX1110" fmla="*/ 8105078 w 12192001"/>
                <a:gd name="connsiteY1110" fmla="*/ 4588412 h 6523037"/>
                <a:gd name="connsiteX1111" fmla="*/ 8104380 w 12192001"/>
                <a:gd name="connsiteY1111" fmla="*/ 4587713 h 6523037"/>
                <a:gd name="connsiteX1112" fmla="*/ 8374792 w 12192001"/>
                <a:gd name="connsiteY1112" fmla="*/ 4316602 h 6523037"/>
                <a:gd name="connsiteX1113" fmla="*/ 7564953 w 12192001"/>
                <a:gd name="connsiteY1113" fmla="*/ 4316602 h 6523037"/>
                <a:gd name="connsiteX1114" fmla="*/ 7568447 w 12192001"/>
                <a:gd name="connsiteY1114" fmla="*/ 4318000 h 6523037"/>
                <a:gd name="connsiteX1115" fmla="*/ 7562857 w 12192001"/>
                <a:gd name="connsiteY1115" fmla="*/ 4318000 h 6523037"/>
                <a:gd name="connsiteX1116" fmla="*/ 7293842 w 12192001"/>
                <a:gd name="connsiteY1116" fmla="*/ 4588412 h 6523037"/>
                <a:gd name="connsiteX1117" fmla="*/ 7563555 w 12192001"/>
                <a:gd name="connsiteY1117" fmla="*/ 4857426 h 6523037"/>
                <a:gd name="connsiteX1118" fmla="*/ 7828377 w 12192001"/>
                <a:gd name="connsiteY1118" fmla="*/ 4858824 h 6523037"/>
                <a:gd name="connsiteX1119" fmla="*/ 7557268 w 12192001"/>
                <a:gd name="connsiteY1119" fmla="*/ 4588412 h 6523037"/>
                <a:gd name="connsiteX1120" fmla="*/ 7555870 w 12192001"/>
                <a:gd name="connsiteY1120" fmla="*/ 4587014 h 6523037"/>
                <a:gd name="connsiteX1121" fmla="*/ 7824884 w 12192001"/>
                <a:gd name="connsiteY1121" fmla="*/ 4317301 h 6523037"/>
                <a:gd name="connsiteX1122" fmla="*/ 7627141 w 12192001"/>
                <a:gd name="connsiteY1122" fmla="*/ 4317301 h 6523037"/>
                <a:gd name="connsiteX1123" fmla="*/ 7627839 w 12192001"/>
                <a:gd name="connsiteY1123" fmla="*/ 4316602 h 6523037"/>
                <a:gd name="connsiteX1124" fmla="*/ 10028534 w 12192001"/>
                <a:gd name="connsiteY1124" fmla="*/ 4316223 h 6523037"/>
                <a:gd name="connsiteX1125" fmla="*/ 9758122 w 12192001"/>
                <a:gd name="connsiteY1125" fmla="*/ 4587334 h 6523037"/>
                <a:gd name="connsiteX1126" fmla="*/ 10029932 w 12192001"/>
                <a:gd name="connsiteY1126" fmla="*/ 4857746 h 6523037"/>
                <a:gd name="connsiteX1127" fmla="*/ 10293356 w 12192001"/>
                <a:gd name="connsiteY1127" fmla="*/ 4857746 h 6523037"/>
                <a:gd name="connsiteX1128" fmla="*/ 10162692 w 12192001"/>
                <a:gd name="connsiteY1128" fmla="*/ 4727779 h 6523037"/>
                <a:gd name="connsiteX1129" fmla="*/ 10022245 w 12192001"/>
                <a:gd name="connsiteY1129" fmla="*/ 4587334 h 6523037"/>
                <a:gd name="connsiteX1130" fmla="*/ 10292658 w 12192001"/>
                <a:gd name="connsiteY1130" fmla="*/ 4316223 h 6523037"/>
                <a:gd name="connsiteX1131" fmla="*/ 8659179 w 12192001"/>
                <a:gd name="connsiteY1131" fmla="*/ 4315903 h 6523037"/>
                <a:gd name="connsiteX1132" fmla="*/ 8388766 w 12192001"/>
                <a:gd name="connsiteY1132" fmla="*/ 4587014 h 6523037"/>
                <a:gd name="connsiteX1133" fmla="*/ 8659877 w 12192001"/>
                <a:gd name="connsiteY1133" fmla="*/ 4857426 h 6523037"/>
                <a:gd name="connsiteX1134" fmla="*/ 8923303 w 12192001"/>
                <a:gd name="connsiteY1134" fmla="*/ 4857426 h 6523037"/>
                <a:gd name="connsiteX1135" fmla="*/ 8793336 w 12192001"/>
                <a:gd name="connsiteY1135" fmla="*/ 4727461 h 6523037"/>
                <a:gd name="connsiteX1136" fmla="*/ 8652889 w 12192001"/>
                <a:gd name="connsiteY1136" fmla="*/ 4587014 h 6523037"/>
                <a:gd name="connsiteX1137" fmla="*/ 8923303 w 12192001"/>
                <a:gd name="connsiteY1137" fmla="*/ 4315903 h 6523037"/>
                <a:gd name="connsiteX1138" fmla="*/ 11674764 w 12192001"/>
                <a:gd name="connsiteY1138" fmla="*/ 4315524 h 6523037"/>
                <a:gd name="connsiteX1139" fmla="*/ 11404352 w 12192001"/>
                <a:gd name="connsiteY1139" fmla="*/ 4586635 h 6523037"/>
                <a:gd name="connsiteX1140" fmla="*/ 11674065 w 12192001"/>
                <a:gd name="connsiteY1140" fmla="*/ 4855649 h 6523037"/>
                <a:gd name="connsiteX1141" fmla="*/ 11937490 w 12192001"/>
                <a:gd name="connsiteY1141" fmla="*/ 4855649 h 6523037"/>
                <a:gd name="connsiteX1142" fmla="*/ 11668475 w 12192001"/>
                <a:gd name="connsiteY1142" fmla="*/ 4586635 h 6523037"/>
                <a:gd name="connsiteX1143" fmla="*/ 11669174 w 12192001"/>
                <a:gd name="connsiteY1143" fmla="*/ 4585936 h 6523037"/>
                <a:gd name="connsiteX1144" fmla="*/ 11667777 w 12192001"/>
                <a:gd name="connsiteY1144" fmla="*/ 4584538 h 6523037"/>
                <a:gd name="connsiteX1145" fmla="*/ 11936092 w 12192001"/>
                <a:gd name="connsiteY1145" fmla="*/ 4315524 h 6523037"/>
                <a:gd name="connsiteX1146" fmla="*/ 10577044 w 12192001"/>
                <a:gd name="connsiteY1146" fmla="*/ 4315524 h 6523037"/>
                <a:gd name="connsiteX1147" fmla="*/ 10306632 w 12192001"/>
                <a:gd name="connsiteY1147" fmla="*/ 4586635 h 6523037"/>
                <a:gd name="connsiteX1148" fmla="*/ 10577743 w 12192001"/>
                <a:gd name="connsiteY1148" fmla="*/ 4857047 h 6523037"/>
                <a:gd name="connsiteX1149" fmla="*/ 10841867 w 12192001"/>
                <a:gd name="connsiteY1149" fmla="*/ 4857047 h 6523037"/>
                <a:gd name="connsiteX1150" fmla="*/ 10570756 w 12192001"/>
                <a:gd name="connsiteY1150" fmla="*/ 4586635 h 6523037"/>
                <a:gd name="connsiteX1151" fmla="*/ 10841168 w 12192001"/>
                <a:gd name="connsiteY1151" fmla="*/ 4315524 h 6523037"/>
                <a:gd name="connsiteX1152" fmla="*/ 10713298 w 12192001"/>
                <a:gd name="connsiteY1152" fmla="*/ 4315524 h 6523037"/>
                <a:gd name="connsiteX1153" fmla="*/ 9207690 w 12192001"/>
                <a:gd name="connsiteY1153" fmla="*/ 4315205 h 6523037"/>
                <a:gd name="connsiteX1154" fmla="*/ 8937277 w 12192001"/>
                <a:gd name="connsiteY1154" fmla="*/ 4586315 h 6523037"/>
                <a:gd name="connsiteX1155" fmla="*/ 9208387 w 12192001"/>
                <a:gd name="connsiteY1155" fmla="*/ 4856727 h 6523037"/>
                <a:gd name="connsiteX1156" fmla="*/ 9469223 w 12192001"/>
                <a:gd name="connsiteY1156" fmla="*/ 4856727 h 6523037"/>
                <a:gd name="connsiteX1157" fmla="*/ 9468844 w 12192001"/>
                <a:gd name="connsiteY1157" fmla="*/ 4856348 h 6523037"/>
                <a:gd name="connsiteX1158" fmla="*/ 9325603 w 12192001"/>
                <a:gd name="connsiteY1158" fmla="*/ 4713804 h 6523037"/>
                <a:gd name="connsiteX1159" fmla="*/ 9325603 w 12192001"/>
                <a:gd name="connsiteY1159" fmla="*/ 4710198 h 6523037"/>
                <a:gd name="connsiteX1160" fmla="*/ 9201400 w 12192001"/>
                <a:gd name="connsiteY1160" fmla="*/ 4586315 h 6523037"/>
                <a:gd name="connsiteX1161" fmla="*/ 9325603 w 12192001"/>
                <a:gd name="connsiteY1161" fmla="*/ 4461792 h 6523037"/>
                <a:gd name="connsiteX1162" fmla="*/ 9325603 w 12192001"/>
                <a:gd name="connsiteY1162" fmla="*/ 4460862 h 6523037"/>
                <a:gd name="connsiteX1163" fmla="*/ 9470571 w 12192001"/>
                <a:gd name="connsiteY1163" fmla="*/ 4315205 h 6523037"/>
                <a:gd name="connsiteX1164" fmla="*/ 11126254 w 12192001"/>
                <a:gd name="connsiteY1164" fmla="*/ 4314825 h 6523037"/>
                <a:gd name="connsiteX1165" fmla="*/ 10945979 w 12192001"/>
                <a:gd name="connsiteY1165" fmla="*/ 4495798 h 6523037"/>
                <a:gd name="connsiteX1166" fmla="*/ 10945281 w 12192001"/>
                <a:gd name="connsiteY1166" fmla="*/ 4495798 h 6523037"/>
                <a:gd name="connsiteX1167" fmla="*/ 10855143 w 12192001"/>
                <a:gd name="connsiteY1167" fmla="*/ 4585936 h 6523037"/>
                <a:gd name="connsiteX1168" fmla="*/ 11125555 w 12192001"/>
                <a:gd name="connsiteY1168" fmla="*/ 4857047 h 6523037"/>
                <a:gd name="connsiteX1169" fmla="*/ 11389678 w 12192001"/>
                <a:gd name="connsiteY1169" fmla="*/ 4857047 h 6523037"/>
                <a:gd name="connsiteX1170" fmla="*/ 11118567 w 12192001"/>
                <a:gd name="connsiteY1170" fmla="*/ 4586635 h 6523037"/>
                <a:gd name="connsiteX1171" fmla="*/ 11303035 w 12192001"/>
                <a:gd name="connsiteY1171" fmla="*/ 4402167 h 6523037"/>
                <a:gd name="connsiteX1172" fmla="*/ 11303734 w 12192001"/>
                <a:gd name="connsiteY1172" fmla="*/ 4402167 h 6523037"/>
                <a:gd name="connsiteX1173" fmla="*/ 11389678 w 12192001"/>
                <a:gd name="connsiteY1173" fmla="*/ 4315524 h 6523037"/>
                <a:gd name="connsiteX1174" fmla="*/ 11131145 w 12192001"/>
                <a:gd name="connsiteY1174" fmla="*/ 4315524 h 6523037"/>
                <a:gd name="connsiteX1175" fmla="*/ 717155 w 12192001"/>
                <a:gd name="connsiteY1175" fmla="*/ 4052402 h 6523037"/>
                <a:gd name="connsiteX1176" fmla="*/ 986808 w 12192001"/>
                <a:gd name="connsiteY1176" fmla="*/ 4320665 h 6523037"/>
                <a:gd name="connsiteX1177" fmla="*/ 716396 w 12192001"/>
                <a:gd name="connsiteY1177" fmla="*/ 4591776 h 6523037"/>
                <a:gd name="connsiteX1178" fmla="*/ 979821 w 12192001"/>
                <a:gd name="connsiteY1178" fmla="*/ 4591776 h 6523037"/>
                <a:gd name="connsiteX1179" fmla="*/ 1250233 w 12192001"/>
                <a:gd name="connsiteY1179" fmla="*/ 4320665 h 6523037"/>
                <a:gd name="connsiteX1180" fmla="*/ 1116075 w 12192001"/>
                <a:gd name="connsiteY1180" fmla="*/ 4187206 h 6523037"/>
                <a:gd name="connsiteX1181" fmla="*/ 1019702 w 12192001"/>
                <a:gd name="connsiteY1181" fmla="*/ 4090833 h 6523037"/>
                <a:gd name="connsiteX1182" fmla="*/ 1018761 w 12192001"/>
                <a:gd name="connsiteY1182" fmla="*/ 4090833 h 6523037"/>
                <a:gd name="connsiteX1183" fmla="*/ 980330 w 12192001"/>
                <a:gd name="connsiteY1183" fmla="*/ 4052402 h 6523037"/>
                <a:gd name="connsiteX1184" fmla="*/ 168395 w 12192001"/>
                <a:gd name="connsiteY1184" fmla="*/ 4052402 h 6523037"/>
                <a:gd name="connsiteX1185" fmla="*/ 206127 w 12192001"/>
                <a:gd name="connsiteY1185" fmla="*/ 4090134 h 6523037"/>
                <a:gd name="connsiteX1186" fmla="*/ 205772 w 12192001"/>
                <a:gd name="connsiteY1186" fmla="*/ 4090134 h 6523037"/>
                <a:gd name="connsiteX1187" fmla="*/ 437599 w 12192001"/>
                <a:gd name="connsiteY1187" fmla="*/ 4321364 h 6523037"/>
                <a:gd name="connsiteX1188" fmla="*/ 167187 w 12192001"/>
                <a:gd name="connsiteY1188" fmla="*/ 4591776 h 6523037"/>
                <a:gd name="connsiteX1189" fmla="*/ 431311 w 12192001"/>
                <a:gd name="connsiteY1189" fmla="*/ 4591776 h 6523037"/>
                <a:gd name="connsiteX1190" fmla="*/ 701722 w 12192001"/>
                <a:gd name="connsiteY1190" fmla="*/ 4320665 h 6523037"/>
                <a:gd name="connsiteX1191" fmla="*/ 470596 w 12192001"/>
                <a:gd name="connsiteY1191" fmla="*/ 4090134 h 6523037"/>
                <a:gd name="connsiteX1192" fmla="*/ 470250 w 12192001"/>
                <a:gd name="connsiteY1192" fmla="*/ 4090134 h 6523037"/>
                <a:gd name="connsiteX1193" fmla="*/ 432518 w 12192001"/>
                <a:gd name="connsiteY1193" fmla="*/ 4052402 h 6523037"/>
                <a:gd name="connsiteX1194" fmla="*/ 1816265 w 12192001"/>
                <a:gd name="connsiteY1194" fmla="*/ 4051703 h 6523037"/>
                <a:gd name="connsiteX1195" fmla="*/ 1942683 w 12192001"/>
                <a:gd name="connsiteY1195" fmla="*/ 4178123 h 6523037"/>
                <a:gd name="connsiteX1196" fmla="*/ 2083829 w 12192001"/>
                <a:gd name="connsiteY1196" fmla="*/ 4318569 h 6523037"/>
                <a:gd name="connsiteX1197" fmla="*/ 1813417 w 12192001"/>
                <a:gd name="connsiteY1197" fmla="*/ 4589680 h 6523037"/>
                <a:gd name="connsiteX1198" fmla="*/ 2076842 w 12192001"/>
                <a:gd name="connsiteY1198" fmla="*/ 4589680 h 6523037"/>
                <a:gd name="connsiteX1199" fmla="*/ 2347254 w 12192001"/>
                <a:gd name="connsiteY1199" fmla="*/ 4319268 h 6523037"/>
                <a:gd name="connsiteX1200" fmla="*/ 2214493 w 12192001"/>
                <a:gd name="connsiteY1200" fmla="*/ 4186507 h 6523037"/>
                <a:gd name="connsiteX1201" fmla="*/ 2214493 w 12192001"/>
                <a:gd name="connsiteY1201" fmla="*/ 4185809 h 6523037"/>
                <a:gd name="connsiteX1202" fmla="*/ 2119736 w 12192001"/>
                <a:gd name="connsiteY1202" fmla="*/ 4091531 h 6523037"/>
                <a:gd name="connsiteX1203" fmla="*/ 2116480 w 12192001"/>
                <a:gd name="connsiteY1203" fmla="*/ 4091531 h 6523037"/>
                <a:gd name="connsiteX1204" fmla="*/ 2076652 w 12192001"/>
                <a:gd name="connsiteY1204" fmla="*/ 4051703 h 6523037"/>
                <a:gd name="connsiteX1205" fmla="*/ 1266369 w 12192001"/>
                <a:gd name="connsiteY1205" fmla="*/ 4051703 h 6523037"/>
                <a:gd name="connsiteX1206" fmla="*/ 1534620 w 12192001"/>
                <a:gd name="connsiteY1206" fmla="*/ 4318569 h 6523037"/>
                <a:gd name="connsiteX1207" fmla="*/ 1531824 w 12192001"/>
                <a:gd name="connsiteY1207" fmla="*/ 4321364 h 6523037"/>
                <a:gd name="connsiteX1208" fmla="*/ 1441688 w 12192001"/>
                <a:gd name="connsiteY1208" fmla="*/ 4412201 h 6523037"/>
                <a:gd name="connsiteX1209" fmla="*/ 1440989 w 12192001"/>
                <a:gd name="connsiteY1209" fmla="*/ 4412201 h 6523037"/>
                <a:gd name="connsiteX1210" fmla="*/ 1263509 w 12192001"/>
                <a:gd name="connsiteY1210" fmla="*/ 4590379 h 6523037"/>
                <a:gd name="connsiteX1211" fmla="*/ 1527632 w 12192001"/>
                <a:gd name="connsiteY1211" fmla="*/ 4590379 h 6523037"/>
                <a:gd name="connsiteX1212" fmla="*/ 1798044 w 12192001"/>
                <a:gd name="connsiteY1212" fmla="*/ 4319967 h 6523037"/>
                <a:gd name="connsiteX1213" fmla="*/ 1793153 w 12192001"/>
                <a:gd name="connsiteY1213" fmla="*/ 4315076 h 6523037"/>
                <a:gd name="connsiteX1214" fmla="*/ 1795249 w 12192001"/>
                <a:gd name="connsiteY1214" fmla="*/ 4315775 h 6523037"/>
                <a:gd name="connsiteX1215" fmla="*/ 1569718 w 12192001"/>
                <a:gd name="connsiteY1215" fmla="*/ 4090833 h 6523037"/>
                <a:gd name="connsiteX1216" fmla="*/ 1567271 w 12192001"/>
                <a:gd name="connsiteY1216" fmla="*/ 4090833 h 6523037"/>
                <a:gd name="connsiteX1217" fmla="*/ 1528141 w 12192001"/>
                <a:gd name="connsiteY1217" fmla="*/ 4051703 h 6523037"/>
                <a:gd name="connsiteX1218" fmla="*/ 2363377 w 12192001"/>
                <a:gd name="connsiteY1218" fmla="*/ 4051005 h 6523037"/>
                <a:gd name="connsiteX1219" fmla="*/ 2630942 w 12192001"/>
                <a:gd name="connsiteY1219" fmla="*/ 4318569 h 6523037"/>
                <a:gd name="connsiteX1220" fmla="*/ 2632339 w 12192001"/>
                <a:gd name="connsiteY1220" fmla="*/ 4319967 h 6523037"/>
                <a:gd name="connsiteX1221" fmla="*/ 2363324 w 12192001"/>
                <a:gd name="connsiteY1221" fmla="*/ 4589680 h 6523037"/>
                <a:gd name="connsiteX1222" fmla="*/ 2625352 w 12192001"/>
                <a:gd name="connsiteY1222" fmla="*/ 4589680 h 6523037"/>
                <a:gd name="connsiteX1223" fmla="*/ 2895065 w 12192001"/>
                <a:gd name="connsiteY1223" fmla="*/ 4319268 h 6523037"/>
                <a:gd name="connsiteX1224" fmla="*/ 2890873 w 12192001"/>
                <a:gd name="connsiteY1224" fmla="*/ 4315076 h 6523037"/>
                <a:gd name="connsiteX1225" fmla="*/ 2892968 w 12192001"/>
                <a:gd name="connsiteY1225" fmla="*/ 4315775 h 6523037"/>
                <a:gd name="connsiteX1226" fmla="*/ 2668140 w 12192001"/>
                <a:gd name="connsiteY1226" fmla="*/ 4091531 h 6523037"/>
                <a:gd name="connsiteX1227" fmla="*/ 2666387 w 12192001"/>
                <a:gd name="connsiteY1227" fmla="*/ 4091531 h 6523037"/>
                <a:gd name="connsiteX1228" fmla="*/ 2625861 w 12192001"/>
                <a:gd name="connsiteY1228" fmla="*/ 4051005 h 6523037"/>
                <a:gd name="connsiteX1229" fmla="*/ 2911879 w 12192001"/>
                <a:gd name="connsiteY1229" fmla="*/ 4049607 h 6523037"/>
                <a:gd name="connsiteX1230" fmla="*/ 3179452 w 12192001"/>
                <a:gd name="connsiteY1230" fmla="*/ 4317871 h 6523037"/>
                <a:gd name="connsiteX1231" fmla="*/ 3087218 w 12192001"/>
                <a:gd name="connsiteY1231" fmla="*/ 4410803 h 6523037"/>
                <a:gd name="connsiteX1232" fmla="*/ 3087917 w 12192001"/>
                <a:gd name="connsiteY1232" fmla="*/ 4411502 h 6523037"/>
                <a:gd name="connsiteX1233" fmla="*/ 2911834 w 12192001"/>
                <a:gd name="connsiteY1233" fmla="*/ 4587584 h 6523037"/>
                <a:gd name="connsiteX1234" fmla="*/ 3108180 w 12192001"/>
                <a:gd name="connsiteY1234" fmla="*/ 4587584 h 6523037"/>
                <a:gd name="connsiteX1235" fmla="*/ 3107481 w 12192001"/>
                <a:gd name="connsiteY1235" fmla="*/ 4588982 h 6523037"/>
                <a:gd name="connsiteX1236" fmla="*/ 3173163 w 12192001"/>
                <a:gd name="connsiteY1236" fmla="*/ 4588982 h 6523037"/>
                <a:gd name="connsiteX1237" fmla="*/ 3443575 w 12192001"/>
                <a:gd name="connsiteY1237" fmla="*/ 4317871 h 6523037"/>
                <a:gd name="connsiteX1238" fmla="*/ 3215951 w 12192001"/>
                <a:gd name="connsiteY1238" fmla="*/ 4090833 h 6523037"/>
                <a:gd name="connsiteX1239" fmla="*/ 3215596 w 12192001"/>
                <a:gd name="connsiteY1239" fmla="*/ 4090833 h 6523037"/>
                <a:gd name="connsiteX1240" fmla="*/ 3174371 w 12192001"/>
                <a:gd name="connsiteY1240" fmla="*/ 4049607 h 6523037"/>
                <a:gd name="connsiteX1241" fmla="*/ 3459004 w 12192001"/>
                <a:gd name="connsiteY1241" fmla="*/ 4048908 h 6523037"/>
                <a:gd name="connsiteX1242" fmla="*/ 3728660 w 12192001"/>
                <a:gd name="connsiteY1242" fmla="*/ 4317871 h 6523037"/>
                <a:gd name="connsiteX1243" fmla="*/ 3458248 w 12192001"/>
                <a:gd name="connsiteY1243" fmla="*/ 4588283 h 6523037"/>
                <a:gd name="connsiteX1244" fmla="*/ 3722372 w 12192001"/>
                <a:gd name="connsiteY1244" fmla="*/ 4588283 h 6523037"/>
                <a:gd name="connsiteX1245" fmla="*/ 3992783 w 12192001"/>
                <a:gd name="connsiteY1245" fmla="*/ 4317871 h 6523037"/>
                <a:gd name="connsiteX1246" fmla="*/ 3765160 w 12192001"/>
                <a:gd name="connsiteY1246" fmla="*/ 4090833 h 6523037"/>
                <a:gd name="connsiteX1247" fmla="*/ 3764107 w 12192001"/>
                <a:gd name="connsiteY1247" fmla="*/ 4090833 h 6523037"/>
                <a:gd name="connsiteX1248" fmla="*/ 3722183 w 12192001"/>
                <a:gd name="connsiteY1248" fmla="*/ 4048908 h 6523037"/>
                <a:gd name="connsiteX1249" fmla="*/ 4007520 w 12192001"/>
                <a:gd name="connsiteY1249" fmla="*/ 4048209 h 6523037"/>
                <a:gd name="connsiteX1250" fmla="*/ 4277870 w 12192001"/>
                <a:gd name="connsiteY1250" fmla="*/ 4316473 h 6523037"/>
                <a:gd name="connsiteX1251" fmla="*/ 4007457 w 12192001"/>
                <a:gd name="connsiteY1251" fmla="*/ 4587584 h 6523037"/>
                <a:gd name="connsiteX1252" fmla="*/ 4270883 w 12192001"/>
                <a:gd name="connsiteY1252" fmla="*/ 4587584 h 6523037"/>
                <a:gd name="connsiteX1253" fmla="*/ 4541295 w 12192001"/>
                <a:gd name="connsiteY1253" fmla="*/ 4316473 h 6523037"/>
                <a:gd name="connsiteX1254" fmla="*/ 4407136 w 12192001"/>
                <a:gd name="connsiteY1254" fmla="*/ 4183014 h 6523037"/>
                <a:gd name="connsiteX1255" fmla="*/ 4314483 w 12192001"/>
                <a:gd name="connsiteY1255" fmla="*/ 4090833 h 6523037"/>
                <a:gd name="connsiteX1256" fmla="*/ 4313317 w 12192001"/>
                <a:gd name="connsiteY1256" fmla="*/ 4090833 h 6523037"/>
                <a:gd name="connsiteX1257" fmla="*/ 4270692 w 12192001"/>
                <a:gd name="connsiteY1257" fmla="*/ 4048209 h 6523037"/>
                <a:gd name="connsiteX1258" fmla="*/ 5377262 w 12192001"/>
                <a:gd name="connsiteY1258" fmla="*/ 4047640 h 6523037"/>
                <a:gd name="connsiteX1259" fmla="*/ 5646914 w 12192001"/>
                <a:gd name="connsiteY1259" fmla="*/ 4315903 h 6523037"/>
                <a:gd name="connsiteX1260" fmla="*/ 5376502 w 12192001"/>
                <a:gd name="connsiteY1260" fmla="*/ 4587014 h 6523037"/>
                <a:gd name="connsiteX1261" fmla="*/ 5639927 w 12192001"/>
                <a:gd name="connsiteY1261" fmla="*/ 4587014 h 6523037"/>
                <a:gd name="connsiteX1262" fmla="*/ 5910339 w 12192001"/>
                <a:gd name="connsiteY1262" fmla="*/ 4315903 h 6523037"/>
                <a:gd name="connsiteX1263" fmla="*/ 5776182 w 12192001"/>
                <a:gd name="connsiteY1263" fmla="*/ 4182444 h 6523037"/>
                <a:gd name="connsiteX1264" fmla="*/ 5679808 w 12192001"/>
                <a:gd name="connsiteY1264" fmla="*/ 4086071 h 6523037"/>
                <a:gd name="connsiteX1265" fmla="*/ 5678867 w 12192001"/>
                <a:gd name="connsiteY1265" fmla="*/ 4086071 h 6523037"/>
                <a:gd name="connsiteX1266" fmla="*/ 5640436 w 12192001"/>
                <a:gd name="connsiteY1266" fmla="*/ 4047640 h 6523037"/>
                <a:gd name="connsiteX1267" fmla="*/ 4828501 w 12192001"/>
                <a:gd name="connsiteY1267" fmla="*/ 4047640 h 6523037"/>
                <a:gd name="connsiteX1268" fmla="*/ 4866233 w 12192001"/>
                <a:gd name="connsiteY1268" fmla="*/ 4085372 h 6523037"/>
                <a:gd name="connsiteX1269" fmla="*/ 4865878 w 12192001"/>
                <a:gd name="connsiteY1269" fmla="*/ 4085372 h 6523037"/>
                <a:gd name="connsiteX1270" fmla="*/ 5097706 w 12192001"/>
                <a:gd name="connsiteY1270" fmla="*/ 4316602 h 6523037"/>
                <a:gd name="connsiteX1271" fmla="*/ 4828477 w 12192001"/>
                <a:gd name="connsiteY1271" fmla="*/ 4585831 h 6523037"/>
                <a:gd name="connsiteX1272" fmla="*/ 4828477 w 12192001"/>
                <a:gd name="connsiteY1272" fmla="*/ 4587014 h 6523037"/>
                <a:gd name="connsiteX1273" fmla="*/ 5091417 w 12192001"/>
                <a:gd name="connsiteY1273" fmla="*/ 4587014 h 6523037"/>
                <a:gd name="connsiteX1274" fmla="*/ 5361829 w 12192001"/>
                <a:gd name="connsiteY1274" fmla="*/ 4315903 h 6523037"/>
                <a:gd name="connsiteX1275" fmla="*/ 5130702 w 12192001"/>
                <a:gd name="connsiteY1275" fmla="*/ 4085372 h 6523037"/>
                <a:gd name="connsiteX1276" fmla="*/ 5130356 w 12192001"/>
                <a:gd name="connsiteY1276" fmla="*/ 4085372 h 6523037"/>
                <a:gd name="connsiteX1277" fmla="*/ 5092624 w 12192001"/>
                <a:gd name="connsiteY1277" fmla="*/ 4047640 h 6523037"/>
                <a:gd name="connsiteX1278" fmla="*/ 6476371 w 12192001"/>
                <a:gd name="connsiteY1278" fmla="*/ 4046941 h 6523037"/>
                <a:gd name="connsiteX1279" fmla="*/ 6602789 w 12192001"/>
                <a:gd name="connsiteY1279" fmla="*/ 4173361 h 6523037"/>
                <a:gd name="connsiteX1280" fmla="*/ 6743935 w 12192001"/>
                <a:gd name="connsiteY1280" fmla="*/ 4313807 h 6523037"/>
                <a:gd name="connsiteX1281" fmla="*/ 6473523 w 12192001"/>
                <a:gd name="connsiteY1281" fmla="*/ 4584918 h 6523037"/>
                <a:gd name="connsiteX1282" fmla="*/ 6736948 w 12192001"/>
                <a:gd name="connsiteY1282" fmla="*/ 4584918 h 6523037"/>
                <a:gd name="connsiteX1283" fmla="*/ 7007360 w 12192001"/>
                <a:gd name="connsiteY1283" fmla="*/ 4314506 h 6523037"/>
                <a:gd name="connsiteX1284" fmla="*/ 6874599 w 12192001"/>
                <a:gd name="connsiteY1284" fmla="*/ 4181745 h 6523037"/>
                <a:gd name="connsiteX1285" fmla="*/ 6874599 w 12192001"/>
                <a:gd name="connsiteY1285" fmla="*/ 4181047 h 6523037"/>
                <a:gd name="connsiteX1286" fmla="*/ 6779842 w 12192001"/>
                <a:gd name="connsiteY1286" fmla="*/ 4086769 h 6523037"/>
                <a:gd name="connsiteX1287" fmla="*/ 6776587 w 12192001"/>
                <a:gd name="connsiteY1287" fmla="*/ 4086769 h 6523037"/>
                <a:gd name="connsiteX1288" fmla="*/ 6736759 w 12192001"/>
                <a:gd name="connsiteY1288" fmla="*/ 4046941 h 6523037"/>
                <a:gd name="connsiteX1289" fmla="*/ 5926476 w 12192001"/>
                <a:gd name="connsiteY1289" fmla="*/ 4046941 h 6523037"/>
                <a:gd name="connsiteX1290" fmla="*/ 6194726 w 12192001"/>
                <a:gd name="connsiteY1290" fmla="*/ 4313807 h 6523037"/>
                <a:gd name="connsiteX1291" fmla="*/ 6191930 w 12192001"/>
                <a:gd name="connsiteY1291" fmla="*/ 4316602 h 6523037"/>
                <a:gd name="connsiteX1292" fmla="*/ 6101794 w 12192001"/>
                <a:gd name="connsiteY1292" fmla="*/ 4407439 h 6523037"/>
                <a:gd name="connsiteX1293" fmla="*/ 6101096 w 12192001"/>
                <a:gd name="connsiteY1293" fmla="*/ 4407439 h 6523037"/>
                <a:gd name="connsiteX1294" fmla="*/ 5923616 w 12192001"/>
                <a:gd name="connsiteY1294" fmla="*/ 4585617 h 6523037"/>
                <a:gd name="connsiteX1295" fmla="*/ 6187739 w 12192001"/>
                <a:gd name="connsiteY1295" fmla="*/ 4585617 h 6523037"/>
                <a:gd name="connsiteX1296" fmla="*/ 6458151 w 12192001"/>
                <a:gd name="connsiteY1296" fmla="*/ 4315205 h 6523037"/>
                <a:gd name="connsiteX1297" fmla="*/ 6453259 w 12192001"/>
                <a:gd name="connsiteY1297" fmla="*/ 4310314 h 6523037"/>
                <a:gd name="connsiteX1298" fmla="*/ 6455355 w 12192001"/>
                <a:gd name="connsiteY1298" fmla="*/ 4311013 h 6523037"/>
                <a:gd name="connsiteX1299" fmla="*/ 6229824 w 12192001"/>
                <a:gd name="connsiteY1299" fmla="*/ 4086071 h 6523037"/>
                <a:gd name="connsiteX1300" fmla="*/ 6227377 w 12192001"/>
                <a:gd name="connsiteY1300" fmla="*/ 4086071 h 6523037"/>
                <a:gd name="connsiteX1301" fmla="*/ 6188247 w 12192001"/>
                <a:gd name="connsiteY1301" fmla="*/ 4046941 h 6523037"/>
                <a:gd name="connsiteX1302" fmla="*/ 4555321 w 12192001"/>
                <a:gd name="connsiteY1302" fmla="*/ 4046813 h 6523037"/>
                <a:gd name="connsiteX1303" fmla="*/ 4555968 w 12192001"/>
                <a:gd name="connsiteY1303" fmla="*/ 4047459 h 6523037"/>
                <a:gd name="connsiteX1304" fmla="*/ 4821607 w 12192001"/>
                <a:gd name="connsiteY1304" fmla="*/ 4312410 h 6523037"/>
                <a:gd name="connsiteX1305" fmla="*/ 5083731 w 12192001"/>
                <a:gd name="connsiteY1305" fmla="*/ 4312410 h 6523037"/>
                <a:gd name="connsiteX1306" fmla="*/ 4816757 w 12192001"/>
                <a:gd name="connsiteY1306" fmla="*/ 4046813 h 6523037"/>
                <a:gd name="connsiteX1307" fmla="*/ 7023483 w 12192001"/>
                <a:gd name="connsiteY1307" fmla="*/ 4046243 h 6523037"/>
                <a:gd name="connsiteX1308" fmla="*/ 7291048 w 12192001"/>
                <a:gd name="connsiteY1308" fmla="*/ 4313807 h 6523037"/>
                <a:gd name="connsiteX1309" fmla="*/ 7292445 w 12192001"/>
                <a:gd name="connsiteY1309" fmla="*/ 4315205 h 6523037"/>
                <a:gd name="connsiteX1310" fmla="*/ 7023431 w 12192001"/>
                <a:gd name="connsiteY1310" fmla="*/ 4584918 h 6523037"/>
                <a:gd name="connsiteX1311" fmla="*/ 7285458 w 12192001"/>
                <a:gd name="connsiteY1311" fmla="*/ 4584918 h 6523037"/>
                <a:gd name="connsiteX1312" fmla="*/ 7555171 w 12192001"/>
                <a:gd name="connsiteY1312" fmla="*/ 4314506 h 6523037"/>
                <a:gd name="connsiteX1313" fmla="*/ 7550979 w 12192001"/>
                <a:gd name="connsiteY1313" fmla="*/ 4310314 h 6523037"/>
                <a:gd name="connsiteX1314" fmla="*/ 7553074 w 12192001"/>
                <a:gd name="connsiteY1314" fmla="*/ 4311013 h 6523037"/>
                <a:gd name="connsiteX1315" fmla="*/ 7328246 w 12192001"/>
                <a:gd name="connsiteY1315" fmla="*/ 4086769 h 6523037"/>
                <a:gd name="connsiteX1316" fmla="*/ 7326493 w 12192001"/>
                <a:gd name="connsiteY1316" fmla="*/ 4086769 h 6523037"/>
                <a:gd name="connsiteX1317" fmla="*/ 7285967 w 12192001"/>
                <a:gd name="connsiteY1317" fmla="*/ 4046243 h 6523037"/>
                <a:gd name="connsiteX1318" fmla="*/ 7571985 w 12192001"/>
                <a:gd name="connsiteY1318" fmla="*/ 4044845 h 6523037"/>
                <a:gd name="connsiteX1319" fmla="*/ 7839558 w 12192001"/>
                <a:gd name="connsiteY1319" fmla="*/ 4313109 h 6523037"/>
                <a:gd name="connsiteX1320" fmla="*/ 7747324 w 12192001"/>
                <a:gd name="connsiteY1320" fmla="*/ 4406041 h 6523037"/>
                <a:gd name="connsiteX1321" fmla="*/ 7748023 w 12192001"/>
                <a:gd name="connsiteY1321" fmla="*/ 4406740 h 6523037"/>
                <a:gd name="connsiteX1322" fmla="*/ 7571940 w 12192001"/>
                <a:gd name="connsiteY1322" fmla="*/ 4582822 h 6523037"/>
                <a:gd name="connsiteX1323" fmla="*/ 7768286 w 12192001"/>
                <a:gd name="connsiteY1323" fmla="*/ 4582822 h 6523037"/>
                <a:gd name="connsiteX1324" fmla="*/ 7767587 w 12192001"/>
                <a:gd name="connsiteY1324" fmla="*/ 4584220 h 6523037"/>
                <a:gd name="connsiteX1325" fmla="*/ 7833269 w 12192001"/>
                <a:gd name="connsiteY1325" fmla="*/ 4584220 h 6523037"/>
                <a:gd name="connsiteX1326" fmla="*/ 8103681 w 12192001"/>
                <a:gd name="connsiteY1326" fmla="*/ 4313109 h 6523037"/>
                <a:gd name="connsiteX1327" fmla="*/ 7876057 w 12192001"/>
                <a:gd name="connsiteY1327" fmla="*/ 4086071 h 6523037"/>
                <a:gd name="connsiteX1328" fmla="*/ 7875702 w 12192001"/>
                <a:gd name="connsiteY1328" fmla="*/ 4086071 h 6523037"/>
                <a:gd name="connsiteX1329" fmla="*/ 7834477 w 12192001"/>
                <a:gd name="connsiteY1329" fmla="*/ 4044845 h 6523037"/>
                <a:gd name="connsiteX1330" fmla="*/ 10037678 w 12192001"/>
                <a:gd name="connsiteY1330" fmla="*/ 4044465 h 6523037"/>
                <a:gd name="connsiteX1331" fmla="*/ 10307331 w 12192001"/>
                <a:gd name="connsiteY1331" fmla="*/ 4312728 h 6523037"/>
                <a:gd name="connsiteX1332" fmla="*/ 10036919 w 12192001"/>
                <a:gd name="connsiteY1332" fmla="*/ 4583839 h 6523037"/>
                <a:gd name="connsiteX1333" fmla="*/ 10300344 w 12192001"/>
                <a:gd name="connsiteY1333" fmla="*/ 4583839 h 6523037"/>
                <a:gd name="connsiteX1334" fmla="*/ 10570756 w 12192001"/>
                <a:gd name="connsiteY1334" fmla="*/ 4312728 h 6523037"/>
                <a:gd name="connsiteX1335" fmla="*/ 10436598 w 12192001"/>
                <a:gd name="connsiteY1335" fmla="*/ 4179269 h 6523037"/>
                <a:gd name="connsiteX1336" fmla="*/ 10340225 w 12192001"/>
                <a:gd name="connsiteY1336" fmla="*/ 4082896 h 6523037"/>
                <a:gd name="connsiteX1337" fmla="*/ 10339284 w 12192001"/>
                <a:gd name="connsiteY1337" fmla="*/ 4082896 h 6523037"/>
                <a:gd name="connsiteX1338" fmla="*/ 10300853 w 12192001"/>
                <a:gd name="connsiteY1338" fmla="*/ 4044465 h 6523037"/>
                <a:gd name="connsiteX1339" fmla="*/ 9488918 w 12192001"/>
                <a:gd name="connsiteY1339" fmla="*/ 4044465 h 6523037"/>
                <a:gd name="connsiteX1340" fmla="*/ 9526650 w 12192001"/>
                <a:gd name="connsiteY1340" fmla="*/ 4082197 h 6523037"/>
                <a:gd name="connsiteX1341" fmla="*/ 9526295 w 12192001"/>
                <a:gd name="connsiteY1341" fmla="*/ 4082197 h 6523037"/>
                <a:gd name="connsiteX1342" fmla="*/ 9758122 w 12192001"/>
                <a:gd name="connsiteY1342" fmla="*/ 4313427 h 6523037"/>
                <a:gd name="connsiteX1343" fmla="*/ 9488582 w 12192001"/>
                <a:gd name="connsiteY1343" fmla="*/ 4582967 h 6523037"/>
                <a:gd name="connsiteX1344" fmla="*/ 9488582 w 12192001"/>
                <a:gd name="connsiteY1344" fmla="*/ 4583521 h 6523037"/>
                <a:gd name="connsiteX1345" fmla="*/ 9488264 w 12192001"/>
                <a:gd name="connsiteY1345" fmla="*/ 4583839 h 6523037"/>
                <a:gd name="connsiteX1346" fmla="*/ 9751834 w 12192001"/>
                <a:gd name="connsiteY1346" fmla="*/ 4583839 h 6523037"/>
                <a:gd name="connsiteX1347" fmla="*/ 10022245 w 12192001"/>
                <a:gd name="connsiteY1347" fmla="*/ 4312728 h 6523037"/>
                <a:gd name="connsiteX1348" fmla="*/ 9791119 w 12192001"/>
                <a:gd name="connsiteY1348" fmla="*/ 4082197 h 6523037"/>
                <a:gd name="connsiteX1349" fmla="*/ 9790773 w 12192001"/>
                <a:gd name="connsiteY1349" fmla="*/ 4082197 h 6523037"/>
                <a:gd name="connsiteX1350" fmla="*/ 9753041 w 12192001"/>
                <a:gd name="connsiteY1350" fmla="*/ 4044465 h 6523037"/>
                <a:gd name="connsiteX1351" fmla="*/ 8119110 w 12192001"/>
                <a:gd name="connsiteY1351" fmla="*/ 4044146 h 6523037"/>
                <a:gd name="connsiteX1352" fmla="*/ 8388766 w 12192001"/>
                <a:gd name="connsiteY1352" fmla="*/ 4313109 h 6523037"/>
                <a:gd name="connsiteX1353" fmla="*/ 8118354 w 12192001"/>
                <a:gd name="connsiteY1353" fmla="*/ 4583521 h 6523037"/>
                <a:gd name="connsiteX1354" fmla="*/ 8382478 w 12192001"/>
                <a:gd name="connsiteY1354" fmla="*/ 4583521 h 6523037"/>
                <a:gd name="connsiteX1355" fmla="*/ 8652889 w 12192001"/>
                <a:gd name="connsiteY1355" fmla="*/ 4313109 h 6523037"/>
                <a:gd name="connsiteX1356" fmla="*/ 8425266 w 12192001"/>
                <a:gd name="connsiteY1356" fmla="*/ 4086071 h 6523037"/>
                <a:gd name="connsiteX1357" fmla="*/ 8424213 w 12192001"/>
                <a:gd name="connsiteY1357" fmla="*/ 4086071 h 6523037"/>
                <a:gd name="connsiteX1358" fmla="*/ 8382289 w 12192001"/>
                <a:gd name="connsiteY1358" fmla="*/ 4044146 h 6523037"/>
                <a:gd name="connsiteX1359" fmla="*/ 11136788 w 12192001"/>
                <a:gd name="connsiteY1359" fmla="*/ 4043766 h 6523037"/>
                <a:gd name="connsiteX1360" fmla="*/ 11263206 w 12192001"/>
                <a:gd name="connsiteY1360" fmla="*/ 4170186 h 6523037"/>
                <a:gd name="connsiteX1361" fmla="*/ 11404352 w 12192001"/>
                <a:gd name="connsiteY1361" fmla="*/ 4310632 h 6523037"/>
                <a:gd name="connsiteX1362" fmla="*/ 11133940 w 12192001"/>
                <a:gd name="connsiteY1362" fmla="*/ 4581743 h 6523037"/>
                <a:gd name="connsiteX1363" fmla="*/ 11397365 w 12192001"/>
                <a:gd name="connsiteY1363" fmla="*/ 4581743 h 6523037"/>
                <a:gd name="connsiteX1364" fmla="*/ 11667777 w 12192001"/>
                <a:gd name="connsiteY1364" fmla="*/ 4311331 h 6523037"/>
                <a:gd name="connsiteX1365" fmla="*/ 11535016 w 12192001"/>
                <a:gd name="connsiteY1365" fmla="*/ 4178570 h 6523037"/>
                <a:gd name="connsiteX1366" fmla="*/ 11535016 w 12192001"/>
                <a:gd name="connsiteY1366" fmla="*/ 4177872 h 6523037"/>
                <a:gd name="connsiteX1367" fmla="*/ 11440259 w 12192001"/>
                <a:gd name="connsiteY1367" fmla="*/ 4083594 h 6523037"/>
                <a:gd name="connsiteX1368" fmla="*/ 11437003 w 12192001"/>
                <a:gd name="connsiteY1368" fmla="*/ 4083594 h 6523037"/>
                <a:gd name="connsiteX1369" fmla="*/ 11397175 w 12192001"/>
                <a:gd name="connsiteY1369" fmla="*/ 4043766 h 6523037"/>
                <a:gd name="connsiteX1370" fmla="*/ 10586892 w 12192001"/>
                <a:gd name="connsiteY1370" fmla="*/ 4043766 h 6523037"/>
                <a:gd name="connsiteX1371" fmla="*/ 10855143 w 12192001"/>
                <a:gd name="connsiteY1371" fmla="*/ 4310632 h 6523037"/>
                <a:gd name="connsiteX1372" fmla="*/ 10852347 w 12192001"/>
                <a:gd name="connsiteY1372" fmla="*/ 4313427 h 6523037"/>
                <a:gd name="connsiteX1373" fmla="*/ 10762211 w 12192001"/>
                <a:gd name="connsiteY1373" fmla="*/ 4404264 h 6523037"/>
                <a:gd name="connsiteX1374" fmla="*/ 10761512 w 12192001"/>
                <a:gd name="connsiteY1374" fmla="*/ 4404264 h 6523037"/>
                <a:gd name="connsiteX1375" fmla="*/ 10584032 w 12192001"/>
                <a:gd name="connsiteY1375" fmla="*/ 4582442 h 6523037"/>
                <a:gd name="connsiteX1376" fmla="*/ 10848155 w 12192001"/>
                <a:gd name="connsiteY1376" fmla="*/ 4582442 h 6523037"/>
                <a:gd name="connsiteX1377" fmla="*/ 11118567 w 12192001"/>
                <a:gd name="connsiteY1377" fmla="*/ 4312030 h 6523037"/>
                <a:gd name="connsiteX1378" fmla="*/ 11113676 w 12192001"/>
                <a:gd name="connsiteY1378" fmla="*/ 4307139 h 6523037"/>
                <a:gd name="connsiteX1379" fmla="*/ 11115772 w 12192001"/>
                <a:gd name="connsiteY1379" fmla="*/ 4307838 h 6523037"/>
                <a:gd name="connsiteX1380" fmla="*/ 10890241 w 12192001"/>
                <a:gd name="connsiteY1380" fmla="*/ 4082896 h 6523037"/>
                <a:gd name="connsiteX1381" fmla="*/ 10887794 w 12192001"/>
                <a:gd name="connsiteY1381" fmla="*/ 4082896 h 6523037"/>
                <a:gd name="connsiteX1382" fmla="*/ 10848664 w 12192001"/>
                <a:gd name="connsiteY1382" fmla="*/ 4043766 h 6523037"/>
                <a:gd name="connsiteX1383" fmla="*/ 8667626 w 12192001"/>
                <a:gd name="connsiteY1383" fmla="*/ 4043447 h 6523037"/>
                <a:gd name="connsiteX1384" fmla="*/ 8937975 w 12192001"/>
                <a:gd name="connsiteY1384" fmla="*/ 4311711 h 6523037"/>
                <a:gd name="connsiteX1385" fmla="*/ 8667563 w 12192001"/>
                <a:gd name="connsiteY1385" fmla="*/ 4582822 h 6523037"/>
                <a:gd name="connsiteX1386" fmla="*/ 8930988 w 12192001"/>
                <a:gd name="connsiteY1386" fmla="*/ 4582822 h 6523037"/>
                <a:gd name="connsiteX1387" fmla="*/ 9201400 w 12192001"/>
                <a:gd name="connsiteY1387" fmla="*/ 4311711 h 6523037"/>
                <a:gd name="connsiteX1388" fmla="*/ 9067242 w 12192001"/>
                <a:gd name="connsiteY1388" fmla="*/ 4178252 h 6523037"/>
                <a:gd name="connsiteX1389" fmla="*/ 8974588 w 12192001"/>
                <a:gd name="connsiteY1389" fmla="*/ 4086071 h 6523037"/>
                <a:gd name="connsiteX1390" fmla="*/ 8973422 w 12192001"/>
                <a:gd name="connsiteY1390" fmla="*/ 4086071 h 6523037"/>
                <a:gd name="connsiteX1391" fmla="*/ 8930798 w 12192001"/>
                <a:gd name="connsiteY1391" fmla="*/ 4043447 h 6523037"/>
                <a:gd name="connsiteX1392" fmla="*/ 9215427 w 12192001"/>
                <a:gd name="connsiteY1392" fmla="*/ 4042051 h 6523037"/>
                <a:gd name="connsiteX1393" fmla="*/ 9216074 w 12192001"/>
                <a:gd name="connsiteY1393" fmla="*/ 4042697 h 6523037"/>
                <a:gd name="connsiteX1394" fmla="*/ 9483305 w 12192001"/>
                <a:gd name="connsiteY1394" fmla="*/ 4309235 h 6523037"/>
                <a:gd name="connsiteX1395" fmla="*/ 9744147 w 12192001"/>
                <a:gd name="connsiteY1395" fmla="*/ 4309235 h 6523037"/>
                <a:gd name="connsiteX1396" fmla="*/ 9475578 w 12192001"/>
                <a:gd name="connsiteY1396" fmla="*/ 4042051 h 6523037"/>
                <a:gd name="connsiteX1397" fmla="*/ 2354051 w 12192001"/>
                <a:gd name="connsiteY1397" fmla="*/ 3777098 h 6523037"/>
                <a:gd name="connsiteX1398" fmla="*/ 2084461 w 12192001"/>
                <a:gd name="connsiteY1398" fmla="*/ 4047387 h 6523037"/>
                <a:gd name="connsiteX1399" fmla="*/ 2353542 w 12192001"/>
                <a:gd name="connsiteY1399" fmla="*/ 4315775 h 6523037"/>
                <a:gd name="connsiteX1400" fmla="*/ 2616967 w 12192001"/>
                <a:gd name="connsiteY1400" fmla="*/ 4315775 h 6523037"/>
                <a:gd name="connsiteX1401" fmla="*/ 2392140 w 12192001"/>
                <a:gd name="connsiteY1401" fmla="*/ 4091531 h 6523037"/>
                <a:gd name="connsiteX1402" fmla="*/ 2391783 w 12192001"/>
                <a:gd name="connsiteY1402" fmla="*/ 4091531 h 6523037"/>
                <a:gd name="connsiteX1403" fmla="*/ 2347762 w 12192001"/>
                <a:gd name="connsiteY1403" fmla="*/ 4047510 h 6523037"/>
                <a:gd name="connsiteX1404" fmla="*/ 2347884 w 12192001"/>
                <a:gd name="connsiteY1404" fmla="*/ 4047389 h 6523037"/>
                <a:gd name="connsiteX1405" fmla="*/ 2347254 w 12192001"/>
                <a:gd name="connsiteY1405" fmla="*/ 4046760 h 6523037"/>
                <a:gd name="connsiteX1406" fmla="*/ 2347952 w 12192001"/>
                <a:gd name="connsiteY1406" fmla="*/ 4046061 h 6523037"/>
                <a:gd name="connsiteX1407" fmla="*/ 2346555 w 12192001"/>
                <a:gd name="connsiteY1407" fmla="*/ 4044664 h 6523037"/>
                <a:gd name="connsiteX1408" fmla="*/ 2521938 w 12192001"/>
                <a:gd name="connsiteY1408" fmla="*/ 3868581 h 6523037"/>
                <a:gd name="connsiteX1409" fmla="*/ 2526691 w 12192001"/>
                <a:gd name="connsiteY1409" fmla="*/ 3868581 h 6523037"/>
                <a:gd name="connsiteX1410" fmla="*/ 2532230 w 12192001"/>
                <a:gd name="connsiteY1410" fmla="*/ 3863043 h 6523037"/>
                <a:gd name="connsiteX1411" fmla="*/ 2618174 w 12192001"/>
                <a:gd name="connsiteY1411" fmla="*/ 3777098 h 6523037"/>
                <a:gd name="connsiteX1412" fmla="*/ 1804842 w 12192001"/>
                <a:gd name="connsiteY1412" fmla="*/ 3777098 h 6523037"/>
                <a:gd name="connsiteX1413" fmla="*/ 1535948 w 12192001"/>
                <a:gd name="connsiteY1413" fmla="*/ 4046688 h 6523037"/>
                <a:gd name="connsiteX1414" fmla="*/ 1805731 w 12192001"/>
                <a:gd name="connsiteY1414" fmla="*/ 4315775 h 6523037"/>
                <a:gd name="connsiteX1415" fmla="*/ 2069155 w 12192001"/>
                <a:gd name="connsiteY1415" fmla="*/ 4315775 h 6523037"/>
                <a:gd name="connsiteX1416" fmla="*/ 1939190 w 12192001"/>
                <a:gd name="connsiteY1416" fmla="*/ 4185809 h 6523037"/>
                <a:gd name="connsiteX1417" fmla="*/ 1844912 w 12192001"/>
                <a:gd name="connsiteY1417" fmla="*/ 4091531 h 6523037"/>
                <a:gd name="connsiteX1418" fmla="*/ 1841875 w 12192001"/>
                <a:gd name="connsiteY1418" fmla="*/ 4091531 h 6523037"/>
                <a:gd name="connsiteX1419" fmla="*/ 1798553 w 12192001"/>
                <a:gd name="connsiteY1419" fmla="*/ 4048209 h 6523037"/>
                <a:gd name="connsiteX1420" fmla="*/ 1800069 w 12192001"/>
                <a:gd name="connsiteY1420" fmla="*/ 4046689 h 6523037"/>
                <a:gd name="connsiteX1421" fmla="*/ 1798743 w 12192001"/>
                <a:gd name="connsiteY1421" fmla="*/ 4045363 h 6523037"/>
                <a:gd name="connsiteX1422" fmla="*/ 1974825 w 12192001"/>
                <a:gd name="connsiteY1422" fmla="*/ 3868581 h 6523037"/>
                <a:gd name="connsiteX1423" fmla="*/ 1977718 w 12192001"/>
                <a:gd name="connsiteY1423" fmla="*/ 3868581 h 6523037"/>
                <a:gd name="connsiteX1424" fmla="*/ 2068965 w 12192001"/>
                <a:gd name="connsiteY1424" fmla="*/ 3777098 h 6523037"/>
                <a:gd name="connsiteX1425" fmla="*/ 1257031 w 12192001"/>
                <a:gd name="connsiteY1425" fmla="*/ 3777098 h 6523037"/>
                <a:gd name="connsiteX1426" fmla="*/ 987788 w 12192001"/>
                <a:gd name="connsiteY1426" fmla="*/ 4047037 h 6523037"/>
                <a:gd name="connsiteX1427" fmla="*/ 1257220 w 12192001"/>
                <a:gd name="connsiteY1427" fmla="*/ 4315775 h 6523037"/>
                <a:gd name="connsiteX1428" fmla="*/ 1519946 w 12192001"/>
                <a:gd name="connsiteY1428" fmla="*/ 4315775 h 6523037"/>
                <a:gd name="connsiteX1429" fmla="*/ 1294422 w 12192001"/>
                <a:gd name="connsiteY1429" fmla="*/ 4090833 h 6523037"/>
                <a:gd name="connsiteX1430" fmla="*/ 1293365 w 12192001"/>
                <a:gd name="connsiteY1430" fmla="*/ 4090833 h 6523037"/>
                <a:gd name="connsiteX1431" fmla="*/ 1250742 w 12192001"/>
                <a:gd name="connsiteY1431" fmla="*/ 4048209 h 6523037"/>
                <a:gd name="connsiteX1432" fmla="*/ 1251213 w 12192001"/>
                <a:gd name="connsiteY1432" fmla="*/ 4047737 h 6523037"/>
                <a:gd name="connsiteX1433" fmla="*/ 1249534 w 12192001"/>
                <a:gd name="connsiteY1433" fmla="*/ 4046061 h 6523037"/>
                <a:gd name="connsiteX1434" fmla="*/ 1250932 w 12192001"/>
                <a:gd name="connsiteY1434" fmla="*/ 4044664 h 6523037"/>
                <a:gd name="connsiteX1435" fmla="*/ 1426315 w 12192001"/>
                <a:gd name="connsiteY1435" fmla="*/ 3868581 h 6523037"/>
                <a:gd name="connsiteX1436" fmla="*/ 1429907 w 12192001"/>
                <a:gd name="connsiteY1436" fmla="*/ 3868581 h 6523037"/>
                <a:gd name="connsiteX1437" fmla="*/ 1521154 w 12192001"/>
                <a:gd name="connsiteY1437" fmla="*/ 3777098 h 6523037"/>
                <a:gd name="connsiteX1438" fmla="*/ 709219 w 12192001"/>
                <a:gd name="connsiteY1438" fmla="*/ 3777098 h 6523037"/>
                <a:gd name="connsiteX1439" fmla="*/ 438807 w 12192001"/>
                <a:gd name="connsiteY1439" fmla="*/ 4048209 h 6523037"/>
                <a:gd name="connsiteX1440" fmla="*/ 480732 w 12192001"/>
                <a:gd name="connsiteY1440" fmla="*/ 4090134 h 6523037"/>
                <a:gd name="connsiteX1441" fmla="*/ 480499 w 12192001"/>
                <a:gd name="connsiteY1441" fmla="*/ 4090134 h 6523037"/>
                <a:gd name="connsiteX1442" fmla="*/ 708011 w 12192001"/>
                <a:gd name="connsiteY1442" fmla="*/ 4316473 h 6523037"/>
                <a:gd name="connsiteX1443" fmla="*/ 972135 w 12192001"/>
                <a:gd name="connsiteY1443" fmla="*/ 4316473 h 6523037"/>
                <a:gd name="connsiteX1444" fmla="*/ 745211 w 12192001"/>
                <a:gd name="connsiteY1444" fmla="*/ 4090134 h 6523037"/>
                <a:gd name="connsiteX1445" fmla="*/ 744855 w 12192001"/>
                <a:gd name="connsiteY1445" fmla="*/ 4090134 h 6523037"/>
                <a:gd name="connsiteX1446" fmla="*/ 702930 w 12192001"/>
                <a:gd name="connsiteY1446" fmla="*/ 4048209 h 6523037"/>
                <a:gd name="connsiteX1447" fmla="*/ 703053 w 12192001"/>
                <a:gd name="connsiteY1447" fmla="*/ 4048086 h 6523037"/>
                <a:gd name="connsiteX1448" fmla="*/ 701024 w 12192001"/>
                <a:gd name="connsiteY1448" fmla="*/ 4046061 h 6523037"/>
                <a:gd name="connsiteX1449" fmla="*/ 878504 w 12192001"/>
                <a:gd name="connsiteY1449" fmla="*/ 3868581 h 6523037"/>
                <a:gd name="connsiteX1450" fmla="*/ 882095 w 12192001"/>
                <a:gd name="connsiteY1450" fmla="*/ 3868581 h 6523037"/>
                <a:gd name="connsiteX1451" fmla="*/ 973342 w 12192001"/>
                <a:gd name="connsiteY1451" fmla="*/ 3777098 h 6523037"/>
                <a:gd name="connsiteX1452" fmla="*/ 3451072 w 12192001"/>
                <a:gd name="connsiteY1452" fmla="*/ 3775003 h 6523037"/>
                <a:gd name="connsiteX1453" fmla="*/ 3181135 w 12192001"/>
                <a:gd name="connsiteY1453" fmla="*/ 4045639 h 6523037"/>
                <a:gd name="connsiteX1454" fmla="*/ 3312910 w 12192001"/>
                <a:gd name="connsiteY1454" fmla="*/ 4176725 h 6523037"/>
                <a:gd name="connsiteX1455" fmla="*/ 3312910 w 12192001"/>
                <a:gd name="connsiteY1455" fmla="*/ 4177424 h 6523037"/>
                <a:gd name="connsiteX1456" fmla="*/ 3450563 w 12192001"/>
                <a:gd name="connsiteY1456" fmla="*/ 4314377 h 6523037"/>
                <a:gd name="connsiteX1457" fmla="*/ 3714686 w 12192001"/>
                <a:gd name="connsiteY1457" fmla="*/ 4314377 h 6523037"/>
                <a:gd name="connsiteX1458" fmla="*/ 3490444 w 12192001"/>
                <a:gd name="connsiteY1458" fmla="*/ 4090134 h 6523037"/>
                <a:gd name="connsiteX1459" fmla="*/ 3489503 w 12192001"/>
                <a:gd name="connsiteY1459" fmla="*/ 4090134 h 6523037"/>
                <a:gd name="connsiteX1460" fmla="*/ 3444084 w 12192001"/>
                <a:gd name="connsiteY1460" fmla="*/ 4044716 h 6523037"/>
                <a:gd name="connsiteX1461" fmla="*/ 3444556 w 12192001"/>
                <a:gd name="connsiteY1461" fmla="*/ 4044247 h 6523037"/>
                <a:gd name="connsiteX1462" fmla="*/ 3444274 w 12192001"/>
                <a:gd name="connsiteY1462" fmla="*/ 4043965 h 6523037"/>
                <a:gd name="connsiteX1463" fmla="*/ 3618959 w 12192001"/>
                <a:gd name="connsiteY1463" fmla="*/ 3868581 h 6523037"/>
                <a:gd name="connsiteX1464" fmla="*/ 3621132 w 12192001"/>
                <a:gd name="connsiteY1464" fmla="*/ 3868581 h 6523037"/>
                <a:gd name="connsiteX1465" fmla="*/ 3715195 w 12192001"/>
                <a:gd name="connsiteY1465" fmla="*/ 3775003 h 6523037"/>
                <a:gd name="connsiteX1466" fmla="*/ 3999582 w 12192001"/>
                <a:gd name="connsiteY1466" fmla="*/ 3774304 h 6523037"/>
                <a:gd name="connsiteX1467" fmla="*/ 3729642 w 12192001"/>
                <a:gd name="connsiteY1467" fmla="*/ 4044941 h 6523037"/>
                <a:gd name="connsiteX1468" fmla="*/ 3999073 w 12192001"/>
                <a:gd name="connsiteY1468" fmla="*/ 4313678 h 6523037"/>
                <a:gd name="connsiteX1469" fmla="*/ 4263197 w 12192001"/>
                <a:gd name="connsiteY1469" fmla="*/ 4313678 h 6523037"/>
                <a:gd name="connsiteX1470" fmla="*/ 4039076 w 12192001"/>
                <a:gd name="connsiteY1470" fmla="*/ 4090134 h 6523037"/>
                <a:gd name="connsiteX1471" fmla="*/ 4038711 w 12192001"/>
                <a:gd name="connsiteY1471" fmla="*/ 4090134 h 6523037"/>
                <a:gd name="connsiteX1472" fmla="*/ 3992595 w 12192001"/>
                <a:gd name="connsiteY1472" fmla="*/ 4044017 h 6523037"/>
                <a:gd name="connsiteX1473" fmla="*/ 3992717 w 12192001"/>
                <a:gd name="connsiteY1473" fmla="*/ 4043895 h 6523037"/>
                <a:gd name="connsiteX1474" fmla="*/ 3992086 w 12192001"/>
                <a:gd name="connsiteY1474" fmla="*/ 4043266 h 6523037"/>
                <a:gd name="connsiteX1475" fmla="*/ 4166770 w 12192001"/>
                <a:gd name="connsiteY1475" fmla="*/ 3868581 h 6523037"/>
                <a:gd name="connsiteX1476" fmla="*/ 4168939 w 12192001"/>
                <a:gd name="connsiteY1476" fmla="*/ 3868581 h 6523037"/>
                <a:gd name="connsiteX1477" fmla="*/ 4263707 w 12192001"/>
                <a:gd name="connsiteY1477" fmla="*/ 3774304 h 6523037"/>
                <a:gd name="connsiteX1478" fmla="*/ 4547394 w 12192001"/>
                <a:gd name="connsiteY1478" fmla="*/ 3773605 h 6523037"/>
                <a:gd name="connsiteX1479" fmla="*/ 4277804 w 12192001"/>
                <a:gd name="connsiteY1479" fmla="*/ 4043891 h 6523037"/>
                <a:gd name="connsiteX1480" fmla="*/ 4410631 w 12192001"/>
                <a:gd name="connsiteY1480" fmla="*/ 4176026 h 6523037"/>
                <a:gd name="connsiteX1481" fmla="*/ 4547585 w 12192001"/>
                <a:gd name="connsiteY1481" fmla="*/ 4312979 h 6523037"/>
                <a:gd name="connsiteX1482" fmla="*/ 4809681 w 12192001"/>
                <a:gd name="connsiteY1482" fmla="*/ 4312979 h 6523037"/>
                <a:gd name="connsiteX1483" fmla="*/ 4665187 w 12192001"/>
                <a:gd name="connsiteY1483" fmla="*/ 4169168 h 6523037"/>
                <a:gd name="connsiteX1484" fmla="*/ 4665187 w 12192001"/>
                <a:gd name="connsiteY1484" fmla="*/ 4166459 h 6523037"/>
                <a:gd name="connsiteX1485" fmla="*/ 4588162 w 12192001"/>
                <a:gd name="connsiteY1485" fmla="*/ 4089435 h 6523037"/>
                <a:gd name="connsiteX1486" fmla="*/ 4587920 w 12192001"/>
                <a:gd name="connsiteY1486" fmla="*/ 4089435 h 6523037"/>
                <a:gd name="connsiteX1487" fmla="*/ 4541105 w 12192001"/>
                <a:gd name="connsiteY1487" fmla="*/ 4043318 h 6523037"/>
                <a:gd name="connsiteX1488" fmla="*/ 4541576 w 12192001"/>
                <a:gd name="connsiteY1488" fmla="*/ 4042849 h 6523037"/>
                <a:gd name="connsiteX1489" fmla="*/ 4541295 w 12192001"/>
                <a:gd name="connsiteY1489" fmla="*/ 4042567 h 6523037"/>
                <a:gd name="connsiteX1490" fmla="*/ 4542692 w 12192001"/>
                <a:gd name="connsiteY1490" fmla="*/ 4041170 h 6523037"/>
                <a:gd name="connsiteX1491" fmla="*/ 4660106 w 12192001"/>
                <a:gd name="connsiteY1491" fmla="*/ 3923279 h 6523037"/>
                <a:gd name="connsiteX1492" fmla="*/ 4660106 w 12192001"/>
                <a:gd name="connsiteY1492" fmla="*/ 3920469 h 6523037"/>
                <a:gd name="connsiteX1493" fmla="*/ 4806969 w 12192001"/>
                <a:gd name="connsiteY1493" fmla="*/ 3773605 h 6523037"/>
                <a:gd name="connsiteX1494" fmla="*/ 7014157 w 12192001"/>
                <a:gd name="connsiteY1494" fmla="*/ 3772336 h 6523037"/>
                <a:gd name="connsiteX1495" fmla="*/ 6744567 w 12192001"/>
                <a:gd name="connsiteY1495" fmla="*/ 4042625 h 6523037"/>
                <a:gd name="connsiteX1496" fmla="*/ 7013649 w 12192001"/>
                <a:gd name="connsiteY1496" fmla="*/ 4311013 h 6523037"/>
                <a:gd name="connsiteX1497" fmla="*/ 7277073 w 12192001"/>
                <a:gd name="connsiteY1497" fmla="*/ 4311013 h 6523037"/>
                <a:gd name="connsiteX1498" fmla="*/ 7052246 w 12192001"/>
                <a:gd name="connsiteY1498" fmla="*/ 4086769 h 6523037"/>
                <a:gd name="connsiteX1499" fmla="*/ 7051889 w 12192001"/>
                <a:gd name="connsiteY1499" fmla="*/ 4086769 h 6523037"/>
                <a:gd name="connsiteX1500" fmla="*/ 7007868 w 12192001"/>
                <a:gd name="connsiteY1500" fmla="*/ 4042748 h 6523037"/>
                <a:gd name="connsiteX1501" fmla="*/ 7007990 w 12192001"/>
                <a:gd name="connsiteY1501" fmla="*/ 4042627 h 6523037"/>
                <a:gd name="connsiteX1502" fmla="*/ 7007360 w 12192001"/>
                <a:gd name="connsiteY1502" fmla="*/ 4041998 h 6523037"/>
                <a:gd name="connsiteX1503" fmla="*/ 7008058 w 12192001"/>
                <a:gd name="connsiteY1503" fmla="*/ 4041299 h 6523037"/>
                <a:gd name="connsiteX1504" fmla="*/ 7006662 w 12192001"/>
                <a:gd name="connsiteY1504" fmla="*/ 4039902 h 6523037"/>
                <a:gd name="connsiteX1505" fmla="*/ 7182045 w 12192001"/>
                <a:gd name="connsiteY1505" fmla="*/ 3863819 h 6523037"/>
                <a:gd name="connsiteX1506" fmla="*/ 7186797 w 12192001"/>
                <a:gd name="connsiteY1506" fmla="*/ 3863819 h 6523037"/>
                <a:gd name="connsiteX1507" fmla="*/ 7192337 w 12192001"/>
                <a:gd name="connsiteY1507" fmla="*/ 3858281 h 6523037"/>
                <a:gd name="connsiteX1508" fmla="*/ 7278280 w 12192001"/>
                <a:gd name="connsiteY1508" fmla="*/ 3772336 h 6523037"/>
                <a:gd name="connsiteX1509" fmla="*/ 6464948 w 12192001"/>
                <a:gd name="connsiteY1509" fmla="*/ 3772336 h 6523037"/>
                <a:gd name="connsiteX1510" fmla="*/ 6196054 w 12192001"/>
                <a:gd name="connsiteY1510" fmla="*/ 4041926 h 6523037"/>
                <a:gd name="connsiteX1511" fmla="*/ 6465837 w 12192001"/>
                <a:gd name="connsiteY1511" fmla="*/ 4311013 h 6523037"/>
                <a:gd name="connsiteX1512" fmla="*/ 6729262 w 12192001"/>
                <a:gd name="connsiteY1512" fmla="*/ 4311013 h 6523037"/>
                <a:gd name="connsiteX1513" fmla="*/ 6599296 w 12192001"/>
                <a:gd name="connsiteY1513" fmla="*/ 4181047 h 6523037"/>
                <a:gd name="connsiteX1514" fmla="*/ 6505018 w 12192001"/>
                <a:gd name="connsiteY1514" fmla="*/ 4086769 h 6523037"/>
                <a:gd name="connsiteX1515" fmla="*/ 6501982 w 12192001"/>
                <a:gd name="connsiteY1515" fmla="*/ 4086769 h 6523037"/>
                <a:gd name="connsiteX1516" fmla="*/ 6458659 w 12192001"/>
                <a:gd name="connsiteY1516" fmla="*/ 4043447 h 6523037"/>
                <a:gd name="connsiteX1517" fmla="*/ 6460176 w 12192001"/>
                <a:gd name="connsiteY1517" fmla="*/ 4041927 h 6523037"/>
                <a:gd name="connsiteX1518" fmla="*/ 6458849 w 12192001"/>
                <a:gd name="connsiteY1518" fmla="*/ 4040601 h 6523037"/>
                <a:gd name="connsiteX1519" fmla="*/ 6634931 w 12192001"/>
                <a:gd name="connsiteY1519" fmla="*/ 3863819 h 6523037"/>
                <a:gd name="connsiteX1520" fmla="*/ 6637824 w 12192001"/>
                <a:gd name="connsiteY1520" fmla="*/ 3863819 h 6523037"/>
                <a:gd name="connsiteX1521" fmla="*/ 6729071 w 12192001"/>
                <a:gd name="connsiteY1521" fmla="*/ 3772336 h 6523037"/>
                <a:gd name="connsiteX1522" fmla="*/ 5917138 w 12192001"/>
                <a:gd name="connsiteY1522" fmla="*/ 3772336 h 6523037"/>
                <a:gd name="connsiteX1523" fmla="*/ 5647895 w 12192001"/>
                <a:gd name="connsiteY1523" fmla="*/ 4042275 h 6523037"/>
                <a:gd name="connsiteX1524" fmla="*/ 5917326 w 12192001"/>
                <a:gd name="connsiteY1524" fmla="*/ 4311013 h 6523037"/>
                <a:gd name="connsiteX1525" fmla="*/ 6180052 w 12192001"/>
                <a:gd name="connsiteY1525" fmla="*/ 4311013 h 6523037"/>
                <a:gd name="connsiteX1526" fmla="*/ 5954528 w 12192001"/>
                <a:gd name="connsiteY1526" fmla="*/ 4086071 h 6523037"/>
                <a:gd name="connsiteX1527" fmla="*/ 5953471 w 12192001"/>
                <a:gd name="connsiteY1527" fmla="*/ 4086071 h 6523037"/>
                <a:gd name="connsiteX1528" fmla="*/ 5910849 w 12192001"/>
                <a:gd name="connsiteY1528" fmla="*/ 4043447 h 6523037"/>
                <a:gd name="connsiteX1529" fmla="*/ 5911320 w 12192001"/>
                <a:gd name="connsiteY1529" fmla="*/ 4042975 h 6523037"/>
                <a:gd name="connsiteX1530" fmla="*/ 5909641 w 12192001"/>
                <a:gd name="connsiteY1530" fmla="*/ 4041299 h 6523037"/>
                <a:gd name="connsiteX1531" fmla="*/ 5911038 w 12192001"/>
                <a:gd name="connsiteY1531" fmla="*/ 4039902 h 6523037"/>
                <a:gd name="connsiteX1532" fmla="*/ 6086421 w 12192001"/>
                <a:gd name="connsiteY1532" fmla="*/ 3863819 h 6523037"/>
                <a:gd name="connsiteX1533" fmla="*/ 6090013 w 12192001"/>
                <a:gd name="connsiteY1533" fmla="*/ 3863819 h 6523037"/>
                <a:gd name="connsiteX1534" fmla="*/ 6181261 w 12192001"/>
                <a:gd name="connsiteY1534" fmla="*/ 3772336 h 6523037"/>
                <a:gd name="connsiteX1535" fmla="*/ 5369326 w 12192001"/>
                <a:gd name="connsiteY1535" fmla="*/ 3772336 h 6523037"/>
                <a:gd name="connsiteX1536" fmla="*/ 5098913 w 12192001"/>
                <a:gd name="connsiteY1536" fmla="*/ 4043447 h 6523037"/>
                <a:gd name="connsiteX1537" fmla="*/ 5140838 w 12192001"/>
                <a:gd name="connsiteY1537" fmla="*/ 4085372 h 6523037"/>
                <a:gd name="connsiteX1538" fmla="*/ 5140605 w 12192001"/>
                <a:gd name="connsiteY1538" fmla="*/ 4085372 h 6523037"/>
                <a:gd name="connsiteX1539" fmla="*/ 5368118 w 12192001"/>
                <a:gd name="connsiteY1539" fmla="*/ 4311711 h 6523037"/>
                <a:gd name="connsiteX1540" fmla="*/ 5632241 w 12192001"/>
                <a:gd name="connsiteY1540" fmla="*/ 4311711 h 6523037"/>
                <a:gd name="connsiteX1541" fmla="*/ 5405317 w 12192001"/>
                <a:gd name="connsiteY1541" fmla="*/ 4085372 h 6523037"/>
                <a:gd name="connsiteX1542" fmla="*/ 5404961 w 12192001"/>
                <a:gd name="connsiteY1542" fmla="*/ 4085372 h 6523037"/>
                <a:gd name="connsiteX1543" fmla="*/ 5363036 w 12192001"/>
                <a:gd name="connsiteY1543" fmla="*/ 4043447 h 6523037"/>
                <a:gd name="connsiteX1544" fmla="*/ 5363159 w 12192001"/>
                <a:gd name="connsiteY1544" fmla="*/ 4043324 h 6523037"/>
                <a:gd name="connsiteX1545" fmla="*/ 5361131 w 12192001"/>
                <a:gd name="connsiteY1545" fmla="*/ 4041299 h 6523037"/>
                <a:gd name="connsiteX1546" fmla="*/ 5538610 w 12192001"/>
                <a:gd name="connsiteY1546" fmla="*/ 3863819 h 6523037"/>
                <a:gd name="connsiteX1547" fmla="*/ 5542201 w 12192001"/>
                <a:gd name="connsiteY1547" fmla="*/ 3863819 h 6523037"/>
                <a:gd name="connsiteX1548" fmla="*/ 5633449 w 12192001"/>
                <a:gd name="connsiteY1548" fmla="*/ 3772336 h 6523037"/>
                <a:gd name="connsiteX1549" fmla="*/ 4821872 w 12192001"/>
                <a:gd name="connsiteY1549" fmla="*/ 3771639 h 6523037"/>
                <a:gd name="connsiteX1550" fmla="*/ 4555828 w 12192001"/>
                <a:gd name="connsiteY1550" fmla="*/ 4038375 h 6523037"/>
                <a:gd name="connsiteX1551" fmla="*/ 4816942 w 12192001"/>
                <a:gd name="connsiteY1551" fmla="*/ 4038375 h 6523037"/>
                <a:gd name="connsiteX1552" fmla="*/ 4991497 w 12192001"/>
                <a:gd name="connsiteY1552" fmla="*/ 3863819 h 6523037"/>
                <a:gd name="connsiteX1553" fmla="*/ 4991595 w 12192001"/>
                <a:gd name="connsiteY1553" fmla="*/ 3863819 h 6523037"/>
                <a:gd name="connsiteX1554" fmla="*/ 5082144 w 12192001"/>
                <a:gd name="connsiteY1554" fmla="*/ 3773035 h 6523037"/>
                <a:gd name="connsiteX1555" fmla="*/ 4885799 w 12192001"/>
                <a:gd name="connsiteY1555" fmla="*/ 3773035 h 6523037"/>
                <a:gd name="connsiteX1556" fmla="*/ 4886497 w 12192001"/>
                <a:gd name="connsiteY1556" fmla="*/ 3771639 h 6523037"/>
                <a:gd name="connsiteX1557" fmla="*/ 8111178 w 12192001"/>
                <a:gd name="connsiteY1557" fmla="*/ 3770241 h 6523037"/>
                <a:gd name="connsiteX1558" fmla="*/ 7841241 w 12192001"/>
                <a:gd name="connsiteY1558" fmla="*/ 4040877 h 6523037"/>
                <a:gd name="connsiteX1559" fmla="*/ 7973016 w 12192001"/>
                <a:gd name="connsiteY1559" fmla="*/ 4171963 h 6523037"/>
                <a:gd name="connsiteX1560" fmla="*/ 7973016 w 12192001"/>
                <a:gd name="connsiteY1560" fmla="*/ 4172662 h 6523037"/>
                <a:gd name="connsiteX1561" fmla="*/ 8110669 w 12192001"/>
                <a:gd name="connsiteY1561" fmla="*/ 4309615 h 6523037"/>
                <a:gd name="connsiteX1562" fmla="*/ 8374792 w 12192001"/>
                <a:gd name="connsiteY1562" fmla="*/ 4309615 h 6523037"/>
                <a:gd name="connsiteX1563" fmla="*/ 8150550 w 12192001"/>
                <a:gd name="connsiteY1563" fmla="*/ 4085372 h 6523037"/>
                <a:gd name="connsiteX1564" fmla="*/ 8149609 w 12192001"/>
                <a:gd name="connsiteY1564" fmla="*/ 4085372 h 6523037"/>
                <a:gd name="connsiteX1565" fmla="*/ 8104190 w 12192001"/>
                <a:gd name="connsiteY1565" fmla="*/ 4039954 h 6523037"/>
                <a:gd name="connsiteX1566" fmla="*/ 8104662 w 12192001"/>
                <a:gd name="connsiteY1566" fmla="*/ 4039485 h 6523037"/>
                <a:gd name="connsiteX1567" fmla="*/ 8104380 w 12192001"/>
                <a:gd name="connsiteY1567" fmla="*/ 4039203 h 6523037"/>
                <a:gd name="connsiteX1568" fmla="*/ 8279065 w 12192001"/>
                <a:gd name="connsiteY1568" fmla="*/ 3863819 h 6523037"/>
                <a:gd name="connsiteX1569" fmla="*/ 8281238 w 12192001"/>
                <a:gd name="connsiteY1569" fmla="*/ 3863819 h 6523037"/>
                <a:gd name="connsiteX1570" fmla="*/ 8375301 w 12192001"/>
                <a:gd name="connsiteY1570" fmla="*/ 3770241 h 6523037"/>
                <a:gd name="connsiteX1571" fmla="*/ 8659688 w 12192001"/>
                <a:gd name="connsiteY1571" fmla="*/ 3769542 h 6523037"/>
                <a:gd name="connsiteX1572" fmla="*/ 8389748 w 12192001"/>
                <a:gd name="connsiteY1572" fmla="*/ 4040179 h 6523037"/>
                <a:gd name="connsiteX1573" fmla="*/ 8659179 w 12192001"/>
                <a:gd name="connsiteY1573" fmla="*/ 4308916 h 6523037"/>
                <a:gd name="connsiteX1574" fmla="*/ 8923303 w 12192001"/>
                <a:gd name="connsiteY1574" fmla="*/ 4308916 h 6523037"/>
                <a:gd name="connsiteX1575" fmla="*/ 8699182 w 12192001"/>
                <a:gd name="connsiteY1575" fmla="*/ 4085372 h 6523037"/>
                <a:gd name="connsiteX1576" fmla="*/ 8698817 w 12192001"/>
                <a:gd name="connsiteY1576" fmla="*/ 4085372 h 6523037"/>
                <a:gd name="connsiteX1577" fmla="*/ 8652701 w 12192001"/>
                <a:gd name="connsiteY1577" fmla="*/ 4039255 h 6523037"/>
                <a:gd name="connsiteX1578" fmla="*/ 8652823 w 12192001"/>
                <a:gd name="connsiteY1578" fmla="*/ 4039133 h 6523037"/>
                <a:gd name="connsiteX1579" fmla="*/ 8652192 w 12192001"/>
                <a:gd name="connsiteY1579" fmla="*/ 4038504 h 6523037"/>
                <a:gd name="connsiteX1580" fmla="*/ 8826876 w 12192001"/>
                <a:gd name="connsiteY1580" fmla="*/ 3863819 h 6523037"/>
                <a:gd name="connsiteX1581" fmla="*/ 8829045 w 12192001"/>
                <a:gd name="connsiteY1581" fmla="*/ 3863819 h 6523037"/>
                <a:gd name="connsiteX1582" fmla="*/ 8923812 w 12192001"/>
                <a:gd name="connsiteY1582" fmla="*/ 3769542 h 6523037"/>
                <a:gd name="connsiteX1583" fmla="*/ 11674574 w 12192001"/>
                <a:gd name="connsiteY1583" fmla="*/ 3769161 h 6523037"/>
                <a:gd name="connsiteX1584" fmla="*/ 11404984 w 12192001"/>
                <a:gd name="connsiteY1584" fmla="*/ 4039450 h 6523037"/>
                <a:gd name="connsiteX1585" fmla="*/ 11674065 w 12192001"/>
                <a:gd name="connsiteY1585" fmla="*/ 4307838 h 6523037"/>
                <a:gd name="connsiteX1586" fmla="*/ 11937490 w 12192001"/>
                <a:gd name="connsiteY1586" fmla="*/ 4307838 h 6523037"/>
                <a:gd name="connsiteX1587" fmla="*/ 11712663 w 12192001"/>
                <a:gd name="connsiteY1587" fmla="*/ 4083594 h 6523037"/>
                <a:gd name="connsiteX1588" fmla="*/ 11712306 w 12192001"/>
                <a:gd name="connsiteY1588" fmla="*/ 4083594 h 6523037"/>
                <a:gd name="connsiteX1589" fmla="*/ 11668285 w 12192001"/>
                <a:gd name="connsiteY1589" fmla="*/ 4039573 h 6523037"/>
                <a:gd name="connsiteX1590" fmla="*/ 11668407 w 12192001"/>
                <a:gd name="connsiteY1590" fmla="*/ 4039452 h 6523037"/>
                <a:gd name="connsiteX1591" fmla="*/ 11667777 w 12192001"/>
                <a:gd name="connsiteY1591" fmla="*/ 4038823 h 6523037"/>
                <a:gd name="connsiteX1592" fmla="*/ 11668475 w 12192001"/>
                <a:gd name="connsiteY1592" fmla="*/ 4038124 h 6523037"/>
                <a:gd name="connsiteX1593" fmla="*/ 11667078 w 12192001"/>
                <a:gd name="connsiteY1593" fmla="*/ 4036727 h 6523037"/>
                <a:gd name="connsiteX1594" fmla="*/ 11842461 w 12192001"/>
                <a:gd name="connsiteY1594" fmla="*/ 3860644 h 6523037"/>
                <a:gd name="connsiteX1595" fmla="*/ 11847214 w 12192001"/>
                <a:gd name="connsiteY1595" fmla="*/ 3860644 h 6523037"/>
                <a:gd name="connsiteX1596" fmla="*/ 11852753 w 12192001"/>
                <a:gd name="connsiteY1596" fmla="*/ 3855106 h 6523037"/>
                <a:gd name="connsiteX1597" fmla="*/ 11938697 w 12192001"/>
                <a:gd name="connsiteY1597" fmla="*/ 3769161 h 6523037"/>
                <a:gd name="connsiteX1598" fmla="*/ 11125365 w 12192001"/>
                <a:gd name="connsiteY1598" fmla="*/ 3769161 h 6523037"/>
                <a:gd name="connsiteX1599" fmla="*/ 10856471 w 12192001"/>
                <a:gd name="connsiteY1599" fmla="*/ 4038751 h 6523037"/>
                <a:gd name="connsiteX1600" fmla="*/ 11126254 w 12192001"/>
                <a:gd name="connsiteY1600" fmla="*/ 4307838 h 6523037"/>
                <a:gd name="connsiteX1601" fmla="*/ 11389678 w 12192001"/>
                <a:gd name="connsiteY1601" fmla="*/ 4307838 h 6523037"/>
                <a:gd name="connsiteX1602" fmla="*/ 11259713 w 12192001"/>
                <a:gd name="connsiteY1602" fmla="*/ 4177872 h 6523037"/>
                <a:gd name="connsiteX1603" fmla="*/ 11165435 w 12192001"/>
                <a:gd name="connsiteY1603" fmla="*/ 4083594 h 6523037"/>
                <a:gd name="connsiteX1604" fmla="*/ 11162398 w 12192001"/>
                <a:gd name="connsiteY1604" fmla="*/ 4083594 h 6523037"/>
                <a:gd name="connsiteX1605" fmla="*/ 11119076 w 12192001"/>
                <a:gd name="connsiteY1605" fmla="*/ 4040272 h 6523037"/>
                <a:gd name="connsiteX1606" fmla="*/ 11120592 w 12192001"/>
                <a:gd name="connsiteY1606" fmla="*/ 4038752 h 6523037"/>
                <a:gd name="connsiteX1607" fmla="*/ 11119266 w 12192001"/>
                <a:gd name="connsiteY1607" fmla="*/ 4037426 h 6523037"/>
                <a:gd name="connsiteX1608" fmla="*/ 11295348 w 12192001"/>
                <a:gd name="connsiteY1608" fmla="*/ 3860644 h 6523037"/>
                <a:gd name="connsiteX1609" fmla="*/ 11298241 w 12192001"/>
                <a:gd name="connsiteY1609" fmla="*/ 3860644 h 6523037"/>
                <a:gd name="connsiteX1610" fmla="*/ 11389488 w 12192001"/>
                <a:gd name="connsiteY1610" fmla="*/ 3769161 h 6523037"/>
                <a:gd name="connsiteX1611" fmla="*/ 10577554 w 12192001"/>
                <a:gd name="connsiteY1611" fmla="*/ 3769161 h 6523037"/>
                <a:gd name="connsiteX1612" fmla="*/ 10308311 w 12192001"/>
                <a:gd name="connsiteY1612" fmla="*/ 4039100 h 6523037"/>
                <a:gd name="connsiteX1613" fmla="*/ 10577743 w 12192001"/>
                <a:gd name="connsiteY1613" fmla="*/ 4307838 h 6523037"/>
                <a:gd name="connsiteX1614" fmla="*/ 10840469 w 12192001"/>
                <a:gd name="connsiteY1614" fmla="*/ 4307838 h 6523037"/>
                <a:gd name="connsiteX1615" fmla="*/ 10614945 w 12192001"/>
                <a:gd name="connsiteY1615" fmla="*/ 4082896 h 6523037"/>
                <a:gd name="connsiteX1616" fmla="*/ 10613888 w 12192001"/>
                <a:gd name="connsiteY1616" fmla="*/ 4082896 h 6523037"/>
                <a:gd name="connsiteX1617" fmla="*/ 10571265 w 12192001"/>
                <a:gd name="connsiteY1617" fmla="*/ 4040272 h 6523037"/>
                <a:gd name="connsiteX1618" fmla="*/ 10571736 w 12192001"/>
                <a:gd name="connsiteY1618" fmla="*/ 4039800 h 6523037"/>
                <a:gd name="connsiteX1619" fmla="*/ 10570057 w 12192001"/>
                <a:gd name="connsiteY1619" fmla="*/ 4038124 h 6523037"/>
                <a:gd name="connsiteX1620" fmla="*/ 10571455 w 12192001"/>
                <a:gd name="connsiteY1620" fmla="*/ 4036727 h 6523037"/>
                <a:gd name="connsiteX1621" fmla="*/ 10746838 w 12192001"/>
                <a:gd name="connsiteY1621" fmla="*/ 3860644 h 6523037"/>
                <a:gd name="connsiteX1622" fmla="*/ 10750430 w 12192001"/>
                <a:gd name="connsiteY1622" fmla="*/ 3860644 h 6523037"/>
                <a:gd name="connsiteX1623" fmla="*/ 10841677 w 12192001"/>
                <a:gd name="connsiteY1623" fmla="*/ 3769161 h 6523037"/>
                <a:gd name="connsiteX1624" fmla="*/ 10029742 w 12192001"/>
                <a:gd name="connsiteY1624" fmla="*/ 3769161 h 6523037"/>
                <a:gd name="connsiteX1625" fmla="*/ 9759330 w 12192001"/>
                <a:gd name="connsiteY1625" fmla="*/ 4040272 h 6523037"/>
                <a:gd name="connsiteX1626" fmla="*/ 9801255 w 12192001"/>
                <a:gd name="connsiteY1626" fmla="*/ 4082197 h 6523037"/>
                <a:gd name="connsiteX1627" fmla="*/ 9801022 w 12192001"/>
                <a:gd name="connsiteY1627" fmla="*/ 4082197 h 6523037"/>
                <a:gd name="connsiteX1628" fmla="*/ 10028534 w 12192001"/>
                <a:gd name="connsiteY1628" fmla="*/ 4308536 h 6523037"/>
                <a:gd name="connsiteX1629" fmla="*/ 10292658 w 12192001"/>
                <a:gd name="connsiteY1629" fmla="*/ 4308536 h 6523037"/>
                <a:gd name="connsiteX1630" fmla="*/ 10065734 w 12192001"/>
                <a:gd name="connsiteY1630" fmla="*/ 4082197 h 6523037"/>
                <a:gd name="connsiteX1631" fmla="*/ 10065378 w 12192001"/>
                <a:gd name="connsiteY1631" fmla="*/ 4082197 h 6523037"/>
                <a:gd name="connsiteX1632" fmla="*/ 10023453 w 12192001"/>
                <a:gd name="connsiteY1632" fmla="*/ 4040272 h 6523037"/>
                <a:gd name="connsiteX1633" fmla="*/ 10023576 w 12192001"/>
                <a:gd name="connsiteY1633" fmla="*/ 4040149 h 6523037"/>
                <a:gd name="connsiteX1634" fmla="*/ 10021547 w 12192001"/>
                <a:gd name="connsiteY1634" fmla="*/ 4038124 h 6523037"/>
                <a:gd name="connsiteX1635" fmla="*/ 10199027 w 12192001"/>
                <a:gd name="connsiteY1635" fmla="*/ 3860644 h 6523037"/>
                <a:gd name="connsiteX1636" fmla="*/ 10202618 w 12192001"/>
                <a:gd name="connsiteY1636" fmla="*/ 3860644 h 6523037"/>
                <a:gd name="connsiteX1637" fmla="*/ 10293865 w 12192001"/>
                <a:gd name="connsiteY1637" fmla="*/ 3769161 h 6523037"/>
                <a:gd name="connsiteX1638" fmla="*/ 9207500 w 12192001"/>
                <a:gd name="connsiteY1638" fmla="*/ 3768843 h 6523037"/>
                <a:gd name="connsiteX1639" fmla="*/ 8937910 w 12192001"/>
                <a:gd name="connsiteY1639" fmla="*/ 4039129 h 6523037"/>
                <a:gd name="connsiteX1640" fmla="*/ 9070736 w 12192001"/>
                <a:gd name="connsiteY1640" fmla="*/ 4171264 h 6523037"/>
                <a:gd name="connsiteX1641" fmla="*/ 9207690 w 12192001"/>
                <a:gd name="connsiteY1641" fmla="*/ 4308217 h 6523037"/>
                <a:gd name="connsiteX1642" fmla="*/ 9468504 w 12192001"/>
                <a:gd name="connsiteY1642" fmla="*/ 4308217 h 6523037"/>
                <a:gd name="connsiteX1643" fmla="*/ 9325603 w 12192001"/>
                <a:gd name="connsiteY1643" fmla="*/ 4165993 h 6523037"/>
                <a:gd name="connsiteX1644" fmla="*/ 9325603 w 12192001"/>
                <a:gd name="connsiteY1644" fmla="*/ 4162008 h 6523037"/>
                <a:gd name="connsiteX1645" fmla="*/ 9248268 w 12192001"/>
                <a:gd name="connsiteY1645" fmla="*/ 4084673 h 6523037"/>
                <a:gd name="connsiteX1646" fmla="*/ 9248026 w 12192001"/>
                <a:gd name="connsiteY1646" fmla="*/ 4084673 h 6523037"/>
                <a:gd name="connsiteX1647" fmla="*/ 9201211 w 12192001"/>
                <a:gd name="connsiteY1647" fmla="*/ 4038556 h 6523037"/>
                <a:gd name="connsiteX1648" fmla="*/ 9201682 w 12192001"/>
                <a:gd name="connsiteY1648" fmla="*/ 4038087 h 6523037"/>
                <a:gd name="connsiteX1649" fmla="*/ 9201400 w 12192001"/>
                <a:gd name="connsiteY1649" fmla="*/ 4037805 h 6523037"/>
                <a:gd name="connsiteX1650" fmla="*/ 9202798 w 12192001"/>
                <a:gd name="connsiteY1650" fmla="*/ 4036408 h 6523037"/>
                <a:gd name="connsiteX1651" fmla="*/ 9320523 w 12192001"/>
                <a:gd name="connsiteY1651" fmla="*/ 3918204 h 6523037"/>
                <a:gd name="connsiteX1652" fmla="*/ 9320523 w 12192001"/>
                <a:gd name="connsiteY1652" fmla="*/ 3917294 h 6523037"/>
                <a:gd name="connsiteX1653" fmla="*/ 9468973 w 12192001"/>
                <a:gd name="connsiteY1653" fmla="*/ 3768843 h 6523037"/>
                <a:gd name="connsiteX1654" fmla="*/ 9480395 w 12192001"/>
                <a:gd name="connsiteY1654" fmla="*/ 3768464 h 6523037"/>
                <a:gd name="connsiteX1655" fmla="*/ 9215934 w 12192001"/>
                <a:gd name="connsiteY1655" fmla="*/ 4033613 h 6523037"/>
                <a:gd name="connsiteX1656" fmla="*/ 9478102 w 12192001"/>
                <a:gd name="connsiteY1656" fmla="*/ 4033613 h 6523037"/>
                <a:gd name="connsiteX1657" fmla="*/ 9488582 w 12192001"/>
                <a:gd name="connsiteY1657" fmla="*/ 4023132 h 6523037"/>
                <a:gd name="connsiteX1658" fmla="*/ 9488582 w 12192001"/>
                <a:gd name="connsiteY1658" fmla="*/ 4023976 h 6523037"/>
                <a:gd name="connsiteX1659" fmla="*/ 9651914 w 12192001"/>
                <a:gd name="connsiteY1659" fmla="*/ 3860644 h 6523037"/>
                <a:gd name="connsiteX1660" fmla="*/ 9652012 w 12192001"/>
                <a:gd name="connsiteY1660" fmla="*/ 3860644 h 6523037"/>
                <a:gd name="connsiteX1661" fmla="*/ 9742561 w 12192001"/>
                <a:gd name="connsiteY1661" fmla="*/ 3769860 h 6523037"/>
                <a:gd name="connsiteX1662" fmla="*/ 9546215 w 12192001"/>
                <a:gd name="connsiteY1662" fmla="*/ 3769860 h 6523037"/>
                <a:gd name="connsiteX1663" fmla="*/ 9546914 w 12192001"/>
                <a:gd name="connsiteY1663" fmla="*/ 3768464 h 6523037"/>
                <a:gd name="connsiteX1664" fmla="*/ 1264018 w 12192001"/>
                <a:gd name="connsiteY1664" fmla="*/ 3501795 h 6523037"/>
                <a:gd name="connsiteX1665" fmla="*/ 1535828 w 12192001"/>
                <a:gd name="connsiteY1665" fmla="*/ 3771509 h 6523037"/>
                <a:gd name="connsiteX1666" fmla="*/ 1266165 w 12192001"/>
                <a:gd name="connsiteY1666" fmla="*/ 4041868 h 6523037"/>
                <a:gd name="connsiteX1667" fmla="*/ 1527632 w 12192001"/>
                <a:gd name="connsiteY1667" fmla="*/ 4041868 h 6523037"/>
                <a:gd name="connsiteX1668" fmla="*/ 1700221 w 12192001"/>
                <a:gd name="connsiteY1668" fmla="*/ 3868581 h 6523037"/>
                <a:gd name="connsiteX1669" fmla="*/ 1702878 w 12192001"/>
                <a:gd name="connsiteY1669" fmla="*/ 3868581 h 6523037"/>
                <a:gd name="connsiteX1670" fmla="*/ 1799252 w 12192001"/>
                <a:gd name="connsiteY1670" fmla="*/ 3772207 h 6523037"/>
                <a:gd name="connsiteX1671" fmla="*/ 1665094 w 12192001"/>
                <a:gd name="connsiteY1671" fmla="*/ 3638748 h 6523037"/>
                <a:gd name="connsiteX1672" fmla="*/ 1528141 w 12192001"/>
                <a:gd name="connsiteY1672" fmla="*/ 3501795 h 6523037"/>
                <a:gd name="connsiteX1673" fmla="*/ 715508 w 12192001"/>
                <a:gd name="connsiteY1673" fmla="*/ 3501795 h 6523037"/>
                <a:gd name="connsiteX1674" fmla="*/ 986618 w 12192001"/>
                <a:gd name="connsiteY1674" fmla="*/ 3772207 h 6523037"/>
                <a:gd name="connsiteX1675" fmla="*/ 716955 w 12192001"/>
                <a:gd name="connsiteY1675" fmla="*/ 4042567 h 6523037"/>
                <a:gd name="connsiteX1676" fmla="*/ 979122 w 12192001"/>
                <a:gd name="connsiteY1676" fmla="*/ 4042567 h 6523037"/>
                <a:gd name="connsiteX1677" fmla="*/ 1067862 w 12192001"/>
                <a:gd name="connsiteY1677" fmla="*/ 3953129 h 6523037"/>
                <a:gd name="connsiteX1678" fmla="*/ 1152410 w 12192001"/>
                <a:gd name="connsiteY1678" fmla="*/ 3868581 h 6523037"/>
                <a:gd name="connsiteX1679" fmla="*/ 1154616 w 12192001"/>
                <a:gd name="connsiteY1679" fmla="*/ 3868581 h 6523037"/>
                <a:gd name="connsiteX1680" fmla="*/ 1250742 w 12192001"/>
                <a:gd name="connsiteY1680" fmla="*/ 3772207 h 6523037"/>
                <a:gd name="connsiteX1681" fmla="*/ 979631 w 12192001"/>
                <a:gd name="connsiteY1681" fmla="*/ 3501795 h 6523037"/>
                <a:gd name="connsiteX1682" fmla="*/ 165601 w 12192001"/>
                <a:gd name="connsiteY1682" fmla="*/ 3501795 h 6523037"/>
                <a:gd name="connsiteX1683" fmla="*/ 436711 w 12192001"/>
                <a:gd name="connsiteY1683" fmla="*/ 3772207 h 6523037"/>
                <a:gd name="connsiteX1684" fmla="*/ 438108 w 12192001"/>
                <a:gd name="connsiteY1684" fmla="*/ 3772906 h 6523037"/>
                <a:gd name="connsiteX1685" fmla="*/ 169094 w 12192001"/>
                <a:gd name="connsiteY1685" fmla="*/ 4042619 h 6523037"/>
                <a:gd name="connsiteX1686" fmla="*/ 365440 w 12192001"/>
                <a:gd name="connsiteY1686" fmla="*/ 4042619 h 6523037"/>
                <a:gd name="connsiteX1687" fmla="*/ 365116 w 12192001"/>
                <a:gd name="connsiteY1687" fmla="*/ 4043266 h 6523037"/>
                <a:gd name="connsiteX1688" fmla="*/ 430612 w 12192001"/>
                <a:gd name="connsiteY1688" fmla="*/ 4043266 h 6523037"/>
                <a:gd name="connsiteX1689" fmla="*/ 604598 w 12192001"/>
                <a:gd name="connsiteY1689" fmla="*/ 3868581 h 6523037"/>
                <a:gd name="connsiteX1690" fmla="*/ 606802 w 12192001"/>
                <a:gd name="connsiteY1690" fmla="*/ 3868581 h 6523037"/>
                <a:gd name="connsiteX1691" fmla="*/ 701533 w 12192001"/>
                <a:gd name="connsiteY1691" fmla="*/ 3773605 h 6523037"/>
                <a:gd name="connsiteX1692" fmla="*/ 430423 w 12192001"/>
                <a:gd name="connsiteY1692" fmla="*/ 3503193 h 6523037"/>
                <a:gd name="connsiteX1693" fmla="*/ 362644 w 12192001"/>
                <a:gd name="connsiteY1693" fmla="*/ 3501795 h 6523037"/>
                <a:gd name="connsiteX1694" fmla="*/ 2361039 w 12192001"/>
                <a:gd name="connsiteY1694" fmla="*/ 3501097 h 6523037"/>
                <a:gd name="connsiteX1695" fmla="*/ 2631451 w 12192001"/>
                <a:gd name="connsiteY1695" fmla="*/ 3770111 h 6523037"/>
                <a:gd name="connsiteX1696" fmla="*/ 2628655 w 12192001"/>
                <a:gd name="connsiteY1696" fmla="*/ 3772906 h 6523037"/>
                <a:gd name="connsiteX1697" fmla="*/ 2538519 w 12192001"/>
                <a:gd name="connsiteY1697" fmla="*/ 3863743 h 6523037"/>
                <a:gd name="connsiteX1698" fmla="*/ 2361789 w 12192001"/>
                <a:gd name="connsiteY1698" fmla="*/ 4040472 h 6523037"/>
                <a:gd name="connsiteX1699" fmla="*/ 2624653 w 12192001"/>
                <a:gd name="connsiteY1699" fmla="*/ 4040472 h 6523037"/>
                <a:gd name="connsiteX1700" fmla="*/ 2795844 w 12192001"/>
                <a:gd name="connsiteY1700" fmla="*/ 3868581 h 6523037"/>
                <a:gd name="connsiteX1701" fmla="*/ 2797802 w 12192001"/>
                <a:gd name="connsiteY1701" fmla="*/ 3868581 h 6523037"/>
                <a:gd name="connsiteX1702" fmla="*/ 2895574 w 12192001"/>
                <a:gd name="connsiteY1702" fmla="*/ 3770810 h 6523037"/>
                <a:gd name="connsiteX1703" fmla="*/ 2625162 w 12192001"/>
                <a:gd name="connsiteY1703" fmla="*/ 3501097 h 6523037"/>
                <a:gd name="connsiteX1704" fmla="*/ 1812528 w 12192001"/>
                <a:gd name="connsiteY1704" fmla="*/ 3501097 h 6523037"/>
                <a:gd name="connsiteX1705" fmla="*/ 1813926 w 12192001"/>
                <a:gd name="connsiteY1705" fmla="*/ 3502494 h 6523037"/>
                <a:gd name="connsiteX1706" fmla="*/ 2083639 w 12192001"/>
                <a:gd name="connsiteY1706" fmla="*/ 3771509 h 6523037"/>
                <a:gd name="connsiteX1707" fmla="*/ 1814673 w 12192001"/>
                <a:gd name="connsiteY1707" fmla="*/ 4041170 h 6523037"/>
                <a:gd name="connsiteX1708" fmla="*/ 2076143 w 12192001"/>
                <a:gd name="connsiteY1708" fmla="*/ 4041170 h 6523037"/>
                <a:gd name="connsiteX1709" fmla="*/ 2248033 w 12192001"/>
                <a:gd name="connsiteY1709" fmla="*/ 3868581 h 6523037"/>
                <a:gd name="connsiteX1710" fmla="*/ 2250940 w 12192001"/>
                <a:gd name="connsiteY1710" fmla="*/ 3868581 h 6523037"/>
                <a:gd name="connsiteX1711" fmla="*/ 2347762 w 12192001"/>
                <a:gd name="connsiteY1711" fmla="*/ 3771509 h 6523037"/>
                <a:gd name="connsiteX1712" fmla="*/ 2342173 w 12192001"/>
                <a:gd name="connsiteY1712" fmla="*/ 3766618 h 6523037"/>
                <a:gd name="connsiteX1713" fmla="*/ 2076652 w 12192001"/>
                <a:gd name="connsiteY1713" fmla="*/ 3501097 h 6523037"/>
                <a:gd name="connsiteX1714" fmla="*/ 4005871 w 12192001"/>
                <a:gd name="connsiteY1714" fmla="*/ 3499001 h 6523037"/>
                <a:gd name="connsiteX1715" fmla="*/ 4277680 w 12192001"/>
                <a:gd name="connsiteY1715" fmla="*/ 3768713 h 6523037"/>
                <a:gd name="connsiteX1716" fmla="*/ 4008016 w 12192001"/>
                <a:gd name="connsiteY1716" fmla="*/ 4039074 h 6523037"/>
                <a:gd name="connsiteX1717" fmla="*/ 4270183 w 12192001"/>
                <a:gd name="connsiteY1717" fmla="*/ 4039074 h 6523037"/>
                <a:gd name="connsiteX1718" fmla="*/ 4359622 w 12192001"/>
                <a:gd name="connsiteY1718" fmla="*/ 3949635 h 6523037"/>
                <a:gd name="connsiteX1719" fmla="*/ 4440677 w 12192001"/>
                <a:gd name="connsiteY1719" fmla="*/ 3868581 h 6523037"/>
                <a:gd name="connsiteX1720" fmla="*/ 4441937 w 12192001"/>
                <a:gd name="connsiteY1720" fmla="*/ 3868581 h 6523037"/>
                <a:gd name="connsiteX1721" fmla="*/ 4541105 w 12192001"/>
                <a:gd name="connsiteY1721" fmla="*/ 3769413 h 6523037"/>
                <a:gd name="connsiteX1722" fmla="*/ 4406948 w 12192001"/>
                <a:gd name="connsiteY1722" fmla="*/ 3635954 h 6523037"/>
                <a:gd name="connsiteX1723" fmla="*/ 4269994 w 12192001"/>
                <a:gd name="connsiteY1723" fmla="*/ 3499001 h 6523037"/>
                <a:gd name="connsiteX1724" fmla="*/ 4554381 w 12192001"/>
                <a:gd name="connsiteY1724" fmla="*/ 3498302 h 6523037"/>
                <a:gd name="connsiteX1725" fmla="*/ 4555778 w 12192001"/>
                <a:gd name="connsiteY1725" fmla="*/ 3499699 h 6523037"/>
                <a:gd name="connsiteX1726" fmla="*/ 4820723 w 12192001"/>
                <a:gd name="connsiteY1726" fmla="*/ 3763951 h 6523037"/>
                <a:gd name="connsiteX1727" fmla="*/ 5083541 w 12192001"/>
                <a:gd name="connsiteY1727" fmla="*/ 3763951 h 6523037"/>
                <a:gd name="connsiteX1728" fmla="*/ 4954274 w 12192001"/>
                <a:gd name="connsiteY1728" fmla="*/ 3635384 h 6523037"/>
                <a:gd name="connsiteX1729" fmla="*/ 4816513 w 12192001"/>
                <a:gd name="connsiteY1729" fmla="*/ 3498302 h 6523037"/>
                <a:gd name="connsiteX1730" fmla="*/ 3721484 w 12192001"/>
                <a:gd name="connsiteY1730" fmla="*/ 3498302 h 6523037"/>
                <a:gd name="connsiteX1731" fmla="*/ 3457360 w 12192001"/>
                <a:gd name="connsiteY1731" fmla="*/ 3499001 h 6523037"/>
                <a:gd name="connsiteX1732" fmla="*/ 3728471 w 12192001"/>
                <a:gd name="connsiteY1732" fmla="*/ 3769413 h 6523037"/>
                <a:gd name="connsiteX1733" fmla="*/ 3458808 w 12192001"/>
                <a:gd name="connsiteY1733" fmla="*/ 4039773 h 6523037"/>
                <a:gd name="connsiteX1734" fmla="*/ 3721674 w 12192001"/>
                <a:gd name="connsiteY1734" fmla="*/ 4039773 h 6523037"/>
                <a:gd name="connsiteX1735" fmla="*/ 3892166 w 12192001"/>
                <a:gd name="connsiteY1735" fmla="*/ 3867883 h 6523037"/>
                <a:gd name="connsiteX1736" fmla="*/ 3893935 w 12192001"/>
                <a:gd name="connsiteY1736" fmla="*/ 3867883 h 6523037"/>
                <a:gd name="connsiteX1737" fmla="*/ 3992595 w 12192001"/>
                <a:gd name="connsiteY1737" fmla="*/ 3768713 h 6523037"/>
                <a:gd name="connsiteX1738" fmla="*/ 5924124 w 12192001"/>
                <a:gd name="connsiteY1738" fmla="*/ 3497033 h 6523037"/>
                <a:gd name="connsiteX1739" fmla="*/ 6195934 w 12192001"/>
                <a:gd name="connsiteY1739" fmla="*/ 3766747 h 6523037"/>
                <a:gd name="connsiteX1740" fmla="*/ 5926271 w 12192001"/>
                <a:gd name="connsiteY1740" fmla="*/ 4037106 h 6523037"/>
                <a:gd name="connsiteX1741" fmla="*/ 6187739 w 12192001"/>
                <a:gd name="connsiteY1741" fmla="*/ 4037106 h 6523037"/>
                <a:gd name="connsiteX1742" fmla="*/ 6360328 w 12192001"/>
                <a:gd name="connsiteY1742" fmla="*/ 3863819 h 6523037"/>
                <a:gd name="connsiteX1743" fmla="*/ 6362985 w 12192001"/>
                <a:gd name="connsiteY1743" fmla="*/ 3863819 h 6523037"/>
                <a:gd name="connsiteX1744" fmla="*/ 6459359 w 12192001"/>
                <a:gd name="connsiteY1744" fmla="*/ 3767445 h 6523037"/>
                <a:gd name="connsiteX1745" fmla="*/ 6325200 w 12192001"/>
                <a:gd name="connsiteY1745" fmla="*/ 3633986 h 6523037"/>
                <a:gd name="connsiteX1746" fmla="*/ 6188247 w 12192001"/>
                <a:gd name="connsiteY1746" fmla="*/ 3497033 h 6523037"/>
                <a:gd name="connsiteX1747" fmla="*/ 5375615 w 12192001"/>
                <a:gd name="connsiteY1747" fmla="*/ 3497033 h 6523037"/>
                <a:gd name="connsiteX1748" fmla="*/ 5646724 w 12192001"/>
                <a:gd name="connsiteY1748" fmla="*/ 3767445 h 6523037"/>
                <a:gd name="connsiteX1749" fmla="*/ 5377062 w 12192001"/>
                <a:gd name="connsiteY1749" fmla="*/ 4037805 h 6523037"/>
                <a:gd name="connsiteX1750" fmla="*/ 5639228 w 12192001"/>
                <a:gd name="connsiteY1750" fmla="*/ 4037805 h 6523037"/>
                <a:gd name="connsiteX1751" fmla="*/ 5727968 w 12192001"/>
                <a:gd name="connsiteY1751" fmla="*/ 3948367 h 6523037"/>
                <a:gd name="connsiteX1752" fmla="*/ 5812516 w 12192001"/>
                <a:gd name="connsiteY1752" fmla="*/ 3863819 h 6523037"/>
                <a:gd name="connsiteX1753" fmla="*/ 5814722 w 12192001"/>
                <a:gd name="connsiteY1753" fmla="*/ 3863819 h 6523037"/>
                <a:gd name="connsiteX1754" fmla="*/ 5910849 w 12192001"/>
                <a:gd name="connsiteY1754" fmla="*/ 3767445 h 6523037"/>
                <a:gd name="connsiteX1755" fmla="*/ 5639738 w 12192001"/>
                <a:gd name="connsiteY1755" fmla="*/ 3497033 h 6523037"/>
                <a:gd name="connsiteX1756" fmla="*/ 4825707 w 12192001"/>
                <a:gd name="connsiteY1756" fmla="*/ 3497033 h 6523037"/>
                <a:gd name="connsiteX1757" fmla="*/ 5096817 w 12192001"/>
                <a:gd name="connsiteY1757" fmla="*/ 3767445 h 6523037"/>
                <a:gd name="connsiteX1758" fmla="*/ 5098215 w 12192001"/>
                <a:gd name="connsiteY1758" fmla="*/ 3768144 h 6523037"/>
                <a:gd name="connsiteX1759" fmla="*/ 4829200 w 12192001"/>
                <a:gd name="connsiteY1759" fmla="*/ 4037857 h 6523037"/>
                <a:gd name="connsiteX1760" fmla="*/ 5025547 w 12192001"/>
                <a:gd name="connsiteY1760" fmla="*/ 4037857 h 6523037"/>
                <a:gd name="connsiteX1761" fmla="*/ 5025222 w 12192001"/>
                <a:gd name="connsiteY1761" fmla="*/ 4038504 h 6523037"/>
                <a:gd name="connsiteX1762" fmla="*/ 5090718 w 12192001"/>
                <a:gd name="connsiteY1762" fmla="*/ 4038504 h 6523037"/>
                <a:gd name="connsiteX1763" fmla="*/ 5264704 w 12192001"/>
                <a:gd name="connsiteY1763" fmla="*/ 3863819 h 6523037"/>
                <a:gd name="connsiteX1764" fmla="*/ 5266909 w 12192001"/>
                <a:gd name="connsiteY1764" fmla="*/ 3863819 h 6523037"/>
                <a:gd name="connsiteX1765" fmla="*/ 5361639 w 12192001"/>
                <a:gd name="connsiteY1765" fmla="*/ 3768843 h 6523037"/>
                <a:gd name="connsiteX1766" fmla="*/ 5090530 w 12192001"/>
                <a:gd name="connsiteY1766" fmla="*/ 3498431 h 6523037"/>
                <a:gd name="connsiteX1767" fmla="*/ 5022750 w 12192001"/>
                <a:gd name="connsiteY1767" fmla="*/ 3497033 h 6523037"/>
                <a:gd name="connsiteX1768" fmla="*/ 7021145 w 12192001"/>
                <a:gd name="connsiteY1768" fmla="*/ 3496335 h 6523037"/>
                <a:gd name="connsiteX1769" fmla="*/ 7291557 w 12192001"/>
                <a:gd name="connsiteY1769" fmla="*/ 3765349 h 6523037"/>
                <a:gd name="connsiteX1770" fmla="*/ 7288761 w 12192001"/>
                <a:gd name="connsiteY1770" fmla="*/ 3768144 h 6523037"/>
                <a:gd name="connsiteX1771" fmla="*/ 7198625 w 12192001"/>
                <a:gd name="connsiteY1771" fmla="*/ 3858981 h 6523037"/>
                <a:gd name="connsiteX1772" fmla="*/ 7021895 w 12192001"/>
                <a:gd name="connsiteY1772" fmla="*/ 4035710 h 6523037"/>
                <a:gd name="connsiteX1773" fmla="*/ 7284759 w 12192001"/>
                <a:gd name="connsiteY1773" fmla="*/ 4035710 h 6523037"/>
                <a:gd name="connsiteX1774" fmla="*/ 7455950 w 12192001"/>
                <a:gd name="connsiteY1774" fmla="*/ 3863819 h 6523037"/>
                <a:gd name="connsiteX1775" fmla="*/ 7457908 w 12192001"/>
                <a:gd name="connsiteY1775" fmla="*/ 3863819 h 6523037"/>
                <a:gd name="connsiteX1776" fmla="*/ 7555680 w 12192001"/>
                <a:gd name="connsiteY1776" fmla="*/ 3766048 h 6523037"/>
                <a:gd name="connsiteX1777" fmla="*/ 7285268 w 12192001"/>
                <a:gd name="connsiteY1777" fmla="*/ 3496335 h 6523037"/>
                <a:gd name="connsiteX1778" fmla="*/ 6472634 w 12192001"/>
                <a:gd name="connsiteY1778" fmla="*/ 3496335 h 6523037"/>
                <a:gd name="connsiteX1779" fmla="*/ 6474032 w 12192001"/>
                <a:gd name="connsiteY1779" fmla="*/ 3497732 h 6523037"/>
                <a:gd name="connsiteX1780" fmla="*/ 6743745 w 12192001"/>
                <a:gd name="connsiteY1780" fmla="*/ 3766747 h 6523037"/>
                <a:gd name="connsiteX1781" fmla="*/ 6474780 w 12192001"/>
                <a:gd name="connsiteY1781" fmla="*/ 4036408 h 6523037"/>
                <a:gd name="connsiteX1782" fmla="*/ 6736249 w 12192001"/>
                <a:gd name="connsiteY1782" fmla="*/ 4036408 h 6523037"/>
                <a:gd name="connsiteX1783" fmla="*/ 6908140 w 12192001"/>
                <a:gd name="connsiteY1783" fmla="*/ 3863819 h 6523037"/>
                <a:gd name="connsiteX1784" fmla="*/ 6911046 w 12192001"/>
                <a:gd name="connsiteY1784" fmla="*/ 3863819 h 6523037"/>
                <a:gd name="connsiteX1785" fmla="*/ 7007868 w 12192001"/>
                <a:gd name="connsiteY1785" fmla="*/ 3766747 h 6523037"/>
                <a:gd name="connsiteX1786" fmla="*/ 7002279 w 12192001"/>
                <a:gd name="connsiteY1786" fmla="*/ 3761856 h 6523037"/>
                <a:gd name="connsiteX1787" fmla="*/ 6736759 w 12192001"/>
                <a:gd name="connsiteY1787" fmla="*/ 3496335 h 6523037"/>
                <a:gd name="connsiteX1788" fmla="*/ 8665977 w 12192001"/>
                <a:gd name="connsiteY1788" fmla="*/ 3494239 h 6523037"/>
                <a:gd name="connsiteX1789" fmla="*/ 8937786 w 12192001"/>
                <a:gd name="connsiteY1789" fmla="*/ 3763951 h 6523037"/>
                <a:gd name="connsiteX1790" fmla="*/ 8668122 w 12192001"/>
                <a:gd name="connsiteY1790" fmla="*/ 4034312 h 6523037"/>
                <a:gd name="connsiteX1791" fmla="*/ 8930289 w 12192001"/>
                <a:gd name="connsiteY1791" fmla="*/ 4034312 h 6523037"/>
                <a:gd name="connsiteX1792" fmla="*/ 9019728 w 12192001"/>
                <a:gd name="connsiteY1792" fmla="*/ 3944873 h 6523037"/>
                <a:gd name="connsiteX1793" fmla="*/ 9100782 w 12192001"/>
                <a:gd name="connsiteY1793" fmla="*/ 3863819 h 6523037"/>
                <a:gd name="connsiteX1794" fmla="*/ 9102043 w 12192001"/>
                <a:gd name="connsiteY1794" fmla="*/ 3863819 h 6523037"/>
                <a:gd name="connsiteX1795" fmla="*/ 9201211 w 12192001"/>
                <a:gd name="connsiteY1795" fmla="*/ 3764651 h 6523037"/>
                <a:gd name="connsiteX1796" fmla="*/ 9067053 w 12192001"/>
                <a:gd name="connsiteY1796" fmla="*/ 3631192 h 6523037"/>
                <a:gd name="connsiteX1797" fmla="*/ 8930100 w 12192001"/>
                <a:gd name="connsiteY1797" fmla="*/ 3494239 h 6523037"/>
                <a:gd name="connsiteX1798" fmla="*/ 10584541 w 12192001"/>
                <a:gd name="connsiteY1798" fmla="*/ 3493858 h 6523037"/>
                <a:gd name="connsiteX1799" fmla="*/ 10856351 w 12192001"/>
                <a:gd name="connsiteY1799" fmla="*/ 3763572 h 6523037"/>
                <a:gd name="connsiteX1800" fmla="*/ 10586688 w 12192001"/>
                <a:gd name="connsiteY1800" fmla="*/ 4033931 h 6523037"/>
                <a:gd name="connsiteX1801" fmla="*/ 10848155 w 12192001"/>
                <a:gd name="connsiteY1801" fmla="*/ 4033931 h 6523037"/>
                <a:gd name="connsiteX1802" fmla="*/ 11020744 w 12192001"/>
                <a:gd name="connsiteY1802" fmla="*/ 3860644 h 6523037"/>
                <a:gd name="connsiteX1803" fmla="*/ 11023401 w 12192001"/>
                <a:gd name="connsiteY1803" fmla="*/ 3860644 h 6523037"/>
                <a:gd name="connsiteX1804" fmla="*/ 11119775 w 12192001"/>
                <a:gd name="connsiteY1804" fmla="*/ 3764270 h 6523037"/>
                <a:gd name="connsiteX1805" fmla="*/ 10985617 w 12192001"/>
                <a:gd name="connsiteY1805" fmla="*/ 3630811 h 6523037"/>
                <a:gd name="connsiteX1806" fmla="*/ 10848664 w 12192001"/>
                <a:gd name="connsiteY1806" fmla="*/ 3493858 h 6523037"/>
                <a:gd name="connsiteX1807" fmla="*/ 10036031 w 12192001"/>
                <a:gd name="connsiteY1807" fmla="*/ 3493858 h 6523037"/>
                <a:gd name="connsiteX1808" fmla="*/ 10307141 w 12192001"/>
                <a:gd name="connsiteY1808" fmla="*/ 3764270 h 6523037"/>
                <a:gd name="connsiteX1809" fmla="*/ 10037478 w 12192001"/>
                <a:gd name="connsiteY1809" fmla="*/ 4034630 h 6523037"/>
                <a:gd name="connsiteX1810" fmla="*/ 10299645 w 12192001"/>
                <a:gd name="connsiteY1810" fmla="*/ 4034630 h 6523037"/>
                <a:gd name="connsiteX1811" fmla="*/ 10388385 w 12192001"/>
                <a:gd name="connsiteY1811" fmla="*/ 3945192 h 6523037"/>
                <a:gd name="connsiteX1812" fmla="*/ 10472933 w 12192001"/>
                <a:gd name="connsiteY1812" fmla="*/ 3860644 h 6523037"/>
                <a:gd name="connsiteX1813" fmla="*/ 10475139 w 12192001"/>
                <a:gd name="connsiteY1813" fmla="*/ 3860644 h 6523037"/>
                <a:gd name="connsiteX1814" fmla="*/ 10571265 w 12192001"/>
                <a:gd name="connsiteY1814" fmla="*/ 3764270 h 6523037"/>
                <a:gd name="connsiteX1815" fmla="*/ 10300154 w 12192001"/>
                <a:gd name="connsiteY1815" fmla="*/ 3493858 h 6523037"/>
                <a:gd name="connsiteX1816" fmla="*/ 9486124 w 12192001"/>
                <a:gd name="connsiteY1816" fmla="*/ 3493858 h 6523037"/>
                <a:gd name="connsiteX1817" fmla="*/ 9757234 w 12192001"/>
                <a:gd name="connsiteY1817" fmla="*/ 3764270 h 6523037"/>
                <a:gd name="connsiteX1818" fmla="*/ 9758631 w 12192001"/>
                <a:gd name="connsiteY1818" fmla="*/ 3764969 h 6523037"/>
                <a:gd name="connsiteX1819" fmla="*/ 9489617 w 12192001"/>
                <a:gd name="connsiteY1819" fmla="*/ 4034682 h 6523037"/>
                <a:gd name="connsiteX1820" fmla="*/ 9685963 w 12192001"/>
                <a:gd name="connsiteY1820" fmla="*/ 4034682 h 6523037"/>
                <a:gd name="connsiteX1821" fmla="*/ 9685639 w 12192001"/>
                <a:gd name="connsiteY1821" fmla="*/ 4035329 h 6523037"/>
                <a:gd name="connsiteX1822" fmla="*/ 9751135 w 12192001"/>
                <a:gd name="connsiteY1822" fmla="*/ 4035329 h 6523037"/>
                <a:gd name="connsiteX1823" fmla="*/ 9925121 w 12192001"/>
                <a:gd name="connsiteY1823" fmla="*/ 3860644 h 6523037"/>
                <a:gd name="connsiteX1824" fmla="*/ 9927325 w 12192001"/>
                <a:gd name="connsiteY1824" fmla="*/ 3860644 h 6523037"/>
                <a:gd name="connsiteX1825" fmla="*/ 10022056 w 12192001"/>
                <a:gd name="connsiteY1825" fmla="*/ 3765668 h 6523037"/>
                <a:gd name="connsiteX1826" fmla="*/ 9750946 w 12192001"/>
                <a:gd name="connsiteY1826" fmla="*/ 3495256 h 6523037"/>
                <a:gd name="connsiteX1827" fmla="*/ 9683167 w 12192001"/>
                <a:gd name="connsiteY1827" fmla="*/ 3493858 h 6523037"/>
                <a:gd name="connsiteX1828" fmla="*/ 9214487 w 12192001"/>
                <a:gd name="connsiteY1828" fmla="*/ 3493540 h 6523037"/>
                <a:gd name="connsiteX1829" fmla="*/ 9215884 w 12192001"/>
                <a:gd name="connsiteY1829" fmla="*/ 3494937 h 6523037"/>
                <a:gd name="connsiteX1830" fmla="*/ 9482419 w 12192001"/>
                <a:gd name="connsiteY1830" fmla="*/ 3760776 h 6523037"/>
                <a:gd name="connsiteX1831" fmla="*/ 9743958 w 12192001"/>
                <a:gd name="connsiteY1831" fmla="*/ 3760776 h 6523037"/>
                <a:gd name="connsiteX1832" fmla="*/ 9614691 w 12192001"/>
                <a:gd name="connsiteY1832" fmla="*/ 3632209 h 6523037"/>
                <a:gd name="connsiteX1833" fmla="*/ 9475335 w 12192001"/>
                <a:gd name="connsiteY1833" fmla="*/ 3493540 h 6523037"/>
                <a:gd name="connsiteX1834" fmla="*/ 8381590 w 12192001"/>
                <a:gd name="connsiteY1834" fmla="*/ 3493540 h 6523037"/>
                <a:gd name="connsiteX1835" fmla="*/ 8117466 w 12192001"/>
                <a:gd name="connsiteY1835" fmla="*/ 3494239 h 6523037"/>
                <a:gd name="connsiteX1836" fmla="*/ 8388577 w 12192001"/>
                <a:gd name="connsiteY1836" fmla="*/ 3764651 h 6523037"/>
                <a:gd name="connsiteX1837" fmla="*/ 8118914 w 12192001"/>
                <a:gd name="connsiteY1837" fmla="*/ 4035011 h 6523037"/>
                <a:gd name="connsiteX1838" fmla="*/ 8381780 w 12192001"/>
                <a:gd name="connsiteY1838" fmla="*/ 4035011 h 6523037"/>
                <a:gd name="connsiteX1839" fmla="*/ 8552272 w 12192001"/>
                <a:gd name="connsiteY1839" fmla="*/ 3863121 h 6523037"/>
                <a:gd name="connsiteX1840" fmla="*/ 8554041 w 12192001"/>
                <a:gd name="connsiteY1840" fmla="*/ 3863121 h 6523037"/>
                <a:gd name="connsiteX1841" fmla="*/ 8652701 w 12192001"/>
                <a:gd name="connsiteY1841" fmla="*/ 3763951 h 6523037"/>
                <a:gd name="connsiteX1842" fmla="*/ 11133051 w 12192001"/>
                <a:gd name="connsiteY1842" fmla="*/ 3493160 h 6523037"/>
                <a:gd name="connsiteX1843" fmla="*/ 11134449 w 12192001"/>
                <a:gd name="connsiteY1843" fmla="*/ 3494557 h 6523037"/>
                <a:gd name="connsiteX1844" fmla="*/ 11404162 w 12192001"/>
                <a:gd name="connsiteY1844" fmla="*/ 3763572 h 6523037"/>
                <a:gd name="connsiteX1845" fmla="*/ 11135196 w 12192001"/>
                <a:gd name="connsiteY1845" fmla="*/ 4033233 h 6523037"/>
                <a:gd name="connsiteX1846" fmla="*/ 11396666 w 12192001"/>
                <a:gd name="connsiteY1846" fmla="*/ 4033233 h 6523037"/>
                <a:gd name="connsiteX1847" fmla="*/ 11568556 w 12192001"/>
                <a:gd name="connsiteY1847" fmla="*/ 3860644 h 6523037"/>
                <a:gd name="connsiteX1848" fmla="*/ 11571463 w 12192001"/>
                <a:gd name="connsiteY1848" fmla="*/ 3860644 h 6523037"/>
                <a:gd name="connsiteX1849" fmla="*/ 11668285 w 12192001"/>
                <a:gd name="connsiteY1849" fmla="*/ 3763572 h 6523037"/>
                <a:gd name="connsiteX1850" fmla="*/ 11662696 w 12192001"/>
                <a:gd name="connsiteY1850" fmla="*/ 3758681 h 6523037"/>
                <a:gd name="connsiteX1851" fmla="*/ 11397175 w 12192001"/>
                <a:gd name="connsiteY1851" fmla="*/ 3493160 h 6523037"/>
                <a:gd name="connsiteX1852" fmla="*/ 707821 w 12192001"/>
                <a:gd name="connsiteY1852" fmla="*/ 3228588 h 6523037"/>
                <a:gd name="connsiteX1853" fmla="*/ 437409 w 12192001"/>
                <a:gd name="connsiteY1853" fmla="*/ 3499699 h 6523037"/>
                <a:gd name="connsiteX1854" fmla="*/ 570170 w 12192001"/>
                <a:gd name="connsiteY1854" fmla="*/ 3631761 h 6523037"/>
                <a:gd name="connsiteX1855" fmla="*/ 708520 w 12192001"/>
                <a:gd name="connsiteY1855" fmla="*/ 3769413 h 6523037"/>
                <a:gd name="connsiteX1856" fmla="*/ 972643 w 12192001"/>
                <a:gd name="connsiteY1856" fmla="*/ 3769413 h 6523037"/>
                <a:gd name="connsiteX1857" fmla="*/ 701533 w 12192001"/>
                <a:gd name="connsiteY1857" fmla="*/ 3499001 h 6523037"/>
                <a:gd name="connsiteX1858" fmla="*/ 971945 w 12192001"/>
                <a:gd name="connsiteY1858" fmla="*/ 3228588 h 6523037"/>
                <a:gd name="connsiteX1859" fmla="*/ 1256332 w 12192001"/>
                <a:gd name="connsiteY1859" fmla="*/ 3227890 h 6523037"/>
                <a:gd name="connsiteX1860" fmla="*/ 985920 w 12192001"/>
                <a:gd name="connsiteY1860" fmla="*/ 3499001 h 6523037"/>
                <a:gd name="connsiteX1861" fmla="*/ 1257031 w 12192001"/>
                <a:gd name="connsiteY1861" fmla="*/ 3769413 h 6523037"/>
                <a:gd name="connsiteX1862" fmla="*/ 1521154 w 12192001"/>
                <a:gd name="connsiteY1862" fmla="*/ 3768713 h 6523037"/>
                <a:gd name="connsiteX1863" fmla="*/ 1250043 w 12192001"/>
                <a:gd name="connsiteY1863" fmla="*/ 3498302 h 6523037"/>
                <a:gd name="connsiteX1864" fmla="*/ 1434510 w 12192001"/>
                <a:gd name="connsiteY1864" fmla="*/ 3313835 h 6523037"/>
                <a:gd name="connsiteX1865" fmla="*/ 1520455 w 12192001"/>
                <a:gd name="connsiteY1865" fmla="*/ 3227890 h 6523037"/>
                <a:gd name="connsiteX1866" fmla="*/ 1804143 w 12192001"/>
                <a:gd name="connsiteY1866" fmla="*/ 3227192 h 6523037"/>
                <a:gd name="connsiteX1867" fmla="*/ 1623869 w 12192001"/>
                <a:gd name="connsiteY1867" fmla="*/ 3408165 h 6523037"/>
                <a:gd name="connsiteX1868" fmla="*/ 1534430 w 12192001"/>
                <a:gd name="connsiteY1868" fmla="*/ 3498302 h 6523037"/>
                <a:gd name="connsiteX1869" fmla="*/ 1668588 w 12192001"/>
                <a:gd name="connsiteY1869" fmla="*/ 3631761 h 6523037"/>
                <a:gd name="connsiteX1870" fmla="*/ 1805541 w 12192001"/>
                <a:gd name="connsiteY1870" fmla="*/ 3768713 h 6523037"/>
                <a:gd name="connsiteX1871" fmla="*/ 2069664 w 12192001"/>
                <a:gd name="connsiteY1871" fmla="*/ 3768015 h 6523037"/>
                <a:gd name="connsiteX1872" fmla="*/ 1798553 w 12192001"/>
                <a:gd name="connsiteY1872" fmla="*/ 3497603 h 6523037"/>
                <a:gd name="connsiteX1873" fmla="*/ 1799951 w 12192001"/>
                <a:gd name="connsiteY1873" fmla="*/ 3496206 h 6523037"/>
                <a:gd name="connsiteX1874" fmla="*/ 2068266 w 12192001"/>
                <a:gd name="connsiteY1874" fmla="*/ 3227192 h 6523037"/>
                <a:gd name="connsiteX1875" fmla="*/ 2353352 w 12192001"/>
                <a:gd name="connsiteY1875" fmla="*/ 3226492 h 6523037"/>
                <a:gd name="connsiteX1876" fmla="*/ 2082940 w 12192001"/>
                <a:gd name="connsiteY1876" fmla="*/ 3497603 h 6523037"/>
                <a:gd name="connsiteX1877" fmla="*/ 2354051 w 12192001"/>
                <a:gd name="connsiteY1877" fmla="*/ 3768015 h 6523037"/>
                <a:gd name="connsiteX1878" fmla="*/ 2618174 w 12192001"/>
                <a:gd name="connsiteY1878" fmla="*/ 3768015 h 6523037"/>
                <a:gd name="connsiteX1879" fmla="*/ 2347064 w 12192001"/>
                <a:gd name="connsiteY1879" fmla="*/ 3497603 h 6523037"/>
                <a:gd name="connsiteX1880" fmla="*/ 2617476 w 12192001"/>
                <a:gd name="connsiteY1880" fmla="*/ 3226492 h 6523037"/>
                <a:gd name="connsiteX1881" fmla="*/ 3449674 w 12192001"/>
                <a:gd name="connsiteY1881" fmla="*/ 3225095 h 6523037"/>
                <a:gd name="connsiteX1882" fmla="*/ 3179262 w 12192001"/>
                <a:gd name="connsiteY1882" fmla="*/ 3496206 h 6523037"/>
                <a:gd name="connsiteX1883" fmla="*/ 3450373 w 12192001"/>
                <a:gd name="connsiteY1883" fmla="*/ 3766618 h 6523037"/>
                <a:gd name="connsiteX1884" fmla="*/ 3714496 w 12192001"/>
                <a:gd name="connsiteY1884" fmla="*/ 3766618 h 6523037"/>
                <a:gd name="connsiteX1885" fmla="*/ 3443385 w 12192001"/>
                <a:gd name="connsiteY1885" fmla="*/ 3496206 h 6523037"/>
                <a:gd name="connsiteX1886" fmla="*/ 3713797 w 12192001"/>
                <a:gd name="connsiteY1886" fmla="*/ 3225095 h 6523037"/>
                <a:gd name="connsiteX1887" fmla="*/ 3998184 w 12192001"/>
                <a:gd name="connsiteY1887" fmla="*/ 3224396 h 6523037"/>
                <a:gd name="connsiteX1888" fmla="*/ 3727772 w 12192001"/>
                <a:gd name="connsiteY1888" fmla="*/ 3495507 h 6523037"/>
                <a:gd name="connsiteX1889" fmla="*/ 3998883 w 12192001"/>
                <a:gd name="connsiteY1889" fmla="*/ 3765919 h 6523037"/>
                <a:gd name="connsiteX1890" fmla="*/ 4263007 w 12192001"/>
                <a:gd name="connsiteY1890" fmla="*/ 3765220 h 6523037"/>
                <a:gd name="connsiteX1891" fmla="*/ 3991896 w 12192001"/>
                <a:gd name="connsiteY1891" fmla="*/ 3494808 h 6523037"/>
                <a:gd name="connsiteX1892" fmla="*/ 4176362 w 12192001"/>
                <a:gd name="connsiteY1892" fmla="*/ 3310341 h 6523037"/>
                <a:gd name="connsiteX1893" fmla="*/ 4177062 w 12192001"/>
                <a:gd name="connsiteY1893" fmla="*/ 3310341 h 6523037"/>
                <a:gd name="connsiteX1894" fmla="*/ 4262309 w 12192001"/>
                <a:gd name="connsiteY1894" fmla="*/ 3224396 h 6523037"/>
                <a:gd name="connsiteX1895" fmla="*/ 5367927 w 12192001"/>
                <a:gd name="connsiteY1895" fmla="*/ 3223826 h 6523037"/>
                <a:gd name="connsiteX1896" fmla="*/ 5097515 w 12192001"/>
                <a:gd name="connsiteY1896" fmla="*/ 3494937 h 6523037"/>
                <a:gd name="connsiteX1897" fmla="*/ 5230276 w 12192001"/>
                <a:gd name="connsiteY1897" fmla="*/ 3626999 h 6523037"/>
                <a:gd name="connsiteX1898" fmla="*/ 5368626 w 12192001"/>
                <a:gd name="connsiteY1898" fmla="*/ 3764651 h 6523037"/>
                <a:gd name="connsiteX1899" fmla="*/ 5632749 w 12192001"/>
                <a:gd name="connsiteY1899" fmla="*/ 3764651 h 6523037"/>
                <a:gd name="connsiteX1900" fmla="*/ 5361639 w 12192001"/>
                <a:gd name="connsiteY1900" fmla="*/ 3494239 h 6523037"/>
                <a:gd name="connsiteX1901" fmla="*/ 5632051 w 12192001"/>
                <a:gd name="connsiteY1901" fmla="*/ 3223826 h 6523037"/>
                <a:gd name="connsiteX1902" fmla="*/ 4546696 w 12192001"/>
                <a:gd name="connsiteY1902" fmla="*/ 3223697 h 6523037"/>
                <a:gd name="connsiteX1903" fmla="*/ 4366420 w 12192001"/>
                <a:gd name="connsiteY1903" fmla="*/ 3404671 h 6523037"/>
                <a:gd name="connsiteX1904" fmla="*/ 4365722 w 12192001"/>
                <a:gd name="connsiteY1904" fmla="*/ 3404671 h 6523037"/>
                <a:gd name="connsiteX1905" fmla="*/ 4276283 w 12192001"/>
                <a:gd name="connsiteY1905" fmla="*/ 3494808 h 6523037"/>
                <a:gd name="connsiteX1906" fmla="*/ 4410440 w 12192001"/>
                <a:gd name="connsiteY1906" fmla="*/ 3628267 h 6523037"/>
                <a:gd name="connsiteX1907" fmla="*/ 4547394 w 12192001"/>
                <a:gd name="connsiteY1907" fmla="*/ 3765220 h 6523037"/>
                <a:gd name="connsiteX1908" fmla="*/ 4809493 w 12192001"/>
                <a:gd name="connsiteY1908" fmla="*/ 3765220 h 6523037"/>
                <a:gd name="connsiteX1909" fmla="*/ 4660106 w 12192001"/>
                <a:gd name="connsiteY1909" fmla="*/ 3616519 h 6523037"/>
                <a:gd name="connsiteX1910" fmla="*/ 4660106 w 12192001"/>
                <a:gd name="connsiteY1910" fmla="*/ 3614199 h 6523037"/>
                <a:gd name="connsiteX1911" fmla="*/ 4540406 w 12192001"/>
                <a:gd name="connsiteY1911" fmla="*/ 3494808 h 6523037"/>
                <a:gd name="connsiteX1912" fmla="*/ 4542503 w 12192001"/>
                <a:gd name="connsiteY1912" fmla="*/ 3493410 h 6523037"/>
                <a:gd name="connsiteX1913" fmla="*/ 4660106 w 12192001"/>
                <a:gd name="connsiteY1913" fmla="*/ 3374886 h 6523037"/>
                <a:gd name="connsiteX1914" fmla="*/ 4660106 w 12192001"/>
                <a:gd name="connsiteY1914" fmla="*/ 3371259 h 6523037"/>
                <a:gd name="connsiteX1915" fmla="*/ 4808350 w 12192001"/>
                <a:gd name="connsiteY1915" fmla="*/ 3223697 h 6523037"/>
                <a:gd name="connsiteX1916" fmla="*/ 5916438 w 12192001"/>
                <a:gd name="connsiteY1916" fmla="*/ 3223128 h 6523037"/>
                <a:gd name="connsiteX1917" fmla="*/ 5646026 w 12192001"/>
                <a:gd name="connsiteY1917" fmla="*/ 3494239 h 6523037"/>
                <a:gd name="connsiteX1918" fmla="*/ 5917138 w 12192001"/>
                <a:gd name="connsiteY1918" fmla="*/ 3764651 h 6523037"/>
                <a:gd name="connsiteX1919" fmla="*/ 6181261 w 12192001"/>
                <a:gd name="connsiteY1919" fmla="*/ 3763951 h 6523037"/>
                <a:gd name="connsiteX1920" fmla="*/ 5910149 w 12192001"/>
                <a:gd name="connsiteY1920" fmla="*/ 3493540 h 6523037"/>
                <a:gd name="connsiteX1921" fmla="*/ 6094616 w 12192001"/>
                <a:gd name="connsiteY1921" fmla="*/ 3309073 h 6523037"/>
                <a:gd name="connsiteX1922" fmla="*/ 6180561 w 12192001"/>
                <a:gd name="connsiteY1922" fmla="*/ 3223128 h 6523037"/>
                <a:gd name="connsiteX1923" fmla="*/ 4821874 w 12192001"/>
                <a:gd name="connsiteY1923" fmla="*/ 3223128 h 6523037"/>
                <a:gd name="connsiteX1924" fmla="*/ 4554381 w 12192001"/>
                <a:gd name="connsiteY1924" fmla="*/ 3491315 h 6523037"/>
                <a:gd name="connsiteX1925" fmla="*/ 4815332 w 12192001"/>
                <a:gd name="connsiteY1925" fmla="*/ 3491315 h 6523037"/>
                <a:gd name="connsiteX1926" fmla="*/ 4996199 w 12192001"/>
                <a:gd name="connsiteY1926" fmla="*/ 3309073 h 6523037"/>
                <a:gd name="connsiteX1927" fmla="*/ 5082144 w 12192001"/>
                <a:gd name="connsiteY1927" fmla="*/ 3223128 h 6523037"/>
                <a:gd name="connsiteX1928" fmla="*/ 6464250 w 12192001"/>
                <a:gd name="connsiteY1928" fmla="*/ 3222430 h 6523037"/>
                <a:gd name="connsiteX1929" fmla="*/ 6283976 w 12192001"/>
                <a:gd name="connsiteY1929" fmla="*/ 3403403 h 6523037"/>
                <a:gd name="connsiteX1930" fmla="*/ 6194536 w 12192001"/>
                <a:gd name="connsiteY1930" fmla="*/ 3493540 h 6523037"/>
                <a:gd name="connsiteX1931" fmla="*/ 6328695 w 12192001"/>
                <a:gd name="connsiteY1931" fmla="*/ 3626999 h 6523037"/>
                <a:gd name="connsiteX1932" fmla="*/ 6465647 w 12192001"/>
                <a:gd name="connsiteY1932" fmla="*/ 3763951 h 6523037"/>
                <a:gd name="connsiteX1933" fmla="*/ 6729770 w 12192001"/>
                <a:gd name="connsiteY1933" fmla="*/ 3763253 h 6523037"/>
                <a:gd name="connsiteX1934" fmla="*/ 6458659 w 12192001"/>
                <a:gd name="connsiteY1934" fmla="*/ 3492841 h 6523037"/>
                <a:gd name="connsiteX1935" fmla="*/ 6460057 w 12192001"/>
                <a:gd name="connsiteY1935" fmla="*/ 3491444 h 6523037"/>
                <a:gd name="connsiteX1936" fmla="*/ 6728373 w 12192001"/>
                <a:gd name="connsiteY1936" fmla="*/ 3222430 h 6523037"/>
                <a:gd name="connsiteX1937" fmla="*/ 7013458 w 12192001"/>
                <a:gd name="connsiteY1937" fmla="*/ 3221730 h 6523037"/>
                <a:gd name="connsiteX1938" fmla="*/ 6743046 w 12192001"/>
                <a:gd name="connsiteY1938" fmla="*/ 3492841 h 6523037"/>
                <a:gd name="connsiteX1939" fmla="*/ 7014157 w 12192001"/>
                <a:gd name="connsiteY1939" fmla="*/ 3763253 h 6523037"/>
                <a:gd name="connsiteX1940" fmla="*/ 7278280 w 12192001"/>
                <a:gd name="connsiteY1940" fmla="*/ 3763253 h 6523037"/>
                <a:gd name="connsiteX1941" fmla="*/ 7007170 w 12192001"/>
                <a:gd name="connsiteY1941" fmla="*/ 3492841 h 6523037"/>
                <a:gd name="connsiteX1942" fmla="*/ 7277582 w 12192001"/>
                <a:gd name="connsiteY1942" fmla="*/ 3221730 h 6523037"/>
                <a:gd name="connsiteX1943" fmla="*/ 10028344 w 12192001"/>
                <a:gd name="connsiteY1943" fmla="*/ 3220651 h 6523037"/>
                <a:gd name="connsiteX1944" fmla="*/ 9757932 w 12192001"/>
                <a:gd name="connsiteY1944" fmla="*/ 3491762 h 6523037"/>
                <a:gd name="connsiteX1945" fmla="*/ 9890693 w 12192001"/>
                <a:gd name="connsiteY1945" fmla="*/ 3623824 h 6523037"/>
                <a:gd name="connsiteX1946" fmla="*/ 10029043 w 12192001"/>
                <a:gd name="connsiteY1946" fmla="*/ 3761476 h 6523037"/>
                <a:gd name="connsiteX1947" fmla="*/ 10293166 w 12192001"/>
                <a:gd name="connsiteY1947" fmla="*/ 3761476 h 6523037"/>
                <a:gd name="connsiteX1948" fmla="*/ 10022056 w 12192001"/>
                <a:gd name="connsiteY1948" fmla="*/ 3491064 h 6523037"/>
                <a:gd name="connsiteX1949" fmla="*/ 10292468 w 12192001"/>
                <a:gd name="connsiteY1949" fmla="*/ 3220651 h 6523037"/>
                <a:gd name="connsiteX1950" fmla="*/ 8109780 w 12192001"/>
                <a:gd name="connsiteY1950" fmla="*/ 3220333 h 6523037"/>
                <a:gd name="connsiteX1951" fmla="*/ 7839368 w 12192001"/>
                <a:gd name="connsiteY1951" fmla="*/ 3491444 h 6523037"/>
                <a:gd name="connsiteX1952" fmla="*/ 8110479 w 12192001"/>
                <a:gd name="connsiteY1952" fmla="*/ 3761856 h 6523037"/>
                <a:gd name="connsiteX1953" fmla="*/ 8374602 w 12192001"/>
                <a:gd name="connsiteY1953" fmla="*/ 3761856 h 6523037"/>
                <a:gd name="connsiteX1954" fmla="*/ 8103491 w 12192001"/>
                <a:gd name="connsiteY1954" fmla="*/ 3491444 h 6523037"/>
                <a:gd name="connsiteX1955" fmla="*/ 8373903 w 12192001"/>
                <a:gd name="connsiteY1955" fmla="*/ 3220333 h 6523037"/>
                <a:gd name="connsiteX1956" fmla="*/ 10576855 w 12192001"/>
                <a:gd name="connsiteY1956" fmla="*/ 3219953 h 6523037"/>
                <a:gd name="connsiteX1957" fmla="*/ 10306443 w 12192001"/>
                <a:gd name="connsiteY1957" fmla="*/ 3491064 h 6523037"/>
                <a:gd name="connsiteX1958" fmla="*/ 10577554 w 12192001"/>
                <a:gd name="connsiteY1958" fmla="*/ 3761476 h 6523037"/>
                <a:gd name="connsiteX1959" fmla="*/ 10841677 w 12192001"/>
                <a:gd name="connsiteY1959" fmla="*/ 3760776 h 6523037"/>
                <a:gd name="connsiteX1960" fmla="*/ 10570566 w 12192001"/>
                <a:gd name="connsiteY1960" fmla="*/ 3490365 h 6523037"/>
                <a:gd name="connsiteX1961" fmla="*/ 10755033 w 12192001"/>
                <a:gd name="connsiteY1961" fmla="*/ 3305898 h 6523037"/>
                <a:gd name="connsiteX1962" fmla="*/ 10840978 w 12192001"/>
                <a:gd name="connsiteY1962" fmla="*/ 3219953 h 6523037"/>
                <a:gd name="connsiteX1963" fmla="*/ 9480397 w 12192001"/>
                <a:gd name="connsiteY1963" fmla="*/ 3219953 h 6523037"/>
                <a:gd name="connsiteX1964" fmla="*/ 9214487 w 12192001"/>
                <a:gd name="connsiteY1964" fmla="*/ 3486553 h 6523037"/>
                <a:gd name="connsiteX1965" fmla="*/ 9477324 w 12192001"/>
                <a:gd name="connsiteY1965" fmla="*/ 3486553 h 6523037"/>
                <a:gd name="connsiteX1966" fmla="*/ 9656616 w 12192001"/>
                <a:gd name="connsiteY1966" fmla="*/ 3305898 h 6523037"/>
                <a:gd name="connsiteX1967" fmla="*/ 9742561 w 12192001"/>
                <a:gd name="connsiteY1967" fmla="*/ 3219953 h 6523037"/>
                <a:gd name="connsiteX1968" fmla="*/ 8658290 w 12192001"/>
                <a:gd name="connsiteY1968" fmla="*/ 3219635 h 6523037"/>
                <a:gd name="connsiteX1969" fmla="*/ 8387878 w 12192001"/>
                <a:gd name="connsiteY1969" fmla="*/ 3490745 h 6523037"/>
                <a:gd name="connsiteX1970" fmla="*/ 8658989 w 12192001"/>
                <a:gd name="connsiteY1970" fmla="*/ 3761157 h 6523037"/>
                <a:gd name="connsiteX1971" fmla="*/ 8923113 w 12192001"/>
                <a:gd name="connsiteY1971" fmla="*/ 3760458 h 6523037"/>
                <a:gd name="connsiteX1972" fmla="*/ 8652002 w 12192001"/>
                <a:gd name="connsiteY1972" fmla="*/ 3490046 h 6523037"/>
                <a:gd name="connsiteX1973" fmla="*/ 8836468 w 12192001"/>
                <a:gd name="connsiteY1973" fmla="*/ 3305579 h 6523037"/>
                <a:gd name="connsiteX1974" fmla="*/ 8837168 w 12192001"/>
                <a:gd name="connsiteY1974" fmla="*/ 3305579 h 6523037"/>
                <a:gd name="connsiteX1975" fmla="*/ 8922414 w 12192001"/>
                <a:gd name="connsiteY1975" fmla="*/ 3219635 h 6523037"/>
                <a:gd name="connsiteX1976" fmla="*/ 11124666 w 12192001"/>
                <a:gd name="connsiteY1976" fmla="*/ 3219256 h 6523037"/>
                <a:gd name="connsiteX1977" fmla="*/ 10944392 w 12192001"/>
                <a:gd name="connsiteY1977" fmla="*/ 3400228 h 6523037"/>
                <a:gd name="connsiteX1978" fmla="*/ 10854953 w 12192001"/>
                <a:gd name="connsiteY1978" fmla="*/ 3490365 h 6523037"/>
                <a:gd name="connsiteX1979" fmla="*/ 10989111 w 12192001"/>
                <a:gd name="connsiteY1979" fmla="*/ 3623824 h 6523037"/>
                <a:gd name="connsiteX1980" fmla="*/ 11126064 w 12192001"/>
                <a:gd name="connsiteY1980" fmla="*/ 3760776 h 6523037"/>
                <a:gd name="connsiteX1981" fmla="*/ 11390187 w 12192001"/>
                <a:gd name="connsiteY1981" fmla="*/ 3760078 h 6523037"/>
                <a:gd name="connsiteX1982" fmla="*/ 11119076 w 12192001"/>
                <a:gd name="connsiteY1982" fmla="*/ 3489666 h 6523037"/>
                <a:gd name="connsiteX1983" fmla="*/ 11120474 w 12192001"/>
                <a:gd name="connsiteY1983" fmla="*/ 3488269 h 6523037"/>
                <a:gd name="connsiteX1984" fmla="*/ 11388789 w 12192001"/>
                <a:gd name="connsiteY1984" fmla="*/ 3219256 h 6523037"/>
                <a:gd name="connsiteX1985" fmla="*/ 9206801 w 12192001"/>
                <a:gd name="connsiteY1985" fmla="*/ 3218935 h 6523037"/>
                <a:gd name="connsiteX1986" fmla="*/ 9026526 w 12192001"/>
                <a:gd name="connsiteY1986" fmla="*/ 3399909 h 6523037"/>
                <a:gd name="connsiteX1987" fmla="*/ 9025828 w 12192001"/>
                <a:gd name="connsiteY1987" fmla="*/ 3399909 h 6523037"/>
                <a:gd name="connsiteX1988" fmla="*/ 8936388 w 12192001"/>
                <a:gd name="connsiteY1988" fmla="*/ 3490046 h 6523037"/>
                <a:gd name="connsiteX1989" fmla="*/ 9070546 w 12192001"/>
                <a:gd name="connsiteY1989" fmla="*/ 3623505 h 6523037"/>
                <a:gd name="connsiteX1990" fmla="*/ 9207500 w 12192001"/>
                <a:gd name="connsiteY1990" fmla="*/ 3760458 h 6523037"/>
                <a:gd name="connsiteX1991" fmla="*/ 9468315 w 12192001"/>
                <a:gd name="connsiteY1991" fmla="*/ 3760458 h 6523037"/>
                <a:gd name="connsiteX1992" fmla="*/ 9320523 w 12192001"/>
                <a:gd name="connsiteY1992" fmla="*/ 3613344 h 6523037"/>
                <a:gd name="connsiteX1993" fmla="*/ 9320523 w 12192001"/>
                <a:gd name="connsiteY1993" fmla="*/ 3609748 h 6523037"/>
                <a:gd name="connsiteX1994" fmla="*/ 9200512 w 12192001"/>
                <a:gd name="connsiteY1994" fmla="*/ 3490046 h 6523037"/>
                <a:gd name="connsiteX1995" fmla="*/ 9202609 w 12192001"/>
                <a:gd name="connsiteY1995" fmla="*/ 3488648 h 6523037"/>
                <a:gd name="connsiteX1996" fmla="*/ 9320523 w 12192001"/>
                <a:gd name="connsiteY1996" fmla="*/ 3369810 h 6523037"/>
                <a:gd name="connsiteX1997" fmla="*/ 9320523 w 12192001"/>
                <a:gd name="connsiteY1997" fmla="*/ 3368084 h 6523037"/>
                <a:gd name="connsiteX1998" fmla="*/ 9459449 w 12192001"/>
                <a:gd name="connsiteY1998" fmla="*/ 3229795 h 6523037"/>
                <a:gd name="connsiteX1999" fmla="*/ 9470225 w 12192001"/>
                <a:gd name="connsiteY1999" fmla="*/ 3218935 h 6523037"/>
                <a:gd name="connsiteX2000" fmla="*/ 11673875 w 12192001"/>
                <a:gd name="connsiteY2000" fmla="*/ 3218555 h 6523037"/>
                <a:gd name="connsiteX2001" fmla="*/ 11403463 w 12192001"/>
                <a:gd name="connsiteY2001" fmla="*/ 3489666 h 6523037"/>
                <a:gd name="connsiteX2002" fmla="*/ 11674574 w 12192001"/>
                <a:gd name="connsiteY2002" fmla="*/ 3760078 h 6523037"/>
                <a:gd name="connsiteX2003" fmla="*/ 11938697 w 12192001"/>
                <a:gd name="connsiteY2003" fmla="*/ 3760078 h 6523037"/>
                <a:gd name="connsiteX2004" fmla="*/ 11667587 w 12192001"/>
                <a:gd name="connsiteY2004" fmla="*/ 3489666 h 6523037"/>
                <a:gd name="connsiteX2005" fmla="*/ 11937999 w 12192001"/>
                <a:gd name="connsiteY2005" fmla="*/ 3218555 h 6523037"/>
                <a:gd name="connsiteX2006" fmla="*/ 1263319 w 12192001"/>
                <a:gd name="connsiteY2006" fmla="*/ 2953984 h 6523037"/>
                <a:gd name="connsiteX2007" fmla="*/ 1534430 w 12192001"/>
                <a:gd name="connsiteY2007" fmla="*/ 3223697 h 6523037"/>
                <a:gd name="connsiteX2008" fmla="*/ 1531636 w 12192001"/>
                <a:gd name="connsiteY2008" fmla="*/ 3226492 h 6523037"/>
                <a:gd name="connsiteX2009" fmla="*/ 1441498 w 12192001"/>
                <a:gd name="connsiteY2009" fmla="*/ 3317328 h 6523037"/>
                <a:gd name="connsiteX2010" fmla="*/ 1264018 w 12192001"/>
                <a:gd name="connsiteY2010" fmla="*/ 3494808 h 6523037"/>
                <a:gd name="connsiteX2011" fmla="*/ 1528141 w 12192001"/>
                <a:gd name="connsiteY2011" fmla="*/ 3494808 h 6523037"/>
                <a:gd name="connsiteX2012" fmla="*/ 1617580 w 12192001"/>
                <a:gd name="connsiteY2012" fmla="*/ 3405369 h 6523037"/>
                <a:gd name="connsiteX2013" fmla="*/ 1798553 w 12192001"/>
                <a:gd name="connsiteY2013" fmla="*/ 3224396 h 6523037"/>
                <a:gd name="connsiteX2014" fmla="*/ 1527442 w 12192001"/>
                <a:gd name="connsiteY2014" fmla="*/ 2953984 h 6523037"/>
                <a:gd name="connsiteX2015" fmla="*/ 714809 w 12192001"/>
                <a:gd name="connsiteY2015" fmla="*/ 2953984 h 6523037"/>
                <a:gd name="connsiteX2016" fmla="*/ 843377 w 12192001"/>
                <a:gd name="connsiteY2016" fmla="*/ 3082552 h 6523037"/>
                <a:gd name="connsiteX2017" fmla="*/ 985221 w 12192001"/>
                <a:gd name="connsiteY2017" fmla="*/ 3224396 h 6523037"/>
                <a:gd name="connsiteX2018" fmla="*/ 714809 w 12192001"/>
                <a:gd name="connsiteY2018" fmla="*/ 3495507 h 6523037"/>
                <a:gd name="connsiteX2019" fmla="*/ 978932 w 12192001"/>
                <a:gd name="connsiteY2019" fmla="*/ 3495507 h 6523037"/>
                <a:gd name="connsiteX2020" fmla="*/ 1249344 w 12192001"/>
                <a:gd name="connsiteY2020" fmla="*/ 3224396 h 6523037"/>
                <a:gd name="connsiteX2021" fmla="*/ 1244453 w 12192001"/>
                <a:gd name="connsiteY2021" fmla="*/ 3219505 h 6523037"/>
                <a:gd name="connsiteX2022" fmla="*/ 978932 w 12192001"/>
                <a:gd name="connsiteY2022" fmla="*/ 2953984 h 6523037"/>
                <a:gd name="connsiteX2023" fmla="*/ 164902 w 12192001"/>
                <a:gd name="connsiteY2023" fmla="*/ 2953984 h 6523037"/>
                <a:gd name="connsiteX2024" fmla="*/ 436013 w 12192001"/>
                <a:gd name="connsiteY2024" fmla="*/ 3223697 h 6523037"/>
                <a:gd name="connsiteX2025" fmla="*/ 433217 w 12192001"/>
                <a:gd name="connsiteY2025" fmla="*/ 3226492 h 6523037"/>
                <a:gd name="connsiteX2026" fmla="*/ 343079 w 12192001"/>
                <a:gd name="connsiteY2026" fmla="*/ 3317328 h 6523037"/>
                <a:gd name="connsiteX2027" fmla="*/ 165601 w 12192001"/>
                <a:gd name="connsiteY2027" fmla="*/ 3494808 h 6523037"/>
                <a:gd name="connsiteX2028" fmla="*/ 429724 w 12192001"/>
                <a:gd name="connsiteY2028" fmla="*/ 3494808 h 6523037"/>
                <a:gd name="connsiteX2029" fmla="*/ 519162 w 12192001"/>
                <a:gd name="connsiteY2029" fmla="*/ 3405369 h 6523037"/>
                <a:gd name="connsiteX2030" fmla="*/ 700136 w 12192001"/>
                <a:gd name="connsiteY2030" fmla="*/ 3224396 h 6523037"/>
                <a:gd name="connsiteX2031" fmla="*/ 429025 w 12192001"/>
                <a:gd name="connsiteY2031" fmla="*/ 2953984 h 6523037"/>
                <a:gd name="connsiteX2032" fmla="*/ 2908151 w 12192001"/>
                <a:gd name="connsiteY2032" fmla="*/ 2953285 h 6523037"/>
                <a:gd name="connsiteX2033" fmla="*/ 3179262 w 12192001"/>
                <a:gd name="connsiteY2033" fmla="*/ 3223697 h 6523037"/>
                <a:gd name="connsiteX2034" fmla="*/ 2908850 w 12192001"/>
                <a:gd name="connsiteY2034" fmla="*/ 3494808 h 6523037"/>
                <a:gd name="connsiteX2035" fmla="*/ 3107292 w 12192001"/>
                <a:gd name="connsiteY2035" fmla="*/ 3494808 h 6523037"/>
                <a:gd name="connsiteX2036" fmla="*/ 3103798 w 12192001"/>
                <a:gd name="connsiteY2036" fmla="*/ 3501795 h 6523037"/>
                <a:gd name="connsiteX2037" fmla="*/ 2908850 w 12192001"/>
                <a:gd name="connsiteY2037" fmla="*/ 3501795 h 6523037"/>
                <a:gd name="connsiteX2038" fmla="*/ 3038815 w 12192001"/>
                <a:gd name="connsiteY2038" fmla="*/ 3631761 h 6523037"/>
                <a:gd name="connsiteX2039" fmla="*/ 3035322 w 12192001"/>
                <a:gd name="connsiteY2039" fmla="*/ 3638748 h 6523037"/>
                <a:gd name="connsiteX2040" fmla="*/ 2894875 w 12192001"/>
                <a:gd name="connsiteY2040" fmla="*/ 3498302 h 6523037"/>
                <a:gd name="connsiteX2041" fmla="*/ 3165287 w 12192001"/>
                <a:gd name="connsiteY2041" fmla="*/ 3227192 h 6523037"/>
                <a:gd name="connsiteX2042" fmla="*/ 2901164 w 12192001"/>
                <a:gd name="connsiteY2042" fmla="*/ 3227192 h 6523037"/>
                <a:gd name="connsiteX2043" fmla="*/ 2630752 w 12192001"/>
                <a:gd name="connsiteY2043" fmla="*/ 3498302 h 6523037"/>
                <a:gd name="connsiteX2044" fmla="*/ 2901863 w 12192001"/>
                <a:gd name="connsiteY2044" fmla="*/ 3768713 h 6523037"/>
                <a:gd name="connsiteX2045" fmla="*/ 2970339 w 12192001"/>
                <a:gd name="connsiteY2045" fmla="*/ 3768713 h 6523037"/>
                <a:gd name="connsiteX2046" fmla="*/ 2966846 w 12192001"/>
                <a:gd name="connsiteY2046" fmla="*/ 3775701 h 6523037"/>
                <a:gd name="connsiteX2047" fmla="*/ 2901863 w 12192001"/>
                <a:gd name="connsiteY2047" fmla="*/ 3775701 h 6523037"/>
                <a:gd name="connsiteX2048" fmla="*/ 2721588 w 12192001"/>
                <a:gd name="connsiteY2048" fmla="*/ 3956675 h 6523037"/>
                <a:gd name="connsiteX2049" fmla="*/ 2633317 w 12192001"/>
                <a:gd name="connsiteY2049" fmla="*/ 4045637 h 6523037"/>
                <a:gd name="connsiteX2050" fmla="*/ 2902751 w 12192001"/>
                <a:gd name="connsiteY2050" fmla="*/ 4314377 h 6523037"/>
                <a:gd name="connsiteX2051" fmla="*/ 3165477 w 12192001"/>
                <a:gd name="connsiteY2051" fmla="*/ 4314377 h 6523037"/>
                <a:gd name="connsiteX2052" fmla="*/ 3036210 w 12192001"/>
                <a:gd name="connsiteY2052" fmla="*/ 4185111 h 6523037"/>
                <a:gd name="connsiteX2053" fmla="*/ 3036909 w 12192001"/>
                <a:gd name="connsiteY2053" fmla="*/ 4184412 h 6523037"/>
                <a:gd name="connsiteX2054" fmla="*/ 2942163 w 12192001"/>
                <a:gd name="connsiteY2054" fmla="*/ 4090134 h 6523037"/>
                <a:gd name="connsiteX2055" fmla="*/ 2940992 w 12192001"/>
                <a:gd name="connsiteY2055" fmla="*/ 4090134 h 6523037"/>
                <a:gd name="connsiteX2056" fmla="*/ 2896273 w 12192001"/>
                <a:gd name="connsiteY2056" fmla="*/ 4045415 h 6523037"/>
                <a:gd name="connsiteX2057" fmla="*/ 2896745 w 12192001"/>
                <a:gd name="connsiteY2057" fmla="*/ 4044942 h 6523037"/>
                <a:gd name="connsiteX2058" fmla="*/ 2895764 w 12192001"/>
                <a:gd name="connsiteY2058" fmla="*/ 4043965 h 6523037"/>
                <a:gd name="connsiteX2059" fmla="*/ 3070448 w 12192001"/>
                <a:gd name="connsiteY2059" fmla="*/ 3868581 h 6523037"/>
                <a:gd name="connsiteX2060" fmla="*/ 3072651 w 12192001"/>
                <a:gd name="connsiteY2060" fmla="*/ 3868581 h 6523037"/>
                <a:gd name="connsiteX2061" fmla="*/ 3165986 w 12192001"/>
                <a:gd name="connsiteY2061" fmla="*/ 3775003 h 6523037"/>
                <a:gd name="connsiteX2062" fmla="*/ 2967543 w 12192001"/>
                <a:gd name="connsiteY2062" fmla="*/ 3775003 h 6523037"/>
                <a:gd name="connsiteX2063" fmla="*/ 2971038 w 12192001"/>
                <a:gd name="connsiteY2063" fmla="*/ 3768015 h 6523037"/>
                <a:gd name="connsiteX2064" fmla="*/ 3165986 w 12192001"/>
                <a:gd name="connsiteY2064" fmla="*/ 3768015 h 6523037"/>
                <a:gd name="connsiteX2065" fmla="*/ 3036021 w 12192001"/>
                <a:gd name="connsiteY2065" fmla="*/ 3638050 h 6523037"/>
                <a:gd name="connsiteX2066" fmla="*/ 3039514 w 12192001"/>
                <a:gd name="connsiteY2066" fmla="*/ 3631063 h 6523037"/>
                <a:gd name="connsiteX2067" fmla="*/ 3179961 w 12192001"/>
                <a:gd name="connsiteY2067" fmla="*/ 3771509 h 6523037"/>
                <a:gd name="connsiteX2068" fmla="*/ 2912388 w 12192001"/>
                <a:gd name="connsiteY2068" fmla="*/ 4039773 h 6523037"/>
                <a:gd name="connsiteX2069" fmla="*/ 3173163 w 12192001"/>
                <a:gd name="connsiteY2069" fmla="*/ 4039773 h 6523037"/>
                <a:gd name="connsiteX2070" fmla="*/ 3262601 w 12192001"/>
                <a:gd name="connsiteY2070" fmla="*/ 3950334 h 6523037"/>
                <a:gd name="connsiteX2071" fmla="*/ 3344354 w 12192001"/>
                <a:gd name="connsiteY2071" fmla="*/ 3868581 h 6523037"/>
                <a:gd name="connsiteX2072" fmla="*/ 3347262 w 12192001"/>
                <a:gd name="connsiteY2072" fmla="*/ 3868581 h 6523037"/>
                <a:gd name="connsiteX2073" fmla="*/ 3444084 w 12192001"/>
                <a:gd name="connsiteY2073" fmla="*/ 3771509 h 6523037"/>
                <a:gd name="connsiteX2074" fmla="*/ 3172973 w 12192001"/>
                <a:gd name="connsiteY2074" fmla="*/ 3501795 h 6523037"/>
                <a:gd name="connsiteX2075" fmla="*/ 3104497 w 12192001"/>
                <a:gd name="connsiteY2075" fmla="*/ 3501795 h 6523037"/>
                <a:gd name="connsiteX2076" fmla="*/ 3107990 w 12192001"/>
                <a:gd name="connsiteY2076" fmla="*/ 3494808 h 6523037"/>
                <a:gd name="connsiteX2077" fmla="*/ 3172973 w 12192001"/>
                <a:gd name="connsiteY2077" fmla="*/ 3494808 h 6523037"/>
                <a:gd name="connsiteX2078" fmla="*/ 3443385 w 12192001"/>
                <a:gd name="connsiteY2078" fmla="*/ 3223697 h 6523037"/>
                <a:gd name="connsiteX2079" fmla="*/ 3309227 w 12192001"/>
                <a:gd name="connsiteY2079" fmla="*/ 3090238 h 6523037"/>
                <a:gd name="connsiteX2080" fmla="*/ 3172275 w 12192001"/>
                <a:gd name="connsiteY2080" fmla="*/ 2953285 h 6523037"/>
                <a:gd name="connsiteX2081" fmla="*/ 1811829 w 12192001"/>
                <a:gd name="connsiteY2081" fmla="*/ 2952586 h 6523037"/>
                <a:gd name="connsiteX2082" fmla="*/ 1941795 w 12192001"/>
                <a:gd name="connsiteY2082" fmla="*/ 3082552 h 6523037"/>
                <a:gd name="connsiteX2083" fmla="*/ 2082940 w 12192001"/>
                <a:gd name="connsiteY2083" fmla="*/ 3222998 h 6523037"/>
                <a:gd name="connsiteX2084" fmla="*/ 1812528 w 12192001"/>
                <a:gd name="connsiteY2084" fmla="*/ 3494109 h 6523037"/>
                <a:gd name="connsiteX2085" fmla="*/ 2076652 w 12192001"/>
                <a:gd name="connsiteY2085" fmla="*/ 3494109 h 6523037"/>
                <a:gd name="connsiteX2086" fmla="*/ 2347064 w 12192001"/>
                <a:gd name="connsiteY2086" fmla="*/ 3222998 h 6523037"/>
                <a:gd name="connsiteX2087" fmla="*/ 2075953 w 12192001"/>
                <a:gd name="connsiteY2087" fmla="*/ 2952586 h 6523037"/>
                <a:gd name="connsiteX2088" fmla="*/ 2360340 w 12192001"/>
                <a:gd name="connsiteY2088" fmla="*/ 2951889 h 6523037"/>
                <a:gd name="connsiteX2089" fmla="*/ 2631451 w 12192001"/>
                <a:gd name="connsiteY2089" fmla="*/ 3222301 h 6523037"/>
                <a:gd name="connsiteX2090" fmla="*/ 2361039 w 12192001"/>
                <a:gd name="connsiteY2090" fmla="*/ 3493410 h 6523037"/>
                <a:gd name="connsiteX2091" fmla="*/ 2625162 w 12192001"/>
                <a:gd name="connsiteY2091" fmla="*/ 3493410 h 6523037"/>
                <a:gd name="connsiteX2092" fmla="*/ 2895574 w 12192001"/>
                <a:gd name="connsiteY2092" fmla="*/ 3222301 h 6523037"/>
                <a:gd name="connsiteX2093" fmla="*/ 2624463 w 12192001"/>
                <a:gd name="connsiteY2093" fmla="*/ 2951889 h 6523037"/>
                <a:gd name="connsiteX2094" fmla="*/ 4005871 w 12192001"/>
                <a:gd name="connsiteY2094" fmla="*/ 2951190 h 6523037"/>
                <a:gd name="connsiteX2095" fmla="*/ 4275584 w 12192001"/>
                <a:gd name="connsiteY2095" fmla="*/ 3220204 h 6523037"/>
                <a:gd name="connsiteX2096" fmla="*/ 4272789 w 12192001"/>
                <a:gd name="connsiteY2096" fmla="*/ 3222998 h 6523037"/>
                <a:gd name="connsiteX2097" fmla="*/ 4182652 w 12192001"/>
                <a:gd name="connsiteY2097" fmla="*/ 3313835 h 6523037"/>
                <a:gd name="connsiteX2098" fmla="*/ 4181952 w 12192001"/>
                <a:gd name="connsiteY2098" fmla="*/ 3313835 h 6523037"/>
                <a:gd name="connsiteX2099" fmla="*/ 4005172 w 12192001"/>
                <a:gd name="connsiteY2099" fmla="*/ 3491315 h 6523037"/>
                <a:gd name="connsiteX2100" fmla="*/ 4269296 w 12192001"/>
                <a:gd name="connsiteY2100" fmla="*/ 3491315 h 6523037"/>
                <a:gd name="connsiteX2101" fmla="*/ 4358734 w 12192001"/>
                <a:gd name="connsiteY2101" fmla="*/ 3401876 h 6523037"/>
                <a:gd name="connsiteX2102" fmla="*/ 4359432 w 12192001"/>
                <a:gd name="connsiteY2102" fmla="*/ 3401876 h 6523037"/>
                <a:gd name="connsiteX2103" fmla="*/ 4541105 w 12192001"/>
                <a:gd name="connsiteY2103" fmla="*/ 3221602 h 6523037"/>
                <a:gd name="connsiteX2104" fmla="*/ 4269994 w 12192001"/>
                <a:gd name="connsiteY2104" fmla="*/ 2951190 h 6523037"/>
                <a:gd name="connsiteX2105" fmla="*/ 3457360 w 12192001"/>
                <a:gd name="connsiteY2105" fmla="*/ 2951190 h 6523037"/>
                <a:gd name="connsiteX2106" fmla="*/ 3458059 w 12192001"/>
                <a:gd name="connsiteY2106" fmla="*/ 2951889 h 6523037"/>
                <a:gd name="connsiteX2107" fmla="*/ 3458758 w 12192001"/>
                <a:gd name="connsiteY2107" fmla="*/ 2951889 h 6523037"/>
                <a:gd name="connsiteX2108" fmla="*/ 3727772 w 12192001"/>
                <a:gd name="connsiteY2108" fmla="*/ 3220903 h 6523037"/>
                <a:gd name="connsiteX2109" fmla="*/ 3457360 w 12192001"/>
                <a:gd name="connsiteY2109" fmla="*/ 3492014 h 6523037"/>
                <a:gd name="connsiteX2110" fmla="*/ 3721484 w 12192001"/>
                <a:gd name="connsiteY2110" fmla="*/ 3492014 h 6523037"/>
                <a:gd name="connsiteX2111" fmla="*/ 3991896 w 12192001"/>
                <a:gd name="connsiteY2111" fmla="*/ 3221602 h 6523037"/>
                <a:gd name="connsiteX2112" fmla="*/ 3987005 w 12192001"/>
                <a:gd name="connsiteY2112" fmla="*/ 3216011 h 6523037"/>
                <a:gd name="connsiteX2113" fmla="*/ 3721484 w 12192001"/>
                <a:gd name="connsiteY2113" fmla="*/ 2951190 h 6523037"/>
                <a:gd name="connsiteX2114" fmla="*/ 4554381 w 12192001"/>
                <a:gd name="connsiteY2114" fmla="*/ 2949792 h 6523037"/>
                <a:gd name="connsiteX2115" fmla="*/ 4684346 w 12192001"/>
                <a:gd name="connsiteY2115" fmla="*/ 3079757 h 6523037"/>
                <a:gd name="connsiteX2116" fmla="*/ 4820732 w 12192001"/>
                <a:gd name="connsiteY2116" fmla="*/ 3216141 h 6523037"/>
                <a:gd name="connsiteX2117" fmla="*/ 5082144 w 12192001"/>
                <a:gd name="connsiteY2117" fmla="*/ 3216141 h 6523037"/>
                <a:gd name="connsiteX2118" fmla="*/ 4815107 w 12192001"/>
                <a:gd name="connsiteY2118" fmla="*/ 2949792 h 6523037"/>
                <a:gd name="connsiteX2119" fmla="*/ 5923425 w 12192001"/>
                <a:gd name="connsiteY2119" fmla="*/ 2949222 h 6523037"/>
                <a:gd name="connsiteX2120" fmla="*/ 6194536 w 12192001"/>
                <a:gd name="connsiteY2120" fmla="*/ 3218935 h 6523037"/>
                <a:gd name="connsiteX2121" fmla="*/ 6191742 w 12192001"/>
                <a:gd name="connsiteY2121" fmla="*/ 3221730 h 6523037"/>
                <a:gd name="connsiteX2122" fmla="*/ 6101604 w 12192001"/>
                <a:gd name="connsiteY2122" fmla="*/ 3312566 h 6523037"/>
                <a:gd name="connsiteX2123" fmla="*/ 5924124 w 12192001"/>
                <a:gd name="connsiteY2123" fmla="*/ 3490046 h 6523037"/>
                <a:gd name="connsiteX2124" fmla="*/ 6188247 w 12192001"/>
                <a:gd name="connsiteY2124" fmla="*/ 3490046 h 6523037"/>
                <a:gd name="connsiteX2125" fmla="*/ 6277687 w 12192001"/>
                <a:gd name="connsiteY2125" fmla="*/ 3400607 h 6523037"/>
                <a:gd name="connsiteX2126" fmla="*/ 6458659 w 12192001"/>
                <a:gd name="connsiteY2126" fmla="*/ 3219635 h 6523037"/>
                <a:gd name="connsiteX2127" fmla="*/ 6187548 w 12192001"/>
                <a:gd name="connsiteY2127" fmla="*/ 2949222 h 6523037"/>
                <a:gd name="connsiteX2128" fmla="*/ 5374915 w 12192001"/>
                <a:gd name="connsiteY2128" fmla="*/ 2949222 h 6523037"/>
                <a:gd name="connsiteX2129" fmla="*/ 5503483 w 12192001"/>
                <a:gd name="connsiteY2129" fmla="*/ 3077790 h 6523037"/>
                <a:gd name="connsiteX2130" fmla="*/ 5645327 w 12192001"/>
                <a:gd name="connsiteY2130" fmla="*/ 3219635 h 6523037"/>
                <a:gd name="connsiteX2131" fmla="*/ 5374915 w 12192001"/>
                <a:gd name="connsiteY2131" fmla="*/ 3490745 h 6523037"/>
                <a:gd name="connsiteX2132" fmla="*/ 5639038 w 12192001"/>
                <a:gd name="connsiteY2132" fmla="*/ 3490745 h 6523037"/>
                <a:gd name="connsiteX2133" fmla="*/ 5909450 w 12192001"/>
                <a:gd name="connsiteY2133" fmla="*/ 3219635 h 6523037"/>
                <a:gd name="connsiteX2134" fmla="*/ 5904559 w 12192001"/>
                <a:gd name="connsiteY2134" fmla="*/ 3214743 h 6523037"/>
                <a:gd name="connsiteX2135" fmla="*/ 5639038 w 12192001"/>
                <a:gd name="connsiteY2135" fmla="*/ 2949222 h 6523037"/>
                <a:gd name="connsiteX2136" fmla="*/ 4825009 w 12192001"/>
                <a:gd name="connsiteY2136" fmla="*/ 2949222 h 6523037"/>
                <a:gd name="connsiteX2137" fmla="*/ 5096119 w 12192001"/>
                <a:gd name="connsiteY2137" fmla="*/ 3218935 h 6523037"/>
                <a:gd name="connsiteX2138" fmla="*/ 5093323 w 12192001"/>
                <a:gd name="connsiteY2138" fmla="*/ 3221730 h 6523037"/>
                <a:gd name="connsiteX2139" fmla="*/ 5003186 w 12192001"/>
                <a:gd name="connsiteY2139" fmla="*/ 3312566 h 6523037"/>
                <a:gd name="connsiteX2140" fmla="*/ 4825707 w 12192001"/>
                <a:gd name="connsiteY2140" fmla="*/ 3490046 h 6523037"/>
                <a:gd name="connsiteX2141" fmla="*/ 5089830 w 12192001"/>
                <a:gd name="connsiteY2141" fmla="*/ 3490046 h 6523037"/>
                <a:gd name="connsiteX2142" fmla="*/ 5179268 w 12192001"/>
                <a:gd name="connsiteY2142" fmla="*/ 3400607 h 6523037"/>
                <a:gd name="connsiteX2143" fmla="*/ 5360242 w 12192001"/>
                <a:gd name="connsiteY2143" fmla="*/ 3219635 h 6523037"/>
                <a:gd name="connsiteX2144" fmla="*/ 5089132 w 12192001"/>
                <a:gd name="connsiteY2144" fmla="*/ 2949222 h 6523037"/>
                <a:gd name="connsiteX2145" fmla="*/ 7568257 w 12192001"/>
                <a:gd name="connsiteY2145" fmla="*/ 2948523 h 6523037"/>
                <a:gd name="connsiteX2146" fmla="*/ 7839368 w 12192001"/>
                <a:gd name="connsiteY2146" fmla="*/ 3218935 h 6523037"/>
                <a:gd name="connsiteX2147" fmla="*/ 7568956 w 12192001"/>
                <a:gd name="connsiteY2147" fmla="*/ 3490046 h 6523037"/>
                <a:gd name="connsiteX2148" fmla="*/ 7767398 w 12192001"/>
                <a:gd name="connsiteY2148" fmla="*/ 3490046 h 6523037"/>
                <a:gd name="connsiteX2149" fmla="*/ 7763904 w 12192001"/>
                <a:gd name="connsiteY2149" fmla="*/ 3497033 h 6523037"/>
                <a:gd name="connsiteX2150" fmla="*/ 7568956 w 12192001"/>
                <a:gd name="connsiteY2150" fmla="*/ 3497033 h 6523037"/>
                <a:gd name="connsiteX2151" fmla="*/ 7698921 w 12192001"/>
                <a:gd name="connsiteY2151" fmla="*/ 3626999 h 6523037"/>
                <a:gd name="connsiteX2152" fmla="*/ 7695428 w 12192001"/>
                <a:gd name="connsiteY2152" fmla="*/ 3633986 h 6523037"/>
                <a:gd name="connsiteX2153" fmla="*/ 7554981 w 12192001"/>
                <a:gd name="connsiteY2153" fmla="*/ 3493540 h 6523037"/>
                <a:gd name="connsiteX2154" fmla="*/ 7825393 w 12192001"/>
                <a:gd name="connsiteY2154" fmla="*/ 3222430 h 6523037"/>
                <a:gd name="connsiteX2155" fmla="*/ 7561270 w 12192001"/>
                <a:gd name="connsiteY2155" fmla="*/ 3222430 h 6523037"/>
                <a:gd name="connsiteX2156" fmla="*/ 7290858 w 12192001"/>
                <a:gd name="connsiteY2156" fmla="*/ 3493540 h 6523037"/>
                <a:gd name="connsiteX2157" fmla="*/ 7561969 w 12192001"/>
                <a:gd name="connsiteY2157" fmla="*/ 3763951 h 6523037"/>
                <a:gd name="connsiteX2158" fmla="*/ 7630445 w 12192001"/>
                <a:gd name="connsiteY2158" fmla="*/ 3763951 h 6523037"/>
                <a:gd name="connsiteX2159" fmla="*/ 7626952 w 12192001"/>
                <a:gd name="connsiteY2159" fmla="*/ 3770939 h 6523037"/>
                <a:gd name="connsiteX2160" fmla="*/ 7561969 w 12192001"/>
                <a:gd name="connsiteY2160" fmla="*/ 3770939 h 6523037"/>
                <a:gd name="connsiteX2161" fmla="*/ 7381694 w 12192001"/>
                <a:gd name="connsiteY2161" fmla="*/ 3951913 h 6523037"/>
                <a:gd name="connsiteX2162" fmla="*/ 7293423 w 12192001"/>
                <a:gd name="connsiteY2162" fmla="*/ 4040875 h 6523037"/>
                <a:gd name="connsiteX2163" fmla="*/ 7562857 w 12192001"/>
                <a:gd name="connsiteY2163" fmla="*/ 4309615 h 6523037"/>
                <a:gd name="connsiteX2164" fmla="*/ 7825583 w 12192001"/>
                <a:gd name="connsiteY2164" fmla="*/ 4309615 h 6523037"/>
                <a:gd name="connsiteX2165" fmla="*/ 7696316 w 12192001"/>
                <a:gd name="connsiteY2165" fmla="*/ 4180349 h 6523037"/>
                <a:gd name="connsiteX2166" fmla="*/ 7697015 w 12192001"/>
                <a:gd name="connsiteY2166" fmla="*/ 4179650 h 6523037"/>
                <a:gd name="connsiteX2167" fmla="*/ 7602269 w 12192001"/>
                <a:gd name="connsiteY2167" fmla="*/ 4085372 h 6523037"/>
                <a:gd name="connsiteX2168" fmla="*/ 7601098 w 12192001"/>
                <a:gd name="connsiteY2168" fmla="*/ 4085372 h 6523037"/>
                <a:gd name="connsiteX2169" fmla="*/ 7556379 w 12192001"/>
                <a:gd name="connsiteY2169" fmla="*/ 4040653 h 6523037"/>
                <a:gd name="connsiteX2170" fmla="*/ 7556851 w 12192001"/>
                <a:gd name="connsiteY2170" fmla="*/ 4040180 h 6523037"/>
                <a:gd name="connsiteX2171" fmla="*/ 7555870 w 12192001"/>
                <a:gd name="connsiteY2171" fmla="*/ 4039203 h 6523037"/>
                <a:gd name="connsiteX2172" fmla="*/ 7730554 w 12192001"/>
                <a:gd name="connsiteY2172" fmla="*/ 3863819 h 6523037"/>
                <a:gd name="connsiteX2173" fmla="*/ 7732757 w 12192001"/>
                <a:gd name="connsiteY2173" fmla="*/ 3863819 h 6523037"/>
                <a:gd name="connsiteX2174" fmla="*/ 7826092 w 12192001"/>
                <a:gd name="connsiteY2174" fmla="*/ 3770241 h 6523037"/>
                <a:gd name="connsiteX2175" fmla="*/ 7627649 w 12192001"/>
                <a:gd name="connsiteY2175" fmla="*/ 3770241 h 6523037"/>
                <a:gd name="connsiteX2176" fmla="*/ 7631144 w 12192001"/>
                <a:gd name="connsiteY2176" fmla="*/ 3763253 h 6523037"/>
                <a:gd name="connsiteX2177" fmla="*/ 7826092 w 12192001"/>
                <a:gd name="connsiteY2177" fmla="*/ 3763253 h 6523037"/>
                <a:gd name="connsiteX2178" fmla="*/ 7696127 w 12192001"/>
                <a:gd name="connsiteY2178" fmla="*/ 3633288 h 6523037"/>
                <a:gd name="connsiteX2179" fmla="*/ 7699620 w 12192001"/>
                <a:gd name="connsiteY2179" fmla="*/ 3626301 h 6523037"/>
                <a:gd name="connsiteX2180" fmla="*/ 7840067 w 12192001"/>
                <a:gd name="connsiteY2180" fmla="*/ 3766747 h 6523037"/>
                <a:gd name="connsiteX2181" fmla="*/ 7572494 w 12192001"/>
                <a:gd name="connsiteY2181" fmla="*/ 4035011 h 6523037"/>
                <a:gd name="connsiteX2182" fmla="*/ 7833269 w 12192001"/>
                <a:gd name="connsiteY2182" fmla="*/ 4035011 h 6523037"/>
                <a:gd name="connsiteX2183" fmla="*/ 7922707 w 12192001"/>
                <a:gd name="connsiteY2183" fmla="*/ 3945572 h 6523037"/>
                <a:gd name="connsiteX2184" fmla="*/ 8004460 w 12192001"/>
                <a:gd name="connsiteY2184" fmla="*/ 3863819 h 6523037"/>
                <a:gd name="connsiteX2185" fmla="*/ 8007368 w 12192001"/>
                <a:gd name="connsiteY2185" fmla="*/ 3863819 h 6523037"/>
                <a:gd name="connsiteX2186" fmla="*/ 8104190 w 12192001"/>
                <a:gd name="connsiteY2186" fmla="*/ 3766747 h 6523037"/>
                <a:gd name="connsiteX2187" fmla="*/ 7833079 w 12192001"/>
                <a:gd name="connsiteY2187" fmla="*/ 3497033 h 6523037"/>
                <a:gd name="connsiteX2188" fmla="*/ 7764603 w 12192001"/>
                <a:gd name="connsiteY2188" fmla="*/ 3497033 h 6523037"/>
                <a:gd name="connsiteX2189" fmla="*/ 7768096 w 12192001"/>
                <a:gd name="connsiteY2189" fmla="*/ 3490046 h 6523037"/>
                <a:gd name="connsiteX2190" fmla="*/ 7833079 w 12192001"/>
                <a:gd name="connsiteY2190" fmla="*/ 3490046 h 6523037"/>
                <a:gd name="connsiteX2191" fmla="*/ 8103491 w 12192001"/>
                <a:gd name="connsiteY2191" fmla="*/ 3218935 h 6523037"/>
                <a:gd name="connsiteX2192" fmla="*/ 7969333 w 12192001"/>
                <a:gd name="connsiteY2192" fmla="*/ 3085476 h 6523037"/>
                <a:gd name="connsiteX2193" fmla="*/ 7832381 w 12192001"/>
                <a:gd name="connsiteY2193" fmla="*/ 2948523 h 6523037"/>
                <a:gd name="connsiteX2194" fmla="*/ 6471935 w 12192001"/>
                <a:gd name="connsiteY2194" fmla="*/ 2947824 h 6523037"/>
                <a:gd name="connsiteX2195" fmla="*/ 6601902 w 12192001"/>
                <a:gd name="connsiteY2195" fmla="*/ 3077790 h 6523037"/>
                <a:gd name="connsiteX2196" fmla="*/ 6743046 w 12192001"/>
                <a:gd name="connsiteY2196" fmla="*/ 3218236 h 6523037"/>
                <a:gd name="connsiteX2197" fmla="*/ 6472634 w 12192001"/>
                <a:gd name="connsiteY2197" fmla="*/ 3489347 h 6523037"/>
                <a:gd name="connsiteX2198" fmla="*/ 6736759 w 12192001"/>
                <a:gd name="connsiteY2198" fmla="*/ 3489347 h 6523037"/>
                <a:gd name="connsiteX2199" fmla="*/ 7007170 w 12192001"/>
                <a:gd name="connsiteY2199" fmla="*/ 3218236 h 6523037"/>
                <a:gd name="connsiteX2200" fmla="*/ 6736059 w 12192001"/>
                <a:gd name="connsiteY2200" fmla="*/ 2947824 h 6523037"/>
                <a:gd name="connsiteX2201" fmla="*/ 7020446 w 12192001"/>
                <a:gd name="connsiteY2201" fmla="*/ 2947127 h 6523037"/>
                <a:gd name="connsiteX2202" fmla="*/ 7291557 w 12192001"/>
                <a:gd name="connsiteY2202" fmla="*/ 3217539 h 6523037"/>
                <a:gd name="connsiteX2203" fmla="*/ 7021145 w 12192001"/>
                <a:gd name="connsiteY2203" fmla="*/ 3488648 h 6523037"/>
                <a:gd name="connsiteX2204" fmla="*/ 7285268 w 12192001"/>
                <a:gd name="connsiteY2204" fmla="*/ 3488648 h 6523037"/>
                <a:gd name="connsiteX2205" fmla="*/ 7555680 w 12192001"/>
                <a:gd name="connsiteY2205" fmla="*/ 3217539 h 6523037"/>
                <a:gd name="connsiteX2206" fmla="*/ 7284569 w 12192001"/>
                <a:gd name="connsiteY2206" fmla="*/ 2947127 h 6523037"/>
                <a:gd name="connsiteX2207" fmla="*/ 8665977 w 12192001"/>
                <a:gd name="connsiteY2207" fmla="*/ 2946428 h 6523037"/>
                <a:gd name="connsiteX2208" fmla="*/ 8935690 w 12192001"/>
                <a:gd name="connsiteY2208" fmla="*/ 3215442 h 6523037"/>
                <a:gd name="connsiteX2209" fmla="*/ 8932895 w 12192001"/>
                <a:gd name="connsiteY2209" fmla="*/ 3218236 h 6523037"/>
                <a:gd name="connsiteX2210" fmla="*/ 8842758 w 12192001"/>
                <a:gd name="connsiteY2210" fmla="*/ 3309073 h 6523037"/>
                <a:gd name="connsiteX2211" fmla="*/ 8842058 w 12192001"/>
                <a:gd name="connsiteY2211" fmla="*/ 3309073 h 6523037"/>
                <a:gd name="connsiteX2212" fmla="*/ 8665278 w 12192001"/>
                <a:gd name="connsiteY2212" fmla="*/ 3486553 h 6523037"/>
                <a:gd name="connsiteX2213" fmla="*/ 8929401 w 12192001"/>
                <a:gd name="connsiteY2213" fmla="*/ 3486553 h 6523037"/>
                <a:gd name="connsiteX2214" fmla="*/ 9018840 w 12192001"/>
                <a:gd name="connsiteY2214" fmla="*/ 3397114 h 6523037"/>
                <a:gd name="connsiteX2215" fmla="*/ 9019538 w 12192001"/>
                <a:gd name="connsiteY2215" fmla="*/ 3397114 h 6523037"/>
                <a:gd name="connsiteX2216" fmla="*/ 9201211 w 12192001"/>
                <a:gd name="connsiteY2216" fmla="*/ 3216840 h 6523037"/>
                <a:gd name="connsiteX2217" fmla="*/ 8930100 w 12192001"/>
                <a:gd name="connsiteY2217" fmla="*/ 2946428 h 6523037"/>
                <a:gd name="connsiteX2218" fmla="*/ 8117466 w 12192001"/>
                <a:gd name="connsiteY2218" fmla="*/ 2946428 h 6523037"/>
                <a:gd name="connsiteX2219" fmla="*/ 8118165 w 12192001"/>
                <a:gd name="connsiteY2219" fmla="*/ 2947127 h 6523037"/>
                <a:gd name="connsiteX2220" fmla="*/ 8118864 w 12192001"/>
                <a:gd name="connsiteY2220" fmla="*/ 2947127 h 6523037"/>
                <a:gd name="connsiteX2221" fmla="*/ 8387878 w 12192001"/>
                <a:gd name="connsiteY2221" fmla="*/ 3216141 h 6523037"/>
                <a:gd name="connsiteX2222" fmla="*/ 8117466 w 12192001"/>
                <a:gd name="connsiteY2222" fmla="*/ 3487252 h 6523037"/>
                <a:gd name="connsiteX2223" fmla="*/ 8381590 w 12192001"/>
                <a:gd name="connsiteY2223" fmla="*/ 3487252 h 6523037"/>
                <a:gd name="connsiteX2224" fmla="*/ 8652002 w 12192001"/>
                <a:gd name="connsiteY2224" fmla="*/ 3216840 h 6523037"/>
                <a:gd name="connsiteX2225" fmla="*/ 8647111 w 12192001"/>
                <a:gd name="connsiteY2225" fmla="*/ 3211249 h 6523037"/>
                <a:gd name="connsiteX2226" fmla="*/ 8381590 w 12192001"/>
                <a:gd name="connsiteY2226" fmla="*/ 2946428 h 6523037"/>
                <a:gd name="connsiteX2227" fmla="*/ 10583842 w 12192001"/>
                <a:gd name="connsiteY2227" fmla="*/ 2946047 h 6523037"/>
                <a:gd name="connsiteX2228" fmla="*/ 10854953 w 12192001"/>
                <a:gd name="connsiteY2228" fmla="*/ 3215760 h 6523037"/>
                <a:gd name="connsiteX2229" fmla="*/ 10852159 w 12192001"/>
                <a:gd name="connsiteY2229" fmla="*/ 3218555 h 6523037"/>
                <a:gd name="connsiteX2230" fmla="*/ 10762021 w 12192001"/>
                <a:gd name="connsiteY2230" fmla="*/ 3309391 h 6523037"/>
                <a:gd name="connsiteX2231" fmla="*/ 10584541 w 12192001"/>
                <a:gd name="connsiteY2231" fmla="*/ 3486871 h 6523037"/>
                <a:gd name="connsiteX2232" fmla="*/ 10848664 w 12192001"/>
                <a:gd name="connsiteY2232" fmla="*/ 3486871 h 6523037"/>
                <a:gd name="connsiteX2233" fmla="*/ 10938103 w 12192001"/>
                <a:gd name="connsiteY2233" fmla="*/ 3397432 h 6523037"/>
                <a:gd name="connsiteX2234" fmla="*/ 11119076 w 12192001"/>
                <a:gd name="connsiteY2234" fmla="*/ 3216459 h 6523037"/>
                <a:gd name="connsiteX2235" fmla="*/ 10847965 w 12192001"/>
                <a:gd name="connsiteY2235" fmla="*/ 2946047 h 6523037"/>
                <a:gd name="connsiteX2236" fmla="*/ 10035332 w 12192001"/>
                <a:gd name="connsiteY2236" fmla="*/ 2946047 h 6523037"/>
                <a:gd name="connsiteX2237" fmla="*/ 10163900 w 12192001"/>
                <a:gd name="connsiteY2237" fmla="*/ 3074615 h 6523037"/>
                <a:gd name="connsiteX2238" fmla="*/ 10305744 w 12192001"/>
                <a:gd name="connsiteY2238" fmla="*/ 3216459 h 6523037"/>
                <a:gd name="connsiteX2239" fmla="*/ 10035332 w 12192001"/>
                <a:gd name="connsiteY2239" fmla="*/ 3487570 h 6523037"/>
                <a:gd name="connsiteX2240" fmla="*/ 10299455 w 12192001"/>
                <a:gd name="connsiteY2240" fmla="*/ 3487570 h 6523037"/>
                <a:gd name="connsiteX2241" fmla="*/ 10569867 w 12192001"/>
                <a:gd name="connsiteY2241" fmla="*/ 3216459 h 6523037"/>
                <a:gd name="connsiteX2242" fmla="*/ 10564976 w 12192001"/>
                <a:gd name="connsiteY2242" fmla="*/ 3211568 h 6523037"/>
                <a:gd name="connsiteX2243" fmla="*/ 10299455 w 12192001"/>
                <a:gd name="connsiteY2243" fmla="*/ 2946047 h 6523037"/>
                <a:gd name="connsiteX2244" fmla="*/ 9485425 w 12192001"/>
                <a:gd name="connsiteY2244" fmla="*/ 2946047 h 6523037"/>
                <a:gd name="connsiteX2245" fmla="*/ 9756536 w 12192001"/>
                <a:gd name="connsiteY2245" fmla="*/ 3215760 h 6523037"/>
                <a:gd name="connsiteX2246" fmla="*/ 9753740 w 12192001"/>
                <a:gd name="connsiteY2246" fmla="*/ 3218555 h 6523037"/>
                <a:gd name="connsiteX2247" fmla="*/ 9663602 w 12192001"/>
                <a:gd name="connsiteY2247" fmla="*/ 3309391 h 6523037"/>
                <a:gd name="connsiteX2248" fmla="*/ 9486124 w 12192001"/>
                <a:gd name="connsiteY2248" fmla="*/ 3486871 h 6523037"/>
                <a:gd name="connsiteX2249" fmla="*/ 9750247 w 12192001"/>
                <a:gd name="connsiteY2249" fmla="*/ 3486871 h 6523037"/>
                <a:gd name="connsiteX2250" fmla="*/ 9839685 w 12192001"/>
                <a:gd name="connsiteY2250" fmla="*/ 3397432 h 6523037"/>
                <a:gd name="connsiteX2251" fmla="*/ 10020659 w 12192001"/>
                <a:gd name="connsiteY2251" fmla="*/ 3216459 h 6523037"/>
                <a:gd name="connsiteX2252" fmla="*/ 9749548 w 12192001"/>
                <a:gd name="connsiteY2252" fmla="*/ 2946047 h 6523037"/>
                <a:gd name="connsiteX2253" fmla="*/ 9214487 w 12192001"/>
                <a:gd name="connsiteY2253" fmla="*/ 2945031 h 6523037"/>
                <a:gd name="connsiteX2254" fmla="*/ 9344452 w 12192001"/>
                <a:gd name="connsiteY2254" fmla="*/ 3074995 h 6523037"/>
                <a:gd name="connsiteX2255" fmla="*/ 9482424 w 12192001"/>
                <a:gd name="connsiteY2255" fmla="*/ 3212966 h 6523037"/>
                <a:gd name="connsiteX2256" fmla="*/ 9742561 w 12192001"/>
                <a:gd name="connsiteY2256" fmla="*/ 3212966 h 6523037"/>
                <a:gd name="connsiteX2257" fmla="*/ 9473932 w 12192001"/>
                <a:gd name="connsiteY2257" fmla="*/ 2945031 h 6523037"/>
                <a:gd name="connsiteX2258" fmla="*/ 11132352 w 12192001"/>
                <a:gd name="connsiteY2258" fmla="*/ 2944649 h 6523037"/>
                <a:gd name="connsiteX2259" fmla="*/ 11262318 w 12192001"/>
                <a:gd name="connsiteY2259" fmla="*/ 3074615 h 6523037"/>
                <a:gd name="connsiteX2260" fmla="*/ 11403463 w 12192001"/>
                <a:gd name="connsiteY2260" fmla="*/ 3215061 h 6523037"/>
                <a:gd name="connsiteX2261" fmla="*/ 11133051 w 12192001"/>
                <a:gd name="connsiteY2261" fmla="*/ 3486172 h 6523037"/>
                <a:gd name="connsiteX2262" fmla="*/ 11397175 w 12192001"/>
                <a:gd name="connsiteY2262" fmla="*/ 3486172 h 6523037"/>
                <a:gd name="connsiteX2263" fmla="*/ 11667587 w 12192001"/>
                <a:gd name="connsiteY2263" fmla="*/ 3215061 h 6523037"/>
                <a:gd name="connsiteX2264" fmla="*/ 11396476 w 12192001"/>
                <a:gd name="connsiteY2264" fmla="*/ 2944649 h 6523037"/>
                <a:gd name="connsiteX2265" fmla="*/ 1255633 w 12192001"/>
                <a:gd name="connsiteY2265" fmla="*/ 2679380 h 6523037"/>
                <a:gd name="connsiteX2266" fmla="*/ 985221 w 12192001"/>
                <a:gd name="connsiteY2266" fmla="*/ 2950491 h 6523037"/>
                <a:gd name="connsiteX2267" fmla="*/ 1256332 w 12192001"/>
                <a:gd name="connsiteY2267" fmla="*/ 3220903 h 6523037"/>
                <a:gd name="connsiteX2268" fmla="*/ 1520455 w 12192001"/>
                <a:gd name="connsiteY2268" fmla="*/ 3220903 h 6523037"/>
                <a:gd name="connsiteX2269" fmla="*/ 1249344 w 12192001"/>
                <a:gd name="connsiteY2269" fmla="*/ 2950491 h 6523037"/>
                <a:gd name="connsiteX2270" fmla="*/ 1519757 w 12192001"/>
                <a:gd name="connsiteY2270" fmla="*/ 2679380 h 6523037"/>
                <a:gd name="connsiteX2271" fmla="*/ 1804143 w 12192001"/>
                <a:gd name="connsiteY2271" fmla="*/ 2678681 h 6523037"/>
                <a:gd name="connsiteX2272" fmla="*/ 1533731 w 12192001"/>
                <a:gd name="connsiteY2272" fmla="*/ 2949792 h 6523037"/>
                <a:gd name="connsiteX2273" fmla="*/ 1805541 w 12192001"/>
                <a:gd name="connsiteY2273" fmla="*/ 3220204 h 6523037"/>
                <a:gd name="connsiteX2274" fmla="*/ 2068965 w 12192001"/>
                <a:gd name="connsiteY2274" fmla="*/ 3220204 h 6523037"/>
                <a:gd name="connsiteX2275" fmla="*/ 1938301 w 12192001"/>
                <a:gd name="connsiteY2275" fmla="*/ 3090238 h 6523037"/>
                <a:gd name="connsiteX2276" fmla="*/ 1797854 w 12192001"/>
                <a:gd name="connsiteY2276" fmla="*/ 2949792 h 6523037"/>
                <a:gd name="connsiteX2277" fmla="*/ 2068266 w 12192001"/>
                <a:gd name="connsiteY2277" fmla="*/ 2678681 h 6523037"/>
                <a:gd name="connsiteX2278" fmla="*/ 705027 w 12192001"/>
                <a:gd name="connsiteY2278" fmla="*/ 2678681 h 6523037"/>
                <a:gd name="connsiteX2279" fmla="*/ 434615 w 12192001"/>
                <a:gd name="connsiteY2279" fmla="*/ 2949792 h 6523037"/>
                <a:gd name="connsiteX2280" fmla="*/ 705726 w 12192001"/>
                <a:gd name="connsiteY2280" fmla="*/ 3220204 h 6523037"/>
                <a:gd name="connsiteX2281" fmla="*/ 774202 w 12192001"/>
                <a:gd name="connsiteY2281" fmla="*/ 3220204 h 6523037"/>
                <a:gd name="connsiteX2282" fmla="*/ 773503 w 12192001"/>
                <a:gd name="connsiteY2282" fmla="*/ 3221602 h 6523037"/>
                <a:gd name="connsiteX2283" fmla="*/ 971247 w 12192001"/>
                <a:gd name="connsiteY2283" fmla="*/ 3221602 h 6523037"/>
                <a:gd name="connsiteX2284" fmla="*/ 839884 w 12192001"/>
                <a:gd name="connsiteY2284" fmla="*/ 3090238 h 6523037"/>
                <a:gd name="connsiteX2285" fmla="*/ 699437 w 12192001"/>
                <a:gd name="connsiteY2285" fmla="*/ 2949792 h 6523037"/>
                <a:gd name="connsiteX2286" fmla="*/ 968451 w 12192001"/>
                <a:gd name="connsiteY2286" fmla="*/ 2680079 h 6523037"/>
                <a:gd name="connsiteX2287" fmla="*/ 772105 w 12192001"/>
                <a:gd name="connsiteY2287" fmla="*/ 2680079 h 6523037"/>
                <a:gd name="connsiteX2288" fmla="*/ 772804 w 12192001"/>
                <a:gd name="connsiteY2288" fmla="*/ 2678681 h 6523037"/>
                <a:gd name="connsiteX2289" fmla="*/ 2352653 w 12192001"/>
                <a:gd name="connsiteY2289" fmla="*/ 2677982 h 6523037"/>
                <a:gd name="connsiteX2290" fmla="*/ 2082241 w 12192001"/>
                <a:gd name="connsiteY2290" fmla="*/ 2949093 h 6523037"/>
                <a:gd name="connsiteX2291" fmla="*/ 2353352 w 12192001"/>
                <a:gd name="connsiteY2291" fmla="*/ 3219505 h 6523037"/>
                <a:gd name="connsiteX2292" fmla="*/ 2617476 w 12192001"/>
                <a:gd name="connsiteY2292" fmla="*/ 3219505 h 6523037"/>
                <a:gd name="connsiteX2293" fmla="*/ 2346365 w 12192001"/>
                <a:gd name="connsiteY2293" fmla="*/ 2949093 h 6523037"/>
                <a:gd name="connsiteX2294" fmla="*/ 2616777 w 12192001"/>
                <a:gd name="connsiteY2294" fmla="*/ 2677982 h 6523037"/>
                <a:gd name="connsiteX2295" fmla="*/ 3998184 w 12192001"/>
                <a:gd name="connsiteY2295" fmla="*/ 2675886 h 6523037"/>
                <a:gd name="connsiteX2296" fmla="*/ 3727772 w 12192001"/>
                <a:gd name="connsiteY2296" fmla="*/ 2946997 h 6523037"/>
                <a:gd name="connsiteX2297" fmla="*/ 3998883 w 12192001"/>
                <a:gd name="connsiteY2297" fmla="*/ 3217408 h 6523037"/>
                <a:gd name="connsiteX2298" fmla="*/ 4263007 w 12192001"/>
                <a:gd name="connsiteY2298" fmla="*/ 3217408 h 6523037"/>
                <a:gd name="connsiteX2299" fmla="*/ 3991896 w 12192001"/>
                <a:gd name="connsiteY2299" fmla="*/ 2946997 h 6523037"/>
                <a:gd name="connsiteX2300" fmla="*/ 4262309 w 12192001"/>
                <a:gd name="connsiteY2300" fmla="*/ 2675886 h 6523037"/>
                <a:gd name="connsiteX2301" fmla="*/ 4546696 w 12192001"/>
                <a:gd name="connsiteY2301" fmla="*/ 2675187 h 6523037"/>
                <a:gd name="connsiteX2302" fmla="*/ 4276283 w 12192001"/>
                <a:gd name="connsiteY2302" fmla="*/ 2946297 h 6523037"/>
                <a:gd name="connsiteX2303" fmla="*/ 4547394 w 12192001"/>
                <a:gd name="connsiteY2303" fmla="*/ 3216709 h 6523037"/>
                <a:gd name="connsiteX2304" fmla="*/ 4809087 w 12192001"/>
                <a:gd name="connsiteY2304" fmla="*/ 3216709 h 6523037"/>
                <a:gd name="connsiteX2305" fmla="*/ 4806841 w 12192001"/>
                <a:gd name="connsiteY2305" fmla="*/ 3214743 h 6523037"/>
                <a:gd name="connsiteX2306" fmla="*/ 4660106 w 12192001"/>
                <a:gd name="connsiteY2306" fmla="*/ 3068707 h 6523037"/>
                <a:gd name="connsiteX2307" fmla="*/ 4660106 w 12192001"/>
                <a:gd name="connsiteY2307" fmla="*/ 3065999 h 6523037"/>
                <a:gd name="connsiteX2308" fmla="*/ 4540406 w 12192001"/>
                <a:gd name="connsiteY2308" fmla="*/ 2946297 h 6523037"/>
                <a:gd name="connsiteX2309" fmla="*/ 4660106 w 12192001"/>
                <a:gd name="connsiteY2309" fmla="*/ 2826288 h 6523037"/>
                <a:gd name="connsiteX2310" fmla="*/ 4660106 w 12192001"/>
                <a:gd name="connsiteY2310" fmla="*/ 2822050 h 6523037"/>
                <a:gd name="connsiteX2311" fmla="*/ 4806970 w 12192001"/>
                <a:gd name="connsiteY2311" fmla="*/ 2675187 h 6523037"/>
                <a:gd name="connsiteX2312" fmla="*/ 5915740 w 12192001"/>
                <a:gd name="connsiteY2312" fmla="*/ 2674618 h 6523037"/>
                <a:gd name="connsiteX2313" fmla="*/ 5645327 w 12192001"/>
                <a:gd name="connsiteY2313" fmla="*/ 2945729 h 6523037"/>
                <a:gd name="connsiteX2314" fmla="*/ 5916438 w 12192001"/>
                <a:gd name="connsiteY2314" fmla="*/ 3216141 h 6523037"/>
                <a:gd name="connsiteX2315" fmla="*/ 6180561 w 12192001"/>
                <a:gd name="connsiteY2315" fmla="*/ 3216141 h 6523037"/>
                <a:gd name="connsiteX2316" fmla="*/ 5909450 w 12192001"/>
                <a:gd name="connsiteY2316" fmla="*/ 2945729 h 6523037"/>
                <a:gd name="connsiteX2317" fmla="*/ 6179863 w 12192001"/>
                <a:gd name="connsiteY2317" fmla="*/ 2674618 h 6523037"/>
                <a:gd name="connsiteX2318" fmla="*/ 4821179 w 12192001"/>
                <a:gd name="connsiteY2318" fmla="*/ 2674618 h 6523037"/>
                <a:gd name="connsiteX2319" fmla="*/ 4554381 w 12192001"/>
                <a:gd name="connsiteY2319" fmla="*/ 2942106 h 6523037"/>
                <a:gd name="connsiteX2320" fmla="*/ 4814648 w 12192001"/>
                <a:gd name="connsiteY2320" fmla="*/ 2942106 h 6523037"/>
                <a:gd name="connsiteX2321" fmla="*/ 5081446 w 12192001"/>
                <a:gd name="connsiteY2321" fmla="*/ 2674618 h 6523037"/>
                <a:gd name="connsiteX2322" fmla="*/ 6464250 w 12192001"/>
                <a:gd name="connsiteY2322" fmla="*/ 2673919 h 6523037"/>
                <a:gd name="connsiteX2323" fmla="*/ 6193838 w 12192001"/>
                <a:gd name="connsiteY2323" fmla="*/ 2945031 h 6523037"/>
                <a:gd name="connsiteX2324" fmla="*/ 6465647 w 12192001"/>
                <a:gd name="connsiteY2324" fmla="*/ 3215442 h 6523037"/>
                <a:gd name="connsiteX2325" fmla="*/ 6729071 w 12192001"/>
                <a:gd name="connsiteY2325" fmla="*/ 3215442 h 6523037"/>
                <a:gd name="connsiteX2326" fmla="*/ 6598407 w 12192001"/>
                <a:gd name="connsiteY2326" fmla="*/ 3085476 h 6523037"/>
                <a:gd name="connsiteX2327" fmla="*/ 6457961 w 12192001"/>
                <a:gd name="connsiteY2327" fmla="*/ 2945031 h 6523037"/>
                <a:gd name="connsiteX2328" fmla="*/ 6728373 w 12192001"/>
                <a:gd name="connsiteY2328" fmla="*/ 2673919 h 6523037"/>
                <a:gd name="connsiteX2329" fmla="*/ 5365133 w 12192001"/>
                <a:gd name="connsiteY2329" fmla="*/ 2673919 h 6523037"/>
                <a:gd name="connsiteX2330" fmla="*/ 5094721 w 12192001"/>
                <a:gd name="connsiteY2330" fmla="*/ 2945031 h 6523037"/>
                <a:gd name="connsiteX2331" fmla="*/ 5365832 w 12192001"/>
                <a:gd name="connsiteY2331" fmla="*/ 3215442 h 6523037"/>
                <a:gd name="connsiteX2332" fmla="*/ 5434309 w 12192001"/>
                <a:gd name="connsiteY2332" fmla="*/ 3215442 h 6523037"/>
                <a:gd name="connsiteX2333" fmla="*/ 5433609 w 12192001"/>
                <a:gd name="connsiteY2333" fmla="*/ 3216840 h 6523037"/>
                <a:gd name="connsiteX2334" fmla="*/ 5631353 w 12192001"/>
                <a:gd name="connsiteY2334" fmla="*/ 3216840 h 6523037"/>
                <a:gd name="connsiteX2335" fmla="*/ 5499990 w 12192001"/>
                <a:gd name="connsiteY2335" fmla="*/ 3085476 h 6523037"/>
                <a:gd name="connsiteX2336" fmla="*/ 5359544 w 12192001"/>
                <a:gd name="connsiteY2336" fmla="*/ 2945031 h 6523037"/>
                <a:gd name="connsiteX2337" fmla="*/ 5628558 w 12192001"/>
                <a:gd name="connsiteY2337" fmla="*/ 2675317 h 6523037"/>
                <a:gd name="connsiteX2338" fmla="*/ 5432211 w 12192001"/>
                <a:gd name="connsiteY2338" fmla="*/ 2675317 h 6523037"/>
                <a:gd name="connsiteX2339" fmla="*/ 5432910 w 12192001"/>
                <a:gd name="connsiteY2339" fmla="*/ 2673919 h 6523037"/>
                <a:gd name="connsiteX2340" fmla="*/ 7012759 w 12192001"/>
                <a:gd name="connsiteY2340" fmla="*/ 2673220 h 6523037"/>
                <a:gd name="connsiteX2341" fmla="*/ 6742348 w 12192001"/>
                <a:gd name="connsiteY2341" fmla="*/ 2944331 h 6523037"/>
                <a:gd name="connsiteX2342" fmla="*/ 7013458 w 12192001"/>
                <a:gd name="connsiteY2342" fmla="*/ 3214743 h 6523037"/>
                <a:gd name="connsiteX2343" fmla="*/ 7277582 w 12192001"/>
                <a:gd name="connsiteY2343" fmla="*/ 3214743 h 6523037"/>
                <a:gd name="connsiteX2344" fmla="*/ 7006471 w 12192001"/>
                <a:gd name="connsiteY2344" fmla="*/ 2944331 h 6523037"/>
                <a:gd name="connsiteX2345" fmla="*/ 7276883 w 12192001"/>
                <a:gd name="connsiteY2345" fmla="*/ 2673220 h 6523037"/>
                <a:gd name="connsiteX2346" fmla="*/ 10576156 w 12192001"/>
                <a:gd name="connsiteY2346" fmla="*/ 2671443 h 6523037"/>
                <a:gd name="connsiteX2347" fmla="*/ 10305744 w 12192001"/>
                <a:gd name="connsiteY2347" fmla="*/ 2942554 h 6523037"/>
                <a:gd name="connsiteX2348" fmla="*/ 10576855 w 12192001"/>
                <a:gd name="connsiteY2348" fmla="*/ 3212966 h 6523037"/>
                <a:gd name="connsiteX2349" fmla="*/ 10840978 w 12192001"/>
                <a:gd name="connsiteY2349" fmla="*/ 3212966 h 6523037"/>
                <a:gd name="connsiteX2350" fmla="*/ 10569867 w 12192001"/>
                <a:gd name="connsiteY2350" fmla="*/ 2942554 h 6523037"/>
                <a:gd name="connsiteX2351" fmla="*/ 10840280 w 12192001"/>
                <a:gd name="connsiteY2351" fmla="*/ 2671443 h 6523037"/>
                <a:gd name="connsiteX2352" fmla="*/ 9479701 w 12192001"/>
                <a:gd name="connsiteY2352" fmla="*/ 2671443 h 6523037"/>
                <a:gd name="connsiteX2353" fmla="*/ 9214487 w 12192001"/>
                <a:gd name="connsiteY2353" fmla="*/ 2937344 h 6523037"/>
                <a:gd name="connsiteX2354" fmla="*/ 9476647 w 12192001"/>
                <a:gd name="connsiteY2354" fmla="*/ 2937344 h 6523037"/>
                <a:gd name="connsiteX2355" fmla="*/ 9741862 w 12192001"/>
                <a:gd name="connsiteY2355" fmla="*/ 2671443 h 6523037"/>
                <a:gd name="connsiteX2356" fmla="*/ 8658290 w 12192001"/>
                <a:gd name="connsiteY2356" fmla="*/ 2671124 h 6523037"/>
                <a:gd name="connsiteX2357" fmla="*/ 8387878 w 12192001"/>
                <a:gd name="connsiteY2357" fmla="*/ 2942235 h 6523037"/>
                <a:gd name="connsiteX2358" fmla="*/ 8658989 w 12192001"/>
                <a:gd name="connsiteY2358" fmla="*/ 3212646 h 6523037"/>
                <a:gd name="connsiteX2359" fmla="*/ 8923113 w 12192001"/>
                <a:gd name="connsiteY2359" fmla="*/ 3212646 h 6523037"/>
                <a:gd name="connsiteX2360" fmla="*/ 8652002 w 12192001"/>
                <a:gd name="connsiteY2360" fmla="*/ 2942235 h 6523037"/>
                <a:gd name="connsiteX2361" fmla="*/ 8922414 w 12192001"/>
                <a:gd name="connsiteY2361" fmla="*/ 2671124 h 6523037"/>
                <a:gd name="connsiteX2362" fmla="*/ 11124666 w 12192001"/>
                <a:gd name="connsiteY2362" fmla="*/ 2670744 h 6523037"/>
                <a:gd name="connsiteX2363" fmla="*/ 10854254 w 12192001"/>
                <a:gd name="connsiteY2363" fmla="*/ 2941855 h 6523037"/>
                <a:gd name="connsiteX2364" fmla="*/ 11126064 w 12192001"/>
                <a:gd name="connsiteY2364" fmla="*/ 3212267 h 6523037"/>
                <a:gd name="connsiteX2365" fmla="*/ 11389488 w 12192001"/>
                <a:gd name="connsiteY2365" fmla="*/ 3212267 h 6523037"/>
                <a:gd name="connsiteX2366" fmla="*/ 11258824 w 12192001"/>
                <a:gd name="connsiteY2366" fmla="*/ 3082301 h 6523037"/>
                <a:gd name="connsiteX2367" fmla="*/ 11118377 w 12192001"/>
                <a:gd name="connsiteY2367" fmla="*/ 2941855 h 6523037"/>
                <a:gd name="connsiteX2368" fmla="*/ 11388789 w 12192001"/>
                <a:gd name="connsiteY2368" fmla="*/ 2670744 h 6523037"/>
                <a:gd name="connsiteX2369" fmla="*/ 10025550 w 12192001"/>
                <a:gd name="connsiteY2369" fmla="*/ 2670744 h 6523037"/>
                <a:gd name="connsiteX2370" fmla="*/ 9755138 w 12192001"/>
                <a:gd name="connsiteY2370" fmla="*/ 2941855 h 6523037"/>
                <a:gd name="connsiteX2371" fmla="*/ 10026249 w 12192001"/>
                <a:gd name="connsiteY2371" fmla="*/ 3212267 h 6523037"/>
                <a:gd name="connsiteX2372" fmla="*/ 10094725 w 12192001"/>
                <a:gd name="connsiteY2372" fmla="*/ 3212267 h 6523037"/>
                <a:gd name="connsiteX2373" fmla="*/ 10094026 w 12192001"/>
                <a:gd name="connsiteY2373" fmla="*/ 3213665 h 6523037"/>
                <a:gd name="connsiteX2374" fmla="*/ 10291770 w 12192001"/>
                <a:gd name="connsiteY2374" fmla="*/ 3213665 h 6523037"/>
                <a:gd name="connsiteX2375" fmla="*/ 10160407 w 12192001"/>
                <a:gd name="connsiteY2375" fmla="*/ 3082301 h 6523037"/>
                <a:gd name="connsiteX2376" fmla="*/ 10019960 w 12192001"/>
                <a:gd name="connsiteY2376" fmla="*/ 2941855 h 6523037"/>
                <a:gd name="connsiteX2377" fmla="*/ 10288974 w 12192001"/>
                <a:gd name="connsiteY2377" fmla="*/ 2672142 h 6523037"/>
                <a:gd name="connsiteX2378" fmla="*/ 10092628 w 12192001"/>
                <a:gd name="connsiteY2378" fmla="*/ 2672142 h 6523037"/>
                <a:gd name="connsiteX2379" fmla="*/ 10093327 w 12192001"/>
                <a:gd name="connsiteY2379" fmla="*/ 2670744 h 6523037"/>
                <a:gd name="connsiteX2380" fmla="*/ 3517239 w 12192001"/>
                <a:gd name="connsiteY2380" fmla="*/ 2670723 h 6523037"/>
                <a:gd name="connsiteX2381" fmla="*/ 3513958 w 12192001"/>
                <a:gd name="connsiteY2381" fmla="*/ 2677283 h 6523037"/>
                <a:gd name="connsiteX2382" fmla="*/ 3448975 w 12192001"/>
                <a:gd name="connsiteY2382" fmla="*/ 2677283 h 6523037"/>
                <a:gd name="connsiteX2383" fmla="*/ 3268701 w 12192001"/>
                <a:gd name="connsiteY2383" fmla="*/ 2858257 h 6523037"/>
                <a:gd name="connsiteX2384" fmla="*/ 3179262 w 12192001"/>
                <a:gd name="connsiteY2384" fmla="*/ 2947695 h 6523037"/>
                <a:gd name="connsiteX2385" fmla="*/ 3312721 w 12192001"/>
                <a:gd name="connsiteY2385" fmla="*/ 3081853 h 6523037"/>
                <a:gd name="connsiteX2386" fmla="*/ 3451072 w 12192001"/>
                <a:gd name="connsiteY2386" fmla="*/ 3215313 h 6523037"/>
                <a:gd name="connsiteX2387" fmla="*/ 3715195 w 12192001"/>
                <a:gd name="connsiteY2387" fmla="*/ 3215313 h 6523037"/>
                <a:gd name="connsiteX2388" fmla="*/ 3444084 w 12192001"/>
                <a:gd name="connsiteY2388" fmla="*/ 2944901 h 6523037"/>
                <a:gd name="connsiteX2389" fmla="*/ 3445482 w 12192001"/>
                <a:gd name="connsiteY2389" fmla="*/ 2943503 h 6523037"/>
                <a:gd name="connsiteX2390" fmla="*/ 3713797 w 12192001"/>
                <a:gd name="connsiteY2390" fmla="*/ 2674489 h 6523037"/>
                <a:gd name="connsiteX2391" fmla="*/ 3515356 w 12192001"/>
                <a:gd name="connsiteY2391" fmla="*/ 2674489 h 6523037"/>
                <a:gd name="connsiteX2392" fmla="*/ 9206801 w 12192001"/>
                <a:gd name="connsiteY2392" fmla="*/ 2670425 h 6523037"/>
                <a:gd name="connsiteX2393" fmla="*/ 8936388 w 12192001"/>
                <a:gd name="connsiteY2393" fmla="*/ 2941535 h 6523037"/>
                <a:gd name="connsiteX2394" fmla="*/ 9207500 w 12192001"/>
                <a:gd name="connsiteY2394" fmla="*/ 3211947 h 6523037"/>
                <a:gd name="connsiteX2395" fmla="*/ 9467691 w 12192001"/>
                <a:gd name="connsiteY2395" fmla="*/ 3211947 h 6523037"/>
                <a:gd name="connsiteX2396" fmla="*/ 9467258 w 12192001"/>
                <a:gd name="connsiteY2396" fmla="*/ 3211568 h 6523037"/>
                <a:gd name="connsiteX2397" fmla="*/ 9320523 w 12192001"/>
                <a:gd name="connsiteY2397" fmla="*/ 3065532 h 6523037"/>
                <a:gd name="connsiteX2398" fmla="*/ 9320523 w 12192001"/>
                <a:gd name="connsiteY2398" fmla="*/ 3061548 h 6523037"/>
                <a:gd name="connsiteX2399" fmla="*/ 9200512 w 12192001"/>
                <a:gd name="connsiteY2399" fmla="*/ 2941535 h 6523037"/>
                <a:gd name="connsiteX2400" fmla="*/ 9320523 w 12192001"/>
                <a:gd name="connsiteY2400" fmla="*/ 2821214 h 6523037"/>
                <a:gd name="connsiteX2401" fmla="*/ 9320523 w 12192001"/>
                <a:gd name="connsiteY2401" fmla="*/ 2818876 h 6523037"/>
                <a:gd name="connsiteX2402" fmla="*/ 9468974 w 12192001"/>
                <a:gd name="connsiteY2402" fmla="*/ 2670425 h 6523037"/>
                <a:gd name="connsiteX2403" fmla="*/ 11673176 w 12192001"/>
                <a:gd name="connsiteY2403" fmla="*/ 2670045 h 6523037"/>
                <a:gd name="connsiteX2404" fmla="*/ 11402764 w 12192001"/>
                <a:gd name="connsiteY2404" fmla="*/ 2941156 h 6523037"/>
                <a:gd name="connsiteX2405" fmla="*/ 11673875 w 12192001"/>
                <a:gd name="connsiteY2405" fmla="*/ 3211568 h 6523037"/>
                <a:gd name="connsiteX2406" fmla="*/ 11937999 w 12192001"/>
                <a:gd name="connsiteY2406" fmla="*/ 3211568 h 6523037"/>
                <a:gd name="connsiteX2407" fmla="*/ 11666888 w 12192001"/>
                <a:gd name="connsiteY2407" fmla="*/ 2941156 h 6523037"/>
                <a:gd name="connsiteX2408" fmla="*/ 11937300 w 12192001"/>
                <a:gd name="connsiteY2408" fmla="*/ 2670045 h 6523037"/>
                <a:gd name="connsiteX2409" fmla="*/ 8177520 w 12192001"/>
                <a:gd name="connsiteY2409" fmla="*/ 2665610 h 6523037"/>
                <a:gd name="connsiteX2410" fmla="*/ 8174064 w 12192001"/>
                <a:gd name="connsiteY2410" fmla="*/ 2672521 h 6523037"/>
                <a:gd name="connsiteX2411" fmla="*/ 8109081 w 12192001"/>
                <a:gd name="connsiteY2411" fmla="*/ 2672521 h 6523037"/>
                <a:gd name="connsiteX2412" fmla="*/ 7928807 w 12192001"/>
                <a:gd name="connsiteY2412" fmla="*/ 2853496 h 6523037"/>
                <a:gd name="connsiteX2413" fmla="*/ 7839368 w 12192001"/>
                <a:gd name="connsiteY2413" fmla="*/ 2942933 h 6523037"/>
                <a:gd name="connsiteX2414" fmla="*/ 7972827 w 12192001"/>
                <a:gd name="connsiteY2414" fmla="*/ 3077091 h 6523037"/>
                <a:gd name="connsiteX2415" fmla="*/ 8111178 w 12192001"/>
                <a:gd name="connsiteY2415" fmla="*/ 3210551 h 6523037"/>
                <a:gd name="connsiteX2416" fmla="*/ 8375301 w 12192001"/>
                <a:gd name="connsiteY2416" fmla="*/ 3210551 h 6523037"/>
                <a:gd name="connsiteX2417" fmla="*/ 8104190 w 12192001"/>
                <a:gd name="connsiteY2417" fmla="*/ 2940139 h 6523037"/>
                <a:gd name="connsiteX2418" fmla="*/ 8105588 w 12192001"/>
                <a:gd name="connsiteY2418" fmla="*/ 2938741 h 6523037"/>
                <a:gd name="connsiteX2419" fmla="*/ 8373903 w 12192001"/>
                <a:gd name="connsiteY2419" fmla="*/ 2669727 h 6523037"/>
                <a:gd name="connsiteX2420" fmla="*/ 8175462 w 12192001"/>
                <a:gd name="connsiteY2420" fmla="*/ 2669727 h 6523037"/>
                <a:gd name="connsiteX2421" fmla="*/ 164203 w 12192001"/>
                <a:gd name="connsiteY2421" fmla="*/ 2405474 h 6523037"/>
                <a:gd name="connsiteX2422" fmla="*/ 435314 w 12192001"/>
                <a:gd name="connsiteY2422" fmla="*/ 2675886 h 6523037"/>
                <a:gd name="connsiteX2423" fmla="*/ 164902 w 12192001"/>
                <a:gd name="connsiteY2423" fmla="*/ 2946997 h 6523037"/>
                <a:gd name="connsiteX2424" fmla="*/ 429025 w 12192001"/>
                <a:gd name="connsiteY2424" fmla="*/ 2946997 h 6523037"/>
                <a:gd name="connsiteX2425" fmla="*/ 699437 w 12192001"/>
                <a:gd name="connsiteY2425" fmla="*/ 2675886 h 6523037"/>
                <a:gd name="connsiteX2426" fmla="*/ 428326 w 12192001"/>
                <a:gd name="connsiteY2426" fmla="*/ 2405474 h 6523037"/>
                <a:gd name="connsiteX2427" fmla="*/ 1811131 w 12192001"/>
                <a:gd name="connsiteY2427" fmla="*/ 2404775 h 6523037"/>
                <a:gd name="connsiteX2428" fmla="*/ 2082940 w 12192001"/>
                <a:gd name="connsiteY2428" fmla="*/ 2675187 h 6523037"/>
                <a:gd name="connsiteX2429" fmla="*/ 1812528 w 12192001"/>
                <a:gd name="connsiteY2429" fmla="*/ 2946297 h 6523037"/>
                <a:gd name="connsiteX2430" fmla="*/ 2075953 w 12192001"/>
                <a:gd name="connsiteY2430" fmla="*/ 2946297 h 6523037"/>
                <a:gd name="connsiteX2431" fmla="*/ 2346365 w 12192001"/>
                <a:gd name="connsiteY2431" fmla="*/ 2675187 h 6523037"/>
                <a:gd name="connsiteX2432" fmla="*/ 2212208 w 12192001"/>
                <a:gd name="connsiteY2432" fmla="*/ 2541728 h 6523037"/>
                <a:gd name="connsiteX2433" fmla="*/ 2075254 w 12192001"/>
                <a:gd name="connsiteY2433" fmla="*/ 2404775 h 6523037"/>
                <a:gd name="connsiteX2434" fmla="*/ 1262620 w 12192001"/>
                <a:gd name="connsiteY2434" fmla="*/ 2404775 h 6523037"/>
                <a:gd name="connsiteX2435" fmla="*/ 1533731 w 12192001"/>
                <a:gd name="connsiteY2435" fmla="*/ 2675187 h 6523037"/>
                <a:gd name="connsiteX2436" fmla="*/ 1263319 w 12192001"/>
                <a:gd name="connsiteY2436" fmla="*/ 2946297 h 6523037"/>
                <a:gd name="connsiteX2437" fmla="*/ 1527442 w 12192001"/>
                <a:gd name="connsiteY2437" fmla="*/ 2946297 h 6523037"/>
                <a:gd name="connsiteX2438" fmla="*/ 1797854 w 12192001"/>
                <a:gd name="connsiteY2438" fmla="*/ 2675187 h 6523037"/>
                <a:gd name="connsiteX2439" fmla="*/ 1526744 w 12192001"/>
                <a:gd name="connsiteY2439" fmla="*/ 2404775 h 6523037"/>
                <a:gd name="connsiteX2440" fmla="*/ 2359641 w 12192001"/>
                <a:gd name="connsiteY2440" fmla="*/ 2404076 h 6523037"/>
                <a:gd name="connsiteX2441" fmla="*/ 2361039 w 12192001"/>
                <a:gd name="connsiteY2441" fmla="*/ 2405474 h 6523037"/>
                <a:gd name="connsiteX2442" fmla="*/ 2629354 w 12192001"/>
                <a:gd name="connsiteY2442" fmla="*/ 2673790 h 6523037"/>
                <a:gd name="connsiteX2443" fmla="*/ 2358942 w 12192001"/>
                <a:gd name="connsiteY2443" fmla="*/ 2944901 h 6523037"/>
                <a:gd name="connsiteX2444" fmla="*/ 2623065 w 12192001"/>
                <a:gd name="connsiteY2444" fmla="*/ 2944901 h 6523037"/>
                <a:gd name="connsiteX2445" fmla="*/ 2893477 w 12192001"/>
                <a:gd name="connsiteY2445" fmla="*/ 2673790 h 6523037"/>
                <a:gd name="connsiteX2446" fmla="*/ 2888586 w 12192001"/>
                <a:gd name="connsiteY2446" fmla="*/ 2668899 h 6523037"/>
                <a:gd name="connsiteX2447" fmla="*/ 2906055 w 12192001"/>
                <a:gd name="connsiteY2447" fmla="*/ 2677283 h 6523037"/>
                <a:gd name="connsiteX2448" fmla="*/ 2900465 w 12192001"/>
                <a:gd name="connsiteY2448" fmla="*/ 2677283 h 6523037"/>
                <a:gd name="connsiteX2449" fmla="*/ 2630053 w 12192001"/>
                <a:gd name="connsiteY2449" fmla="*/ 2948394 h 6523037"/>
                <a:gd name="connsiteX2450" fmla="*/ 2901164 w 12192001"/>
                <a:gd name="connsiteY2450" fmla="*/ 3218806 h 6523037"/>
                <a:gd name="connsiteX2451" fmla="*/ 3165287 w 12192001"/>
                <a:gd name="connsiteY2451" fmla="*/ 3218806 h 6523037"/>
                <a:gd name="connsiteX2452" fmla="*/ 2894875 w 12192001"/>
                <a:gd name="connsiteY2452" fmla="*/ 2947695 h 6523037"/>
                <a:gd name="connsiteX2453" fmla="*/ 3079343 w 12192001"/>
                <a:gd name="connsiteY2453" fmla="*/ 2763229 h 6523037"/>
                <a:gd name="connsiteX2454" fmla="*/ 3165287 w 12192001"/>
                <a:gd name="connsiteY2454" fmla="*/ 2677283 h 6523037"/>
                <a:gd name="connsiteX2455" fmla="*/ 2906754 w 12192001"/>
                <a:gd name="connsiteY2455" fmla="*/ 2677283 h 6523037"/>
                <a:gd name="connsiteX2456" fmla="*/ 2889285 w 12192001"/>
                <a:gd name="connsiteY2456" fmla="*/ 2668899 h 6523037"/>
                <a:gd name="connsiteX2457" fmla="*/ 2623764 w 12192001"/>
                <a:gd name="connsiteY2457" fmla="*/ 2404076 h 6523037"/>
                <a:gd name="connsiteX2458" fmla="*/ 713412 w 12192001"/>
                <a:gd name="connsiteY2458" fmla="*/ 2404076 h 6523037"/>
                <a:gd name="connsiteX2459" fmla="*/ 844775 w 12192001"/>
                <a:gd name="connsiteY2459" fmla="*/ 2535440 h 6523037"/>
                <a:gd name="connsiteX2460" fmla="*/ 985221 w 12192001"/>
                <a:gd name="connsiteY2460" fmla="*/ 2675886 h 6523037"/>
                <a:gd name="connsiteX2461" fmla="*/ 716206 w 12192001"/>
                <a:gd name="connsiteY2461" fmla="*/ 2945599 h 6523037"/>
                <a:gd name="connsiteX2462" fmla="*/ 912552 w 12192001"/>
                <a:gd name="connsiteY2462" fmla="*/ 2945599 h 6523037"/>
                <a:gd name="connsiteX2463" fmla="*/ 911853 w 12192001"/>
                <a:gd name="connsiteY2463" fmla="*/ 2946997 h 6523037"/>
                <a:gd name="connsiteX2464" fmla="*/ 978932 w 12192001"/>
                <a:gd name="connsiteY2464" fmla="*/ 2946997 h 6523037"/>
                <a:gd name="connsiteX2465" fmla="*/ 1248646 w 12192001"/>
                <a:gd name="connsiteY2465" fmla="*/ 2675886 h 6523037"/>
                <a:gd name="connsiteX2466" fmla="*/ 1113090 w 12192001"/>
                <a:gd name="connsiteY2466" fmla="*/ 2541029 h 6523037"/>
                <a:gd name="connsiteX2467" fmla="*/ 1094923 w 12192001"/>
                <a:gd name="connsiteY2467" fmla="*/ 2522863 h 6523037"/>
                <a:gd name="connsiteX2468" fmla="*/ 977535 w 12192001"/>
                <a:gd name="connsiteY2468" fmla="*/ 2406173 h 6523037"/>
                <a:gd name="connsiteX2469" fmla="*/ 909058 w 12192001"/>
                <a:gd name="connsiteY2469" fmla="*/ 2406173 h 6523037"/>
                <a:gd name="connsiteX2470" fmla="*/ 909757 w 12192001"/>
                <a:gd name="connsiteY2470" fmla="*/ 2404775 h 6523037"/>
                <a:gd name="connsiteX2471" fmla="*/ 2907452 w 12192001"/>
                <a:gd name="connsiteY2471" fmla="*/ 2402679 h 6523037"/>
                <a:gd name="connsiteX2472" fmla="*/ 3178563 w 12192001"/>
                <a:gd name="connsiteY2472" fmla="*/ 2673091 h 6523037"/>
                <a:gd name="connsiteX2473" fmla="*/ 3175769 w 12192001"/>
                <a:gd name="connsiteY2473" fmla="*/ 2675886 h 6523037"/>
                <a:gd name="connsiteX2474" fmla="*/ 3085631 w 12192001"/>
                <a:gd name="connsiteY2474" fmla="*/ 2766722 h 6523037"/>
                <a:gd name="connsiteX2475" fmla="*/ 2908151 w 12192001"/>
                <a:gd name="connsiteY2475" fmla="*/ 2944202 h 6523037"/>
                <a:gd name="connsiteX2476" fmla="*/ 3172275 w 12192001"/>
                <a:gd name="connsiteY2476" fmla="*/ 2944202 h 6523037"/>
                <a:gd name="connsiteX2477" fmla="*/ 3262412 w 12192001"/>
                <a:gd name="connsiteY2477" fmla="*/ 2854763 h 6523037"/>
                <a:gd name="connsiteX2478" fmla="*/ 3442687 w 12192001"/>
                <a:gd name="connsiteY2478" fmla="*/ 2673091 h 6523037"/>
                <a:gd name="connsiteX2479" fmla="*/ 3171576 w 12192001"/>
                <a:gd name="connsiteY2479" fmla="*/ 2402679 h 6523037"/>
                <a:gd name="connsiteX2480" fmla="*/ 4004473 w 12192001"/>
                <a:gd name="connsiteY2480" fmla="*/ 2401981 h 6523037"/>
                <a:gd name="connsiteX2481" fmla="*/ 4275584 w 12192001"/>
                <a:gd name="connsiteY2481" fmla="*/ 2671694 h 6523037"/>
                <a:gd name="connsiteX2482" fmla="*/ 4005172 w 12192001"/>
                <a:gd name="connsiteY2482" fmla="*/ 2942805 h 6523037"/>
                <a:gd name="connsiteX2483" fmla="*/ 4269296 w 12192001"/>
                <a:gd name="connsiteY2483" fmla="*/ 2942805 h 6523037"/>
                <a:gd name="connsiteX2484" fmla="*/ 4539707 w 12192001"/>
                <a:gd name="connsiteY2484" fmla="*/ 2672393 h 6523037"/>
                <a:gd name="connsiteX2485" fmla="*/ 4268598 w 12192001"/>
                <a:gd name="connsiteY2485" fmla="*/ 2401981 h 6523037"/>
                <a:gd name="connsiteX2486" fmla="*/ 4824309 w 12192001"/>
                <a:gd name="connsiteY2486" fmla="*/ 2400713 h 6523037"/>
                <a:gd name="connsiteX2487" fmla="*/ 5095421 w 12192001"/>
                <a:gd name="connsiteY2487" fmla="*/ 2671124 h 6523037"/>
                <a:gd name="connsiteX2488" fmla="*/ 4825009 w 12192001"/>
                <a:gd name="connsiteY2488" fmla="*/ 2942235 h 6523037"/>
                <a:gd name="connsiteX2489" fmla="*/ 5089132 w 12192001"/>
                <a:gd name="connsiteY2489" fmla="*/ 2942235 h 6523037"/>
                <a:gd name="connsiteX2490" fmla="*/ 5359544 w 12192001"/>
                <a:gd name="connsiteY2490" fmla="*/ 2671124 h 6523037"/>
                <a:gd name="connsiteX2491" fmla="*/ 5088432 w 12192001"/>
                <a:gd name="connsiteY2491" fmla="*/ 2400713 h 6523037"/>
                <a:gd name="connsiteX2492" fmla="*/ 4553683 w 12192001"/>
                <a:gd name="connsiteY2492" fmla="*/ 2400583 h 6523037"/>
                <a:gd name="connsiteX2493" fmla="*/ 4821422 w 12192001"/>
                <a:gd name="connsiteY2493" fmla="*/ 2667631 h 6523037"/>
                <a:gd name="connsiteX2494" fmla="*/ 5082144 w 12192001"/>
                <a:gd name="connsiteY2494" fmla="*/ 2667631 h 6523037"/>
                <a:gd name="connsiteX2495" fmla="*/ 4814405 w 12192001"/>
                <a:gd name="connsiteY2495" fmla="*/ 2400583 h 6523037"/>
                <a:gd name="connsiteX2496" fmla="*/ 6471238 w 12192001"/>
                <a:gd name="connsiteY2496" fmla="*/ 2400013 h 6523037"/>
                <a:gd name="connsiteX2497" fmla="*/ 6743046 w 12192001"/>
                <a:gd name="connsiteY2497" fmla="*/ 2670425 h 6523037"/>
                <a:gd name="connsiteX2498" fmla="*/ 6472634 w 12192001"/>
                <a:gd name="connsiteY2498" fmla="*/ 2941535 h 6523037"/>
                <a:gd name="connsiteX2499" fmla="*/ 6736059 w 12192001"/>
                <a:gd name="connsiteY2499" fmla="*/ 2941535 h 6523037"/>
                <a:gd name="connsiteX2500" fmla="*/ 7006471 w 12192001"/>
                <a:gd name="connsiteY2500" fmla="*/ 2670425 h 6523037"/>
                <a:gd name="connsiteX2501" fmla="*/ 6872314 w 12192001"/>
                <a:gd name="connsiteY2501" fmla="*/ 2536966 h 6523037"/>
                <a:gd name="connsiteX2502" fmla="*/ 6735361 w 12192001"/>
                <a:gd name="connsiteY2502" fmla="*/ 2400013 h 6523037"/>
                <a:gd name="connsiteX2503" fmla="*/ 5922727 w 12192001"/>
                <a:gd name="connsiteY2503" fmla="*/ 2400013 h 6523037"/>
                <a:gd name="connsiteX2504" fmla="*/ 6193838 w 12192001"/>
                <a:gd name="connsiteY2504" fmla="*/ 2670425 h 6523037"/>
                <a:gd name="connsiteX2505" fmla="*/ 5923425 w 12192001"/>
                <a:gd name="connsiteY2505" fmla="*/ 2941535 h 6523037"/>
                <a:gd name="connsiteX2506" fmla="*/ 6187548 w 12192001"/>
                <a:gd name="connsiteY2506" fmla="*/ 2941535 h 6523037"/>
                <a:gd name="connsiteX2507" fmla="*/ 6457961 w 12192001"/>
                <a:gd name="connsiteY2507" fmla="*/ 2670425 h 6523037"/>
                <a:gd name="connsiteX2508" fmla="*/ 6186850 w 12192001"/>
                <a:gd name="connsiteY2508" fmla="*/ 2400013 h 6523037"/>
                <a:gd name="connsiteX2509" fmla="*/ 7019748 w 12192001"/>
                <a:gd name="connsiteY2509" fmla="*/ 2399314 h 6523037"/>
                <a:gd name="connsiteX2510" fmla="*/ 7021145 w 12192001"/>
                <a:gd name="connsiteY2510" fmla="*/ 2400713 h 6523037"/>
                <a:gd name="connsiteX2511" fmla="*/ 7289460 w 12192001"/>
                <a:gd name="connsiteY2511" fmla="*/ 2669028 h 6523037"/>
                <a:gd name="connsiteX2512" fmla="*/ 7019048 w 12192001"/>
                <a:gd name="connsiteY2512" fmla="*/ 2940139 h 6523037"/>
                <a:gd name="connsiteX2513" fmla="*/ 7283171 w 12192001"/>
                <a:gd name="connsiteY2513" fmla="*/ 2940139 h 6523037"/>
                <a:gd name="connsiteX2514" fmla="*/ 7553583 w 12192001"/>
                <a:gd name="connsiteY2514" fmla="*/ 2669028 h 6523037"/>
                <a:gd name="connsiteX2515" fmla="*/ 7548692 w 12192001"/>
                <a:gd name="connsiteY2515" fmla="*/ 2664137 h 6523037"/>
                <a:gd name="connsiteX2516" fmla="*/ 7566161 w 12192001"/>
                <a:gd name="connsiteY2516" fmla="*/ 2672521 h 6523037"/>
                <a:gd name="connsiteX2517" fmla="*/ 7560571 w 12192001"/>
                <a:gd name="connsiteY2517" fmla="*/ 2672521 h 6523037"/>
                <a:gd name="connsiteX2518" fmla="*/ 7290159 w 12192001"/>
                <a:gd name="connsiteY2518" fmla="*/ 2943632 h 6523037"/>
                <a:gd name="connsiteX2519" fmla="*/ 7561270 w 12192001"/>
                <a:gd name="connsiteY2519" fmla="*/ 3214044 h 6523037"/>
                <a:gd name="connsiteX2520" fmla="*/ 7825393 w 12192001"/>
                <a:gd name="connsiteY2520" fmla="*/ 3214044 h 6523037"/>
                <a:gd name="connsiteX2521" fmla="*/ 7554981 w 12192001"/>
                <a:gd name="connsiteY2521" fmla="*/ 2942933 h 6523037"/>
                <a:gd name="connsiteX2522" fmla="*/ 7739449 w 12192001"/>
                <a:gd name="connsiteY2522" fmla="*/ 2758467 h 6523037"/>
                <a:gd name="connsiteX2523" fmla="*/ 7825393 w 12192001"/>
                <a:gd name="connsiteY2523" fmla="*/ 2672521 h 6523037"/>
                <a:gd name="connsiteX2524" fmla="*/ 7566860 w 12192001"/>
                <a:gd name="connsiteY2524" fmla="*/ 2672521 h 6523037"/>
                <a:gd name="connsiteX2525" fmla="*/ 7549391 w 12192001"/>
                <a:gd name="connsiteY2525" fmla="*/ 2664137 h 6523037"/>
                <a:gd name="connsiteX2526" fmla="*/ 7283870 w 12192001"/>
                <a:gd name="connsiteY2526" fmla="*/ 2399314 h 6523037"/>
                <a:gd name="connsiteX2527" fmla="*/ 5373519 w 12192001"/>
                <a:gd name="connsiteY2527" fmla="*/ 2399314 h 6523037"/>
                <a:gd name="connsiteX2528" fmla="*/ 5504881 w 12192001"/>
                <a:gd name="connsiteY2528" fmla="*/ 2530678 h 6523037"/>
                <a:gd name="connsiteX2529" fmla="*/ 5645327 w 12192001"/>
                <a:gd name="connsiteY2529" fmla="*/ 2671124 h 6523037"/>
                <a:gd name="connsiteX2530" fmla="*/ 5376313 w 12192001"/>
                <a:gd name="connsiteY2530" fmla="*/ 2940837 h 6523037"/>
                <a:gd name="connsiteX2531" fmla="*/ 5572659 w 12192001"/>
                <a:gd name="connsiteY2531" fmla="*/ 2940837 h 6523037"/>
                <a:gd name="connsiteX2532" fmla="*/ 5571959 w 12192001"/>
                <a:gd name="connsiteY2532" fmla="*/ 2942235 h 6523037"/>
                <a:gd name="connsiteX2533" fmla="*/ 5639038 w 12192001"/>
                <a:gd name="connsiteY2533" fmla="*/ 2942235 h 6523037"/>
                <a:gd name="connsiteX2534" fmla="*/ 5908752 w 12192001"/>
                <a:gd name="connsiteY2534" fmla="*/ 2671124 h 6523037"/>
                <a:gd name="connsiteX2535" fmla="*/ 5773197 w 12192001"/>
                <a:gd name="connsiteY2535" fmla="*/ 2536267 h 6523037"/>
                <a:gd name="connsiteX2536" fmla="*/ 5755029 w 12192001"/>
                <a:gd name="connsiteY2536" fmla="*/ 2518101 h 6523037"/>
                <a:gd name="connsiteX2537" fmla="*/ 5637642 w 12192001"/>
                <a:gd name="connsiteY2537" fmla="*/ 2401411 h 6523037"/>
                <a:gd name="connsiteX2538" fmla="*/ 5569164 w 12192001"/>
                <a:gd name="connsiteY2538" fmla="*/ 2401411 h 6523037"/>
                <a:gd name="connsiteX2539" fmla="*/ 5569864 w 12192001"/>
                <a:gd name="connsiteY2539" fmla="*/ 2400013 h 6523037"/>
                <a:gd name="connsiteX2540" fmla="*/ 7567558 w 12192001"/>
                <a:gd name="connsiteY2540" fmla="*/ 2397917 h 6523037"/>
                <a:gd name="connsiteX2541" fmla="*/ 7838669 w 12192001"/>
                <a:gd name="connsiteY2541" fmla="*/ 2668329 h 6523037"/>
                <a:gd name="connsiteX2542" fmla="*/ 7835875 w 12192001"/>
                <a:gd name="connsiteY2542" fmla="*/ 2671124 h 6523037"/>
                <a:gd name="connsiteX2543" fmla="*/ 7745737 w 12192001"/>
                <a:gd name="connsiteY2543" fmla="*/ 2761960 h 6523037"/>
                <a:gd name="connsiteX2544" fmla="*/ 7568257 w 12192001"/>
                <a:gd name="connsiteY2544" fmla="*/ 2939440 h 6523037"/>
                <a:gd name="connsiteX2545" fmla="*/ 7832381 w 12192001"/>
                <a:gd name="connsiteY2545" fmla="*/ 2939440 h 6523037"/>
                <a:gd name="connsiteX2546" fmla="*/ 7922518 w 12192001"/>
                <a:gd name="connsiteY2546" fmla="*/ 2850001 h 6523037"/>
                <a:gd name="connsiteX2547" fmla="*/ 8102793 w 12192001"/>
                <a:gd name="connsiteY2547" fmla="*/ 2668329 h 6523037"/>
                <a:gd name="connsiteX2548" fmla="*/ 7831682 w 12192001"/>
                <a:gd name="connsiteY2548" fmla="*/ 2397917 h 6523037"/>
                <a:gd name="connsiteX2549" fmla="*/ 9484726 w 12192001"/>
                <a:gd name="connsiteY2549" fmla="*/ 2397537 h 6523037"/>
                <a:gd name="connsiteX2550" fmla="*/ 9755837 w 12192001"/>
                <a:gd name="connsiteY2550" fmla="*/ 2667949 h 6523037"/>
                <a:gd name="connsiteX2551" fmla="*/ 9485425 w 12192001"/>
                <a:gd name="connsiteY2551" fmla="*/ 2939060 h 6523037"/>
                <a:gd name="connsiteX2552" fmla="*/ 9749548 w 12192001"/>
                <a:gd name="connsiteY2552" fmla="*/ 2939060 h 6523037"/>
                <a:gd name="connsiteX2553" fmla="*/ 10019960 w 12192001"/>
                <a:gd name="connsiteY2553" fmla="*/ 2667949 h 6523037"/>
                <a:gd name="connsiteX2554" fmla="*/ 9748849 w 12192001"/>
                <a:gd name="connsiteY2554" fmla="*/ 2397537 h 6523037"/>
                <a:gd name="connsiteX2555" fmla="*/ 8664579 w 12192001"/>
                <a:gd name="connsiteY2555" fmla="*/ 2397219 h 6523037"/>
                <a:gd name="connsiteX2556" fmla="*/ 8935690 w 12192001"/>
                <a:gd name="connsiteY2556" fmla="*/ 2666932 h 6523037"/>
                <a:gd name="connsiteX2557" fmla="*/ 8665278 w 12192001"/>
                <a:gd name="connsiteY2557" fmla="*/ 2938043 h 6523037"/>
                <a:gd name="connsiteX2558" fmla="*/ 8929401 w 12192001"/>
                <a:gd name="connsiteY2558" fmla="*/ 2938043 h 6523037"/>
                <a:gd name="connsiteX2559" fmla="*/ 9199813 w 12192001"/>
                <a:gd name="connsiteY2559" fmla="*/ 2667631 h 6523037"/>
                <a:gd name="connsiteX2560" fmla="*/ 8928703 w 12192001"/>
                <a:gd name="connsiteY2560" fmla="*/ 2397219 h 6523037"/>
                <a:gd name="connsiteX2561" fmla="*/ 11131654 w 12192001"/>
                <a:gd name="connsiteY2561" fmla="*/ 2396838 h 6523037"/>
                <a:gd name="connsiteX2562" fmla="*/ 11403463 w 12192001"/>
                <a:gd name="connsiteY2562" fmla="*/ 2667250 h 6523037"/>
                <a:gd name="connsiteX2563" fmla="*/ 11133051 w 12192001"/>
                <a:gd name="connsiteY2563" fmla="*/ 2938360 h 6523037"/>
                <a:gd name="connsiteX2564" fmla="*/ 11396476 w 12192001"/>
                <a:gd name="connsiteY2564" fmla="*/ 2938360 h 6523037"/>
                <a:gd name="connsiteX2565" fmla="*/ 11666888 w 12192001"/>
                <a:gd name="connsiteY2565" fmla="*/ 2667250 h 6523037"/>
                <a:gd name="connsiteX2566" fmla="*/ 11532731 w 12192001"/>
                <a:gd name="connsiteY2566" fmla="*/ 2533791 h 6523037"/>
                <a:gd name="connsiteX2567" fmla="*/ 11395777 w 12192001"/>
                <a:gd name="connsiteY2567" fmla="*/ 2396838 h 6523037"/>
                <a:gd name="connsiteX2568" fmla="*/ 10583143 w 12192001"/>
                <a:gd name="connsiteY2568" fmla="*/ 2396838 h 6523037"/>
                <a:gd name="connsiteX2569" fmla="*/ 10854254 w 12192001"/>
                <a:gd name="connsiteY2569" fmla="*/ 2667250 h 6523037"/>
                <a:gd name="connsiteX2570" fmla="*/ 10583842 w 12192001"/>
                <a:gd name="connsiteY2570" fmla="*/ 2938360 h 6523037"/>
                <a:gd name="connsiteX2571" fmla="*/ 10847965 w 12192001"/>
                <a:gd name="connsiteY2571" fmla="*/ 2938360 h 6523037"/>
                <a:gd name="connsiteX2572" fmla="*/ 11118377 w 12192001"/>
                <a:gd name="connsiteY2572" fmla="*/ 2667250 h 6523037"/>
                <a:gd name="connsiteX2573" fmla="*/ 10847267 w 12192001"/>
                <a:gd name="connsiteY2573" fmla="*/ 2396838 h 6523037"/>
                <a:gd name="connsiteX2574" fmla="*/ 10033935 w 12192001"/>
                <a:gd name="connsiteY2574" fmla="*/ 2396139 h 6523037"/>
                <a:gd name="connsiteX2575" fmla="*/ 10165298 w 12192001"/>
                <a:gd name="connsiteY2575" fmla="*/ 2527503 h 6523037"/>
                <a:gd name="connsiteX2576" fmla="*/ 10305744 w 12192001"/>
                <a:gd name="connsiteY2576" fmla="*/ 2667949 h 6523037"/>
                <a:gd name="connsiteX2577" fmla="*/ 10036729 w 12192001"/>
                <a:gd name="connsiteY2577" fmla="*/ 2937662 h 6523037"/>
                <a:gd name="connsiteX2578" fmla="*/ 10233075 w 12192001"/>
                <a:gd name="connsiteY2578" fmla="*/ 2937662 h 6523037"/>
                <a:gd name="connsiteX2579" fmla="*/ 10232376 w 12192001"/>
                <a:gd name="connsiteY2579" fmla="*/ 2939060 h 6523037"/>
                <a:gd name="connsiteX2580" fmla="*/ 10299455 w 12192001"/>
                <a:gd name="connsiteY2580" fmla="*/ 2939060 h 6523037"/>
                <a:gd name="connsiteX2581" fmla="*/ 10569169 w 12192001"/>
                <a:gd name="connsiteY2581" fmla="*/ 2667949 h 6523037"/>
                <a:gd name="connsiteX2582" fmla="*/ 10433613 w 12192001"/>
                <a:gd name="connsiteY2582" fmla="*/ 2533092 h 6523037"/>
                <a:gd name="connsiteX2583" fmla="*/ 10415446 w 12192001"/>
                <a:gd name="connsiteY2583" fmla="*/ 2514926 h 6523037"/>
                <a:gd name="connsiteX2584" fmla="*/ 10298058 w 12192001"/>
                <a:gd name="connsiteY2584" fmla="*/ 2398236 h 6523037"/>
                <a:gd name="connsiteX2585" fmla="*/ 10229581 w 12192001"/>
                <a:gd name="connsiteY2585" fmla="*/ 2398236 h 6523037"/>
                <a:gd name="connsiteX2586" fmla="*/ 10230280 w 12192001"/>
                <a:gd name="connsiteY2586" fmla="*/ 2396838 h 6523037"/>
                <a:gd name="connsiteX2587" fmla="*/ 9213788 w 12192001"/>
                <a:gd name="connsiteY2587" fmla="*/ 2395821 h 6523037"/>
                <a:gd name="connsiteX2588" fmla="*/ 9483119 w 12192001"/>
                <a:gd name="connsiteY2588" fmla="*/ 2664456 h 6523037"/>
                <a:gd name="connsiteX2589" fmla="*/ 9742561 w 12192001"/>
                <a:gd name="connsiteY2589" fmla="*/ 2664456 h 6523037"/>
                <a:gd name="connsiteX2590" fmla="*/ 9473232 w 12192001"/>
                <a:gd name="connsiteY2590" fmla="*/ 2395821 h 6523037"/>
                <a:gd name="connsiteX2591" fmla="*/ 1255633 w 12192001"/>
                <a:gd name="connsiteY2591" fmla="*/ 2130870 h 6523037"/>
                <a:gd name="connsiteX2592" fmla="*/ 985221 w 12192001"/>
                <a:gd name="connsiteY2592" fmla="*/ 2401981 h 6523037"/>
                <a:gd name="connsiteX2593" fmla="*/ 1117282 w 12192001"/>
                <a:gd name="connsiteY2593" fmla="*/ 2534042 h 6523037"/>
                <a:gd name="connsiteX2594" fmla="*/ 1255633 w 12192001"/>
                <a:gd name="connsiteY2594" fmla="*/ 2672393 h 6523037"/>
                <a:gd name="connsiteX2595" fmla="*/ 1519757 w 12192001"/>
                <a:gd name="connsiteY2595" fmla="*/ 2672393 h 6523037"/>
                <a:gd name="connsiteX2596" fmla="*/ 1248646 w 12192001"/>
                <a:gd name="connsiteY2596" fmla="*/ 2401981 h 6523037"/>
                <a:gd name="connsiteX2597" fmla="*/ 1519757 w 12192001"/>
                <a:gd name="connsiteY2597" fmla="*/ 2130870 h 6523037"/>
                <a:gd name="connsiteX2598" fmla="*/ 2351955 w 12192001"/>
                <a:gd name="connsiteY2598" fmla="*/ 2130171 h 6523037"/>
                <a:gd name="connsiteX2599" fmla="*/ 2171680 w 12192001"/>
                <a:gd name="connsiteY2599" fmla="*/ 2311144 h 6523037"/>
                <a:gd name="connsiteX2600" fmla="*/ 2170981 w 12192001"/>
                <a:gd name="connsiteY2600" fmla="*/ 2311144 h 6523037"/>
                <a:gd name="connsiteX2601" fmla="*/ 2081543 w 12192001"/>
                <a:gd name="connsiteY2601" fmla="*/ 2400583 h 6523037"/>
                <a:gd name="connsiteX2602" fmla="*/ 2215701 w 12192001"/>
                <a:gd name="connsiteY2602" fmla="*/ 2534741 h 6523037"/>
                <a:gd name="connsiteX2603" fmla="*/ 2352653 w 12192001"/>
                <a:gd name="connsiteY2603" fmla="*/ 2670995 h 6523037"/>
                <a:gd name="connsiteX2604" fmla="*/ 2616078 w 12192001"/>
                <a:gd name="connsiteY2604" fmla="*/ 2670995 h 6523037"/>
                <a:gd name="connsiteX2605" fmla="*/ 2344968 w 12192001"/>
                <a:gd name="connsiteY2605" fmla="*/ 2400583 h 6523037"/>
                <a:gd name="connsiteX2606" fmla="*/ 2346365 w 12192001"/>
                <a:gd name="connsiteY2606" fmla="*/ 2399185 h 6523037"/>
                <a:gd name="connsiteX2607" fmla="*/ 2347064 w 12192001"/>
                <a:gd name="connsiteY2607" fmla="*/ 2399185 h 6523037"/>
                <a:gd name="connsiteX2608" fmla="*/ 2615379 w 12192001"/>
                <a:gd name="connsiteY2608" fmla="*/ 2130171 h 6523037"/>
                <a:gd name="connsiteX2609" fmla="*/ 1803445 w 12192001"/>
                <a:gd name="connsiteY2609" fmla="*/ 2130171 h 6523037"/>
                <a:gd name="connsiteX2610" fmla="*/ 1533032 w 12192001"/>
                <a:gd name="connsiteY2610" fmla="*/ 2401282 h 6523037"/>
                <a:gd name="connsiteX2611" fmla="*/ 1803445 w 12192001"/>
                <a:gd name="connsiteY2611" fmla="*/ 2670995 h 6523037"/>
                <a:gd name="connsiteX2612" fmla="*/ 2067568 w 12192001"/>
                <a:gd name="connsiteY2612" fmla="*/ 2670995 h 6523037"/>
                <a:gd name="connsiteX2613" fmla="*/ 1796458 w 12192001"/>
                <a:gd name="connsiteY2613" fmla="*/ 2400583 h 6523037"/>
                <a:gd name="connsiteX2614" fmla="*/ 1980924 w 12192001"/>
                <a:gd name="connsiteY2614" fmla="*/ 2216115 h 6523037"/>
                <a:gd name="connsiteX2615" fmla="*/ 1981623 w 12192001"/>
                <a:gd name="connsiteY2615" fmla="*/ 2216115 h 6523037"/>
                <a:gd name="connsiteX2616" fmla="*/ 2067568 w 12192001"/>
                <a:gd name="connsiteY2616" fmla="*/ 2130171 h 6523037"/>
                <a:gd name="connsiteX2617" fmla="*/ 2900465 w 12192001"/>
                <a:gd name="connsiteY2617" fmla="*/ 2129472 h 6523037"/>
                <a:gd name="connsiteX2618" fmla="*/ 2630053 w 12192001"/>
                <a:gd name="connsiteY2618" fmla="*/ 2400583 h 6523037"/>
                <a:gd name="connsiteX2619" fmla="*/ 2901164 w 12192001"/>
                <a:gd name="connsiteY2619" fmla="*/ 2670995 h 6523037"/>
                <a:gd name="connsiteX2620" fmla="*/ 3165287 w 12192001"/>
                <a:gd name="connsiteY2620" fmla="*/ 2670995 h 6523037"/>
                <a:gd name="connsiteX2621" fmla="*/ 2894176 w 12192001"/>
                <a:gd name="connsiteY2621" fmla="*/ 2400583 h 6523037"/>
                <a:gd name="connsiteX2622" fmla="*/ 3164588 w 12192001"/>
                <a:gd name="connsiteY2622" fmla="*/ 2129472 h 6523037"/>
                <a:gd name="connsiteX2623" fmla="*/ 3997486 w 12192001"/>
                <a:gd name="connsiteY2623" fmla="*/ 2128074 h 6523037"/>
                <a:gd name="connsiteX2624" fmla="*/ 3727074 w 12192001"/>
                <a:gd name="connsiteY2624" fmla="*/ 2399185 h 6523037"/>
                <a:gd name="connsiteX2625" fmla="*/ 3998184 w 12192001"/>
                <a:gd name="connsiteY2625" fmla="*/ 2669597 h 6523037"/>
                <a:gd name="connsiteX2626" fmla="*/ 4262309 w 12192001"/>
                <a:gd name="connsiteY2626" fmla="*/ 2669597 h 6523037"/>
                <a:gd name="connsiteX2627" fmla="*/ 3991197 w 12192001"/>
                <a:gd name="connsiteY2627" fmla="*/ 2399185 h 6523037"/>
                <a:gd name="connsiteX2628" fmla="*/ 4261609 w 12192001"/>
                <a:gd name="connsiteY2628" fmla="*/ 2128074 h 6523037"/>
                <a:gd name="connsiteX2629" fmla="*/ 4545996 w 12192001"/>
                <a:gd name="connsiteY2629" fmla="*/ 2127376 h 6523037"/>
                <a:gd name="connsiteX2630" fmla="*/ 4275584 w 12192001"/>
                <a:gd name="connsiteY2630" fmla="*/ 2398486 h 6523037"/>
                <a:gd name="connsiteX2631" fmla="*/ 4545996 w 12192001"/>
                <a:gd name="connsiteY2631" fmla="*/ 2668200 h 6523037"/>
                <a:gd name="connsiteX2632" fmla="*/ 4808096 w 12192001"/>
                <a:gd name="connsiteY2632" fmla="*/ 2668200 h 6523037"/>
                <a:gd name="connsiteX2633" fmla="*/ 4660106 w 12192001"/>
                <a:gd name="connsiteY2633" fmla="*/ 2520896 h 6523037"/>
                <a:gd name="connsiteX2634" fmla="*/ 4660106 w 12192001"/>
                <a:gd name="connsiteY2634" fmla="*/ 2518573 h 6523037"/>
                <a:gd name="connsiteX2635" fmla="*/ 4539009 w 12192001"/>
                <a:gd name="connsiteY2635" fmla="*/ 2397788 h 6523037"/>
                <a:gd name="connsiteX2636" fmla="*/ 4660106 w 12192001"/>
                <a:gd name="connsiteY2636" fmla="*/ 2276691 h 6523037"/>
                <a:gd name="connsiteX2637" fmla="*/ 4660106 w 12192001"/>
                <a:gd name="connsiteY2637" fmla="*/ 2272842 h 6523037"/>
                <a:gd name="connsiteX2638" fmla="*/ 4805573 w 12192001"/>
                <a:gd name="connsiteY2638" fmla="*/ 2127376 h 6523037"/>
                <a:gd name="connsiteX2639" fmla="*/ 5915740 w 12192001"/>
                <a:gd name="connsiteY2639" fmla="*/ 2126108 h 6523037"/>
                <a:gd name="connsiteX2640" fmla="*/ 5645327 w 12192001"/>
                <a:gd name="connsiteY2640" fmla="*/ 2397219 h 6523037"/>
                <a:gd name="connsiteX2641" fmla="*/ 5777388 w 12192001"/>
                <a:gd name="connsiteY2641" fmla="*/ 2529280 h 6523037"/>
                <a:gd name="connsiteX2642" fmla="*/ 5915740 w 12192001"/>
                <a:gd name="connsiteY2642" fmla="*/ 2667631 h 6523037"/>
                <a:gd name="connsiteX2643" fmla="*/ 6179863 w 12192001"/>
                <a:gd name="connsiteY2643" fmla="*/ 2667631 h 6523037"/>
                <a:gd name="connsiteX2644" fmla="*/ 5908752 w 12192001"/>
                <a:gd name="connsiteY2644" fmla="*/ 2397219 h 6523037"/>
                <a:gd name="connsiteX2645" fmla="*/ 6179863 w 12192001"/>
                <a:gd name="connsiteY2645" fmla="*/ 2126108 h 6523037"/>
                <a:gd name="connsiteX2646" fmla="*/ 4821171 w 12192001"/>
                <a:gd name="connsiteY2646" fmla="*/ 2126108 h 6523037"/>
                <a:gd name="connsiteX2647" fmla="*/ 4731163 w 12192001"/>
                <a:gd name="connsiteY2647" fmla="*/ 2216814 h 6523037"/>
                <a:gd name="connsiteX2648" fmla="*/ 4553683 w 12192001"/>
                <a:gd name="connsiteY2648" fmla="*/ 2394294 h 6523037"/>
                <a:gd name="connsiteX2649" fmla="*/ 4813944 w 12192001"/>
                <a:gd name="connsiteY2649" fmla="*/ 2394294 h 6523037"/>
                <a:gd name="connsiteX2650" fmla="*/ 5080746 w 12192001"/>
                <a:gd name="connsiteY2650" fmla="*/ 2126108 h 6523037"/>
                <a:gd name="connsiteX2651" fmla="*/ 7012061 w 12192001"/>
                <a:gd name="connsiteY2651" fmla="*/ 2125409 h 6523037"/>
                <a:gd name="connsiteX2652" fmla="*/ 6831786 w 12192001"/>
                <a:gd name="connsiteY2652" fmla="*/ 2306383 h 6523037"/>
                <a:gd name="connsiteX2653" fmla="*/ 6831088 w 12192001"/>
                <a:gd name="connsiteY2653" fmla="*/ 2306383 h 6523037"/>
                <a:gd name="connsiteX2654" fmla="*/ 6741650 w 12192001"/>
                <a:gd name="connsiteY2654" fmla="*/ 2395821 h 6523037"/>
                <a:gd name="connsiteX2655" fmla="*/ 6875807 w 12192001"/>
                <a:gd name="connsiteY2655" fmla="*/ 2529979 h 6523037"/>
                <a:gd name="connsiteX2656" fmla="*/ 7012759 w 12192001"/>
                <a:gd name="connsiteY2656" fmla="*/ 2666233 h 6523037"/>
                <a:gd name="connsiteX2657" fmla="*/ 7276184 w 12192001"/>
                <a:gd name="connsiteY2657" fmla="*/ 2666233 h 6523037"/>
                <a:gd name="connsiteX2658" fmla="*/ 7005075 w 12192001"/>
                <a:gd name="connsiteY2658" fmla="*/ 2395821 h 6523037"/>
                <a:gd name="connsiteX2659" fmla="*/ 7006471 w 12192001"/>
                <a:gd name="connsiteY2659" fmla="*/ 2394423 h 6523037"/>
                <a:gd name="connsiteX2660" fmla="*/ 7007170 w 12192001"/>
                <a:gd name="connsiteY2660" fmla="*/ 2394423 h 6523037"/>
                <a:gd name="connsiteX2661" fmla="*/ 7275485 w 12192001"/>
                <a:gd name="connsiteY2661" fmla="*/ 2125409 h 6523037"/>
                <a:gd name="connsiteX2662" fmla="*/ 6463552 w 12192001"/>
                <a:gd name="connsiteY2662" fmla="*/ 2125409 h 6523037"/>
                <a:gd name="connsiteX2663" fmla="*/ 6193138 w 12192001"/>
                <a:gd name="connsiteY2663" fmla="*/ 2396520 h 6523037"/>
                <a:gd name="connsiteX2664" fmla="*/ 6463552 w 12192001"/>
                <a:gd name="connsiteY2664" fmla="*/ 2666233 h 6523037"/>
                <a:gd name="connsiteX2665" fmla="*/ 6727675 w 12192001"/>
                <a:gd name="connsiteY2665" fmla="*/ 2666233 h 6523037"/>
                <a:gd name="connsiteX2666" fmla="*/ 6456565 w 12192001"/>
                <a:gd name="connsiteY2666" fmla="*/ 2395821 h 6523037"/>
                <a:gd name="connsiteX2667" fmla="*/ 6641030 w 12192001"/>
                <a:gd name="connsiteY2667" fmla="*/ 2211353 h 6523037"/>
                <a:gd name="connsiteX2668" fmla="*/ 6641730 w 12192001"/>
                <a:gd name="connsiteY2668" fmla="*/ 2211353 h 6523037"/>
                <a:gd name="connsiteX2669" fmla="*/ 6727675 w 12192001"/>
                <a:gd name="connsiteY2669" fmla="*/ 2125409 h 6523037"/>
                <a:gd name="connsiteX2670" fmla="*/ 7560571 w 12192001"/>
                <a:gd name="connsiteY2670" fmla="*/ 2124710 h 6523037"/>
                <a:gd name="connsiteX2671" fmla="*/ 7290159 w 12192001"/>
                <a:gd name="connsiteY2671" fmla="*/ 2395821 h 6523037"/>
                <a:gd name="connsiteX2672" fmla="*/ 7561270 w 12192001"/>
                <a:gd name="connsiteY2672" fmla="*/ 2666233 h 6523037"/>
                <a:gd name="connsiteX2673" fmla="*/ 7825393 w 12192001"/>
                <a:gd name="connsiteY2673" fmla="*/ 2666233 h 6523037"/>
                <a:gd name="connsiteX2674" fmla="*/ 7554282 w 12192001"/>
                <a:gd name="connsiteY2674" fmla="*/ 2395821 h 6523037"/>
                <a:gd name="connsiteX2675" fmla="*/ 7824694 w 12192001"/>
                <a:gd name="connsiteY2675" fmla="*/ 2124710 h 6523037"/>
                <a:gd name="connsiteX2676" fmla="*/ 8657592 w 12192001"/>
                <a:gd name="connsiteY2676" fmla="*/ 2123312 h 6523037"/>
                <a:gd name="connsiteX2677" fmla="*/ 8387180 w 12192001"/>
                <a:gd name="connsiteY2677" fmla="*/ 2394423 h 6523037"/>
                <a:gd name="connsiteX2678" fmla="*/ 8658290 w 12192001"/>
                <a:gd name="connsiteY2678" fmla="*/ 2664835 h 6523037"/>
                <a:gd name="connsiteX2679" fmla="*/ 8922414 w 12192001"/>
                <a:gd name="connsiteY2679" fmla="*/ 2664835 h 6523037"/>
                <a:gd name="connsiteX2680" fmla="*/ 8651303 w 12192001"/>
                <a:gd name="connsiteY2680" fmla="*/ 2394423 h 6523037"/>
                <a:gd name="connsiteX2681" fmla="*/ 8921715 w 12192001"/>
                <a:gd name="connsiteY2681" fmla="*/ 2123312 h 6523037"/>
                <a:gd name="connsiteX2682" fmla="*/ 10576156 w 12192001"/>
                <a:gd name="connsiteY2682" fmla="*/ 2122933 h 6523037"/>
                <a:gd name="connsiteX2683" fmla="*/ 10305744 w 12192001"/>
                <a:gd name="connsiteY2683" fmla="*/ 2394044 h 6523037"/>
                <a:gd name="connsiteX2684" fmla="*/ 10437805 w 12192001"/>
                <a:gd name="connsiteY2684" fmla="*/ 2526105 h 6523037"/>
                <a:gd name="connsiteX2685" fmla="*/ 10576156 w 12192001"/>
                <a:gd name="connsiteY2685" fmla="*/ 2664456 h 6523037"/>
                <a:gd name="connsiteX2686" fmla="*/ 10840280 w 12192001"/>
                <a:gd name="connsiteY2686" fmla="*/ 2664456 h 6523037"/>
                <a:gd name="connsiteX2687" fmla="*/ 10569169 w 12192001"/>
                <a:gd name="connsiteY2687" fmla="*/ 2394044 h 6523037"/>
                <a:gd name="connsiteX2688" fmla="*/ 10840280 w 12192001"/>
                <a:gd name="connsiteY2688" fmla="*/ 2122933 h 6523037"/>
                <a:gd name="connsiteX2689" fmla="*/ 9479702 w 12192001"/>
                <a:gd name="connsiteY2689" fmla="*/ 2122933 h 6523037"/>
                <a:gd name="connsiteX2690" fmla="*/ 9391268 w 12192001"/>
                <a:gd name="connsiteY2690" fmla="*/ 2212052 h 6523037"/>
                <a:gd name="connsiteX2691" fmla="*/ 9213788 w 12192001"/>
                <a:gd name="connsiteY2691" fmla="*/ 2389532 h 6523037"/>
                <a:gd name="connsiteX2692" fmla="*/ 9475939 w 12192001"/>
                <a:gd name="connsiteY2692" fmla="*/ 2389532 h 6523037"/>
                <a:gd name="connsiteX2693" fmla="*/ 9741163 w 12192001"/>
                <a:gd name="connsiteY2693" fmla="*/ 2122933 h 6523037"/>
                <a:gd name="connsiteX2694" fmla="*/ 9206102 w 12192001"/>
                <a:gd name="connsiteY2694" fmla="*/ 2122614 h 6523037"/>
                <a:gd name="connsiteX2695" fmla="*/ 8935690 w 12192001"/>
                <a:gd name="connsiteY2695" fmla="*/ 2393724 h 6523037"/>
                <a:gd name="connsiteX2696" fmla="*/ 9206102 w 12192001"/>
                <a:gd name="connsiteY2696" fmla="*/ 2663438 h 6523037"/>
                <a:gd name="connsiteX2697" fmla="*/ 9466918 w 12192001"/>
                <a:gd name="connsiteY2697" fmla="*/ 2663438 h 6523037"/>
                <a:gd name="connsiteX2698" fmla="*/ 9320523 w 12192001"/>
                <a:gd name="connsiteY2698" fmla="*/ 2517721 h 6523037"/>
                <a:gd name="connsiteX2699" fmla="*/ 9320523 w 12192001"/>
                <a:gd name="connsiteY2699" fmla="*/ 2514122 h 6523037"/>
                <a:gd name="connsiteX2700" fmla="*/ 9199115 w 12192001"/>
                <a:gd name="connsiteY2700" fmla="*/ 2393026 h 6523037"/>
                <a:gd name="connsiteX2701" fmla="*/ 9320523 w 12192001"/>
                <a:gd name="connsiteY2701" fmla="*/ 2271618 h 6523037"/>
                <a:gd name="connsiteX2702" fmla="*/ 9320523 w 12192001"/>
                <a:gd name="connsiteY2702" fmla="*/ 2269668 h 6523037"/>
                <a:gd name="connsiteX2703" fmla="*/ 9467576 w 12192001"/>
                <a:gd name="connsiteY2703" fmla="*/ 2122614 h 6523037"/>
                <a:gd name="connsiteX2704" fmla="*/ 11672478 w 12192001"/>
                <a:gd name="connsiteY2704" fmla="*/ 2122234 h 6523037"/>
                <a:gd name="connsiteX2705" fmla="*/ 11492203 w 12192001"/>
                <a:gd name="connsiteY2705" fmla="*/ 2303207 h 6523037"/>
                <a:gd name="connsiteX2706" fmla="*/ 11491504 w 12192001"/>
                <a:gd name="connsiteY2706" fmla="*/ 2303207 h 6523037"/>
                <a:gd name="connsiteX2707" fmla="*/ 11402066 w 12192001"/>
                <a:gd name="connsiteY2707" fmla="*/ 2392646 h 6523037"/>
                <a:gd name="connsiteX2708" fmla="*/ 11536224 w 12192001"/>
                <a:gd name="connsiteY2708" fmla="*/ 2526804 h 6523037"/>
                <a:gd name="connsiteX2709" fmla="*/ 11673176 w 12192001"/>
                <a:gd name="connsiteY2709" fmla="*/ 2663058 h 6523037"/>
                <a:gd name="connsiteX2710" fmla="*/ 11936601 w 12192001"/>
                <a:gd name="connsiteY2710" fmla="*/ 2663058 h 6523037"/>
                <a:gd name="connsiteX2711" fmla="*/ 11665491 w 12192001"/>
                <a:gd name="connsiteY2711" fmla="*/ 2392646 h 6523037"/>
                <a:gd name="connsiteX2712" fmla="*/ 11666888 w 12192001"/>
                <a:gd name="connsiteY2712" fmla="*/ 2391248 h 6523037"/>
                <a:gd name="connsiteX2713" fmla="*/ 11667587 w 12192001"/>
                <a:gd name="connsiteY2713" fmla="*/ 2391248 h 6523037"/>
                <a:gd name="connsiteX2714" fmla="*/ 11935902 w 12192001"/>
                <a:gd name="connsiteY2714" fmla="*/ 2122234 h 6523037"/>
                <a:gd name="connsiteX2715" fmla="*/ 11123968 w 12192001"/>
                <a:gd name="connsiteY2715" fmla="*/ 2122234 h 6523037"/>
                <a:gd name="connsiteX2716" fmla="*/ 10853555 w 12192001"/>
                <a:gd name="connsiteY2716" fmla="*/ 2393345 h 6523037"/>
                <a:gd name="connsiteX2717" fmla="*/ 11123968 w 12192001"/>
                <a:gd name="connsiteY2717" fmla="*/ 2663058 h 6523037"/>
                <a:gd name="connsiteX2718" fmla="*/ 11388091 w 12192001"/>
                <a:gd name="connsiteY2718" fmla="*/ 2663058 h 6523037"/>
                <a:gd name="connsiteX2719" fmla="*/ 11116981 w 12192001"/>
                <a:gd name="connsiteY2719" fmla="*/ 2392646 h 6523037"/>
                <a:gd name="connsiteX2720" fmla="*/ 11301447 w 12192001"/>
                <a:gd name="connsiteY2720" fmla="*/ 2208178 h 6523037"/>
                <a:gd name="connsiteX2721" fmla="*/ 11302146 w 12192001"/>
                <a:gd name="connsiteY2721" fmla="*/ 2208178 h 6523037"/>
                <a:gd name="connsiteX2722" fmla="*/ 11388091 w 12192001"/>
                <a:gd name="connsiteY2722" fmla="*/ 2122234 h 6523037"/>
                <a:gd name="connsiteX2723" fmla="*/ 1261921 w 12192001"/>
                <a:gd name="connsiteY2723" fmla="*/ 1856964 h 6523037"/>
                <a:gd name="connsiteX2724" fmla="*/ 1262620 w 12192001"/>
                <a:gd name="connsiteY2724" fmla="*/ 1857662 h 6523037"/>
                <a:gd name="connsiteX2725" fmla="*/ 1263319 w 12192001"/>
                <a:gd name="connsiteY2725" fmla="*/ 1857662 h 6523037"/>
                <a:gd name="connsiteX2726" fmla="*/ 1532333 w 12192001"/>
                <a:gd name="connsiteY2726" fmla="*/ 2126677 h 6523037"/>
                <a:gd name="connsiteX2727" fmla="*/ 1261921 w 12192001"/>
                <a:gd name="connsiteY2727" fmla="*/ 2397788 h 6523037"/>
                <a:gd name="connsiteX2728" fmla="*/ 1526046 w 12192001"/>
                <a:gd name="connsiteY2728" fmla="*/ 2397788 h 6523037"/>
                <a:gd name="connsiteX2729" fmla="*/ 1796458 w 12192001"/>
                <a:gd name="connsiteY2729" fmla="*/ 2126677 h 6523037"/>
                <a:gd name="connsiteX2730" fmla="*/ 1791566 w 12192001"/>
                <a:gd name="connsiteY2730" fmla="*/ 2121786 h 6523037"/>
                <a:gd name="connsiteX2731" fmla="*/ 1526046 w 12192001"/>
                <a:gd name="connsiteY2731" fmla="*/ 1856964 h 6523037"/>
                <a:gd name="connsiteX2732" fmla="*/ 164203 w 12192001"/>
                <a:gd name="connsiteY2732" fmla="*/ 1856964 h 6523037"/>
                <a:gd name="connsiteX2733" fmla="*/ 165601 w 12192001"/>
                <a:gd name="connsiteY2733" fmla="*/ 1858361 h 6523037"/>
                <a:gd name="connsiteX2734" fmla="*/ 434615 w 12192001"/>
                <a:gd name="connsiteY2734" fmla="*/ 2127376 h 6523037"/>
                <a:gd name="connsiteX2735" fmla="*/ 164203 w 12192001"/>
                <a:gd name="connsiteY2735" fmla="*/ 2397089 h 6523037"/>
                <a:gd name="connsiteX2736" fmla="*/ 428326 w 12192001"/>
                <a:gd name="connsiteY2736" fmla="*/ 2397089 h 6523037"/>
                <a:gd name="connsiteX2737" fmla="*/ 698738 w 12192001"/>
                <a:gd name="connsiteY2737" fmla="*/ 2125979 h 6523037"/>
                <a:gd name="connsiteX2738" fmla="*/ 695191 w 12192001"/>
                <a:gd name="connsiteY2738" fmla="*/ 2122430 h 6523037"/>
                <a:gd name="connsiteX2739" fmla="*/ 709860 w 12192001"/>
                <a:gd name="connsiteY2739" fmla="*/ 2129472 h 6523037"/>
                <a:gd name="connsiteX2740" fmla="*/ 705726 w 12192001"/>
                <a:gd name="connsiteY2740" fmla="*/ 2129472 h 6523037"/>
                <a:gd name="connsiteX2741" fmla="*/ 435314 w 12192001"/>
                <a:gd name="connsiteY2741" fmla="*/ 2400583 h 6523037"/>
                <a:gd name="connsiteX2742" fmla="*/ 706425 w 12192001"/>
                <a:gd name="connsiteY2742" fmla="*/ 2670995 h 6523037"/>
                <a:gd name="connsiteX2743" fmla="*/ 970548 w 12192001"/>
                <a:gd name="connsiteY2743" fmla="*/ 2670995 h 6523037"/>
                <a:gd name="connsiteX2744" fmla="*/ 699437 w 12192001"/>
                <a:gd name="connsiteY2744" fmla="*/ 2400583 h 6523037"/>
                <a:gd name="connsiteX2745" fmla="*/ 883903 w 12192001"/>
                <a:gd name="connsiteY2745" fmla="*/ 2216115 h 6523037"/>
                <a:gd name="connsiteX2746" fmla="*/ 969849 w 12192001"/>
                <a:gd name="connsiteY2746" fmla="*/ 2130171 h 6523037"/>
                <a:gd name="connsiteX2747" fmla="*/ 711316 w 12192001"/>
                <a:gd name="connsiteY2747" fmla="*/ 2130171 h 6523037"/>
                <a:gd name="connsiteX2748" fmla="*/ 709860 w 12192001"/>
                <a:gd name="connsiteY2748" fmla="*/ 2129472 h 6523037"/>
                <a:gd name="connsiteX2749" fmla="*/ 711316 w 12192001"/>
                <a:gd name="connsiteY2749" fmla="*/ 2129472 h 6523037"/>
                <a:gd name="connsiteX2750" fmla="*/ 693847 w 12192001"/>
                <a:gd name="connsiteY2750" fmla="*/ 2121087 h 6523037"/>
                <a:gd name="connsiteX2751" fmla="*/ 695191 w 12192001"/>
                <a:gd name="connsiteY2751" fmla="*/ 2122430 h 6523037"/>
                <a:gd name="connsiteX2752" fmla="*/ 693847 w 12192001"/>
                <a:gd name="connsiteY2752" fmla="*/ 2121786 h 6523037"/>
                <a:gd name="connsiteX2753" fmla="*/ 428326 w 12192001"/>
                <a:gd name="connsiteY2753" fmla="*/ 1856964 h 6523037"/>
                <a:gd name="connsiteX2754" fmla="*/ 712014 w 12192001"/>
                <a:gd name="connsiteY2754" fmla="*/ 1856265 h 6523037"/>
                <a:gd name="connsiteX2755" fmla="*/ 983125 w 12192001"/>
                <a:gd name="connsiteY2755" fmla="*/ 2125979 h 6523037"/>
                <a:gd name="connsiteX2756" fmla="*/ 980330 w 12192001"/>
                <a:gd name="connsiteY2756" fmla="*/ 2128773 h 6523037"/>
                <a:gd name="connsiteX2757" fmla="*/ 890192 w 12192001"/>
                <a:gd name="connsiteY2757" fmla="*/ 2219610 h 6523037"/>
                <a:gd name="connsiteX2758" fmla="*/ 712713 w 12192001"/>
                <a:gd name="connsiteY2758" fmla="*/ 2397089 h 6523037"/>
                <a:gd name="connsiteX2759" fmla="*/ 976837 w 12192001"/>
                <a:gd name="connsiteY2759" fmla="*/ 2397089 h 6523037"/>
                <a:gd name="connsiteX2760" fmla="*/ 1066275 w 12192001"/>
                <a:gd name="connsiteY2760" fmla="*/ 2307651 h 6523037"/>
                <a:gd name="connsiteX2761" fmla="*/ 1247249 w 12192001"/>
                <a:gd name="connsiteY2761" fmla="*/ 2126677 h 6523037"/>
                <a:gd name="connsiteX2762" fmla="*/ 1114488 w 12192001"/>
                <a:gd name="connsiteY2762" fmla="*/ 1994616 h 6523037"/>
                <a:gd name="connsiteX2763" fmla="*/ 976138 w 12192001"/>
                <a:gd name="connsiteY2763" fmla="*/ 1856265 h 6523037"/>
                <a:gd name="connsiteX2764" fmla="*/ 2359641 w 12192001"/>
                <a:gd name="connsiteY2764" fmla="*/ 1855567 h 6523037"/>
                <a:gd name="connsiteX2765" fmla="*/ 2489606 w 12192001"/>
                <a:gd name="connsiteY2765" fmla="*/ 1985532 h 6523037"/>
                <a:gd name="connsiteX2766" fmla="*/ 2630053 w 12192001"/>
                <a:gd name="connsiteY2766" fmla="*/ 2125979 h 6523037"/>
                <a:gd name="connsiteX2767" fmla="*/ 2359641 w 12192001"/>
                <a:gd name="connsiteY2767" fmla="*/ 2397089 h 6523037"/>
                <a:gd name="connsiteX2768" fmla="*/ 2623764 w 12192001"/>
                <a:gd name="connsiteY2768" fmla="*/ 2397089 h 6523037"/>
                <a:gd name="connsiteX2769" fmla="*/ 2894176 w 12192001"/>
                <a:gd name="connsiteY2769" fmla="*/ 2125979 h 6523037"/>
                <a:gd name="connsiteX2770" fmla="*/ 2623065 w 12192001"/>
                <a:gd name="connsiteY2770" fmla="*/ 1855567 h 6523037"/>
                <a:gd name="connsiteX2771" fmla="*/ 1810432 w 12192001"/>
                <a:gd name="connsiteY2771" fmla="*/ 1855567 h 6523037"/>
                <a:gd name="connsiteX2772" fmla="*/ 2081543 w 12192001"/>
                <a:gd name="connsiteY2772" fmla="*/ 2125979 h 6523037"/>
                <a:gd name="connsiteX2773" fmla="*/ 2078748 w 12192001"/>
                <a:gd name="connsiteY2773" fmla="*/ 2128773 h 6523037"/>
                <a:gd name="connsiteX2774" fmla="*/ 1988611 w 12192001"/>
                <a:gd name="connsiteY2774" fmla="*/ 2219610 h 6523037"/>
                <a:gd name="connsiteX2775" fmla="*/ 1987912 w 12192001"/>
                <a:gd name="connsiteY2775" fmla="*/ 2219610 h 6523037"/>
                <a:gd name="connsiteX2776" fmla="*/ 1811131 w 12192001"/>
                <a:gd name="connsiteY2776" fmla="*/ 2397089 h 6523037"/>
                <a:gd name="connsiteX2777" fmla="*/ 2074555 w 12192001"/>
                <a:gd name="connsiteY2777" fmla="*/ 2396391 h 6523037"/>
                <a:gd name="connsiteX2778" fmla="*/ 2163994 w 12192001"/>
                <a:gd name="connsiteY2778" fmla="*/ 2306952 h 6523037"/>
                <a:gd name="connsiteX2779" fmla="*/ 2164693 w 12192001"/>
                <a:gd name="connsiteY2779" fmla="*/ 2306952 h 6523037"/>
                <a:gd name="connsiteX2780" fmla="*/ 2345666 w 12192001"/>
                <a:gd name="connsiteY2780" fmla="*/ 2125979 h 6523037"/>
                <a:gd name="connsiteX2781" fmla="*/ 2074555 w 12192001"/>
                <a:gd name="connsiteY2781" fmla="*/ 1855567 h 6523037"/>
                <a:gd name="connsiteX2782" fmla="*/ 2907452 w 12192001"/>
                <a:gd name="connsiteY2782" fmla="*/ 1854868 h 6523037"/>
                <a:gd name="connsiteX2783" fmla="*/ 3178563 w 12192001"/>
                <a:gd name="connsiteY2783" fmla="*/ 2125280 h 6523037"/>
                <a:gd name="connsiteX2784" fmla="*/ 2908151 w 12192001"/>
                <a:gd name="connsiteY2784" fmla="*/ 2396391 h 6523037"/>
                <a:gd name="connsiteX2785" fmla="*/ 3172275 w 12192001"/>
                <a:gd name="connsiteY2785" fmla="*/ 2396391 h 6523037"/>
                <a:gd name="connsiteX2786" fmla="*/ 3442687 w 12192001"/>
                <a:gd name="connsiteY2786" fmla="*/ 2125280 h 6523037"/>
                <a:gd name="connsiteX2787" fmla="*/ 3171576 w 12192001"/>
                <a:gd name="connsiteY2787" fmla="*/ 1854868 h 6523037"/>
                <a:gd name="connsiteX2788" fmla="*/ 4552984 w 12192001"/>
                <a:gd name="connsiteY2788" fmla="*/ 1852771 h 6523037"/>
                <a:gd name="connsiteX2789" fmla="*/ 4820022 w 12192001"/>
                <a:gd name="connsiteY2789" fmla="*/ 2119120 h 6523037"/>
                <a:gd name="connsiteX2790" fmla="*/ 5080746 w 12192001"/>
                <a:gd name="connsiteY2790" fmla="*/ 2119120 h 6523037"/>
                <a:gd name="connsiteX2791" fmla="*/ 4813709 w 12192001"/>
                <a:gd name="connsiteY2791" fmla="*/ 1852771 h 6523037"/>
                <a:gd name="connsiteX2792" fmla="*/ 4004473 w 12192001"/>
                <a:gd name="connsiteY2792" fmla="*/ 1852771 h 6523037"/>
                <a:gd name="connsiteX2793" fmla="*/ 4005871 w 12192001"/>
                <a:gd name="connsiteY2793" fmla="*/ 1854169 h 6523037"/>
                <a:gd name="connsiteX2794" fmla="*/ 4274885 w 12192001"/>
                <a:gd name="connsiteY2794" fmla="*/ 2123183 h 6523037"/>
                <a:gd name="connsiteX2795" fmla="*/ 4004473 w 12192001"/>
                <a:gd name="connsiteY2795" fmla="*/ 2394294 h 6523037"/>
                <a:gd name="connsiteX2796" fmla="*/ 4268598 w 12192001"/>
                <a:gd name="connsiteY2796" fmla="*/ 2394294 h 6523037"/>
                <a:gd name="connsiteX2797" fmla="*/ 4539009 w 12192001"/>
                <a:gd name="connsiteY2797" fmla="*/ 2123183 h 6523037"/>
                <a:gd name="connsiteX2798" fmla="*/ 4534118 w 12192001"/>
                <a:gd name="connsiteY2798" fmla="*/ 2118292 h 6523037"/>
                <a:gd name="connsiteX2799" fmla="*/ 4268598 w 12192001"/>
                <a:gd name="connsiteY2799" fmla="*/ 1852771 h 6523037"/>
                <a:gd name="connsiteX2800" fmla="*/ 5922027 w 12192001"/>
                <a:gd name="connsiteY2800" fmla="*/ 1852202 h 6523037"/>
                <a:gd name="connsiteX2801" fmla="*/ 5922727 w 12192001"/>
                <a:gd name="connsiteY2801" fmla="*/ 1852900 h 6523037"/>
                <a:gd name="connsiteX2802" fmla="*/ 5923425 w 12192001"/>
                <a:gd name="connsiteY2802" fmla="*/ 1852900 h 6523037"/>
                <a:gd name="connsiteX2803" fmla="*/ 6192439 w 12192001"/>
                <a:gd name="connsiteY2803" fmla="*/ 2121915 h 6523037"/>
                <a:gd name="connsiteX2804" fmla="*/ 5922027 w 12192001"/>
                <a:gd name="connsiteY2804" fmla="*/ 2393026 h 6523037"/>
                <a:gd name="connsiteX2805" fmla="*/ 6186152 w 12192001"/>
                <a:gd name="connsiteY2805" fmla="*/ 2393026 h 6523037"/>
                <a:gd name="connsiteX2806" fmla="*/ 6456565 w 12192001"/>
                <a:gd name="connsiteY2806" fmla="*/ 2121915 h 6523037"/>
                <a:gd name="connsiteX2807" fmla="*/ 6451672 w 12192001"/>
                <a:gd name="connsiteY2807" fmla="*/ 2117024 h 6523037"/>
                <a:gd name="connsiteX2808" fmla="*/ 6186152 w 12192001"/>
                <a:gd name="connsiteY2808" fmla="*/ 1852202 h 6523037"/>
                <a:gd name="connsiteX2809" fmla="*/ 4824309 w 12192001"/>
                <a:gd name="connsiteY2809" fmla="*/ 1852202 h 6523037"/>
                <a:gd name="connsiteX2810" fmla="*/ 4825707 w 12192001"/>
                <a:gd name="connsiteY2810" fmla="*/ 1853599 h 6523037"/>
                <a:gd name="connsiteX2811" fmla="*/ 5094721 w 12192001"/>
                <a:gd name="connsiteY2811" fmla="*/ 2122614 h 6523037"/>
                <a:gd name="connsiteX2812" fmla="*/ 4824309 w 12192001"/>
                <a:gd name="connsiteY2812" fmla="*/ 2392327 h 6523037"/>
                <a:gd name="connsiteX2813" fmla="*/ 5088432 w 12192001"/>
                <a:gd name="connsiteY2813" fmla="*/ 2392327 h 6523037"/>
                <a:gd name="connsiteX2814" fmla="*/ 5358844 w 12192001"/>
                <a:gd name="connsiteY2814" fmla="*/ 2121217 h 6523037"/>
                <a:gd name="connsiteX2815" fmla="*/ 5355297 w 12192001"/>
                <a:gd name="connsiteY2815" fmla="*/ 2117668 h 6523037"/>
                <a:gd name="connsiteX2816" fmla="*/ 5369967 w 12192001"/>
                <a:gd name="connsiteY2816" fmla="*/ 2124710 h 6523037"/>
                <a:gd name="connsiteX2817" fmla="*/ 5365832 w 12192001"/>
                <a:gd name="connsiteY2817" fmla="*/ 2124710 h 6523037"/>
                <a:gd name="connsiteX2818" fmla="*/ 5095421 w 12192001"/>
                <a:gd name="connsiteY2818" fmla="*/ 2395821 h 6523037"/>
                <a:gd name="connsiteX2819" fmla="*/ 5366532 w 12192001"/>
                <a:gd name="connsiteY2819" fmla="*/ 2666233 h 6523037"/>
                <a:gd name="connsiteX2820" fmla="*/ 5630655 w 12192001"/>
                <a:gd name="connsiteY2820" fmla="*/ 2666233 h 6523037"/>
                <a:gd name="connsiteX2821" fmla="*/ 5359544 w 12192001"/>
                <a:gd name="connsiteY2821" fmla="*/ 2395821 h 6523037"/>
                <a:gd name="connsiteX2822" fmla="*/ 5544009 w 12192001"/>
                <a:gd name="connsiteY2822" fmla="*/ 2211353 h 6523037"/>
                <a:gd name="connsiteX2823" fmla="*/ 5629955 w 12192001"/>
                <a:gd name="connsiteY2823" fmla="*/ 2125409 h 6523037"/>
                <a:gd name="connsiteX2824" fmla="*/ 5371422 w 12192001"/>
                <a:gd name="connsiteY2824" fmla="*/ 2125409 h 6523037"/>
                <a:gd name="connsiteX2825" fmla="*/ 5369967 w 12192001"/>
                <a:gd name="connsiteY2825" fmla="*/ 2124710 h 6523037"/>
                <a:gd name="connsiteX2826" fmla="*/ 5371422 w 12192001"/>
                <a:gd name="connsiteY2826" fmla="*/ 2124710 h 6523037"/>
                <a:gd name="connsiteX2827" fmla="*/ 5353953 w 12192001"/>
                <a:gd name="connsiteY2827" fmla="*/ 2116325 h 6523037"/>
                <a:gd name="connsiteX2828" fmla="*/ 5355297 w 12192001"/>
                <a:gd name="connsiteY2828" fmla="*/ 2117668 h 6523037"/>
                <a:gd name="connsiteX2829" fmla="*/ 5353953 w 12192001"/>
                <a:gd name="connsiteY2829" fmla="*/ 2117024 h 6523037"/>
                <a:gd name="connsiteX2830" fmla="*/ 5088432 w 12192001"/>
                <a:gd name="connsiteY2830" fmla="*/ 1852202 h 6523037"/>
                <a:gd name="connsiteX2831" fmla="*/ 5372120 w 12192001"/>
                <a:gd name="connsiteY2831" fmla="*/ 1851503 h 6523037"/>
                <a:gd name="connsiteX2832" fmla="*/ 5643231 w 12192001"/>
                <a:gd name="connsiteY2832" fmla="*/ 2121217 h 6523037"/>
                <a:gd name="connsiteX2833" fmla="*/ 5640436 w 12192001"/>
                <a:gd name="connsiteY2833" fmla="*/ 2124011 h 6523037"/>
                <a:gd name="connsiteX2834" fmla="*/ 5550298 w 12192001"/>
                <a:gd name="connsiteY2834" fmla="*/ 2214848 h 6523037"/>
                <a:gd name="connsiteX2835" fmla="*/ 5372819 w 12192001"/>
                <a:gd name="connsiteY2835" fmla="*/ 2392327 h 6523037"/>
                <a:gd name="connsiteX2836" fmla="*/ 5636944 w 12192001"/>
                <a:gd name="connsiteY2836" fmla="*/ 2392327 h 6523037"/>
                <a:gd name="connsiteX2837" fmla="*/ 5726382 w 12192001"/>
                <a:gd name="connsiteY2837" fmla="*/ 2302889 h 6523037"/>
                <a:gd name="connsiteX2838" fmla="*/ 5907355 w 12192001"/>
                <a:gd name="connsiteY2838" fmla="*/ 2121915 h 6523037"/>
                <a:gd name="connsiteX2839" fmla="*/ 5774594 w 12192001"/>
                <a:gd name="connsiteY2839" fmla="*/ 1989854 h 6523037"/>
                <a:gd name="connsiteX2840" fmla="*/ 5636244 w 12192001"/>
                <a:gd name="connsiteY2840" fmla="*/ 1851503 h 6523037"/>
                <a:gd name="connsiteX2841" fmla="*/ 7019748 w 12192001"/>
                <a:gd name="connsiteY2841" fmla="*/ 1850805 h 6523037"/>
                <a:gd name="connsiteX2842" fmla="*/ 7149712 w 12192001"/>
                <a:gd name="connsiteY2842" fmla="*/ 1980770 h 6523037"/>
                <a:gd name="connsiteX2843" fmla="*/ 7290159 w 12192001"/>
                <a:gd name="connsiteY2843" fmla="*/ 2121217 h 6523037"/>
                <a:gd name="connsiteX2844" fmla="*/ 7019748 w 12192001"/>
                <a:gd name="connsiteY2844" fmla="*/ 2392327 h 6523037"/>
                <a:gd name="connsiteX2845" fmla="*/ 7283870 w 12192001"/>
                <a:gd name="connsiteY2845" fmla="*/ 2392327 h 6523037"/>
                <a:gd name="connsiteX2846" fmla="*/ 7554282 w 12192001"/>
                <a:gd name="connsiteY2846" fmla="*/ 2121217 h 6523037"/>
                <a:gd name="connsiteX2847" fmla="*/ 7283171 w 12192001"/>
                <a:gd name="connsiteY2847" fmla="*/ 1850805 h 6523037"/>
                <a:gd name="connsiteX2848" fmla="*/ 6470538 w 12192001"/>
                <a:gd name="connsiteY2848" fmla="*/ 1850805 h 6523037"/>
                <a:gd name="connsiteX2849" fmla="*/ 6741650 w 12192001"/>
                <a:gd name="connsiteY2849" fmla="*/ 2121217 h 6523037"/>
                <a:gd name="connsiteX2850" fmla="*/ 6738854 w 12192001"/>
                <a:gd name="connsiteY2850" fmla="*/ 2124011 h 6523037"/>
                <a:gd name="connsiteX2851" fmla="*/ 6648717 w 12192001"/>
                <a:gd name="connsiteY2851" fmla="*/ 2214848 h 6523037"/>
                <a:gd name="connsiteX2852" fmla="*/ 6648019 w 12192001"/>
                <a:gd name="connsiteY2852" fmla="*/ 2214848 h 6523037"/>
                <a:gd name="connsiteX2853" fmla="*/ 6471238 w 12192001"/>
                <a:gd name="connsiteY2853" fmla="*/ 2392327 h 6523037"/>
                <a:gd name="connsiteX2854" fmla="*/ 6734661 w 12192001"/>
                <a:gd name="connsiteY2854" fmla="*/ 2391629 h 6523037"/>
                <a:gd name="connsiteX2855" fmla="*/ 6824100 w 12192001"/>
                <a:gd name="connsiteY2855" fmla="*/ 2302190 h 6523037"/>
                <a:gd name="connsiteX2856" fmla="*/ 6824799 w 12192001"/>
                <a:gd name="connsiteY2856" fmla="*/ 2302190 h 6523037"/>
                <a:gd name="connsiteX2857" fmla="*/ 7005773 w 12192001"/>
                <a:gd name="connsiteY2857" fmla="*/ 2121217 h 6523037"/>
                <a:gd name="connsiteX2858" fmla="*/ 6734661 w 12192001"/>
                <a:gd name="connsiteY2858" fmla="*/ 1850805 h 6523037"/>
                <a:gd name="connsiteX2859" fmla="*/ 7567558 w 12192001"/>
                <a:gd name="connsiteY2859" fmla="*/ 1850106 h 6523037"/>
                <a:gd name="connsiteX2860" fmla="*/ 7838669 w 12192001"/>
                <a:gd name="connsiteY2860" fmla="*/ 2120518 h 6523037"/>
                <a:gd name="connsiteX2861" fmla="*/ 7568257 w 12192001"/>
                <a:gd name="connsiteY2861" fmla="*/ 2391629 h 6523037"/>
                <a:gd name="connsiteX2862" fmla="*/ 7832381 w 12192001"/>
                <a:gd name="connsiteY2862" fmla="*/ 2391629 h 6523037"/>
                <a:gd name="connsiteX2863" fmla="*/ 8102793 w 12192001"/>
                <a:gd name="connsiteY2863" fmla="*/ 2120518 h 6523037"/>
                <a:gd name="connsiteX2864" fmla="*/ 7831682 w 12192001"/>
                <a:gd name="connsiteY2864" fmla="*/ 1850106 h 6523037"/>
                <a:gd name="connsiteX2865" fmla="*/ 10582444 w 12192001"/>
                <a:gd name="connsiteY2865" fmla="*/ 1849027 h 6523037"/>
                <a:gd name="connsiteX2866" fmla="*/ 10583143 w 12192001"/>
                <a:gd name="connsiteY2866" fmla="*/ 1849725 h 6523037"/>
                <a:gd name="connsiteX2867" fmla="*/ 10583842 w 12192001"/>
                <a:gd name="connsiteY2867" fmla="*/ 1849725 h 6523037"/>
                <a:gd name="connsiteX2868" fmla="*/ 10852856 w 12192001"/>
                <a:gd name="connsiteY2868" fmla="*/ 2118740 h 6523037"/>
                <a:gd name="connsiteX2869" fmla="*/ 10582444 w 12192001"/>
                <a:gd name="connsiteY2869" fmla="*/ 2389851 h 6523037"/>
                <a:gd name="connsiteX2870" fmla="*/ 10846569 w 12192001"/>
                <a:gd name="connsiteY2870" fmla="*/ 2389851 h 6523037"/>
                <a:gd name="connsiteX2871" fmla="*/ 11116981 w 12192001"/>
                <a:gd name="connsiteY2871" fmla="*/ 2118740 h 6523037"/>
                <a:gd name="connsiteX2872" fmla="*/ 11112089 w 12192001"/>
                <a:gd name="connsiteY2872" fmla="*/ 2113849 h 6523037"/>
                <a:gd name="connsiteX2873" fmla="*/ 10846569 w 12192001"/>
                <a:gd name="connsiteY2873" fmla="*/ 1849027 h 6523037"/>
                <a:gd name="connsiteX2874" fmla="*/ 9484726 w 12192001"/>
                <a:gd name="connsiteY2874" fmla="*/ 1849027 h 6523037"/>
                <a:gd name="connsiteX2875" fmla="*/ 9486124 w 12192001"/>
                <a:gd name="connsiteY2875" fmla="*/ 1850424 h 6523037"/>
                <a:gd name="connsiteX2876" fmla="*/ 9755138 w 12192001"/>
                <a:gd name="connsiteY2876" fmla="*/ 2119439 h 6523037"/>
                <a:gd name="connsiteX2877" fmla="*/ 9484726 w 12192001"/>
                <a:gd name="connsiteY2877" fmla="*/ 2389152 h 6523037"/>
                <a:gd name="connsiteX2878" fmla="*/ 9748849 w 12192001"/>
                <a:gd name="connsiteY2878" fmla="*/ 2389152 h 6523037"/>
                <a:gd name="connsiteX2879" fmla="*/ 10019261 w 12192001"/>
                <a:gd name="connsiteY2879" fmla="*/ 2118042 h 6523037"/>
                <a:gd name="connsiteX2880" fmla="*/ 10015714 w 12192001"/>
                <a:gd name="connsiteY2880" fmla="*/ 2114494 h 6523037"/>
                <a:gd name="connsiteX2881" fmla="*/ 10030383 w 12192001"/>
                <a:gd name="connsiteY2881" fmla="*/ 2121535 h 6523037"/>
                <a:gd name="connsiteX2882" fmla="*/ 10026249 w 12192001"/>
                <a:gd name="connsiteY2882" fmla="*/ 2121535 h 6523037"/>
                <a:gd name="connsiteX2883" fmla="*/ 9755837 w 12192001"/>
                <a:gd name="connsiteY2883" fmla="*/ 2392646 h 6523037"/>
                <a:gd name="connsiteX2884" fmla="*/ 10026948 w 12192001"/>
                <a:gd name="connsiteY2884" fmla="*/ 2663058 h 6523037"/>
                <a:gd name="connsiteX2885" fmla="*/ 10291071 w 12192001"/>
                <a:gd name="connsiteY2885" fmla="*/ 2663058 h 6523037"/>
                <a:gd name="connsiteX2886" fmla="*/ 10019960 w 12192001"/>
                <a:gd name="connsiteY2886" fmla="*/ 2392646 h 6523037"/>
                <a:gd name="connsiteX2887" fmla="*/ 10204426 w 12192001"/>
                <a:gd name="connsiteY2887" fmla="*/ 2208178 h 6523037"/>
                <a:gd name="connsiteX2888" fmla="*/ 10290372 w 12192001"/>
                <a:gd name="connsiteY2888" fmla="*/ 2122234 h 6523037"/>
                <a:gd name="connsiteX2889" fmla="*/ 10031839 w 12192001"/>
                <a:gd name="connsiteY2889" fmla="*/ 2122234 h 6523037"/>
                <a:gd name="connsiteX2890" fmla="*/ 10030383 w 12192001"/>
                <a:gd name="connsiteY2890" fmla="*/ 2121535 h 6523037"/>
                <a:gd name="connsiteX2891" fmla="*/ 10031839 w 12192001"/>
                <a:gd name="connsiteY2891" fmla="*/ 2121535 h 6523037"/>
                <a:gd name="connsiteX2892" fmla="*/ 10014370 w 12192001"/>
                <a:gd name="connsiteY2892" fmla="*/ 2113150 h 6523037"/>
                <a:gd name="connsiteX2893" fmla="*/ 10015714 w 12192001"/>
                <a:gd name="connsiteY2893" fmla="*/ 2114494 h 6523037"/>
                <a:gd name="connsiteX2894" fmla="*/ 10014370 w 12192001"/>
                <a:gd name="connsiteY2894" fmla="*/ 2113849 h 6523037"/>
                <a:gd name="connsiteX2895" fmla="*/ 9748849 w 12192001"/>
                <a:gd name="connsiteY2895" fmla="*/ 1849027 h 6523037"/>
                <a:gd name="connsiteX2896" fmla="*/ 10032537 w 12192001"/>
                <a:gd name="connsiteY2896" fmla="*/ 1848328 h 6523037"/>
                <a:gd name="connsiteX2897" fmla="*/ 10303648 w 12192001"/>
                <a:gd name="connsiteY2897" fmla="*/ 2118042 h 6523037"/>
                <a:gd name="connsiteX2898" fmla="*/ 10300853 w 12192001"/>
                <a:gd name="connsiteY2898" fmla="*/ 2120836 h 6523037"/>
                <a:gd name="connsiteX2899" fmla="*/ 10210715 w 12192001"/>
                <a:gd name="connsiteY2899" fmla="*/ 2211673 h 6523037"/>
                <a:gd name="connsiteX2900" fmla="*/ 10033236 w 12192001"/>
                <a:gd name="connsiteY2900" fmla="*/ 2389152 h 6523037"/>
                <a:gd name="connsiteX2901" fmla="*/ 10297360 w 12192001"/>
                <a:gd name="connsiteY2901" fmla="*/ 2389152 h 6523037"/>
                <a:gd name="connsiteX2902" fmla="*/ 10386798 w 12192001"/>
                <a:gd name="connsiteY2902" fmla="*/ 2299714 h 6523037"/>
                <a:gd name="connsiteX2903" fmla="*/ 10567772 w 12192001"/>
                <a:gd name="connsiteY2903" fmla="*/ 2118740 h 6523037"/>
                <a:gd name="connsiteX2904" fmla="*/ 10435011 w 12192001"/>
                <a:gd name="connsiteY2904" fmla="*/ 1986679 h 6523037"/>
                <a:gd name="connsiteX2905" fmla="*/ 10296661 w 12192001"/>
                <a:gd name="connsiteY2905" fmla="*/ 1848328 h 6523037"/>
                <a:gd name="connsiteX2906" fmla="*/ 9213090 w 12192001"/>
                <a:gd name="connsiteY2906" fmla="*/ 1848009 h 6523037"/>
                <a:gd name="connsiteX2907" fmla="*/ 9481718 w 12192001"/>
                <a:gd name="connsiteY2907" fmla="*/ 2115945 h 6523037"/>
                <a:gd name="connsiteX2908" fmla="*/ 9741163 w 12192001"/>
                <a:gd name="connsiteY2908" fmla="*/ 2115945 h 6523037"/>
                <a:gd name="connsiteX2909" fmla="*/ 9472534 w 12192001"/>
                <a:gd name="connsiteY2909" fmla="*/ 1848009 h 6523037"/>
                <a:gd name="connsiteX2910" fmla="*/ 8664579 w 12192001"/>
                <a:gd name="connsiteY2910" fmla="*/ 1848009 h 6523037"/>
                <a:gd name="connsiteX2911" fmla="*/ 8665977 w 12192001"/>
                <a:gd name="connsiteY2911" fmla="*/ 1849407 h 6523037"/>
                <a:gd name="connsiteX2912" fmla="*/ 8934991 w 12192001"/>
                <a:gd name="connsiteY2912" fmla="*/ 2118421 h 6523037"/>
                <a:gd name="connsiteX2913" fmla="*/ 8664579 w 12192001"/>
                <a:gd name="connsiteY2913" fmla="*/ 2389532 h 6523037"/>
                <a:gd name="connsiteX2914" fmla="*/ 8928703 w 12192001"/>
                <a:gd name="connsiteY2914" fmla="*/ 2389532 h 6523037"/>
                <a:gd name="connsiteX2915" fmla="*/ 9199115 w 12192001"/>
                <a:gd name="connsiteY2915" fmla="*/ 2118421 h 6523037"/>
                <a:gd name="connsiteX2916" fmla="*/ 9194224 w 12192001"/>
                <a:gd name="connsiteY2916" fmla="*/ 2113530 h 6523037"/>
                <a:gd name="connsiteX2917" fmla="*/ 8928703 w 12192001"/>
                <a:gd name="connsiteY2917" fmla="*/ 1848009 h 6523037"/>
                <a:gd name="connsiteX2918" fmla="*/ 11130955 w 12192001"/>
                <a:gd name="connsiteY2918" fmla="*/ 1847630 h 6523037"/>
                <a:gd name="connsiteX2919" fmla="*/ 11402066 w 12192001"/>
                <a:gd name="connsiteY2919" fmla="*/ 2118042 h 6523037"/>
                <a:gd name="connsiteX2920" fmla="*/ 11399271 w 12192001"/>
                <a:gd name="connsiteY2920" fmla="*/ 2120836 h 6523037"/>
                <a:gd name="connsiteX2921" fmla="*/ 11309134 w 12192001"/>
                <a:gd name="connsiteY2921" fmla="*/ 2211673 h 6523037"/>
                <a:gd name="connsiteX2922" fmla="*/ 11308435 w 12192001"/>
                <a:gd name="connsiteY2922" fmla="*/ 2211673 h 6523037"/>
                <a:gd name="connsiteX2923" fmla="*/ 11131654 w 12192001"/>
                <a:gd name="connsiteY2923" fmla="*/ 2389152 h 6523037"/>
                <a:gd name="connsiteX2924" fmla="*/ 11395078 w 12192001"/>
                <a:gd name="connsiteY2924" fmla="*/ 2388455 h 6523037"/>
                <a:gd name="connsiteX2925" fmla="*/ 11484517 w 12192001"/>
                <a:gd name="connsiteY2925" fmla="*/ 2299015 h 6523037"/>
                <a:gd name="connsiteX2926" fmla="*/ 11485216 w 12192001"/>
                <a:gd name="connsiteY2926" fmla="*/ 2299015 h 6523037"/>
                <a:gd name="connsiteX2927" fmla="*/ 11666189 w 12192001"/>
                <a:gd name="connsiteY2927" fmla="*/ 2118042 h 6523037"/>
                <a:gd name="connsiteX2928" fmla="*/ 11395078 w 12192001"/>
                <a:gd name="connsiteY2928" fmla="*/ 1847630 h 6523037"/>
                <a:gd name="connsiteX2929" fmla="*/ 705027 w 12192001"/>
                <a:gd name="connsiteY2929" fmla="*/ 1582359 h 6523037"/>
                <a:gd name="connsiteX2930" fmla="*/ 434615 w 12192001"/>
                <a:gd name="connsiteY2930" fmla="*/ 1853470 h 6523037"/>
                <a:gd name="connsiteX2931" fmla="*/ 705726 w 12192001"/>
                <a:gd name="connsiteY2931" fmla="*/ 2123882 h 6523037"/>
                <a:gd name="connsiteX2932" fmla="*/ 969849 w 12192001"/>
                <a:gd name="connsiteY2932" fmla="*/ 2123882 h 6523037"/>
                <a:gd name="connsiteX2933" fmla="*/ 698738 w 12192001"/>
                <a:gd name="connsiteY2933" fmla="*/ 1853470 h 6523037"/>
                <a:gd name="connsiteX2934" fmla="*/ 969150 w 12192001"/>
                <a:gd name="connsiteY2934" fmla="*/ 1582359 h 6523037"/>
                <a:gd name="connsiteX2935" fmla="*/ 1802746 w 12192001"/>
                <a:gd name="connsiteY2935" fmla="*/ 1581660 h 6523037"/>
                <a:gd name="connsiteX2936" fmla="*/ 1532333 w 12192001"/>
                <a:gd name="connsiteY2936" fmla="*/ 1852771 h 6523037"/>
                <a:gd name="connsiteX2937" fmla="*/ 1803445 w 12192001"/>
                <a:gd name="connsiteY2937" fmla="*/ 2123183 h 6523037"/>
                <a:gd name="connsiteX2938" fmla="*/ 2067568 w 12192001"/>
                <a:gd name="connsiteY2938" fmla="*/ 2123183 h 6523037"/>
                <a:gd name="connsiteX2939" fmla="*/ 1796458 w 12192001"/>
                <a:gd name="connsiteY2939" fmla="*/ 1852771 h 6523037"/>
                <a:gd name="connsiteX2940" fmla="*/ 2066870 w 12192001"/>
                <a:gd name="connsiteY2940" fmla="*/ 1581660 h 6523037"/>
                <a:gd name="connsiteX2941" fmla="*/ 1252838 w 12192001"/>
                <a:gd name="connsiteY2941" fmla="*/ 1581660 h 6523037"/>
                <a:gd name="connsiteX2942" fmla="*/ 983125 w 12192001"/>
                <a:gd name="connsiteY2942" fmla="*/ 1852771 h 6523037"/>
                <a:gd name="connsiteX2943" fmla="*/ 1183663 w 12192001"/>
                <a:gd name="connsiteY2943" fmla="*/ 2053309 h 6523037"/>
                <a:gd name="connsiteX2944" fmla="*/ 1254236 w 12192001"/>
                <a:gd name="connsiteY2944" fmla="*/ 2123183 h 6523037"/>
                <a:gd name="connsiteX2945" fmla="*/ 1322712 w 12192001"/>
                <a:gd name="connsiteY2945" fmla="*/ 2123183 h 6523037"/>
                <a:gd name="connsiteX2946" fmla="*/ 1322014 w 12192001"/>
                <a:gd name="connsiteY2946" fmla="*/ 2124581 h 6523037"/>
                <a:gd name="connsiteX2947" fmla="*/ 1519058 w 12192001"/>
                <a:gd name="connsiteY2947" fmla="*/ 2124581 h 6523037"/>
                <a:gd name="connsiteX2948" fmla="*/ 1247947 w 12192001"/>
                <a:gd name="connsiteY2948" fmla="*/ 1854169 h 6523037"/>
                <a:gd name="connsiteX2949" fmla="*/ 1248646 w 12192001"/>
                <a:gd name="connsiteY2949" fmla="*/ 1853470 h 6523037"/>
                <a:gd name="connsiteX2950" fmla="*/ 1246550 w 12192001"/>
                <a:gd name="connsiteY2950" fmla="*/ 1852771 h 6523037"/>
                <a:gd name="connsiteX2951" fmla="*/ 1516962 w 12192001"/>
                <a:gd name="connsiteY2951" fmla="*/ 1581660 h 6523037"/>
                <a:gd name="connsiteX2952" fmla="*/ 2899766 w 12192001"/>
                <a:gd name="connsiteY2952" fmla="*/ 1580961 h 6523037"/>
                <a:gd name="connsiteX2953" fmla="*/ 2629354 w 12192001"/>
                <a:gd name="connsiteY2953" fmla="*/ 1852072 h 6523037"/>
                <a:gd name="connsiteX2954" fmla="*/ 2900465 w 12192001"/>
                <a:gd name="connsiteY2954" fmla="*/ 2122484 h 6523037"/>
                <a:gd name="connsiteX2955" fmla="*/ 3164588 w 12192001"/>
                <a:gd name="connsiteY2955" fmla="*/ 2122484 h 6523037"/>
                <a:gd name="connsiteX2956" fmla="*/ 2893477 w 12192001"/>
                <a:gd name="connsiteY2956" fmla="*/ 1852072 h 6523037"/>
                <a:gd name="connsiteX2957" fmla="*/ 3163889 w 12192001"/>
                <a:gd name="connsiteY2957" fmla="*/ 1580961 h 6523037"/>
                <a:gd name="connsiteX2958" fmla="*/ 2351257 w 12192001"/>
                <a:gd name="connsiteY2958" fmla="*/ 1580961 h 6523037"/>
                <a:gd name="connsiteX2959" fmla="*/ 2080844 w 12192001"/>
                <a:gd name="connsiteY2959" fmla="*/ 1852072 h 6523037"/>
                <a:gd name="connsiteX2960" fmla="*/ 2351955 w 12192001"/>
                <a:gd name="connsiteY2960" fmla="*/ 2122484 h 6523037"/>
                <a:gd name="connsiteX2961" fmla="*/ 2615379 w 12192001"/>
                <a:gd name="connsiteY2961" fmla="*/ 2122484 h 6523037"/>
                <a:gd name="connsiteX2962" fmla="*/ 2485414 w 12192001"/>
                <a:gd name="connsiteY2962" fmla="*/ 1992519 h 6523037"/>
                <a:gd name="connsiteX2963" fmla="*/ 2344968 w 12192001"/>
                <a:gd name="connsiteY2963" fmla="*/ 1852072 h 6523037"/>
                <a:gd name="connsiteX2964" fmla="*/ 2615379 w 12192001"/>
                <a:gd name="connsiteY2964" fmla="*/ 1580961 h 6523037"/>
                <a:gd name="connsiteX2965" fmla="*/ 3448276 w 12192001"/>
                <a:gd name="connsiteY2965" fmla="*/ 1580263 h 6523037"/>
                <a:gd name="connsiteX2966" fmla="*/ 3177864 w 12192001"/>
                <a:gd name="connsiteY2966" fmla="*/ 1851373 h 6523037"/>
                <a:gd name="connsiteX2967" fmla="*/ 3448975 w 12192001"/>
                <a:gd name="connsiteY2967" fmla="*/ 2121087 h 6523037"/>
                <a:gd name="connsiteX2968" fmla="*/ 3713099 w 12192001"/>
                <a:gd name="connsiteY2968" fmla="*/ 2121087 h 6523037"/>
                <a:gd name="connsiteX2969" fmla="*/ 3441988 w 12192001"/>
                <a:gd name="connsiteY2969" fmla="*/ 1850676 h 6523037"/>
                <a:gd name="connsiteX2970" fmla="*/ 3626455 w 12192001"/>
                <a:gd name="connsiteY2970" fmla="*/ 1666208 h 6523037"/>
                <a:gd name="connsiteX2971" fmla="*/ 3712400 w 12192001"/>
                <a:gd name="connsiteY2971" fmla="*/ 1580263 h 6523037"/>
                <a:gd name="connsiteX2972" fmla="*/ 4545297 w 12192001"/>
                <a:gd name="connsiteY2972" fmla="*/ 1578866 h 6523037"/>
                <a:gd name="connsiteX2973" fmla="*/ 4274885 w 12192001"/>
                <a:gd name="connsiteY2973" fmla="*/ 1849977 h 6523037"/>
                <a:gd name="connsiteX2974" fmla="*/ 4545996 w 12192001"/>
                <a:gd name="connsiteY2974" fmla="*/ 2119690 h 6523037"/>
                <a:gd name="connsiteX2975" fmla="*/ 4807395 w 12192001"/>
                <a:gd name="connsiteY2975" fmla="*/ 2119690 h 6523037"/>
                <a:gd name="connsiteX2976" fmla="*/ 4676176 w 12192001"/>
                <a:gd name="connsiteY2976" fmla="*/ 1989155 h 6523037"/>
                <a:gd name="connsiteX2977" fmla="*/ 4660106 w 12192001"/>
                <a:gd name="connsiteY2977" fmla="*/ 1973084 h 6523037"/>
                <a:gd name="connsiteX2978" fmla="*/ 4660106 w 12192001"/>
                <a:gd name="connsiteY2978" fmla="*/ 1970063 h 6523037"/>
                <a:gd name="connsiteX2979" fmla="*/ 4539009 w 12192001"/>
                <a:gd name="connsiteY2979" fmla="*/ 1849278 h 6523037"/>
                <a:gd name="connsiteX2980" fmla="*/ 4660106 w 12192001"/>
                <a:gd name="connsiteY2980" fmla="*/ 1728181 h 6523037"/>
                <a:gd name="connsiteX2981" fmla="*/ 4660106 w 12192001"/>
                <a:gd name="connsiteY2981" fmla="*/ 1724332 h 6523037"/>
                <a:gd name="connsiteX2982" fmla="*/ 4805571 w 12192001"/>
                <a:gd name="connsiteY2982" fmla="*/ 1578866 h 6523037"/>
                <a:gd name="connsiteX2983" fmla="*/ 4819782 w 12192001"/>
                <a:gd name="connsiteY2983" fmla="*/ 1578296 h 6523037"/>
                <a:gd name="connsiteX2984" fmla="*/ 4552984 w 12192001"/>
                <a:gd name="connsiteY2984" fmla="*/ 1845784 h 6523037"/>
                <a:gd name="connsiteX2985" fmla="*/ 4813254 w 12192001"/>
                <a:gd name="connsiteY2985" fmla="*/ 1845784 h 6523037"/>
                <a:gd name="connsiteX2986" fmla="*/ 5080048 w 12192001"/>
                <a:gd name="connsiteY2986" fmla="*/ 1578296 h 6523037"/>
                <a:gd name="connsiteX2987" fmla="*/ 5365133 w 12192001"/>
                <a:gd name="connsiteY2987" fmla="*/ 1577597 h 6523037"/>
                <a:gd name="connsiteX2988" fmla="*/ 5094721 w 12192001"/>
                <a:gd name="connsiteY2988" fmla="*/ 1848708 h 6523037"/>
                <a:gd name="connsiteX2989" fmla="*/ 5365832 w 12192001"/>
                <a:gd name="connsiteY2989" fmla="*/ 2119120 h 6523037"/>
                <a:gd name="connsiteX2990" fmla="*/ 5629955 w 12192001"/>
                <a:gd name="connsiteY2990" fmla="*/ 2119120 h 6523037"/>
                <a:gd name="connsiteX2991" fmla="*/ 5358844 w 12192001"/>
                <a:gd name="connsiteY2991" fmla="*/ 1848708 h 6523037"/>
                <a:gd name="connsiteX2992" fmla="*/ 5629256 w 12192001"/>
                <a:gd name="connsiteY2992" fmla="*/ 1577597 h 6523037"/>
                <a:gd name="connsiteX2993" fmla="*/ 6462852 w 12192001"/>
                <a:gd name="connsiteY2993" fmla="*/ 1576898 h 6523037"/>
                <a:gd name="connsiteX2994" fmla="*/ 6192439 w 12192001"/>
                <a:gd name="connsiteY2994" fmla="*/ 1848009 h 6523037"/>
                <a:gd name="connsiteX2995" fmla="*/ 6463552 w 12192001"/>
                <a:gd name="connsiteY2995" fmla="*/ 2118421 h 6523037"/>
                <a:gd name="connsiteX2996" fmla="*/ 6727675 w 12192001"/>
                <a:gd name="connsiteY2996" fmla="*/ 2118421 h 6523037"/>
                <a:gd name="connsiteX2997" fmla="*/ 6456565 w 12192001"/>
                <a:gd name="connsiteY2997" fmla="*/ 1848009 h 6523037"/>
                <a:gd name="connsiteX2998" fmla="*/ 6726977 w 12192001"/>
                <a:gd name="connsiteY2998" fmla="*/ 1576898 h 6523037"/>
                <a:gd name="connsiteX2999" fmla="*/ 5912945 w 12192001"/>
                <a:gd name="connsiteY2999" fmla="*/ 1576898 h 6523037"/>
                <a:gd name="connsiteX3000" fmla="*/ 5643231 w 12192001"/>
                <a:gd name="connsiteY3000" fmla="*/ 1848009 h 6523037"/>
                <a:gd name="connsiteX3001" fmla="*/ 5843769 w 12192001"/>
                <a:gd name="connsiteY3001" fmla="*/ 2048547 h 6523037"/>
                <a:gd name="connsiteX3002" fmla="*/ 5914342 w 12192001"/>
                <a:gd name="connsiteY3002" fmla="*/ 2118421 h 6523037"/>
                <a:gd name="connsiteX3003" fmla="*/ 5982819 w 12192001"/>
                <a:gd name="connsiteY3003" fmla="*/ 2118421 h 6523037"/>
                <a:gd name="connsiteX3004" fmla="*/ 5982120 w 12192001"/>
                <a:gd name="connsiteY3004" fmla="*/ 2119819 h 6523037"/>
                <a:gd name="connsiteX3005" fmla="*/ 6179165 w 12192001"/>
                <a:gd name="connsiteY3005" fmla="*/ 2119819 h 6523037"/>
                <a:gd name="connsiteX3006" fmla="*/ 5908054 w 12192001"/>
                <a:gd name="connsiteY3006" fmla="*/ 1849407 h 6523037"/>
                <a:gd name="connsiteX3007" fmla="*/ 5908752 w 12192001"/>
                <a:gd name="connsiteY3007" fmla="*/ 1848708 h 6523037"/>
                <a:gd name="connsiteX3008" fmla="*/ 5906656 w 12192001"/>
                <a:gd name="connsiteY3008" fmla="*/ 1848009 h 6523037"/>
                <a:gd name="connsiteX3009" fmla="*/ 6177068 w 12192001"/>
                <a:gd name="connsiteY3009" fmla="*/ 1576898 h 6523037"/>
                <a:gd name="connsiteX3010" fmla="*/ 7559872 w 12192001"/>
                <a:gd name="connsiteY3010" fmla="*/ 1576199 h 6523037"/>
                <a:gd name="connsiteX3011" fmla="*/ 7289460 w 12192001"/>
                <a:gd name="connsiteY3011" fmla="*/ 1847310 h 6523037"/>
                <a:gd name="connsiteX3012" fmla="*/ 7560571 w 12192001"/>
                <a:gd name="connsiteY3012" fmla="*/ 2117722 h 6523037"/>
                <a:gd name="connsiteX3013" fmla="*/ 7824694 w 12192001"/>
                <a:gd name="connsiteY3013" fmla="*/ 2117722 h 6523037"/>
                <a:gd name="connsiteX3014" fmla="*/ 7553583 w 12192001"/>
                <a:gd name="connsiteY3014" fmla="*/ 1847310 h 6523037"/>
                <a:gd name="connsiteX3015" fmla="*/ 7823995 w 12192001"/>
                <a:gd name="connsiteY3015" fmla="*/ 1576199 h 6523037"/>
                <a:gd name="connsiteX3016" fmla="*/ 7011363 w 12192001"/>
                <a:gd name="connsiteY3016" fmla="*/ 1576199 h 6523037"/>
                <a:gd name="connsiteX3017" fmla="*/ 6740950 w 12192001"/>
                <a:gd name="connsiteY3017" fmla="*/ 1847310 h 6523037"/>
                <a:gd name="connsiteX3018" fmla="*/ 7012061 w 12192001"/>
                <a:gd name="connsiteY3018" fmla="*/ 2117722 h 6523037"/>
                <a:gd name="connsiteX3019" fmla="*/ 7275485 w 12192001"/>
                <a:gd name="connsiteY3019" fmla="*/ 2117722 h 6523037"/>
                <a:gd name="connsiteX3020" fmla="*/ 7145521 w 12192001"/>
                <a:gd name="connsiteY3020" fmla="*/ 1987757 h 6523037"/>
                <a:gd name="connsiteX3021" fmla="*/ 7005075 w 12192001"/>
                <a:gd name="connsiteY3021" fmla="*/ 1847310 h 6523037"/>
                <a:gd name="connsiteX3022" fmla="*/ 7275485 w 12192001"/>
                <a:gd name="connsiteY3022" fmla="*/ 1576199 h 6523037"/>
                <a:gd name="connsiteX3023" fmla="*/ 8108382 w 12192001"/>
                <a:gd name="connsiteY3023" fmla="*/ 1575501 h 6523037"/>
                <a:gd name="connsiteX3024" fmla="*/ 7837970 w 12192001"/>
                <a:gd name="connsiteY3024" fmla="*/ 1846611 h 6523037"/>
                <a:gd name="connsiteX3025" fmla="*/ 8109081 w 12192001"/>
                <a:gd name="connsiteY3025" fmla="*/ 2116325 h 6523037"/>
                <a:gd name="connsiteX3026" fmla="*/ 8373205 w 12192001"/>
                <a:gd name="connsiteY3026" fmla="*/ 2116325 h 6523037"/>
                <a:gd name="connsiteX3027" fmla="*/ 8102094 w 12192001"/>
                <a:gd name="connsiteY3027" fmla="*/ 1845914 h 6523037"/>
                <a:gd name="connsiteX3028" fmla="*/ 8286561 w 12192001"/>
                <a:gd name="connsiteY3028" fmla="*/ 1661446 h 6523037"/>
                <a:gd name="connsiteX3029" fmla="*/ 8372506 w 12192001"/>
                <a:gd name="connsiteY3029" fmla="*/ 1575501 h 6523037"/>
                <a:gd name="connsiteX3030" fmla="*/ 9478306 w 12192001"/>
                <a:gd name="connsiteY3030" fmla="*/ 1575121 h 6523037"/>
                <a:gd name="connsiteX3031" fmla="*/ 9213090 w 12192001"/>
                <a:gd name="connsiteY3031" fmla="*/ 1841022 h 6523037"/>
                <a:gd name="connsiteX3032" fmla="*/ 9475254 w 12192001"/>
                <a:gd name="connsiteY3032" fmla="*/ 1841022 h 6523037"/>
                <a:gd name="connsiteX3033" fmla="*/ 9740464 w 12192001"/>
                <a:gd name="connsiteY3033" fmla="*/ 1575121 h 6523037"/>
                <a:gd name="connsiteX3034" fmla="*/ 10025550 w 12192001"/>
                <a:gd name="connsiteY3034" fmla="*/ 1574422 h 6523037"/>
                <a:gd name="connsiteX3035" fmla="*/ 9755138 w 12192001"/>
                <a:gd name="connsiteY3035" fmla="*/ 1845533 h 6523037"/>
                <a:gd name="connsiteX3036" fmla="*/ 10026249 w 12192001"/>
                <a:gd name="connsiteY3036" fmla="*/ 2115945 h 6523037"/>
                <a:gd name="connsiteX3037" fmla="*/ 10290372 w 12192001"/>
                <a:gd name="connsiteY3037" fmla="*/ 2115945 h 6523037"/>
                <a:gd name="connsiteX3038" fmla="*/ 10019261 w 12192001"/>
                <a:gd name="connsiteY3038" fmla="*/ 1845533 h 6523037"/>
                <a:gd name="connsiteX3039" fmla="*/ 10289673 w 12192001"/>
                <a:gd name="connsiteY3039" fmla="*/ 1574422 h 6523037"/>
                <a:gd name="connsiteX3040" fmla="*/ 9205403 w 12192001"/>
                <a:gd name="connsiteY3040" fmla="*/ 1574104 h 6523037"/>
                <a:gd name="connsiteX3041" fmla="*/ 8934991 w 12192001"/>
                <a:gd name="connsiteY3041" fmla="*/ 1845215 h 6523037"/>
                <a:gd name="connsiteX3042" fmla="*/ 9206102 w 12192001"/>
                <a:gd name="connsiteY3042" fmla="*/ 2114928 h 6523037"/>
                <a:gd name="connsiteX3043" fmla="*/ 9466216 w 12192001"/>
                <a:gd name="connsiteY3043" fmla="*/ 2114928 h 6523037"/>
                <a:gd name="connsiteX3044" fmla="*/ 9336593 w 12192001"/>
                <a:gd name="connsiteY3044" fmla="*/ 1985980 h 6523037"/>
                <a:gd name="connsiteX3045" fmla="*/ 9320523 w 12192001"/>
                <a:gd name="connsiteY3045" fmla="*/ 1969909 h 6523037"/>
                <a:gd name="connsiteX3046" fmla="*/ 9320523 w 12192001"/>
                <a:gd name="connsiteY3046" fmla="*/ 1965612 h 6523037"/>
                <a:gd name="connsiteX3047" fmla="*/ 9199115 w 12192001"/>
                <a:gd name="connsiteY3047" fmla="*/ 1844516 h 6523037"/>
                <a:gd name="connsiteX3048" fmla="*/ 9320523 w 12192001"/>
                <a:gd name="connsiteY3048" fmla="*/ 1723108 h 6523037"/>
                <a:gd name="connsiteX3049" fmla="*/ 9320523 w 12192001"/>
                <a:gd name="connsiteY3049" fmla="*/ 1721157 h 6523037"/>
                <a:gd name="connsiteX3050" fmla="*/ 9467575 w 12192001"/>
                <a:gd name="connsiteY3050" fmla="*/ 1574104 h 6523037"/>
                <a:gd name="connsiteX3051" fmla="*/ 11123269 w 12192001"/>
                <a:gd name="connsiteY3051" fmla="*/ 1573723 h 6523037"/>
                <a:gd name="connsiteX3052" fmla="*/ 10852856 w 12192001"/>
                <a:gd name="connsiteY3052" fmla="*/ 1844834 h 6523037"/>
                <a:gd name="connsiteX3053" fmla="*/ 11123968 w 12192001"/>
                <a:gd name="connsiteY3053" fmla="*/ 2115246 h 6523037"/>
                <a:gd name="connsiteX3054" fmla="*/ 11388091 w 12192001"/>
                <a:gd name="connsiteY3054" fmla="*/ 2115246 h 6523037"/>
                <a:gd name="connsiteX3055" fmla="*/ 11116981 w 12192001"/>
                <a:gd name="connsiteY3055" fmla="*/ 1844834 h 6523037"/>
                <a:gd name="connsiteX3056" fmla="*/ 11387393 w 12192001"/>
                <a:gd name="connsiteY3056" fmla="*/ 1573723 h 6523037"/>
                <a:gd name="connsiteX3057" fmla="*/ 10573361 w 12192001"/>
                <a:gd name="connsiteY3057" fmla="*/ 1573723 h 6523037"/>
                <a:gd name="connsiteX3058" fmla="*/ 10303648 w 12192001"/>
                <a:gd name="connsiteY3058" fmla="*/ 1844834 h 6523037"/>
                <a:gd name="connsiteX3059" fmla="*/ 10504186 w 12192001"/>
                <a:gd name="connsiteY3059" fmla="*/ 2045372 h 6523037"/>
                <a:gd name="connsiteX3060" fmla="*/ 10574759 w 12192001"/>
                <a:gd name="connsiteY3060" fmla="*/ 2115246 h 6523037"/>
                <a:gd name="connsiteX3061" fmla="*/ 10643235 w 12192001"/>
                <a:gd name="connsiteY3061" fmla="*/ 2115246 h 6523037"/>
                <a:gd name="connsiteX3062" fmla="*/ 10642537 w 12192001"/>
                <a:gd name="connsiteY3062" fmla="*/ 2116644 h 6523037"/>
                <a:gd name="connsiteX3063" fmla="*/ 10839581 w 12192001"/>
                <a:gd name="connsiteY3063" fmla="*/ 2116644 h 6523037"/>
                <a:gd name="connsiteX3064" fmla="*/ 10568470 w 12192001"/>
                <a:gd name="connsiteY3064" fmla="*/ 1846232 h 6523037"/>
                <a:gd name="connsiteX3065" fmla="*/ 10569169 w 12192001"/>
                <a:gd name="connsiteY3065" fmla="*/ 1845533 h 6523037"/>
                <a:gd name="connsiteX3066" fmla="*/ 10567073 w 12192001"/>
                <a:gd name="connsiteY3066" fmla="*/ 1844834 h 6523037"/>
                <a:gd name="connsiteX3067" fmla="*/ 10837485 w 12192001"/>
                <a:gd name="connsiteY3067" fmla="*/ 1573723 h 6523037"/>
                <a:gd name="connsiteX3068" fmla="*/ 11671780 w 12192001"/>
                <a:gd name="connsiteY3068" fmla="*/ 1573024 h 6523037"/>
                <a:gd name="connsiteX3069" fmla="*/ 11401367 w 12192001"/>
                <a:gd name="connsiteY3069" fmla="*/ 1844135 h 6523037"/>
                <a:gd name="connsiteX3070" fmla="*/ 11672478 w 12192001"/>
                <a:gd name="connsiteY3070" fmla="*/ 2114547 h 6523037"/>
                <a:gd name="connsiteX3071" fmla="*/ 11935902 w 12192001"/>
                <a:gd name="connsiteY3071" fmla="*/ 2114547 h 6523037"/>
                <a:gd name="connsiteX3072" fmla="*/ 11805937 w 12192001"/>
                <a:gd name="connsiteY3072" fmla="*/ 1984582 h 6523037"/>
                <a:gd name="connsiteX3073" fmla="*/ 11665491 w 12192001"/>
                <a:gd name="connsiteY3073" fmla="*/ 1844135 h 6523037"/>
                <a:gd name="connsiteX3074" fmla="*/ 11935902 w 12192001"/>
                <a:gd name="connsiteY3074" fmla="*/ 1573024 h 6523037"/>
                <a:gd name="connsiteX3075" fmla="*/ 164203 w 12192001"/>
                <a:gd name="connsiteY3075" fmla="*/ 1308454 h 6523037"/>
                <a:gd name="connsiteX3076" fmla="*/ 294168 w 12192001"/>
                <a:gd name="connsiteY3076" fmla="*/ 1438419 h 6523037"/>
                <a:gd name="connsiteX3077" fmla="*/ 434615 w 12192001"/>
                <a:gd name="connsiteY3077" fmla="*/ 1578866 h 6523037"/>
                <a:gd name="connsiteX3078" fmla="*/ 164203 w 12192001"/>
                <a:gd name="connsiteY3078" fmla="*/ 1849977 h 6523037"/>
                <a:gd name="connsiteX3079" fmla="*/ 428326 w 12192001"/>
                <a:gd name="connsiteY3079" fmla="*/ 1849977 h 6523037"/>
                <a:gd name="connsiteX3080" fmla="*/ 698738 w 12192001"/>
                <a:gd name="connsiteY3080" fmla="*/ 1578866 h 6523037"/>
                <a:gd name="connsiteX3081" fmla="*/ 427627 w 12192001"/>
                <a:gd name="connsiteY3081" fmla="*/ 1308454 h 6523037"/>
                <a:gd name="connsiteX3082" fmla="*/ 1809733 w 12192001"/>
                <a:gd name="connsiteY3082" fmla="*/ 1307755 h 6523037"/>
                <a:gd name="connsiteX3083" fmla="*/ 2080844 w 12192001"/>
                <a:gd name="connsiteY3083" fmla="*/ 1578167 h 6523037"/>
                <a:gd name="connsiteX3084" fmla="*/ 1810432 w 12192001"/>
                <a:gd name="connsiteY3084" fmla="*/ 1848579 h 6523037"/>
                <a:gd name="connsiteX3085" fmla="*/ 2074555 w 12192001"/>
                <a:gd name="connsiteY3085" fmla="*/ 1848579 h 6523037"/>
                <a:gd name="connsiteX3086" fmla="*/ 2344968 w 12192001"/>
                <a:gd name="connsiteY3086" fmla="*/ 1578167 h 6523037"/>
                <a:gd name="connsiteX3087" fmla="*/ 2073856 w 12192001"/>
                <a:gd name="connsiteY3087" fmla="*/ 1307755 h 6523037"/>
                <a:gd name="connsiteX3088" fmla="*/ 712014 w 12192001"/>
                <a:gd name="connsiteY3088" fmla="*/ 1307755 h 6523037"/>
                <a:gd name="connsiteX3089" fmla="*/ 983125 w 12192001"/>
                <a:gd name="connsiteY3089" fmla="*/ 1578167 h 6523037"/>
                <a:gd name="connsiteX3090" fmla="*/ 712713 w 12192001"/>
                <a:gd name="connsiteY3090" fmla="*/ 1849278 h 6523037"/>
                <a:gd name="connsiteX3091" fmla="*/ 976837 w 12192001"/>
                <a:gd name="connsiteY3091" fmla="*/ 1849278 h 6523037"/>
                <a:gd name="connsiteX3092" fmla="*/ 1247249 w 12192001"/>
                <a:gd name="connsiteY3092" fmla="*/ 1578167 h 6523037"/>
                <a:gd name="connsiteX3093" fmla="*/ 976138 w 12192001"/>
                <a:gd name="connsiteY3093" fmla="*/ 1307755 h 6523037"/>
                <a:gd name="connsiteX3094" fmla="*/ 2358243 w 12192001"/>
                <a:gd name="connsiteY3094" fmla="*/ 1307056 h 6523037"/>
                <a:gd name="connsiteX3095" fmla="*/ 2629354 w 12192001"/>
                <a:gd name="connsiteY3095" fmla="*/ 1577468 h 6523037"/>
                <a:gd name="connsiteX3096" fmla="*/ 2359641 w 12192001"/>
                <a:gd name="connsiteY3096" fmla="*/ 1848579 h 6523037"/>
                <a:gd name="connsiteX3097" fmla="*/ 2623065 w 12192001"/>
                <a:gd name="connsiteY3097" fmla="*/ 1848579 h 6523037"/>
                <a:gd name="connsiteX3098" fmla="*/ 2893477 w 12192001"/>
                <a:gd name="connsiteY3098" fmla="*/ 1577468 h 6523037"/>
                <a:gd name="connsiteX3099" fmla="*/ 2759320 w 12192001"/>
                <a:gd name="connsiteY3099" fmla="*/ 1444009 h 6523037"/>
                <a:gd name="connsiteX3100" fmla="*/ 2622367 w 12192001"/>
                <a:gd name="connsiteY3100" fmla="*/ 1307056 h 6523037"/>
                <a:gd name="connsiteX3101" fmla="*/ 2906754 w 12192001"/>
                <a:gd name="connsiteY3101" fmla="*/ 1306358 h 6523037"/>
                <a:gd name="connsiteX3102" fmla="*/ 2908151 w 12192001"/>
                <a:gd name="connsiteY3102" fmla="*/ 1307755 h 6523037"/>
                <a:gd name="connsiteX3103" fmla="*/ 3177864 w 12192001"/>
                <a:gd name="connsiteY3103" fmla="*/ 1576769 h 6523037"/>
                <a:gd name="connsiteX3104" fmla="*/ 2907452 w 12192001"/>
                <a:gd name="connsiteY3104" fmla="*/ 1847181 h 6523037"/>
                <a:gd name="connsiteX3105" fmla="*/ 3171576 w 12192001"/>
                <a:gd name="connsiteY3105" fmla="*/ 1847181 h 6523037"/>
                <a:gd name="connsiteX3106" fmla="*/ 3441988 w 12192001"/>
                <a:gd name="connsiteY3106" fmla="*/ 1576769 h 6523037"/>
                <a:gd name="connsiteX3107" fmla="*/ 3436398 w 12192001"/>
                <a:gd name="connsiteY3107" fmla="*/ 1571878 h 6523037"/>
                <a:gd name="connsiteX3108" fmla="*/ 3170877 w 12192001"/>
                <a:gd name="connsiteY3108" fmla="*/ 1306358 h 6523037"/>
                <a:gd name="connsiteX3109" fmla="*/ 1525347 w 12192001"/>
                <a:gd name="connsiteY3109" fmla="*/ 1306358 h 6523037"/>
                <a:gd name="connsiteX3110" fmla="*/ 1523949 w 12192001"/>
                <a:gd name="connsiteY3110" fmla="*/ 1307056 h 6523037"/>
                <a:gd name="connsiteX3111" fmla="*/ 1259826 w 12192001"/>
                <a:gd name="connsiteY3111" fmla="*/ 1307056 h 6523037"/>
                <a:gd name="connsiteX3112" fmla="*/ 1530937 w 12192001"/>
                <a:gd name="connsiteY3112" fmla="*/ 1577468 h 6523037"/>
                <a:gd name="connsiteX3113" fmla="*/ 1526744 w 12192001"/>
                <a:gd name="connsiteY3113" fmla="*/ 1581660 h 6523037"/>
                <a:gd name="connsiteX3114" fmla="*/ 1532333 w 12192001"/>
                <a:gd name="connsiteY3114" fmla="*/ 1578866 h 6523037"/>
                <a:gd name="connsiteX3115" fmla="*/ 1261921 w 12192001"/>
                <a:gd name="connsiteY3115" fmla="*/ 1849977 h 6523037"/>
                <a:gd name="connsiteX3116" fmla="*/ 1526046 w 12192001"/>
                <a:gd name="connsiteY3116" fmla="*/ 1849977 h 6523037"/>
                <a:gd name="connsiteX3117" fmla="*/ 1796458 w 12192001"/>
                <a:gd name="connsiteY3117" fmla="*/ 1578866 h 6523037"/>
                <a:gd name="connsiteX3118" fmla="*/ 1525347 w 12192001"/>
                <a:gd name="connsiteY3118" fmla="*/ 1308454 h 6523037"/>
                <a:gd name="connsiteX3119" fmla="*/ 3454565 w 12192001"/>
                <a:gd name="connsiteY3119" fmla="*/ 1305659 h 6523037"/>
                <a:gd name="connsiteX3120" fmla="*/ 3725676 w 12192001"/>
                <a:gd name="connsiteY3120" fmla="*/ 1576071 h 6523037"/>
                <a:gd name="connsiteX3121" fmla="*/ 3722882 w 12192001"/>
                <a:gd name="connsiteY3121" fmla="*/ 1578866 h 6523037"/>
                <a:gd name="connsiteX3122" fmla="*/ 3632744 w 12192001"/>
                <a:gd name="connsiteY3122" fmla="*/ 1669701 h 6523037"/>
                <a:gd name="connsiteX3123" fmla="*/ 3455264 w 12192001"/>
                <a:gd name="connsiteY3123" fmla="*/ 1846482 h 6523037"/>
                <a:gd name="connsiteX3124" fmla="*/ 3719387 w 12192001"/>
                <a:gd name="connsiteY3124" fmla="*/ 1846482 h 6523037"/>
                <a:gd name="connsiteX3125" fmla="*/ 3808826 w 12192001"/>
                <a:gd name="connsiteY3125" fmla="*/ 1757044 h 6523037"/>
                <a:gd name="connsiteX3126" fmla="*/ 3989799 w 12192001"/>
                <a:gd name="connsiteY3126" fmla="*/ 1576071 h 6523037"/>
                <a:gd name="connsiteX3127" fmla="*/ 3718688 w 12192001"/>
                <a:gd name="connsiteY3127" fmla="*/ 1305659 h 6523037"/>
                <a:gd name="connsiteX3128" fmla="*/ 4813703 w 12192001"/>
                <a:gd name="connsiteY3128" fmla="*/ 1304267 h 6523037"/>
                <a:gd name="connsiteX3129" fmla="*/ 4551587 w 12192001"/>
                <a:gd name="connsiteY3129" fmla="*/ 1304960 h 6523037"/>
                <a:gd name="connsiteX3130" fmla="*/ 4819301 w 12192001"/>
                <a:gd name="connsiteY3130" fmla="*/ 1570610 h 6523037"/>
                <a:gd name="connsiteX3131" fmla="*/ 5080048 w 12192001"/>
                <a:gd name="connsiteY3131" fmla="*/ 1570610 h 6523037"/>
                <a:gd name="connsiteX3132" fmla="*/ 4950082 w 12192001"/>
                <a:gd name="connsiteY3132" fmla="*/ 1440645 h 6523037"/>
                <a:gd name="connsiteX3133" fmla="*/ 4824309 w 12192001"/>
                <a:gd name="connsiteY3133" fmla="*/ 1303692 h 6523037"/>
                <a:gd name="connsiteX3134" fmla="*/ 4954274 w 12192001"/>
                <a:gd name="connsiteY3134" fmla="*/ 1433657 h 6523037"/>
                <a:gd name="connsiteX3135" fmla="*/ 5094721 w 12192001"/>
                <a:gd name="connsiteY3135" fmla="*/ 1574104 h 6523037"/>
                <a:gd name="connsiteX3136" fmla="*/ 4824309 w 12192001"/>
                <a:gd name="connsiteY3136" fmla="*/ 1845215 h 6523037"/>
                <a:gd name="connsiteX3137" fmla="*/ 5088432 w 12192001"/>
                <a:gd name="connsiteY3137" fmla="*/ 1845215 h 6523037"/>
                <a:gd name="connsiteX3138" fmla="*/ 5358844 w 12192001"/>
                <a:gd name="connsiteY3138" fmla="*/ 1574104 h 6523037"/>
                <a:gd name="connsiteX3139" fmla="*/ 5087733 w 12192001"/>
                <a:gd name="connsiteY3139" fmla="*/ 1303692 h 6523037"/>
                <a:gd name="connsiteX3140" fmla="*/ 6469839 w 12192001"/>
                <a:gd name="connsiteY3140" fmla="*/ 1302993 h 6523037"/>
                <a:gd name="connsiteX3141" fmla="*/ 6740950 w 12192001"/>
                <a:gd name="connsiteY3141" fmla="*/ 1573405 h 6523037"/>
                <a:gd name="connsiteX3142" fmla="*/ 6470538 w 12192001"/>
                <a:gd name="connsiteY3142" fmla="*/ 1843817 h 6523037"/>
                <a:gd name="connsiteX3143" fmla="*/ 6734661 w 12192001"/>
                <a:gd name="connsiteY3143" fmla="*/ 1843817 h 6523037"/>
                <a:gd name="connsiteX3144" fmla="*/ 7005075 w 12192001"/>
                <a:gd name="connsiteY3144" fmla="*/ 1573405 h 6523037"/>
                <a:gd name="connsiteX3145" fmla="*/ 6733962 w 12192001"/>
                <a:gd name="connsiteY3145" fmla="*/ 1302993 h 6523037"/>
                <a:gd name="connsiteX3146" fmla="*/ 5372120 w 12192001"/>
                <a:gd name="connsiteY3146" fmla="*/ 1302993 h 6523037"/>
                <a:gd name="connsiteX3147" fmla="*/ 5643231 w 12192001"/>
                <a:gd name="connsiteY3147" fmla="*/ 1573405 h 6523037"/>
                <a:gd name="connsiteX3148" fmla="*/ 5372819 w 12192001"/>
                <a:gd name="connsiteY3148" fmla="*/ 1844516 h 6523037"/>
                <a:gd name="connsiteX3149" fmla="*/ 5636944 w 12192001"/>
                <a:gd name="connsiteY3149" fmla="*/ 1844516 h 6523037"/>
                <a:gd name="connsiteX3150" fmla="*/ 5907355 w 12192001"/>
                <a:gd name="connsiteY3150" fmla="*/ 1573405 h 6523037"/>
                <a:gd name="connsiteX3151" fmla="*/ 5636244 w 12192001"/>
                <a:gd name="connsiteY3151" fmla="*/ 1302993 h 6523037"/>
                <a:gd name="connsiteX3152" fmla="*/ 7018349 w 12192001"/>
                <a:gd name="connsiteY3152" fmla="*/ 1302294 h 6523037"/>
                <a:gd name="connsiteX3153" fmla="*/ 7289460 w 12192001"/>
                <a:gd name="connsiteY3153" fmla="*/ 1572706 h 6523037"/>
                <a:gd name="connsiteX3154" fmla="*/ 7019748 w 12192001"/>
                <a:gd name="connsiteY3154" fmla="*/ 1843817 h 6523037"/>
                <a:gd name="connsiteX3155" fmla="*/ 7283171 w 12192001"/>
                <a:gd name="connsiteY3155" fmla="*/ 1843817 h 6523037"/>
                <a:gd name="connsiteX3156" fmla="*/ 7553583 w 12192001"/>
                <a:gd name="connsiteY3156" fmla="*/ 1572706 h 6523037"/>
                <a:gd name="connsiteX3157" fmla="*/ 7419426 w 12192001"/>
                <a:gd name="connsiteY3157" fmla="*/ 1439247 h 6523037"/>
                <a:gd name="connsiteX3158" fmla="*/ 7282473 w 12192001"/>
                <a:gd name="connsiteY3158" fmla="*/ 1302294 h 6523037"/>
                <a:gd name="connsiteX3159" fmla="*/ 7566860 w 12192001"/>
                <a:gd name="connsiteY3159" fmla="*/ 1301596 h 6523037"/>
                <a:gd name="connsiteX3160" fmla="*/ 7568257 w 12192001"/>
                <a:gd name="connsiteY3160" fmla="*/ 1302993 h 6523037"/>
                <a:gd name="connsiteX3161" fmla="*/ 7837970 w 12192001"/>
                <a:gd name="connsiteY3161" fmla="*/ 1572007 h 6523037"/>
                <a:gd name="connsiteX3162" fmla="*/ 7567558 w 12192001"/>
                <a:gd name="connsiteY3162" fmla="*/ 1842419 h 6523037"/>
                <a:gd name="connsiteX3163" fmla="*/ 7831682 w 12192001"/>
                <a:gd name="connsiteY3163" fmla="*/ 1842419 h 6523037"/>
                <a:gd name="connsiteX3164" fmla="*/ 8102094 w 12192001"/>
                <a:gd name="connsiteY3164" fmla="*/ 1572007 h 6523037"/>
                <a:gd name="connsiteX3165" fmla="*/ 8096504 w 12192001"/>
                <a:gd name="connsiteY3165" fmla="*/ 1567116 h 6523037"/>
                <a:gd name="connsiteX3166" fmla="*/ 7830983 w 12192001"/>
                <a:gd name="connsiteY3166" fmla="*/ 1301596 h 6523037"/>
                <a:gd name="connsiteX3167" fmla="*/ 6185454 w 12192001"/>
                <a:gd name="connsiteY3167" fmla="*/ 1301596 h 6523037"/>
                <a:gd name="connsiteX3168" fmla="*/ 6184056 w 12192001"/>
                <a:gd name="connsiteY3168" fmla="*/ 1302294 h 6523037"/>
                <a:gd name="connsiteX3169" fmla="*/ 5919933 w 12192001"/>
                <a:gd name="connsiteY3169" fmla="*/ 1302294 h 6523037"/>
                <a:gd name="connsiteX3170" fmla="*/ 6191043 w 12192001"/>
                <a:gd name="connsiteY3170" fmla="*/ 1572706 h 6523037"/>
                <a:gd name="connsiteX3171" fmla="*/ 6186850 w 12192001"/>
                <a:gd name="connsiteY3171" fmla="*/ 1576898 h 6523037"/>
                <a:gd name="connsiteX3172" fmla="*/ 6192439 w 12192001"/>
                <a:gd name="connsiteY3172" fmla="*/ 1574104 h 6523037"/>
                <a:gd name="connsiteX3173" fmla="*/ 5922027 w 12192001"/>
                <a:gd name="connsiteY3173" fmla="*/ 1845215 h 6523037"/>
                <a:gd name="connsiteX3174" fmla="*/ 6186152 w 12192001"/>
                <a:gd name="connsiteY3174" fmla="*/ 1845215 h 6523037"/>
                <a:gd name="connsiteX3175" fmla="*/ 6456565 w 12192001"/>
                <a:gd name="connsiteY3175" fmla="*/ 1574104 h 6523037"/>
                <a:gd name="connsiteX3176" fmla="*/ 6185454 w 12192001"/>
                <a:gd name="connsiteY3176" fmla="*/ 1303692 h 6523037"/>
                <a:gd name="connsiteX3177" fmla="*/ 8114671 w 12192001"/>
                <a:gd name="connsiteY3177" fmla="*/ 1300897 h 6523037"/>
                <a:gd name="connsiteX3178" fmla="*/ 8385782 w 12192001"/>
                <a:gd name="connsiteY3178" fmla="*/ 1571309 h 6523037"/>
                <a:gd name="connsiteX3179" fmla="*/ 8382988 w 12192001"/>
                <a:gd name="connsiteY3179" fmla="*/ 1574104 h 6523037"/>
                <a:gd name="connsiteX3180" fmla="*/ 8292850 w 12192001"/>
                <a:gd name="connsiteY3180" fmla="*/ 1664939 h 6523037"/>
                <a:gd name="connsiteX3181" fmla="*/ 8115370 w 12192001"/>
                <a:gd name="connsiteY3181" fmla="*/ 1841720 h 6523037"/>
                <a:gd name="connsiteX3182" fmla="*/ 8379493 w 12192001"/>
                <a:gd name="connsiteY3182" fmla="*/ 1841720 h 6523037"/>
                <a:gd name="connsiteX3183" fmla="*/ 8468932 w 12192001"/>
                <a:gd name="connsiteY3183" fmla="*/ 1752282 h 6523037"/>
                <a:gd name="connsiteX3184" fmla="*/ 8649905 w 12192001"/>
                <a:gd name="connsiteY3184" fmla="*/ 1571309 h 6523037"/>
                <a:gd name="connsiteX3185" fmla="*/ 8378794 w 12192001"/>
                <a:gd name="connsiteY3185" fmla="*/ 1300897 h 6523037"/>
                <a:gd name="connsiteX3186" fmla="*/ 9484726 w 12192001"/>
                <a:gd name="connsiteY3186" fmla="*/ 1300517 h 6523037"/>
                <a:gd name="connsiteX3187" fmla="*/ 9614691 w 12192001"/>
                <a:gd name="connsiteY3187" fmla="*/ 1430482 h 6523037"/>
                <a:gd name="connsiteX3188" fmla="*/ 9755138 w 12192001"/>
                <a:gd name="connsiteY3188" fmla="*/ 1570929 h 6523037"/>
                <a:gd name="connsiteX3189" fmla="*/ 9484726 w 12192001"/>
                <a:gd name="connsiteY3189" fmla="*/ 1842040 h 6523037"/>
                <a:gd name="connsiteX3190" fmla="*/ 9748849 w 12192001"/>
                <a:gd name="connsiteY3190" fmla="*/ 1842040 h 6523037"/>
                <a:gd name="connsiteX3191" fmla="*/ 10019261 w 12192001"/>
                <a:gd name="connsiteY3191" fmla="*/ 1570929 h 6523037"/>
                <a:gd name="connsiteX3192" fmla="*/ 9748150 w 12192001"/>
                <a:gd name="connsiteY3192" fmla="*/ 1300517 h 6523037"/>
                <a:gd name="connsiteX3193" fmla="*/ 11130256 w 12192001"/>
                <a:gd name="connsiteY3193" fmla="*/ 1299818 h 6523037"/>
                <a:gd name="connsiteX3194" fmla="*/ 11401367 w 12192001"/>
                <a:gd name="connsiteY3194" fmla="*/ 1570230 h 6523037"/>
                <a:gd name="connsiteX3195" fmla="*/ 11130955 w 12192001"/>
                <a:gd name="connsiteY3195" fmla="*/ 1840642 h 6523037"/>
                <a:gd name="connsiteX3196" fmla="*/ 11395078 w 12192001"/>
                <a:gd name="connsiteY3196" fmla="*/ 1840642 h 6523037"/>
                <a:gd name="connsiteX3197" fmla="*/ 11665491 w 12192001"/>
                <a:gd name="connsiteY3197" fmla="*/ 1570230 h 6523037"/>
                <a:gd name="connsiteX3198" fmla="*/ 11394379 w 12192001"/>
                <a:gd name="connsiteY3198" fmla="*/ 1299818 h 6523037"/>
                <a:gd name="connsiteX3199" fmla="*/ 10032537 w 12192001"/>
                <a:gd name="connsiteY3199" fmla="*/ 1299818 h 6523037"/>
                <a:gd name="connsiteX3200" fmla="*/ 10303648 w 12192001"/>
                <a:gd name="connsiteY3200" fmla="*/ 1570230 h 6523037"/>
                <a:gd name="connsiteX3201" fmla="*/ 10033236 w 12192001"/>
                <a:gd name="connsiteY3201" fmla="*/ 1841341 h 6523037"/>
                <a:gd name="connsiteX3202" fmla="*/ 10297360 w 12192001"/>
                <a:gd name="connsiteY3202" fmla="*/ 1841341 h 6523037"/>
                <a:gd name="connsiteX3203" fmla="*/ 10567772 w 12192001"/>
                <a:gd name="connsiteY3203" fmla="*/ 1570230 h 6523037"/>
                <a:gd name="connsiteX3204" fmla="*/ 10296661 w 12192001"/>
                <a:gd name="connsiteY3204" fmla="*/ 1299818 h 6523037"/>
                <a:gd name="connsiteX3205" fmla="*/ 9472537 w 12192001"/>
                <a:gd name="connsiteY3205" fmla="*/ 1299508 h 6523037"/>
                <a:gd name="connsiteX3206" fmla="*/ 9211692 w 12192001"/>
                <a:gd name="connsiteY3206" fmla="*/ 1300198 h 6523037"/>
                <a:gd name="connsiteX3207" fmla="*/ 9481007 w 12192001"/>
                <a:gd name="connsiteY3207" fmla="*/ 1567435 h 6523037"/>
                <a:gd name="connsiteX3208" fmla="*/ 9740464 w 12192001"/>
                <a:gd name="connsiteY3208" fmla="*/ 1567435 h 6523037"/>
                <a:gd name="connsiteX3209" fmla="*/ 9610499 w 12192001"/>
                <a:gd name="connsiteY3209" fmla="*/ 1437470 h 6523037"/>
                <a:gd name="connsiteX3210" fmla="*/ 10845870 w 12192001"/>
                <a:gd name="connsiteY3210" fmla="*/ 1298421 h 6523037"/>
                <a:gd name="connsiteX3211" fmla="*/ 10844472 w 12192001"/>
                <a:gd name="connsiteY3211" fmla="*/ 1299119 h 6523037"/>
                <a:gd name="connsiteX3212" fmla="*/ 10580349 w 12192001"/>
                <a:gd name="connsiteY3212" fmla="*/ 1299119 h 6523037"/>
                <a:gd name="connsiteX3213" fmla="*/ 10851460 w 12192001"/>
                <a:gd name="connsiteY3213" fmla="*/ 1569531 h 6523037"/>
                <a:gd name="connsiteX3214" fmla="*/ 10847267 w 12192001"/>
                <a:gd name="connsiteY3214" fmla="*/ 1573723 h 6523037"/>
                <a:gd name="connsiteX3215" fmla="*/ 10852856 w 12192001"/>
                <a:gd name="connsiteY3215" fmla="*/ 1570929 h 6523037"/>
                <a:gd name="connsiteX3216" fmla="*/ 10582444 w 12192001"/>
                <a:gd name="connsiteY3216" fmla="*/ 1842040 h 6523037"/>
                <a:gd name="connsiteX3217" fmla="*/ 10846569 w 12192001"/>
                <a:gd name="connsiteY3217" fmla="*/ 1842040 h 6523037"/>
                <a:gd name="connsiteX3218" fmla="*/ 11116981 w 12192001"/>
                <a:gd name="connsiteY3218" fmla="*/ 1570929 h 6523037"/>
                <a:gd name="connsiteX3219" fmla="*/ 10845870 w 12192001"/>
                <a:gd name="connsiteY3219" fmla="*/ 1300517 h 6523037"/>
                <a:gd name="connsiteX3220" fmla="*/ 1802048 w 12192001"/>
                <a:gd name="connsiteY3220" fmla="*/ 1033150 h 6523037"/>
                <a:gd name="connsiteX3221" fmla="*/ 1531636 w 12192001"/>
                <a:gd name="connsiteY3221" fmla="*/ 1304261 h 6523037"/>
                <a:gd name="connsiteX3222" fmla="*/ 1802746 w 12192001"/>
                <a:gd name="connsiteY3222" fmla="*/ 1574673 h 6523037"/>
                <a:gd name="connsiteX3223" fmla="*/ 2066870 w 12192001"/>
                <a:gd name="connsiteY3223" fmla="*/ 1574673 h 6523037"/>
                <a:gd name="connsiteX3224" fmla="*/ 1795759 w 12192001"/>
                <a:gd name="connsiteY3224" fmla="*/ 1304261 h 6523037"/>
                <a:gd name="connsiteX3225" fmla="*/ 2066171 w 12192001"/>
                <a:gd name="connsiteY3225" fmla="*/ 1033150 h 6523037"/>
                <a:gd name="connsiteX3226" fmla="*/ 704328 w 12192001"/>
                <a:gd name="connsiteY3226" fmla="*/ 1033150 h 6523037"/>
                <a:gd name="connsiteX3227" fmla="*/ 433916 w 12192001"/>
                <a:gd name="connsiteY3227" fmla="*/ 1304261 h 6523037"/>
                <a:gd name="connsiteX3228" fmla="*/ 705027 w 12192001"/>
                <a:gd name="connsiteY3228" fmla="*/ 1574673 h 6523037"/>
                <a:gd name="connsiteX3229" fmla="*/ 969150 w 12192001"/>
                <a:gd name="connsiteY3229" fmla="*/ 1574673 h 6523037"/>
                <a:gd name="connsiteX3230" fmla="*/ 698039 w 12192001"/>
                <a:gd name="connsiteY3230" fmla="*/ 1304261 h 6523037"/>
                <a:gd name="connsiteX3231" fmla="*/ 967752 w 12192001"/>
                <a:gd name="connsiteY3231" fmla="*/ 1033150 h 6523037"/>
                <a:gd name="connsiteX3232" fmla="*/ 2899067 w 12192001"/>
                <a:gd name="connsiteY3232" fmla="*/ 1032451 h 6523037"/>
                <a:gd name="connsiteX3233" fmla="*/ 2718793 w 12192001"/>
                <a:gd name="connsiteY3233" fmla="*/ 1212727 h 6523037"/>
                <a:gd name="connsiteX3234" fmla="*/ 2629354 w 12192001"/>
                <a:gd name="connsiteY3234" fmla="*/ 1302864 h 6523037"/>
                <a:gd name="connsiteX3235" fmla="*/ 2763512 w 12192001"/>
                <a:gd name="connsiteY3235" fmla="*/ 1436323 h 6523037"/>
                <a:gd name="connsiteX3236" fmla="*/ 2900465 w 12192001"/>
                <a:gd name="connsiteY3236" fmla="*/ 1573275 h 6523037"/>
                <a:gd name="connsiteX3237" fmla="*/ 3164588 w 12192001"/>
                <a:gd name="connsiteY3237" fmla="*/ 1573275 h 6523037"/>
                <a:gd name="connsiteX3238" fmla="*/ 2893477 w 12192001"/>
                <a:gd name="connsiteY3238" fmla="*/ 1302864 h 6523037"/>
                <a:gd name="connsiteX3239" fmla="*/ 2894875 w 12192001"/>
                <a:gd name="connsiteY3239" fmla="*/ 1301467 h 6523037"/>
                <a:gd name="connsiteX3240" fmla="*/ 3163191 w 12192001"/>
                <a:gd name="connsiteY3240" fmla="*/ 1032451 h 6523037"/>
                <a:gd name="connsiteX3241" fmla="*/ 2350558 w 12192001"/>
                <a:gd name="connsiteY3241" fmla="*/ 1032451 h 6523037"/>
                <a:gd name="connsiteX3242" fmla="*/ 2080145 w 12192001"/>
                <a:gd name="connsiteY3242" fmla="*/ 1303562 h 6523037"/>
                <a:gd name="connsiteX3243" fmla="*/ 2351257 w 12192001"/>
                <a:gd name="connsiteY3243" fmla="*/ 1573974 h 6523037"/>
                <a:gd name="connsiteX3244" fmla="*/ 2615379 w 12192001"/>
                <a:gd name="connsiteY3244" fmla="*/ 1573974 h 6523037"/>
                <a:gd name="connsiteX3245" fmla="*/ 2344269 w 12192001"/>
                <a:gd name="connsiteY3245" fmla="*/ 1303562 h 6523037"/>
                <a:gd name="connsiteX3246" fmla="*/ 2528736 w 12192001"/>
                <a:gd name="connsiteY3246" fmla="*/ 1119096 h 6523037"/>
                <a:gd name="connsiteX3247" fmla="*/ 2614681 w 12192001"/>
                <a:gd name="connsiteY3247" fmla="*/ 1033150 h 6523037"/>
                <a:gd name="connsiteX3248" fmla="*/ 2356148 w 12192001"/>
                <a:gd name="connsiteY3248" fmla="*/ 1033150 h 6523037"/>
                <a:gd name="connsiteX3249" fmla="*/ 1252838 w 12192001"/>
                <a:gd name="connsiteY3249" fmla="*/ 1032451 h 6523037"/>
                <a:gd name="connsiteX3250" fmla="*/ 982426 w 12192001"/>
                <a:gd name="connsiteY3250" fmla="*/ 1303562 h 6523037"/>
                <a:gd name="connsiteX3251" fmla="*/ 1253537 w 12192001"/>
                <a:gd name="connsiteY3251" fmla="*/ 1573974 h 6523037"/>
                <a:gd name="connsiteX3252" fmla="*/ 1517660 w 12192001"/>
                <a:gd name="connsiteY3252" fmla="*/ 1573974 h 6523037"/>
                <a:gd name="connsiteX3253" fmla="*/ 1246550 w 12192001"/>
                <a:gd name="connsiteY3253" fmla="*/ 1303562 h 6523037"/>
                <a:gd name="connsiteX3254" fmla="*/ 1431017 w 12192001"/>
                <a:gd name="connsiteY3254" fmla="*/ 1119096 h 6523037"/>
                <a:gd name="connsiteX3255" fmla="*/ 1516962 w 12192001"/>
                <a:gd name="connsiteY3255" fmla="*/ 1032451 h 6523037"/>
                <a:gd name="connsiteX3256" fmla="*/ 3447578 w 12192001"/>
                <a:gd name="connsiteY3256" fmla="*/ 1031753 h 6523037"/>
                <a:gd name="connsiteX3257" fmla="*/ 3177166 w 12192001"/>
                <a:gd name="connsiteY3257" fmla="*/ 1302864 h 6523037"/>
                <a:gd name="connsiteX3258" fmla="*/ 3448276 w 12192001"/>
                <a:gd name="connsiteY3258" fmla="*/ 1573275 h 6523037"/>
                <a:gd name="connsiteX3259" fmla="*/ 3712400 w 12192001"/>
                <a:gd name="connsiteY3259" fmla="*/ 1573275 h 6523037"/>
                <a:gd name="connsiteX3260" fmla="*/ 3441289 w 12192001"/>
                <a:gd name="connsiteY3260" fmla="*/ 1302864 h 6523037"/>
                <a:gd name="connsiteX3261" fmla="*/ 3711701 w 12192001"/>
                <a:gd name="connsiteY3261" fmla="*/ 1031753 h 6523037"/>
                <a:gd name="connsiteX3262" fmla="*/ 4544599 w 12192001"/>
                <a:gd name="connsiteY3262" fmla="*/ 1030356 h 6523037"/>
                <a:gd name="connsiteX3263" fmla="*/ 4274187 w 12192001"/>
                <a:gd name="connsiteY3263" fmla="*/ 1301467 h 6523037"/>
                <a:gd name="connsiteX3264" fmla="*/ 4545297 w 12192001"/>
                <a:gd name="connsiteY3264" fmla="*/ 1571878 h 6523037"/>
                <a:gd name="connsiteX3265" fmla="*/ 4806712 w 12192001"/>
                <a:gd name="connsiteY3265" fmla="*/ 1571878 h 6523037"/>
                <a:gd name="connsiteX3266" fmla="*/ 4660106 w 12192001"/>
                <a:gd name="connsiteY3266" fmla="*/ 1425273 h 6523037"/>
                <a:gd name="connsiteX3267" fmla="*/ 4660106 w 12192001"/>
                <a:gd name="connsiteY3267" fmla="*/ 1422949 h 6523037"/>
                <a:gd name="connsiteX3268" fmla="*/ 4538310 w 12192001"/>
                <a:gd name="connsiteY3268" fmla="*/ 1301467 h 6523037"/>
                <a:gd name="connsiteX3269" fmla="*/ 4660106 w 12192001"/>
                <a:gd name="connsiteY3269" fmla="*/ 1179209 h 6523037"/>
                <a:gd name="connsiteX3270" fmla="*/ 4660106 w 12192001"/>
                <a:gd name="connsiteY3270" fmla="*/ 1175123 h 6523037"/>
                <a:gd name="connsiteX3271" fmla="*/ 4804873 w 12192001"/>
                <a:gd name="connsiteY3271" fmla="*/ 1030356 h 6523037"/>
                <a:gd name="connsiteX3272" fmla="*/ 3995389 w 12192001"/>
                <a:gd name="connsiteY3272" fmla="*/ 1030356 h 6523037"/>
                <a:gd name="connsiteX3273" fmla="*/ 3724977 w 12192001"/>
                <a:gd name="connsiteY3273" fmla="*/ 1301467 h 6523037"/>
                <a:gd name="connsiteX3274" fmla="*/ 3996088 w 12192001"/>
                <a:gd name="connsiteY3274" fmla="*/ 1571878 h 6523037"/>
                <a:gd name="connsiteX3275" fmla="*/ 4064564 w 12192001"/>
                <a:gd name="connsiteY3275" fmla="*/ 1571878 h 6523037"/>
                <a:gd name="connsiteX3276" fmla="*/ 4061071 w 12192001"/>
                <a:gd name="connsiteY3276" fmla="*/ 1578866 h 6523037"/>
                <a:gd name="connsiteX3277" fmla="*/ 3996088 w 12192001"/>
                <a:gd name="connsiteY3277" fmla="*/ 1578866 h 6523037"/>
                <a:gd name="connsiteX3278" fmla="*/ 3815814 w 12192001"/>
                <a:gd name="connsiteY3278" fmla="*/ 1759839 h 6523037"/>
                <a:gd name="connsiteX3279" fmla="*/ 3726375 w 12192001"/>
                <a:gd name="connsiteY3279" fmla="*/ 1849977 h 6523037"/>
                <a:gd name="connsiteX3280" fmla="*/ 3859834 w 12192001"/>
                <a:gd name="connsiteY3280" fmla="*/ 1983435 h 6523037"/>
                <a:gd name="connsiteX3281" fmla="*/ 3857039 w 12192001"/>
                <a:gd name="connsiteY3281" fmla="*/ 1989025 h 6523037"/>
                <a:gd name="connsiteX3282" fmla="*/ 3857739 w 12192001"/>
                <a:gd name="connsiteY3282" fmla="*/ 1989722 h 6523037"/>
                <a:gd name="connsiteX3283" fmla="*/ 3857039 w 12192001"/>
                <a:gd name="connsiteY3283" fmla="*/ 1991122 h 6523037"/>
                <a:gd name="connsiteX3284" fmla="*/ 3720086 w 12192001"/>
                <a:gd name="connsiteY3284" fmla="*/ 1854169 h 6523037"/>
                <a:gd name="connsiteX3285" fmla="*/ 3455963 w 12192001"/>
                <a:gd name="connsiteY3285" fmla="*/ 1854169 h 6523037"/>
                <a:gd name="connsiteX3286" fmla="*/ 3727074 w 12192001"/>
                <a:gd name="connsiteY3286" fmla="*/ 2124581 h 6523037"/>
                <a:gd name="connsiteX3287" fmla="*/ 3456662 w 12192001"/>
                <a:gd name="connsiteY3287" fmla="*/ 2395692 h 6523037"/>
                <a:gd name="connsiteX3288" fmla="*/ 3654754 w 12192001"/>
                <a:gd name="connsiteY3288" fmla="*/ 2395692 h 6523037"/>
                <a:gd name="connsiteX3289" fmla="*/ 3652309 w 12192001"/>
                <a:gd name="connsiteY3289" fmla="*/ 2400583 h 6523037"/>
                <a:gd name="connsiteX3290" fmla="*/ 3652658 w 12192001"/>
                <a:gd name="connsiteY3290" fmla="*/ 2400583 h 6523037"/>
                <a:gd name="connsiteX3291" fmla="*/ 3651610 w 12192001"/>
                <a:gd name="connsiteY3291" fmla="*/ 2402679 h 6523037"/>
                <a:gd name="connsiteX3292" fmla="*/ 3456662 w 12192001"/>
                <a:gd name="connsiteY3292" fmla="*/ 2402679 h 6523037"/>
                <a:gd name="connsiteX3293" fmla="*/ 3586394 w 12192001"/>
                <a:gd name="connsiteY3293" fmla="*/ 2532412 h 6523037"/>
                <a:gd name="connsiteX3294" fmla="*/ 3583832 w 12192001"/>
                <a:gd name="connsiteY3294" fmla="*/ 2537535 h 6523037"/>
                <a:gd name="connsiteX3295" fmla="*/ 3584065 w 12192001"/>
                <a:gd name="connsiteY3295" fmla="*/ 2537768 h 6523037"/>
                <a:gd name="connsiteX3296" fmla="*/ 3583133 w 12192001"/>
                <a:gd name="connsiteY3296" fmla="*/ 2539632 h 6523037"/>
                <a:gd name="connsiteX3297" fmla="*/ 3442687 w 12192001"/>
                <a:gd name="connsiteY3297" fmla="*/ 2399185 h 6523037"/>
                <a:gd name="connsiteX3298" fmla="*/ 3713099 w 12192001"/>
                <a:gd name="connsiteY3298" fmla="*/ 2128074 h 6523037"/>
                <a:gd name="connsiteX3299" fmla="*/ 3448975 w 12192001"/>
                <a:gd name="connsiteY3299" fmla="*/ 2128074 h 6523037"/>
                <a:gd name="connsiteX3300" fmla="*/ 3178563 w 12192001"/>
                <a:gd name="connsiteY3300" fmla="*/ 2399185 h 6523037"/>
                <a:gd name="connsiteX3301" fmla="*/ 3448975 w 12192001"/>
                <a:gd name="connsiteY3301" fmla="*/ 2670296 h 6523037"/>
                <a:gd name="connsiteX3302" fmla="*/ 3517452 w 12192001"/>
                <a:gd name="connsiteY3302" fmla="*/ 2670296 h 6523037"/>
                <a:gd name="connsiteX3303" fmla="*/ 3518849 w 12192001"/>
                <a:gd name="connsiteY3303" fmla="*/ 2667501 h 6523037"/>
                <a:gd name="connsiteX3304" fmla="*/ 3713797 w 12192001"/>
                <a:gd name="connsiteY3304" fmla="*/ 2667501 h 6523037"/>
                <a:gd name="connsiteX3305" fmla="*/ 3584065 w 12192001"/>
                <a:gd name="connsiteY3305" fmla="*/ 2537768 h 6523037"/>
                <a:gd name="connsiteX3306" fmla="*/ 3586627 w 12192001"/>
                <a:gd name="connsiteY3306" fmla="*/ 2532645 h 6523037"/>
                <a:gd name="connsiteX3307" fmla="*/ 3586394 w 12192001"/>
                <a:gd name="connsiteY3307" fmla="*/ 2532412 h 6523037"/>
                <a:gd name="connsiteX3308" fmla="*/ 3587326 w 12192001"/>
                <a:gd name="connsiteY3308" fmla="*/ 2530548 h 6523037"/>
                <a:gd name="connsiteX3309" fmla="*/ 3727772 w 12192001"/>
                <a:gd name="connsiteY3309" fmla="*/ 2670995 h 6523037"/>
                <a:gd name="connsiteX3310" fmla="*/ 3457360 w 12192001"/>
                <a:gd name="connsiteY3310" fmla="*/ 2942106 h 6523037"/>
                <a:gd name="connsiteX3311" fmla="*/ 3721484 w 12192001"/>
                <a:gd name="connsiteY3311" fmla="*/ 2942106 h 6523037"/>
                <a:gd name="connsiteX3312" fmla="*/ 3991896 w 12192001"/>
                <a:gd name="connsiteY3312" fmla="*/ 2670995 h 6523037"/>
                <a:gd name="connsiteX3313" fmla="*/ 3720785 w 12192001"/>
                <a:gd name="connsiteY3313" fmla="*/ 2400583 h 6523037"/>
                <a:gd name="connsiteX3314" fmla="*/ 3652658 w 12192001"/>
                <a:gd name="connsiteY3314" fmla="*/ 2400583 h 6523037"/>
                <a:gd name="connsiteX3315" fmla="*/ 3655103 w 12192001"/>
                <a:gd name="connsiteY3315" fmla="*/ 2395692 h 6523037"/>
                <a:gd name="connsiteX3316" fmla="*/ 3654754 w 12192001"/>
                <a:gd name="connsiteY3316" fmla="*/ 2395692 h 6523037"/>
                <a:gd name="connsiteX3317" fmla="*/ 3655802 w 12192001"/>
                <a:gd name="connsiteY3317" fmla="*/ 2393595 h 6523037"/>
                <a:gd name="connsiteX3318" fmla="*/ 3720785 w 12192001"/>
                <a:gd name="connsiteY3318" fmla="*/ 2393595 h 6523037"/>
                <a:gd name="connsiteX3319" fmla="*/ 3991197 w 12192001"/>
                <a:gd name="connsiteY3319" fmla="*/ 2122484 h 6523037"/>
                <a:gd name="connsiteX3320" fmla="*/ 3857739 w 12192001"/>
                <a:gd name="connsiteY3320" fmla="*/ 1989722 h 6523037"/>
                <a:gd name="connsiteX3321" fmla="*/ 3860533 w 12192001"/>
                <a:gd name="connsiteY3321" fmla="*/ 1984134 h 6523037"/>
                <a:gd name="connsiteX3322" fmla="*/ 3859834 w 12192001"/>
                <a:gd name="connsiteY3322" fmla="*/ 1983435 h 6523037"/>
                <a:gd name="connsiteX3323" fmla="*/ 3860533 w 12192001"/>
                <a:gd name="connsiteY3323" fmla="*/ 1982038 h 6523037"/>
                <a:gd name="connsiteX3324" fmla="*/ 3997486 w 12192001"/>
                <a:gd name="connsiteY3324" fmla="*/ 2118991 h 6523037"/>
                <a:gd name="connsiteX3325" fmla="*/ 4261609 w 12192001"/>
                <a:gd name="connsiteY3325" fmla="*/ 2118991 h 6523037"/>
                <a:gd name="connsiteX3326" fmla="*/ 3990498 w 12192001"/>
                <a:gd name="connsiteY3326" fmla="*/ 1848579 h 6523037"/>
                <a:gd name="connsiteX3327" fmla="*/ 3991896 w 12192001"/>
                <a:gd name="connsiteY3327" fmla="*/ 1847181 h 6523037"/>
                <a:gd name="connsiteX3328" fmla="*/ 4260212 w 12192001"/>
                <a:gd name="connsiteY3328" fmla="*/ 1578167 h 6523037"/>
                <a:gd name="connsiteX3329" fmla="*/ 4061770 w 12192001"/>
                <a:gd name="connsiteY3329" fmla="*/ 1578167 h 6523037"/>
                <a:gd name="connsiteX3330" fmla="*/ 4065263 w 12192001"/>
                <a:gd name="connsiteY3330" fmla="*/ 1571180 h 6523037"/>
                <a:gd name="connsiteX3331" fmla="*/ 4260212 w 12192001"/>
                <a:gd name="connsiteY3331" fmla="*/ 1571180 h 6523037"/>
                <a:gd name="connsiteX3332" fmla="*/ 4130246 w 12192001"/>
                <a:gd name="connsiteY3332" fmla="*/ 1441215 h 6523037"/>
                <a:gd name="connsiteX3333" fmla="*/ 4133739 w 12192001"/>
                <a:gd name="connsiteY3333" fmla="*/ 1434227 h 6523037"/>
                <a:gd name="connsiteX3334" fmla="*/ 4274187 w 12192001"/>
                <a:gd name="connsiteY3334" fmla="*/ 1574673 h 6523037"/>
                <a:gd name="connsiteX3335" fmla="*/ 4003774 w 12192001"/>
                <a:gd name="connsiteY3335" fmla="*/ 1845784 h 6523037"/>
                <a:gd name="connsiteX3336" fmla="*/ 4267898 w 12192001"/>
                <a:gd name="connsiteY3336" fmla="*/ 1845784 h 6523037"/>
                <a:gd name="connsiteX3337" fmla="*/ 4538310 w 12192001"/>
                <a:gd name="connsiteY3337" fmla="*/ 1574673 h 6523037"/>
                <a:gd name="connsiteX3338" fmla="*/ 4267200 w 12192001"/>
                <a:gd name="connsiteY3338" fmla="*/ 1304960 h 6523037"/>
                <a:gd name="connsiteX3339" fmla="*/ 4198724 w 12192001"/>
                <a:gd name="connsiteY3339" fmla="*/ 1304960 h 6523037"/>
                <a:gd name="connsiteX3340" fmla="*/ 4003774 w 12192001"/>
                <a:gd name="connsiteY3340" fmla="*/ 1304960 h 6523037"/>
                <a:gd name="connsiteX3341" fmla="*/ 4133040 w 12192001"/>
                <a:gd name="connsiteY3341" fmla="*/ 1434926 h 6523037"/>
                <a:gd name="connsiteX3342" fmla="*/ 4129547 w 12192001"/>
                <a:gd name="connsiteY3342" fmla="*/ 1441912 h 6523037"/>
                <a:gd name="connsiteX3343" fmla="*/ 3989100 w 12192001"/>
                <a:gd name="connsiteY3343" fmla="*/ 1301467 h 6523037"/>
                <a:gd name="connsiteX3344" fmla="*/ 4259512 w 12192001"/>
                <a:gd name="connsiteY3344" fmla="*/ 1030356 h 6523037"/>
                <a:gd name="connsiteX3345" fmla="*/ 4819080 w 12192001"/>
                <a:gd name="connsiteY3345" fmla="*/ 1029786 h 6523037"/>
                <a:gd name="connsiteX3346" fmla="*/ 4551587 w 12192001"/>
                <a:gd name="connsiteY3346" fmla="*/ 1297972 h 6523037"/>
                <a:gd name="connsiteX3347" fmla="*/ 4811861 w 12192001"/>
                <a:gd name="connsiteY3347" fmla="*/ 1297972 h 6523037"/>
                <a:gd name="connsiteX3348" fmla="*/ 5080048 w 12192001"/>
                <a:gd name="connsiteY3348" fmla="*/ 1029786 h 6523037"/>
                <a:gd name="connsiteX3349" fmla="*/ 6462154 w 12192001"/>
                <a:gd name="connsiteY3349" fmla="*/ 1028388 h 6523037"/>
                <a:gd name="connsiteX3350" fmla="*/ 6191742 w 12192001"/>
                <a:gd name="connsiteY3350" fmla="*/ 1299499 h 6523037"/>
                <a:gd name="connsiteX3351" fmla="*/ 6462852 w 12192001"/>
                <a:gd name="connsiteY3351" fmla="*/ 1569911 h 6523037"/>
                <a:gd name="connsiteX3352" fmla="*/ 6726977 w 12192001"/>
                <a:gd name="connsiteY3352" fmla="*/ 1569911 h 6523037"/>
                <a:gd name="connsiteX3353" fmla="*/ 6455865 w 12192001"/>
                <a:gd name="connsiteY3353" fmla="*/ 1299499 h 6523037"/>
                <a:gd name="connsiteX3354" fmla="*/ 6726277 w 12192001"/>
                <a:gd name="connsiteY3354" fmla="*/ 1028388 h 6523037"/>
                <a:gd name="connsiteX3355" fmla="*/ 5364435 w 12192001"/>
                <a:gd name="connsiteY3355" fmla="*/ 1028388 h 6523037"/>
                <a:gd name="connsiteX3356" fmla="*/ 5094022 w 12192001"/>
                <a:gd name="connsiteY3356" fmla="*/ 1299499 h 6523037"/>
                <a:gd name="connsiteX3357" fmla="*/ 5365133 w 12192001"/>
                <a:gd name="connsiteY3357" fmla="*/ 1569911 h 6523037"/>
                <a:gd name="connsiteX3358" fmla="*/ 5629256 w 12192001"/>
                <a:gd name="connsiteY3358" fmla="*/ 1569911 h 6523037"/>
                <a:gd name="connsiteX3359" fmla="*/ 5358145 w 12192001"/>
                <a:gd name="connsiteY3359" fmla="*/ 1299499 h 6523037"/>
                <a:gd name="connsiteX3360" fmla="*/ 5627858 w 12192001"/>
                <a:gd name="connsiteY3360" fmla="*/ 1028388 h 6523037"/>
                <a:gd name="connsiteX3361" fmla="*/ 7559173 w 12192001"/>
                <a:gd name="connsiteY3361" fmla="*/ 1027689 h 6523037"/>
                <a:gd name="connsiteX3362" fmla="*/ 7378899 w 12192001"/>
                <a:gd name="connsiteY3362" fmla="*/ 1207965 h 6523037"/>
                <a:gd name="connsiteX3363" fmla="*/ 7289460 w 12192001"/>
                <a:gd name="connsiteY3363" fmla="*/ 1298102 h 6523037"/>
                <a:gd name="connsiteX3364" fmla="*/ 7423618 w 12192001"/>
                <a:gd name="connsiteY3364" fmla="*/ 1431561 h 6523037"/>
                <a:gd name="connsiteX3365" fmla="*/ 7560571 w 12192001"/>
                <a:gd name="connsiteY3365" fmla="*/ 1568513 h 6523037"/>
                <a:gd name="connsiteX3366" fmla="*/ 7824694 w 12192001"/>
                <a:gd name="connsiteY3366" fmla="*/ 1568513 h 6523037"/>
                <a:gd name="connsiteX3367" fmla="*/ 7553583 w 12192001"/>
                <a:gd name="connsiteY3367" fmla="*/ 1298102 h 6523037"/>
                <a:gd name="connsiteX3368" fmla="*/ 7554981 w 12192001"/>
                <a:gd name="connsiteY3368" fmla="*/ 1296705 h 6523037"/>
                <a:gd name="connsiteX3369" fmla="*/ 7823297 w 12192001"/>
                <a:gd name="connsiteY3369" fmla="*/ 1027689 h 6523037"/>
                <a:gd name="connsiteX3370" fmla="*/ 7010664 w 12192001"/>
                <a:gd name="connsiteY3370" fmla="*/ 1027689 h 6523037"/>
                <a:gd name="connsiteX3371" fmla="*/ 6740251 w 12192001"/>
                <a:gd name="connsiteY3371" fmla="*/ 1298800 h 6523037"/>
                <a:gd name="connsiteX3372" fmla="*/ 7011363 w 12192001"/>
                <a:gd name="connsiteY3372" fmla="*/ 1569212 h 6523037"/>
                <a:gd name="connsiteX3373" fmla="*/ 7275485 w 12192001"/>
                <a:gd name="connsiteY3373" fmla="*/ 1569212 h 6523037"/>
                <a:gd name="connsiteX3374" fmla="*/ 7004375 w 12192001"/>
                <a:gd name="connsiteY3374" fmla="*/ 1298800 h 6523037"/>
                <a:gd name="connsiteX3375" fmla="*/ 7188842 w 12192001"/>
                <a:gd name="connsiteY3375" fmla="*/ 1114334 h 6523037"/>
                <a:gd name="connsiteX3376" fmla="*/ 7274787 w 12192001"/>
                <a:gd name="connsiteY3376" fmla="*/ 1028388 h 6523037"/>
                <a:gd name="connsiteX3377" fmla="*/ 7016254 w 12192001"/>
                <a:gd name="connsiteY3377" fmla="*/ 1028388 h 6523037"/>
                <a:gd name="connsiteX3378" fmla="*/ 5912945 w 12192001"/>
                <a:gd name="connsiteY3378" fmla="*/ 1027689 h 6523037"/>
                <a:gd name="connsiteX3379" fmla="*/ 5642533 w 12192001"/>
                <a:gd name="connsiteY3379" fmla="*/ 1298800 h 6523037"/>
                <a:gd name="connsiteX3380" fmla="*/ 5913643 w 12192001"/>
                <a:gd name="connsiteY3380" fmla="*/ 1569212 h 6523037"/>
                <a:gd name="connsiteX3381" fmla="*/ 6177766 w 12192001"/>
                <a:gd name="connsiteY3381" fmla="*/ 1569212 h 6523037"/>
                <a:gd name="connsiteX3382" fmla="*/ 5906656 w 12192001"/>
                <a:gd name="connsiteY3382" fmla="*/ 1298800 h 6523037"/>
                <a:gd name="connsiteX3383" fmla="*/ 6091123 w 12192001"/>
                <a:gd name="connsiteY3383" fmla="*/ 1114334 h 6523037"/>
                <a:gd name="connsiteX3384" fmla="*/ 6177068 w 12192001"/>
                <a:gd name="connsiteY3384" fmla="*/ 1027689 h 6523037"/>
                <a:gd name="connsiteX3385" fmla="*/ 8107684 w 12192001"/>
                <a:gd name="connsiteY3385" fmla="*/ 1026991 h 6523037"/>
                <a:gd name="connsiteX3386" fmla="*/ 7837272 w 12192001"/>
                <a:gd name="connsiteY3386" fmla="*/ 1298102 h 6523037"/>
                <a:gd name="connsiteX3387" fmla="*/ 8108382 w 12192001"/>
                <a:gd name="connsiteY3387" fmla="*/ 1568513 h 6523037"/>
                <a:gd name="connsiteX3388" fmla="*/ 8372506 w 12192001"/>
                <a:gd name="connsiteY3388" fmla="*/ 1568513 h 6523037"/>
                <a:gd name="connsiteX3389" fmla="*/ 8101395 w 12192001"/>
                <a:gd name="connsiteY3389" fmla="*/ 1298102 h 6523037"/>
                <a:gd name="connsiteX3390" fmla="*/ 8371807 w 12192001"/>
                <a:gd name="connsiteY3390" fmla="*/ 1026991 h 6523037"/>
                <a:gd name="connsiteX3391" fmla="*/ 9477604 w 12192001"/>
                <a:gd name="connsiteY3391" fmla="*/ 1026611 h 6523037"/>
                <a:gd name="connsiteX3392" fmla="*/ 9211692 w 12192001"/>
                <a:gd name="connsiteY3392" fmla="*/ 1293210 h 6523037"/>
                <a:gd name="connsiteX3393" fmla="*/ 9473865 w 12192001"/>
                <a:gd name="connsiteY3393" fmla="*/ 1293210 h 6523037"/>
                <a:gd name="connsiteX3394" fmla="*/ 9740464 w 12192001"/>
                <a:gd name="connsiteY3394" fmla="*/ 1026611 h 6523037"/>
                <a:gd name="connsiteX3395" fmla="*/ 9204704 w 12192001"/>
                <a:gd name="connsiteY3395" fmla="*/ 1025594 h 6523037"/>
                <a:gd name="connsiteX3396" fmla="*/ 8934292 w 12192001"/>
                <a:gd name="connsiteY3396" fmla="*/ 1296705 h 6523037"/>
                <a:gd name="connsiteX3397" fmla="*/ 9205403 w 12192001"/>
                <a:gd name="connsiteY3397" fmla="*/ 1567116 h 6523037"/>
                <a:gd name="connsiteX3398" fmla="*/ 9465541 w 12192001"/>
                <a:gd name="connsiteY3398" fmla="*/ 1567116 h 6523037"/>
                <a:gd name="connsiteX3399" fmla="*/ 9320523 w 12192001"/>
                <a:gd name="connsiteY3399" fmla="*/ 1422098 h 6523037"/>
                <a:gd name="connsiteX3400" fmla="*/ 9320523 w 12192001"/>
                <a:gd name="connsiteY3400" fmla="*/ 1418497 h 6523037"/>
                <a:gd name="connsiteX3401" fmla="*/ 9198416 w 12192001"/>
                <a:gd name="connsiteY3401" fmla="*/ 1296705 h 6523037"/>
                <a:gd name="connsiteX3402" fmla="*/ 9320523 w 12192001"/>
                <a:gd name="connsiteY3402" fmla="*/ 1174135 h 6523037"/>
                <a:gd name="connsiteX3403" fmla="*/ 9320523 w 12192001"/>
                <a:gd name="connsiteY3403" fmla="*/ 1171948 h 6523037"/>
                <a:gd name="connsiteX3404" fmla="*/ 9466877 w 12192001"/>
                <a:gd name="connsiteY3404" fmla="*/ 1025594 h 6523037"/>
                <a:gd name="connsiteX3405" fmla="*/ 8655495 w 12192001"/>
                <a:gd name="connsiteY3405" fmla="*/ 1025594 h 6523037"/>
                <a:gd name="connsiteX3406" fmla="*/ 8385083 w 12192001"/>
                <a:gd name="connsiteY3406" fmla="*/ 1296705 h 6523037"/>
                <a:gd name="connsiteX3407" fmla="*/ 8656194 w 12192001"/>
                <a:gd name="connsiteY3407" fmla="*/ 1567116 h 6523037"/>
                <a:gd name="connsiteX3408" fmla="*/ 8724670 w 12192001"/>
                <a:gd name="connsiteY3408" fmla="*/ 1567116 h 6523037"/>
                <a:gd name="connsiteX3409" fmla="*/ 8721177 w 12192001"/>
                <a:gd name="connsiteY3409" fmla="*/ 1574104 h 6523037"/>
                <a:gd name="connsiteX3410" fmla="*/ 8656194 w 12192001"/>
                <a:gd name="connsiteY3410" fmla="*/ 1574104 h 6523037"/>
                <a:gd name="connsiteX3411" fmla="*/ 8475920 w 12192001"/>
                <a:gd name="connsiteY3411" fmla="*/ 1755077 h 6523037"/>
                <a:gd name="connsiteX3412" fmla="*/ 8386481 w 12192001"/>
                <a:gd name="connsiteY3412" fmla="*/ 1845215 h 6523037"/>
                <a:gd name="connsiteX3413" fmla="*/ 8519940 w 12192001"/>
                <a:gd name="connsiteY3413" fmla="*/ 1978673 h 6523037"/>
                <a:gd name="connsiteX3414" fmla="*/ 8517145 w 12192001"/>
                <a:gd name="connsiteY3414" fmla="*/ 1984263 h 6523037"/>
                <a:gd name="connsiteX3415" fmla="*/ 8517845 w 12192001"/>
                <a:gd name="connsiteY3415" fmla="*/ 1984960 h 6523037"/>
                <a:gd name="connsiteX3416" fmla="*/ 8517145 w 12192001"/>
                <a:gd name="connsiteY3416" fmla="*/ 1986360 h 6523037"/>
                <a:gd name="connsiteX3417" fmla="*/ 8380192 w 12192001"/>
                <a:gd name="connsiteY3417" fmla="*/ 1849407 h 6523037"/>
                <a:gd name="connsiteX3418" fmla="*/ 8116069 w 12192001"/>
                <a:gd name="connsiteY3418" fmla="*/ 1849407 h 6523037"/>
                <a:gd name="connsiteX3419" fmla="*/ 8387180 w 12192001"/>
                <a:gd name="connsiteY3419" fmla="*/ 2119819 h 6523037"/>
                <a:gd name="connsiteX3420" fmla="*/ 8116768 w 12192001"/>
                <a:gd name="connsiteY3420" fmla="*/ 2390930 h 6523037"/>
                <a:gd name="connsiteX3421" fmla="*/ 8314860 w 12192001"/>
                <a:gd name="connsiteY3421" fmla="*/ 2390930 h 6523037"/>
                <a:gd name="connsiteX3422" fmla="*/ 8312415 w 12192001"/>
                <a:gd name="connsiteY3422" fmla="*/ 2395821 h 6523037"/>
                <a:gd name="connsiteX3423" fmla="*/ 8312764 w 12192001"/>
                <a:gd name="connsiteY3423" fmla="*/ 2395821 h 6523037"/>
                <a:gd name="connsiteX3424" fmla="*/ 8311716 w 12192001"/>
                <a:gd name="connsiteY3424" fmla="*/ 2397917 h 6523037"/>
                <a:gd name="connsiteX3425" fmla="*/ 8116768 w 12192001"/>
                <a:gd name="connsiteY3425" fmla="*/ 2397917 h 6523037"/>
                <a:gd name="connsiteX3426" fmla="*/ 8246500 w 12192001"/>
                <a:gd name="connsiteY3426" fmla="*/ 2527650 h 6523037"/>
                <a:gd name="connsiteX3427" fmla="*/ 8243938 w 12192001"/>
                <a:gd name="connsiteY3427" fmla="*/ 2532773 h 6523037"/>
                <a:gd name="connsiteX3428" fmla="*/ 8244171 w 12192001"/>
                <a:gd name="connsiteY3428" fmla="*/ 2533006 h 6523037"/>
                <a:gd name="connsiteX3429" fmla="*/ 8243239 w 12192001"/>
                <a:gd name="connsiteY3429" fmla="*/ 2534870 h 6523037"/>
                <a:gd name="connsiteX3430" fmla="*/ 8102793 w 12192001"/>
                <a:gd name="connsiteY3430" fmla="*/ 2394423 h 6523037"/>
                <a:gd name="connsiteX3431" fmla="*/ 8373205 w 12192001"/>
                <a:gd name="connsiteY3431" fmla="*/ 2123312 h 6523037"/>
                <a:gd name="connsiteX3432" fmla="*/ 8109081 w 12192001"/>
                <a:gd name="connsiteY3432" fmla="*/ 2123312 h 6523037"/>
                <a:gd name="connsiteX3433" fmla="*/ 7838669 w 12192001"/>
                <a:gd name="connsiteY3433" fmla="*/ 2394423 h 6523037"/>
                <a:gd name="connsiteX3434" fmla="*/ 8109081 w 12192001"/>
                <a:gd name="connsiteY3434" fmla="*/ 2665534 h 6523037"/>
                <a:gd name="connsiteX3435" fmla="*/ 8177558 w 12192001"/>
                <a:gd name="connsiteY3435" fmla="*/ 2665534 h 6523037"/>
                <a:gd name="connsiteX3436" fmla="*/ 8178955 w 12192001"/>
                <a:gd name="connsiteY3436" fmla="*/ 2662739 h 6523037"/>
                <a:gd name="connsiteX3437" fmla="*/ 8373903 w 12192001"/>
                <a:gd name="connsiteY3437" fmla="*/ 2662739 h 6523037"/>
                <a:gd name="connsiteX3438" fmla="*/ 8244171 w 12192001"/>
                <a:gd name="connsiteY3438" fmla="*/ 2533006 h 6523037"/>
                <a:gd name="connsiteX3439" fmla="*/ 8246733 w 12192001"/>
                <a:gd name="connsiteY3439" fmla="*/ 2527883 h 6523037"/>
                <a:gd name="connsiteX3440" fmla="*/ 8246500 w 12192001"/>
                <a:gd name="connsiteY3440" fmla="*/ 2527650 h 6523037"/>
                <a:gd name="connsiteX3441" fmla="*/ 8247432 w 12192001"/>
                <a:gd name="connsiteY3441" fmla="*/ 2525786 h 6523037"/>
                <a:gd name="connsiteX3442" fmla="*/ 8387878 w 12192001"/>
                <a:gd name="connsiteY3442" fmla="*/ 2666233 h 6523037"/>
                <a:gd name="connsiteX3443" fmla="*/ 8117466 w 12192001"/>
                <a:gd name="connsiteY3443" fmla="*/ 2937344 h 6523037"/>
                <a:gd name="connsiteX3444" fmla="*/ 8381590 w 12192001"/>
                <a:gd name="connsiteY3444" fmla="*/ 2937344 h 6523037"/>
                <a:gd name="connsiteX3445" fmla="*/ 8652002 w 12192001"/>
                <a:gd name="connsiteY3445" fmla="*/ 2666233 h 6523037"/>
                <a:gd name="connsiteX3446" fmla="*/ 8380891 w 12192001"/>
                <a:gd name="connsiteY3446" fmla="*/ 2395821 h 6523037"/>
                <a:gd name="connsiteX3447" fmla="*/ 8312764 w 12192001"/>
                <a:gd name="connsiteY3447" fmla="*/ 2395821 h 6523037"/>
                <a:gd name="connsiteX3448" fmla="*/ 8315209 w 12192001"/>
                <a:gd name="connsiteY3448" fmla="*/ 2390930 h 6523037"/>
                <a:gd name="connsiteX3449" fmla="*/ 8314860 w 12192001"/>
                <a:gd name="connsiteY3449" fmla="*/ 2390930 h 6523037"/>
                <a:gd name="connsiteX3450" fmla="*/ 8315908 w 12192001"/>
                <a:gd name="connsiteY3450" fmla="*/ 2388833 h 6523037"/>
                <a:gd name="connsiteX3451" fmla="*/ 8380891 w 12192001"/>
                <a:gd name="connsiteY3451" fmla="*/ 2388833 h 6523037"/>
                <a:gd name="connsiteX3452" fmla="*/ 8651303 w 12192001"/>
                <a:gd name="connsiteY3452" fmla="*/ 2117722 h 6523037"/>
                <a:gd name="connsiteX3453" fmla="*/ 8517845 w 12192001"/>
                <a:gd name="connsiteY3453" fmla="*/ 1984960 h 6523037"/>
                <a:gd name="connsiteX3454" fmla="*/ 8520639 w 12192001"/>
                <a:gd name="connsiteY3454" fmla="*/ 1979372 h 6523037"/>
                <a:gd name="connsiteX3455" fmla="*/ 8519940 w 12192001"/>
                <a:gd name="connsiteY3455" fmla="*/ 1978673 h 6523037"/>
                <a:gd name="connsiteX3456" fmla="*/ 8520639 w 12192001"/>
                <a:gd name="connsiteY3456" fmla="*/ 1977276 h 6523037"/>
                <a:gd name="connsiteX3457" fmla="*/ 8657592 w 12192001"/>
                <a:gd name="connsiteY3457" fmla="*/ 2114230 h 6523037"/>
                <a:gd name="connsiteX3458" fmla="*/ 8921715 w 12192001"/>
                <a:gd name="connsiteY3458" fmla="*/ 2114230 h 6523037"/>
                <a:gd name="connsiteX3459" fmla="*/ 8650604 w 12192001"/>
                <a:gd name="connsiteY3459" fmla="*/ 1843817 h 6523037"/>
                <a:gd name="connsiteX3460" fmla="*/ 8652002 w 12192001"/>
                <a:gd name="connsiteY3460" fmla="*/ 1842419 h 6523037"/>
                <a:gd name="connsiteX3461" fmla="*/ 8920317 w 12192001"/>
                <a:gd name="connsiteY3461" fmla="*/ 1573405 h 6523037"/>
                <a:gd name="connsiteX3462" fmla="*/ 8721876 w 12192001"/>
                <a:gd name="connsiteY3462" fmla="*/ 1573405 h 6523037"/>
                <a:gd name="connsiteX3463" fmla="*/ 8725369 w 12192001"/>
                <a:gd name="connsiteY3463" fmla="*/ 1566418 h 6523037"/>
                <a:gd name="connsiteX3464" fmla="*/ 8920317 w 12192001"/>
                <a:gd name="connsiteY3464" fmla="*/ 1566418 h 6523037"/>
                <a:gd name="connsiteX3465" fmla="*/ 8790352 w 12192001"/>
                <a:gd name="connsiteY3465" fmla="*/ 1436453 h 6523037"/>
                <a:gd name="connsiteX3466" fmla="*/ 8793845 w 12192001"/>
                <a:gd name="connsiteY3466" fmla="*/ 1429465 h 6523037"/>
                <a:gd name="connsiteX3467" fmla="*/ 8934292 w 12192001"/>
                <a:gd name="connsiteY3467" fmla="*/ 1569911 h 6523037"/>
                <a:gd name="connsiteX3468" fmla="*/ 8663880 w 12192001"/>
                <a:gd name="connsiteY3468" fmla="*/ 1841022 h 6523037"/>
                <a:gd name="connsiteX3469" fmla="*/ 8928004 w 12192001"/>
                <a:gd name="connsiteY3469" fmla="*/ 1841022 h 6523037"/>
                <a:gd name="connsiteX3470" fmla="*/ 9198416 w 12192001"/>
                <a:gd name="connsiteY3470" fmla="*/ 1569911 h 6523037"/>
                <a:gd name="connsiteX3471" fmla="*/ 8927305 w 12192001"/>
                <a:gd name="connsiteY3471" fmla="*/ 1300198 h 6523037"/>
                <a:gd name="connsiteX3472" fmla="*/ 8858829 w 12192001"/>
                <a:gd name="connsiteY3472" fmla="*/ 1300198 h 6523037"/>
                <a:gd name="connsiteX3473" fmla="*/ 8663880 w 12192001"/>
                <a:gd name="connsiteY3473" fmla="*/ 1300198 h 6523037"/>
                <a:gd name="connsiteX3474" fmla="*/ 8793146 w 12192001"/>
                <a:gd name="connsiteY3474" fmla="*/ 1430164 h 6523037"/>
                <a:gd name="connsiteX3475" fmla="*/ 8789653 w 12192001"/>
                <a:gd name="connsiteY3475" fmla="*/ 1437150 h 6523037"/>
                <a:gd name="connsiteX3476" fmla="*/ 8649206 w 12192001"/>
                <a:gd name="connsiteY3476" fmla="*/ 1296705 h 6523037"/>
                <a:gd name="connsiteX3477" fmla="*/ 8919618 w 12192001"/>
                <a:gd name="connsiteY3477" fmla="*/ 1025594 h 6523037"/>
                <a:gd name="connsiteX3478" fmla="*/ 11122571 w 12192001"/>
                <a:gd name="connsiteY3478" fmla="*/ 1025213 h 6523037"/>
                <a:gd name="connsiteX3479" fmla="*/ 10852159 w 12192001"/>
                <a:gd name="connsiteY3479" fmla="*/ 1296324 h 6523037"/>
                <a:gd name="connsiteX3480" fmla="*/ 11123269 w 12192001"/>
                <a:gd name="connsiteY3480" fmla="*/ 1566736 h 6523037"/>
                <a:gd name="connsiteX3481" fmla="*/ 11387393 w 12192001"/>
                <a:gd name="connsiteY3481" fmla="*/ 1566736 h 6523037"/>
                <a:gd name="connsiteX3482" fmla="*/ 11116282 w 12192001"/>
                <a:gd name="connsiteY3482" fmla="*/ 1296324 h 6523037"/>
                <a:gd name="connsiteX3483" fmla="*/ 11386694 w 12192001"/>
                <a:gd name="connsiteY3483" fmla="*/ 1025213 h 6523037"/>
                <a:gd name="connsiteX3484" fmla="*/ 10024851 w 12192001"/>
                <a:gd name="connsiteY3484" fmla="*/ 1025213 h 6523037"/>
                <a:gd name="connsiteX3485" fmla="*/ 9754439 w 12192001"/>
                <a:gd name="connsiteY3485" fmla="*/ 1296324 h 6523037"/>
                <a:gd name="connsiteX3486" fmla="*/ 10025550 w 12192001"/>
                <a:gd name="connsiteY3486" fmla="*/ 1566736 h 6523037"/>
                <a:gd name="connsiteX3487" fmla="*/ 10289673 w 12192001"/>
                <a:gd name="connsiteY3487" fmla="*/ 1566736 h 6523037"/>
                <a:gd name="connsiteX3488" fmla="*/ 10018562 w 12192001"/>
                <a:gd name="connsiteY3488" fmla="*/ 1296324 h 6523037"/>
                <a:gd name="connsiteX3489" fmla="*/ 10288275 w 12192001"/>
                <a:gd name="connsiteY3489" fmla="*/ 1025213 h 6523037"/>
                <a:gd name="connsiteX3490" fmla="*/ 11671081 w 12192001"/>
                <a:gd name="connsiteY3490" fmla="*/ 1024514 h 6523037"/>
                <a:gd name="connsiteX3491" fmla="*/ 11400668 w 12192001"/>
                <a:gd name="connsiteY3491" fmla="*/ 1295625 h 6523037"/>
                <a:gd name="connsiteX3492" fmla="*/ 11671780 w 12192001"/>
                <a:gd name="connsiteY3492" fmla="*/ 1566037 h 6523037"/>
                <a:gd name="connsiteX3493" fmla="*/ 11935902 w 12192001"/>
                <a:gd name="connsiteY3493" fmla="*/ 1566037 h 6523037"/>
                <a:gd name="connsiteX3494" fmla="*/ 11664792 w 12192001"/>
                <a:gd name="connsiteY3494" fmla="*/ 1295625 h 6523037"/>
                <a:gd name="connsiteX3495" fmla="*/ 11849259 w 12192001"/>
                <a:gd name="connsiteY3495" fmla="*/ 1111159 h 6523037"/>
                <a:gd name="connsiteX3496" fmla="*/ 11935204 w 12192001"/>
                <a:gd name="connsiteY3496" fmla="*/ 1025213 h 6523037"/>
                <a:gd name="connsiteX3497" fmla="*/ 11676671 w 12192001"/>
                <a:gd name="connsiteY3497" fmla="*/ 1025213 h 6523037"/>
                <a:gd name="connsiteX3498" fmla="*/ 10573361 w 12192001"/>
                <a:gd name="connsiteY3498" fmla="*/ 1024514 h 6523037"/>
                <a:gd name="connsiteX3499" fmla="*/ 10302949 w 12192001"/>
                <a:gd name="connsiteY3499" fmla="*/ 1295625 h 6523037"/>
                <a:gd name="connsiteX3500" fmla="*/ 10574060 w 12192001"/>
                <a:gd name="connsiteY3500" fmla="*/ 1566037 h 6523037"/>
                <a:gd name="connsiteX3501" fmla="*/ 10838183 w 12192001"/>
                <a:gd name="connsiteY3501" fmla="*/ 1566037 h 6523037"/>
                <a:gd name="connsiteX3502" fmla="*/ 10567073 w 12192001"/>
                <a:gd name="connsiteY3502" fmla="*/ 1295625 h 6523037"/>
                <a:gd name="connsiteX3503" fmla="*/ 10751540 w 12192001"/>
                <a:gd name="connsiteY3503" fmla="*/ 1111159 h 6523037"/>
                <a:gd name="connsiteX3504" fmla="*/ 10837485 w 12192001"/>
                <a:gd name="connsiteY3504" fmla="*/ 1024514 h 6523037"/>
                <a:gd name="connsiteX3505" fmla="*/ 162805 w 12192001"/>
                <a:gd name="connsiteY3505" fmla="*/ 759944 h 6523037"/>
                <a:gd name="connsiteX3506" fmla="*/ 433916 w 12192001"/>
                <a:gd name="connsiteY3506" fmla="*/ 1030356 h 6523037"/>
                <a:gd name="connsiteX3507" fmla="*/ 164203 w 12192001"/>
                <a:gd name="connsiteY3507" fmla="*/ 1301467 h 6523037"/>
                <a:gd name="connsiteX3508" fmla="*/ 427627 w 12192001"/>
                <a:gd name="connsiteY3508" fmla="*/ 1301467 h 6523037"/>
                <a:gd name="connsiteX3509" fmla="*/ 698039 w 12192001"/>
                <a:gd name="connsiteY3509" fmla="*/ 1030356 h 6523037"/>
                <a:gd name="connsiteX3510" fmla="*/ 563881 w 12192001"/>
                <a:gd name="connsiteY3510" fmla="*/ 896896 h 6523037"/>
                <a:gd name="connsiteX3511" fmla="*/ 426928 w 12192001"/>
                <a:gd name="connsiteY3511" fmla="*/ 759944 h 6523037"/>
                <a:gd name="connsiteX3512" fmla="*/ 1809035 w 12192001"/>
                <a:gd name="connsiteY3512" fmla="*/ 759245 h 6523037"/>
                <a:gd name="connsiteX3513" fmla="*/ 1937603 w 12192001"/>
                <a:gd name="connsiteY3513" fmla="*/ 887813 h 6523037"/>
                <a:gd name="connsiteX3514" fmla="*/ 2079447 w 12192001"/>
                <a:gd name="connsiteY3514" fmla="*/ 1029657 h 6523037"/>
                <a:gd name="connsiteX3515" fmla="*/ 1809035 w 12192001"/>
                <a:gd name="connsiteY3515" fmla="*/ 1300768 h 6523037"/>
                <a:gd name="connsiteX3516" fmla="*/ 2073158 w 12192001"/>
                <a:gd name="connsiteY3516" fmla="*/ 1300768 h 6523037"/>
                <a:gd name="connsiteX3517" fmla="*/ 2343570 w 12192001"/>
                <a:gd name="connsiteY3517" fmla="*/ 1029657 h 6523037"/>
                <a:gd name="connsiteX3518" fmla="*/ 2338678 w 12192001"/>
                <a:gd name="connsiteY3518" fmla="*/ 1024766 h 6523037"/>
                <a:gd name="connsiteX3519" fmla="*/ 2073158 w 12192001"/>
                <a:gd name="connsiteY3519" fmla="*/ 759245 h 6523037"/>
                <a:gd name="connsiteX3520" fmla="*/ 2357544 w 12192001"/>
                <a:gd name="connsiteY3520" fmla="*/ 758546 h 6523037"/>
                <a:gd name="connsiteX3521" fmla="*/ 2628655 w 12192001"/>
                <a:gd name="connsiteY3521" fmla="*/ 1028259 h 6523037"/>
                <a:gd name="connsiteX3522" fmla="*/ 2625861 w 12192001"/>
                <a:gd name="connsiteY3522" fmla="*/ 1031055 h 6523037"/>
                <a:gd name="connsiteX3523" fmla="*/ 2535723 w 12192001"/>
                <a:gd name="connsiteY3523" fmla="*/ 1121890 h 6523037"/>
                <a:gd name="connsiteX3524" fmla="*/ 2358243 w 12192001"/>
                <a:gd name="connsiteY3524" fmla="*/ 1299370 h 6523037"/>
                <a:gd name="connsiteX3525" fmla="*/ 2622367 w 12192001"/>
                <a:gd name="connsiteY3525" fmla="*/ 1299370 h 6523037"/>
                <a:gd name="connsiteX3526" fmla="*/ 2711805 w 12192001"/>
                <a:gd name="connsiteY3526" fmla="*/ 1209931 h 6523037"/>
                <a:gd name="connsiteX3527" fmla="*/ 2892779 w 12192001"/>
                <a:gd name="connsiteY3527" fmla="*/ 1028958 h 6523037"/>
                <a:gd name="connsiteX3528" fmla="*/ 2621668 w 12192001"/>
                <a:gd name="connsiteY3528" fmla="*/ 758546 h 6523037"/>
                <a:gd name="connsiteX3529" fmla="*/ 1259127 w 12192001"/>
                <a:gd name="connsiteY3529" fmla="*/ 758546 h 6523037"/>
                <a:gd name="connsiteX3530" fmla="*/ 1530238 w 12192001"/>
                <a:gd name="connsiteY3530" fmla="*/ 1028259 h 6523037"/>
                <a:gd name="connsiteX3531" fmla="*/ 1527442 w 12192001"/>
                <a:gd name="connsiteY3531" fmla="*/ 1031055 h 6523037"/>
                <a:gd name="connsiteX3532" fmla="*/ 1437306 w 12192001"/>
                <a:gd name="connsiteY3532" fmla="*/ 1121890 h 6523037"/>
                <a:gd name="connsiteX3533" fmla="*/ 1259826 w 12192001"/>
                <a:gd name="connsiteY3533" fmla="*/ 1299370 h 6523037"/>
                <a:gd name="connsiteX3534" fmla="*/ 1523949 w 12192001"/>
                <a:gd name="connsiteY3534" fmla="*/ 1299370 h 6523037"/>
                <a:gd name="connsiteX3535" fmla="*/ 1613388 w 12192001"/>
                <a:gd name="connsiteY3535" fmla="*/ 1209931 h 6523037"/>
                <a:gd name="connsiteX3536" fmla="*/ 1794361 w 12192001"/>
                <a:gd name="connsiteY3536" fmla="*/ 1028958 h 6523037"/>
                <a:gd name="connsiteX3537" fmla="*/ 1523250 w 12192001"/>
                <a:gd name="connsiteY3537" fmla="*/ 758546 h 6523037"/>
                <a:gd name="connsiteX3538" fmla="*/ 710617 w 12192001"/>
                <a:gd name="connsiteY3538" fmla="*/ 758546 h 6523037"/>
                <a:gd name="connsiteX3539" fmla="*/ 712014 w 12192001"/>
                <a:gd name="connsiteY3539" fmla="*/ 759944 h 6523037"/>
                <a:gd name="connsiteX3540" fmla="*/ 981727 w 12192001"/>
                <a:gd name="connsiteY3540" fmla="*/ 1028958 h 6523037"/>
                <a:gd name="connsiteX3541" fmla="*/ 711316 w 12192001"/>
                <a:gd name="connsiteY3541" fmla="*/ 1300069 h 6523037"/>
                <a:gd name="connsiteX3542" fmla="*/ 975439 w 12192001"/>
                <a:gd name="connsiteY3542" fmla="*/ 1300069 h 6523037"/>
                <a:gd name="connsiteX3543" fmla="*/ 1245851 w 12192001"/>
                <a:gd name="connsiteY3543" fmla="*/ 1028958 h 6523037"/>
                <a:gd name="connsiteX3544" fmla="*/ 1240261 w 12192001"/>
                <a:gd name="connsiteY3544" fmla="*/ 1024067 h 6523037"/>
                <a:gd name="connsiteX3545" fmla="*/ 974740 w 12192001"/>
                <a:gd name="connsiteY3545" fmla="*/ 758546 h 6523037"/>
                <a:gd name="connsiteX3546" fmla="*/ 2906055 w 12192001"/>
                <a:gd name="connsiteY3546" fmla="*/ 757847 h 6523037"/>
                <a:gd name="connsiteX3547" fmla="*/ 3036720 w 12192001"/>
                <a:gd name="connsiteY3547" fmla="*/ 887114 h 6523037"/>
                <a:gd name="connsiteX3548" fmla="*/ 3177166 w 12192001"/>
                <a:gd name="connsiteY3548" fmla="*/ 1027560 h 6523037"/>
                <a:gd name="connsiteX3549" fmla="*/ 2906754 w 12192001"/>
                <a:gd name="connsiteY3549" fmla="*/ 1298671 h 6523037"/>
                <a:gd name="connsiteX3550" fmla="*/ 3170877 w 12192001"/>
                <a:gd name="connsiteY3550" fmla="*/ 1298671 h 6523037"/>
                <a:gd name="connsiteX3551" fmla="*/ 3441289 w 12192001"/>
                <a:gd name="connsiteY3551" fmla="*/ 1028259 h 6523037"/>
                <a:gd name="connsiteX3552" fmla="*/ 3170178 w 12192001"/>
                <a:gd name="connsiteY3552" fmla="*/ 757847 h 6523037"/>
                <a:gd name="connsiteX3553" fmla="*/ 3454565 w 12192001"/>
                <a:gd name="connsiteY3553" fmla="*/ 757148 h 6523037"/>
                <a:gd name="connsiteX3554" fmla="*/ 3725676 w 12192001"/>
                <a:gd name="connsiteY3554" fmla="*/ 1027560 h 6523037"/>
                <a:gd name="connsiteX3555" fmla="*/ 3455264 w 12192001"/>
                <a:gd name="connsiteY3555" fmla="*/ 1298671 h 6523037"/>
                <a:gd name="connsiteX3556" fmla="*/ 3719387 w 12192001"/>
                <a:gd name="connsiteY3556" fmla="*/ 1298671 h 6523037"/>
                <a:gd name="connsiteX3557" fmla="*/ 3989799 w 12192001"/>
                <a:gd name="connsiteY3557" fmla="*/ 1027560 h 6523037"/>
                <a:gd name="connsiteX3558" fmla="*/ 3718688 w 12192001"/>
                <a:gd name="connsiteY3558" fmla="*/ 757148 h 6523037"/>
                <a:gd name="connsiteX3559" fmla="*/ 4003075 w 12192001"/>
                <a:gd name="connsiteY3559" fmla="*/ 756449 h 6523037"/>
                <a:gd name="connsiteX3560" fmla="*/ 4274187 w 12192001"/>
                <a:gd name="connsiteY3560" fmla="*/ 1026861 h 6523037"/>
                <a:gd name="connsiteX3561" fmla="*/ 4003774 w 12192001"/>
                <a:gd name="connsiteY3561" fmla="*/ 1297972 h 6523037"/>
                <a:gd name="connsiteX3562" fmla="*/ 4202216 w 12192001"/>
                <a:gd name="connsiteY3562" fmla="*/ 1297972 h 6523037"/>
                <a:gd name="connsiteX3563" fmla="*/ 4267200 w 12192001"/>
                <a:gd name="connsiteY3563" fmla="*/ 1297972 h 6523037"/>
                <a:gd name="connsiteX3564" fmla="*/ 4538310 w 12192001"/>
                <a:gd name="connsiteY3564" fmla="*/ 1026861 h 6523037"/>
                <a:gd name="connsiteX3565" fmla="*/ 4404151 w 12192001"/>
                <a:gd name="connsiteY3565" fmla="*/ 893403 h 6523037"/>
                <a:gd name="connsiteX3566" fmla="*/ 4267200 w 12192001"/>
                <a:gd name="connsiteY3566" fmla="*/ 756449 h 6523037"/>
                <a:gd name="connsiteX3567" fmla="*/ 4550188 w 12192001"/>
                <a:gd name="connsiteY3567" fmla="*/ 755751 h 6523037"/>
                <a:gd name="connsiteX3568" fmla="*/ 4817225 w 12192001"/>
                <a:gd name="connsiteY3568" fmla="*/ 1022099 h 6523037"/>
                <a:gd name="connsiteX3569" fmla="*/ 5080048 w 12192001"/>
                <a:gd name="connsiteY3569" fmla="*/ 1022099 h 6523037"/>
                <a:gd name="connsiteX3570" fmla="*/ 4813011 w 12192001"/>
                <a:gd name="connsiteY3570" fmla="*/ 755751 h 6523037"/>
                <a:gd name="connsiteX3571" fmla="*/ 4823396 w 12192001"/>
                <a:gd name="connsiteY3571" fmla="*/ 755182 h 6523037"/>
                <a:gd name="connsiteX3572" fmla="*/ 4823396 w 12192001"/>
                <a:gd name="connsiteY3572" fmla="*/ 755666 h 6523037"/>
                <a:gd name="connsiteX3573" fmla="*/ 5094022 w 12192001"/>
                <a:gd name="connsiteY3573" fmla="*/ 1025594 h 6523037"/>
                <a:gd name="connsiteX3574" fmla="*/ 4824309 w 12192001"/>
                <a:gd name="connsiteY3574" fmla="*/ 1296705 h 6523037"/>
                <a:gd name="connsiteX3575" fmla="*/ 5087733 w 12192001"/>
                <a:gd name="connsiteY3575" fmla="*/ 1296705 h 6523037"/>
                <a:gd name="connsiteX3576" fmla="*/ 5358145 w 12192001"/>
                <a:gd name="connsiteY3576" fmla="*/ 1025594 h 6523037"/>
                <a:gd name="connsiteX3577" fmla="*/ 5223987 w 12192001"/>
                <a:gd name="connsiteY3577" fmla="*/ 892134 h 6523037"/>
                <a:gd name="connsiteX3578" fmla="*/ 5087035 w 12192001"/>
                <a:gd name="connsiteY3578" fmla="*/ 755182 h 6523037"/>
                <a:gd name="connsiteX3579" fmla="*/ 6469141 w 12192001"/>
                <a:gd name="connsiteY3579" fmla="*/ 754483 h 6523037"/>
                <a:gd name="connsiteX3580" fmla="*/ 6597709 w 12192001"/>
                <a:gd name="connsiteY3580" fmla="*/ 883051 h 6523037"/>
                <a:gd name="connsiteX3581" fmla="*/ 6739554 w 12192001"/>
                <a:gd name="connsiteY3581" fmla="*/ 1024895 h 6523037"/>
                <a:gd name="connsiteX3582" fmla="*/ 6469141 w 12192001"/>
                <a:gd name="connsiteY3582" fmla="*/ 1296006 h 6523037"/>
                <a:gd name="connsiteX3583" fmla="*/ 6733264 w 12192001"/>
                <a:gd name="connsiteY3583" fmla="*/ 1296006 h 6523037"/>
                <a:gd name="connsiteX3584" fmla="*/ 7003677 w 12192001"/>
                <a:gd name="connsiteY3584" fmla="*/ 1024895 h 6523037"/>
                <a:gd name="connsiteX3585" fmla="*/ 6998784 w 12192001"/>
                <a:gd name="connsiteY3585" fmla="*/ 1020004 h 6523037"/>
                <a:gd name="connsiteX3586" fmla="*/ 6733264 w 12192001"/>
                <a:gd name="connsiteY3586" fmla="*/ 754483 h 6523037"/>
                <a:gd name="connsiteX3587" fmla="*/ 7017651 w 12192001"/>
                <a:gd name="connsiteY3587" fmla="*/ 753784 h 6523037"/>
                <a:gd name="connsiteX3588" fmla="*/ 7288761 w 12192001"/>
                <a:gd name="connsiteY3588" fmla="*/ 1023497 h 6523037"/>
                <a:gd name="connsiteX3589" fmla="*/ 7285967 w 12192001"/>
                <a:gd name="connsiteY3589" fmla="*/ 1026293 h 6523037"/>
                <a:gd name="connsiteX3590" fmla="*/ 7195829 w 12192001"/>
                <a:gd name="connsiteY3590" fmla="*/ 1117128 h 6523037"/>
                <a:gd name="connsiteX3591" fmla="*/ 7018349 w 12192001"/>
                <a:gd name="connsiteY3591" fmla="*/ 1294608 h 6523037"/>
                <a:gd name="connsiteX3592" fmla="*/ 7282473 w 12192001"/>
                <a:gd name="connsiteY3592" fmla="*/ 1294608 h 6523037"/>
                <a:gd name="connsiteX3593" fmla="*/ 7371911 w 12192001"/>
                <a:gd name="connsiteY3593" fmla="*/ 1205169 h 6523037"/>
                <a:gd name="connsiteX3594" fmla="*/ 7552885 w 12192001"/>
                <a:gd name="connsiteY3594" fmla="*/ 1024196 h 6523037"/>
                <a:gd name="connsiteX3595" fmla="*/ 7281774 w 12192001"/>
                <a:gd name="connsiteY3595" fmla="*/ 753784 h 6523037"/>
                <a:gd name="connsiteX3596" fmla="*/ 5919233 w 12192001"/>
                <a:gd name="connsiteY3596" fmla="*/ 753784 h 6523037"/>
                <a:gd name="connsiteX3597" fmla="*/ 6190345 w 12192001"/>
                <a:gd name="connsiteY3597" fmla="*/ 1023497 h 6523037"/>
                <a:gd name="connsiteX3598" fmla="*/ 6187548 w 12192001"/>
                <a:gd name="connsiteY3598" fmla="*/ 1026293 h 6523037"/>
                <a:gd name="connsiteX3599" fmla="*/ 6097412 w 12192001"/>
                <a:gd name="connsiteY3599" fmla="*/ 1117128 h 6523037"/>
                <a:gd name="connsiteX3600" fmla="*/ 5919933 w 12192001"/>
                <a:gd name="connsiteY3600" fmla="*/ 1294608 h 6523037"/>
                <a:gd name="connsiteX3601" fmla="*/ 6184056 w 12192001"/>
                <a:gd name="connsiteY3601" fmla="*/ 1294608 h 6523037"/>
                <a:gd name="connsiteX3602" fmla="*/ 6273494 w 12192001"/>
                <a:gd name="connsiteY3602" fmla="*/ 1205169 h 6523037"/>
                <a:gd name="connsiteX3603" fmla="*/ 6454468 w 12192001"/>
                <a:gd name="connsiteY3603" fmla="*/ 1024196 h 6523037"/>
                <a:gd name="connsiteX3604" fmla="*/ 6183356 w 12192001"/>
                <a:gd name="connsiteY3604" fmla="*/ 753784 h 6523037"/>
                <a:gd name="connsiteX3605" fmla="*/ 5370723 w 12192001"/>
                <a:gd name="connsiteY3605" fmla="*/ 753784 h 6523037"/>
                <a:gd name="connsiteX3606" fmla="*/ 5372120 w 12192001"/>
                <a:gd name="connsiteY3606" fmla="*/ 755182 h 6523037"/>
                <a:gd name="connsiteX3607" fmla="*/ 5641833 w 12192001"/>
                <a:gd name="connsiteY3607" fmla="*/ 1024196 h 6523037"/>
                <a:gd name="connsiteX3608" fmla="*/ 5371422 w 12192001"/>
                <a:gd name="connsiteY3608" fmla="*/ 1295307 h 6523037"/>
                <a:gd name="connsiteX3609" fmla="*/ 5635545 w 12192001"/>
                <a:gd name="connsiteY3609" fmla="*/ 1295307 h 6523037"/>
                <a:gd name="connsiteX3610" fmla="*/ 5905958 w 12192001"/>
                <a:gd name="connsiteY3610" fmla="*/ 1024196 h 6523037"/>
                <a:gd name="connsiteX3611" fmla="*/ 5900367 w 12192001"/>
                <a:gd name="connsiteY3611" fmla="*/ 1019305 h 6523037"/>
                <a:gd name="connsiteX3612" fmla="*/ 5634846 w 12192001"/>
                <a:gd name="connsiteY3612" fmla="*/ 753784 h 6523037"/>
                <a:gd name="connsiteX3613" fmla="*/ 7566161 w 12192001"/>
                <a:gd name="connsiteY3613" fmla="*/ 753085 h 6523037"/>
                <a:gd name="connsiteX3614" fmla="*/ 7696826 w 12192001"/>
                <a:gd name="connsiteY3614" fmla="*/ 882352 h 6523037"/>
                <a:gd name="connsiteX3615" fmla="*/ 7837272 w 12192001"/>
                <a:gd name="connsiteY3615" fmla="*/ 1022798 h 6523037"/>
                <a:gd name="connsiteX3616" fmla="*/ 7566860 w 12192001"/>
                <a:gd name="connsiteY3616" fmla="*/ 1293909 h 6523037"/>
                <a:gd name="connsiteX3617" fmla="*/ 7830983 w 12192001"/>
                <a:gd name="connsiteY3617" fmla="*/ 1293909 h 6523037"/>
                <a:gd name="connsiteX3618" fmla="*/ 8101395 w 12192001"/>
                <a:gd name="connsiteY3618" fmla="*/ 1023497 h 6523037"/>
                <a:gd name="connsiteX3619" fmla="*/ 7830284 w 12192001"/>
                <a:gd name="connsiteY3619" fmla="*/ 753085 h 6523037"/>
                <a:gd name="connsiteX3620" fmla="*/ 8114671 w 12192001"/>
                <a:gd name="connsiteY3620" fmla="*/ 752386 h 6523037"/>
                <a:gd name="connsiteX3621" fmla="*/ 8385782 w 12192001"/>
                <a:gd name="connsiteY3621" fmla="*/ 1022798 h 6523037"/>
                <a:gd name="connsiteX3622" fmla="*/ 8115370 w 12192001"/>
                <a:gd name="connsiteY3622" fmla="*/ 1293909 h 6523037"/>
                <a:gd name="connsiteX3623" fmla="*/ 8379493 w 12192001"/>
                <a:gd name="connsiteY3623" fmla="*/ 1293909 h 6523037"/>
                <a:gd name="connsiteX3624" fmla="*/ 8649905 w 12192001"/>
                <a:gd name="connsiteY3624" fmla="*/ 1022798 h 6523037"/>
                <a:gd name="connsiteX3625" fmla="*/ 8378794 w 12192001"/>
                <a:gd name="connsiteY3625" fmla="*/ 752386 h 6523037"/>
                <a:gd name="connsiteX3626" fmla="*/ 9483502 w 12192001"/>
                <a:gd name="connsiteY3626" fmla="*/ 752007 h 6523037"/>
                <a:gd name="connsiteX3627" fmla="*/ 9483502 w 12192001"/>
                <a:gd name="connsiteY3627" fmla="*/ 752181 h 6523037"/>
                <a:gd name="connsiteX3628" fmla="*/ 9754439 w 12192001"/>
                <a:gd name="connsiteY3628" fmla="*/ 1022419 h 6523037"/>
                <a:gd name="connsiteX3629" fmla="*/ 9484726 w 12192001"/>
                <a:gd name="connsiteY3629" fmla="*/ 1293530 h 6523037"/>
                <a:gd name="connsiteX3630" fmla="*/ 9748150 w 12192001"/>
                <a:gd name="connsiteY3630" fmla="*/ 1293530 h 6523037"/>
                <a:gd name="connsiteX3631" fmla="*/ 10018562 w 12192001"/>
                <a:gd name="connsiteY3631" fmla="*/ 1022419 h 6523037"/>
                <a:gd name="connsiteX3632" fmla="*/ 9884404 w 12192001"/>
                <a:gd name="connsiteY3632" fmla="*/ 888959 h 6523037"/>
                <a:gd name="connsiteX3633" fmla="*/ 9747451 w 12192001"/>
                <a:gd name="connsiteY3633" fmla="*/ 752007 h 6523037"/>
                <a:gd name="connsiteX3634" fmla="*/ 8663181 w 12192001"/>
                <a:gd name="connsiteY3634" fmla="*/ 751687 h 6523037"/>
                <a:gd name="connsiteX3635" fmla="*/ 8934292 w 12192001"/>
                <a:gd name="connsiteY3635" fmla="*/ 1022099 h 6523037"/>
                <a:gd name="connsiteX3636" fmla="*/ 8663880 w 12192001"/>
                <a:gd name="connsiteY3636" fmla="*/ 1293210 h 6523037"/>
                <a:gd name="connsiteX3637" fmla="*/ 8862322 w 12192001"/>
                <a:gd name="connsiteY3637" fmla="*/ 1293210 h 6523037"/>
                <a:gd name="connsiteX3638" fmla="*/ 8927305 w 12192001"/>
                <a:gd name="connsiteY3638" fmla="*/ 1293210 h 6523037"/>
                <a:gd name="connsiteX3639" fmla="*/ 9198416 w 12192001"/>
                <a:gd name="connsiteY3639" fmla="*/ 1022099 h 6523037"/>
                <a:gd name="connsiteX3640" fmla="*/ 9064257 w 12192001"/>
                <a:gd name="connsiteY3640" fmla="*/ 888641 h 6523037"/>
                <a:gd name="connsiteX3641" fmla="*/ 8927305 w 12192001"/>
                <a:gd name="connsiteY3641" fmla="*/ 751687 h 6523037"/>
                <a:gd name="connsiteX3642" fmla="*/ 11129558 w 12192001"/>
                <a:gd name="connsiteY3642" fmla="*/ 751308 h 6523037"/>
                <a:gd name="connsiteX3643" fmla="*/ 11258126 w 12192001"/>
                <a:gd name="connsiteY3643" fmla="*/ 879876 h 6523037"/>
                <a:gd name="connsiteX3644" fmla="*/ 11399970 w 12192001"/>
                <a:gd name="connsiteY3644" fmla="*/ 1021720 h 6523037"/>
                <a:gd name="connsiteX3645" fmla="*/ 11129558 w 12192001"/>
                <a:gd name="connsiteY3645" fmla="*/ 1292831 h 6523037"/>
                <a:gd name="connsiteX3646" fmla="*/ 11393681 w 12192001"/>
                <a:gd name="connsiteY3646" fmla="*/ 1292831 h 6523037"/>
                <a:gd name="connsiteX3647" fmla="*/ 11664093 w 12192001"/>
                <a:gd name="connsiteY3647" fmla="*/ 1021720 h 6523037"/>
                <a:gd name="connsiteX3648" fmla="*/ 11659201 w 12192001"/>
                <a:gd name="connsiteY3648" fmla="*/ 1016829 h 6523037"/>
                <a:gd name="connsiteX3649" fmla="*/ 11393681 w 12192001"/>
                <a:gd name="connsiteY3649" fmla="*/ 751308 h 6523037"/>
                <a:gd name="connsiteX3650" fmla="*/ 9210294 w 12192001"/>
                <a:gd name="connsiteY3650" fmla="*/ 750989 h 6523037"/>
                <a:gd name="connsiteX3651" fmla="*/ 9478921 w 12192001"/>
                <a:gd name="connsiteY3651" fmla="*/ 1018924 h 6523037"/>
                <a:gd name="connsiteX3652" fmla="*/ 9740464 w 12192001"/>
                <a:gd name="connsiteY3652" fmla="*/ 1018924 h 6523037"/>
                <a:gd name="connsiteX3653" fmla="*/ 9471836 w 12192001"/>
                <a:gd name="connsiteY3653" fmla="*/ 750989 h 6523037"/>
                <a:gd name="connsiteX3654" fmla="*/ 10579650 w 12192001"/>
                <a:gd name="connsiteY3654" fmla="*/ 750609 h 6523037"/>
                <a:gd name="connsiteX3655" fmla="*/ 10850761 w 12192001"/>
                <a:gd name="connsiteY3655" fmla="*/ 1020322 h 6523037"/>
                <a:gd name="connsiteX3656" fmla="*/ 10847965 w 12192001"/>
                <a:gd name="connsiteY3656" fmla="*/ 1023118 h 6523037"/>
                <a:gd name="connsiteX3657" fmla="*/ 10757829 w 12192001"/>
                <a:gd name="connsiteY3657" fmla="*/ 1113953 h 6523037"/>
                <a:gd name="connsiteX3658" fmla="*/ 10580349 w 12192001"/>
                <a:gd name="connsiteY3658" fmla="*/ 1291433 h 6523037"/>
                <a:gd name="connsiteX3659" fmla="*/ 10844472 w 12192001"/>
                <a:gd name="connsiteY3659" fmla="*/ 1291433 h 6523037"/>
                <a:gd name="connsiteX3660" fmla="*/ 10933911 w 12192001"/>
                <a:gd name="connsiteY3660" fmla="*/ 1201994 h 6523037"/>
                <a:gd name="connsiteX3661" fmla="*/ 11114884 w 12192001"/>
                <a:gd name="connsiteY3661" fmla="*/ 1021021 h 6523037"/>
                <a:gd name="connsiteX3662" fmla="*/ 10843773 w 12192001"/>
                <a:gd name="connsiteY3662" fmla="*/ 750609 h 6523037"/>
                <a:gd name="connsiteX3663" fmla="*/ 10031140 w 12192001"/>
                <a:gd name="connsiteY3663" fmla="*/ 750609 h 6523037"/>
                <a:gd name="connsiteX3664" fmla="*/ 10032537 w 12192001"/>
                <a:gd name="connsiteY3664" fmla="*/ 752007 h 6523037"/>
                <a:gd name="connsiteX3665" fmla="*/ 10302250 w 12192001"/>
                <a:gd name="connsiteY3665" fmla="*/ 1021021 h 6523037"/>
                <a:gd name="connsiteX3666" fmla="*/ 10031839 w 12192001"/>
                <a:gd name="connsiteY3666" fmla="*/ 1292132 h 6523037"/>
                <a:gd name="connsiteX3667" fmla="*/ 10295962 w 12192001"/>
                <a:gd name="connsiteY3667" fmla="*/ 1292132 h 6523037"/>
                <a:gd name="connsiteX3668" fmla="*/ 10566374 w 12192001"/>
                <a:gd name="connsiteY3668" fmla="*/ 1021021 h 6523037"/>
                <a:gd name="connsiteX3669" fmla="*/ 10560784 w 12192001"/>
                <a:gd name="connsiteY3669" fmla="*/ 1016130 h 6523037"/>
                <a:gd name="connsiteX3670" fmla="*/ 10295263 w 12192001"/>
                <a:gd name="connsiteY3670" fmla="*/ 750609 h 6523037"/>
                <a:gd name="connsiteX3671" fmla="*/ 702930 w 12192001"/>
                <a:gd name="connsiteY3671" fmla="*/ 484641 h 6523037"/>
                <a:gd name="connsiteX3672" fmla="*/ 522656 w 12192001"/>
                <a:gd name="connsiteY3672" fmla="*/ 665614 h 6523037"/>
                <a:gd name="connsiteX3673" fmla="*/ 433217 w 12192001"/>
                <a:gd name="connsiteY3673" fmla="*/ 755751 h 6523037"/>
                <a:gd name="connsiteX3674" fmla="*/ 567375 w 12192001"/>
                <a:gd name="connsiteY3674" fmla="*/ 889210 h 6523037"/>
                <a:gd name="connsiteX3675" fmla="*/ 704328 w 12192001"/>
                <a:gd name="connsiteY3675" fmla="*/ 1026164 h 6523037"/>
                <a:gd name="connsiteX3676" fmla="*/ 968451 w 12192001"/>
                <a:gd name="connsiteY3676" fmla="*/ 1026164 h 6523037"/>
                <a:gd name="connsiteX3677" fmla="*/ 697340 w 12192001"/>
                <a:gd name="connsiteY3677" fmla="*/ 755751 h 6523037"/>
                <a:gd name="connsiteX3678" fmla="*/ 698738 w 12192001"/>
                <a:gd name="connsiteY3678" fmla="*/ 754354 h 6523037"/>
                <a:gd name="connsiteX3679" fmla="*/ 967054 w 12192001"/>
                <a:gd name="connsiteY3679" fmla="*/ 484641 h 6523037"/>
                <a:gd name="connsiteX3680" fmla="*/ 1252140 w 12192001"/>
                <a:gd name="connsiteY3680" fmla="*/ 483942 h 6523037"/>
                <a:gd name="connsiteX3681" fmla="*/ 981727 w 12192001"/>
                <a:gd name="connsiteY3681" fmla="*/ 755053 h 6523037"/>
                <a:gd name="connsiteX3682" fmla="*/ 1252838 w 12192001"/>
                <a:gd name="connsiteY3682" fmla="*/ 1025465 h 6523037"/>
                <a:gd name="connsiteX3683" fmla="*/ 1516962 w 12192001"/>
                <a:gd name="connsiteY3683" fmla="*/ 1025465 h 6523037"/>
                <a:gd name="connsiteX3684" fmla="*/ 1245851 w 12192001"/>
                <a:gd name="connsiteY3684" fmla="*/ 755053 h 6523037"/>
                <a:gd name="connsiteX3685" fmla="*/ 1516263 w 12192001"/>
                <a:gd name="connsiteY3685" fmla="*/ 483942 h 6523037"/>
                <a:gd name="connsiteX3686" fmla="*/ 2899067 w 12192001"/>
                <a:gd name="connsiteY3686" fmla="*/ 483243 h 6523037"/>
                <a:gd name="connsiteX3687" fmla="*/ 2628655 w 12192001"/>
                <a:gd name="connsiteY3687" fmla="*/ 754354 h 6523037"/>
                <a:gd name="connsiteX3688" fmla="*/ 2899766 w 12192001"/>
                <a:gd name="connsiteY3688" fmla="*/ 1024766 h 6523037"/>
                <a:gd name="connsiteX3689" fmla="*/ 3163191 w 12192001"/>
                <a:gd name="connsiteY3689" fmla="*/ 1024766 h 6523037"/>
                <a:gd name="connsiteX3690" fmla="*/ 3032527 w 12192001"/>
                <a:gd name="connsiteY3690" fmla="*/ 894800 h 6523037"/>
                <a:gd name="connsiteX3691" fmla="*/ 2892081 w 12192001"/>
                <a:gd name="connsiteY3691" fmla="*/ 754354 h 6523037"/>
                <a:gd name="connsiteX3692" fmla="*/ 3163191 w 12192001"/>
                <a:gd name="connsiteY3692" fmla="*/ 483243 h 6523037"/>
                <a:gd name="connsiteX3693" fmla="*/ 1799951 w 12192001"/>
                <a:gd name="connsiteY3693" fmla="*/ 483243 h 6523037"/>
                <a:gd name="connsiteX3694" fmla="*/ 1529539 w 12192001"/>
                <a:gd name="connsiteY3694" fmla="*/ 754354 h 6523037"/>
                <a:gd name="connsiteX3695" fmla="*/ 1800650 w 12192001"/>
                <a:gd name="connsiteY3695" fmla="*/ 1024766 h 6523037"/>
                <a:gd name="connsiteX3696" fmla="*/ 1802048 w 12192001"/>
                <a:gd name="connsiteY3696" fmla="*/ 1026164 h 6523037"/>
                <a:gd name="connsiteX3697" fmla="*/ 2066171 w 12192001"/>
                <a:gd name="connsiteY3697" fmla="*/ 1026164 h 6523037"/>
                <a:gd name="connsiteX3698" fmla="*/ 1934808 w 12192001"/>
                <a:gd name="connsiteY3698" fmla="*/ 894800 h 6523037"/>
                <a:gd name="connsiteX3699" fmla="*/ 1797155 w 12192001"/>
                <a:gd name="connsiteY3699" fmla="*/ 757148 h 6523037"/>
                <a:gd name="connsiteX3700" fmla="*/ 2066171 w 12192001"/>
                <a:gd name="connsiteY3700" fmla="*/ 483243 h 6523037"/>
                <a:gd name="connsiteX3701" fmla="*/ 3446879 w 12192001"/>
                <a:gd name="connsiteY3701" fmla="*/ 482544 h 6523037"/>
                <a:gd name="connsiteX3702" fmla="*/ 3176467 w 12192001"/>
                <a:gd name="connsiteY3702" fmla="*/ 753655 h 6523037"/>
                <a:gd name="connsiteX3703" fmla="*/ 3447578 w 12192001"/>
                <a:gd name="connsiteY3703" fmla="*/ 1024067 h 6523037"/>
                <a:gd name="connsiteX3704" fmla="*/ 3711701 w 12192001"/>
                <a:gd name="connsiteY3704" fmla="*/ 1024067 h 6523037"/>
                <a:gd name="connsiteX3705" fmla="*/ 3440590 w 12192001"/>
                <a:gd name="connsiteY3705" fmla="*/ 753655 h 6523037"/>
                <a:gd name="connsiteX3706" fmla="*/ 3625057 w 12192001"/>
                <a:gd name="connsiteY3706" fmla="*/ 569188 h 6523037"/>
                <a:gd name="connsiteX3707" fmla="*/ 3709605 w 12192001"/>
                <a:gd name="connsiteY3707" fmla="*/ 482544 h 6523037"/>
                <a:gd name="connsiteX3708" fmla="*/ 3995389 w 12192001"/>
                <a:gd name="connsiteY3708" fmla="*/ 481845 h 6523037"/>
                <a:gd name="connsiteX3709" fmla="*/ 3724977 w 12192001"/>
                <a:gd name="connsiteY3709" fmla="*/ 752956 h 6523037"/>
                <a:gd name="connsiteX3710" fmla="*/ 3996088 w 12192001"/>
                <a:gd name="connsiteY3710" fmla="*/ 1023368 h 6523037"/>
                <a:gd name="connsiteX3711" fmla="*/ 4260212 w 12192001"/>
                <a:gd name="connsiteY3711" fmla="*/ 1023368 h 6523037"/>
                <a:gd name="connsiteX3712" fmla="*/ 3989100 w 12192001"/>
                <a:gd name="connsiteY3712" fmla="*/ 752956 h 6523037"/>
                <a:gd name="connsiteX3713" fmla="*/ 3990498 w 12192001"/>
                <a:gd name="connsiteY3713" fmla="*/ 751558 h 6523037"/>
                <a:gd name="connsiteX3714" fmla="*/ 3989799 w 12192001"/>
                <a:gd name="connsiteY3714" fmla="*/ 751558 h 6523037"/>
                <a:gd name="connsiteX3715" fmla="*/ 4258116 w 12192001"/>
                <a:gd name="connsiteY3715" fmla="*/ 482544 h 6523037"/>
                <a:gd name="connsiteX3716" fmla="*/ 3999582 w 12192001"/>
                <a:gd name="connsiteY3716" fmla="*/ 482544 h 6523037"/>
                <a:gd name="connsiteX3717" fmla="*/ 4000979 w 12192001"/>
                <a:gd name="connsiteY3717" fmla="*/ 481845 h 6523037"/>
                <a:gd name="connsiteX3718" fmla="*/ 4818383 w 12192001"/>
                <a:gd name="connsiteY3718" fmla="*/ 481275 h 6523037"/>
                <a:gd name="connsiteX3719" fmla="*/ 4550887 w 12192001"/>
                <a:gd name="connsiteY3719" fmla="*/ 749462 h 6523037"/>
                <a:gd name="connsiteX3720" fmla="*/ 4811162 w 12192001"/>
                <a:gd name="connsiteY3720" fmla="*/ 749462 h 6523037"/>
                <a:gd name="connsiteX3721" fmla="*/ 4993404 w 12192001"/>
                <a:gd name="connsiteY3721" fmla="*/ 567221 h 6523037"/>
                <a:gd name="connsiteX3722" fmla="*/ 5079348 w 12192001"/>
                <a:gd name="connsiteY3722" fmla="*/ 481275 h 6523037"/>
                <a:gd name="connsiteX3723" fmla="*/ 4543201 w 12192001"/>
                <a:gd name="connsiteY3723" fmla="*/ 481146 h 6523037"/>
                <a:gd name="connsiteX3724" fmla="*/ 4362227 w 12192001"/>
                <a:gd name="connsiteY3724" fmla="*/ 662120 h 6523037"/>
                <a:gd name="connsiteX3725" fmla="*/ 4362927 w 12192001"/>
                <a:gd name="connsiteY3725" fmla="*/ 662819 h 6523037"/>
                <a:gd name="connsiteX3726" fmla="*/ 4273487 w 12192001"/>
                <a:gd name="connsiteY3726" fmla="*/ 752956 h 6523037"/>
                <a:gd name="connsiteX3727" fmla="*/ 4407646 w 12192001"/>
                <a:gd name="connsiteY3727" fmla="*/ 886416 h 6523037"/>
                <a:gd name="connsiteX3728" fmla="*/ 4543899 w 12192001"/>
                <a:gd name="connsiteY3728" fmla="*/ 1022669 h 6523037"/>
                <a:gd name="connsiteX3729" fmla="*/ 4805312 w 12192001"/>
                <a:gd name="connsiteY3729" fmla="*/ 1022669 h 6523037"/>
                <a:gd name="connsiteX3730" fmla="*/ 4660106 w 12192001"/>
                <a:gd name="connsiteY3730" fmla="*/ 877461 h 6523037"/>
                <a:gd name="connsiteX3731" fmla="*/ 4660106 w 12192001"/>
                <a:gd name="connsiteY3731" fmla="*/ 875133 h 6523037"/>
                <a:gd name="connsiteX3732" fmla="*/ 4536912 w 12192001"/>
                <a:gd name="connsiteY3732" fmla="*/ 752257 h 6523037"/>
                <a:gd name="connsiteX3733" fmla="*/ 4660106 w 12192001"/>
                <a:gd name="connsiteY3733" fmla="*/ 628745 h 6523037"/>
                <a:gd name="connsiteX3734" fmla="*/ 4660106 w 12192001"/>
                <a:gd name="connsiteY3734" fmla="*/ 625913 h 6523037"/>
                <a:gd name="connsiteX3735" fmla="*/ 4804193 w 12192001"/>
                <a:gd name="connsiteY3735" fmla="*/ 481146 h 6523037"/>
                <a:gd name="connsiteX3736" fmla="*/ 2616078 w 12192001"/>
                <a:gd name="connsiteY3736" fmla="*/ 481146 h 6523037"/>
                <a:gd name="connsiteX3737" fmla="*/ 2349859 w 12192001"/>
                <a:gd name="connsiteY3737" fmla="*/ 483942 h 6523037"/>
                <a:gd name="connsiteX3738" fmla="*/ 2079447 w 12192001"/>
                <a:gd name="connsiteY3738" fmla="*/ 755053 h 6523037"/>
                <a:gd name="connsiteX3739" fmla="*/ 2350558 w 12192001"/>
                <a:gd name="connsiteY3739" fmla="*/ 1025465 h 6523037"/>
                <a:gd name="connsiteX3740" fmla="*/ 2614681 w 12192001"/>
                <a:gd name="connsiteY3740" fmla="*/ 1025465 h 6523037"/>
                <a:gd name="connsiteX3741" fmla="*/ 2343570 w 12192001"/>
                <a:gd name="connsiteY3741" fmla="*/ 755053 h 6523037"/>
                <a:gd name="connsiteX3742" fmla="*/ 5363036 w 12192001"/>
                <a:gd name="connsiteY3742" fmla="*/ 479879 h 6523037"/>
                <a:gd name="connsiteX3743" fmla="*/ 5182762 w 12192001"/>
                <a:gd name="connsiteY3743" fmla="*/ 660852 h 6523037"/>
                <a:gd name="connsiteX3744" fmla="*/ 5093323 w 12192001"/>
                <a:gd name="connsiteY3744" fmla="*/ 750989 h 6523037"/>
                <a:gd name="connsiteX3745" fmla="*/ 5227481 w 12192001"/>
                <a:gd name="connsiteY3745" fmla="*/ 884448 h 6523037"/>
                <a:gd name="connsiteX3746" fmla="*/ 5364435 w 12192001"/>
                <a:gd name="connsiteY3746" fmla="*/ 1021402 h 6523037"/>
                <a:gd name="connsiteX3747" fmla="*/ 5628558 w 12192001"/>
                <a:gd name="connsiteY3747" fmla="*/ 1021402 h 6523037"/>
                <a:gd name="connsiteX3748" fmla="*/ 5357446 w 12192001"/>
                <a:gd name="connsiteY3748" fmla="*/ 750989 h 6523037"/>
                <a:gd name="connsiteX3749" fmla="*/ 5358844 w 12192001"/>
                <a:gd name="connsiteY3749" fmla="*/ 749592 h 6523037"/>
                <a:gd name="connsiteX3750" fmla="*/ 5627160 w 12192001"/>
                <a:gd name="connsiteY3750" fmla="*/ 479879 h 6523037"/>
                <a:gd name="connsiteX3751" fmla="*/ 5912246 w 12192001"/>
                <a:gd name="connsiteY3751" fmla="*/ 479180 h 6523037"/>
                <a:gd name="connsiteX3752" fmla="*/ 5641833 w 12192001"/>
                <a:gd name="connsiteY3752" fmla="*/ 750291 h 6523037"/>
                <a:gd name="connsiteX3753" fmla="*/ 5912945 w 12192001"/>
                <a:gd name="connsiteY3753" fmla="*/ 1020703 h 6523037"/>
                <a:gd name="connsiteX3754" fmla="*/ 6177068 w 12192001"/>
                <a:gd name="connsiteY3754" fmla="*/ 1020703 h 6523037"/>
                <a:gd name="connsiteX3755" fmla="*/ 5905958 w 12192001"/>
                <a:gd name="connsiteY3755" fmla="*/ 750291 h 6523037"/>
                <a:gd name="connsiteX3756" fmla="*/ 6176369 w 12192001"/>
                <a:gd name="connsiteY3756" fmla="*/ 479180 h 6523037"/>
                <a:gd name="connsiteX3757" fmla="*/ 7559173 w 12192001"/>
                <a:gd name="connsiteY3757" fmla="*/ 478481 h 6523037"/>
                <a:gd name="connsiteX3758" fmla="*/ 7288761 w 12192001"/>
                <a:gd name="connsiteY3758" fmla="*/ 749592 h 6523037"/>
                <a:gd name="connsiteX3759" fmla="*/ 7559872 w 12192001"/>
                <a:gd name="connsiteY3759" fmla="*/ 1020004 h 6523037"/>
                <a:gd name="connsiteX3760" fmla="*/ 7823297 w 12192001"/>
                <a:gd name="connsiteY3760" fmla="*/ 1020004 h 6523037"/>
                <a:gd name="connsiteX3761" fmla="*/ 7692633 w 12192001"/>
                <a:gd name="connsiteY3761" fmla="*/ 890038 h 6523037"/>
                <a:gd name="connsiteX3762" fmla="*/ 7552187 w 12192001"/>
                <a:gd name="connsiteY3762" fmla="*/ 749592 h 6523037"/>
                <a:gd name="connsiteX3763" fmla="*/ 7823297 w 12192001"/>
                <a:gd name="connsiteY3763" fmla="*/ 478481 h 6523037"/>
                <a:gd name="connsiteX3764" fmla="*/ 6460057 w 12192001"/>
                <a:gd name="connsiteY3764" fmla="*/ 478481 h 6523037"/>
                <a:gd name="connsiteX3765" fmla="*/ 6189645 w 12192001"/>
                <a:gd name="connsiteY3765" fmla="*/ 749592 h 6523037"/>
                <a:gd name="connsiteX3766" fmla="*/ 6460756 w 12192001"/>
                <a:gd name="connsiteY3766" fmla="*/ 1020004 h 6523037"/>
                <a:gd name="connsiteX3767" fmla="*/ 6462154 w 12192001"/>
                <a:gd name="connsiteY3767" fmla="*/ 1021402 h 6523037"/>
                <a:gd name="connsiteX3768" fmla="*/ 6726277 w 12192001"/>
                <a:gd name="connsiteY3768" fmla="*/ 1021402 h 6523037"/>
                <a:gd name="connsiteX3769" fmla="*/ 6594914 w 12192001"/>
                <a:gd name="connsiteY3769" fmla="*/ 890038 h 6523037"/>
                <a:gd name="connsiteX3770" fmla="*/ 6457261 w 12192001"/>
                <a:gd name="connsiteY3770" fmla="*/ 752386 h 6523037"/>
                <a:gd name="connsiteX3771" fmla="*/ 6726277 w 12192001"/>
                <a:gd name="connsiteY3771" fmla="*/ 478481 h 6523037"/>
                <a:gd name="connsiteX3772" fmla="*/ 9476907 w 12192001"/>
                <a:gd name="connsiteY3772" fmla="*/ 478100 h 6523037"/>
                <a:gd name="connsiteX3773" fmla="*/ 9210993 w 12192001"/>
                <a:gd name="connsiteY3773" fmla="*/ 744700 h 6523037"/>
                <a:gd name="connsiteX3774" fmla="*/ 9473165 w 12192001"/>
                <a:gd name="connsiteY3774" fmla="*/ 744700 h 6523037"/>
                <a:gd name="connsiteX3775" fmla="*/ 9653821 w 12192001"/>
                <a:gd name="connsiteY3775" fmla="*/ 564046 h 6523037"/>
                <a:gd name="connsiteX3776" fmla="*/ 9739765 w 12192001"/>
                <a:gd name="connsiteY3776" fmla="*/ 478100 h 6523037"/>
                <a:gd name="connsiteX3777" fmla="*/ 8106985 w 12192001"/>
                <a:gd name="connsiteY3777" fmla="*/ 477782 h 6523037"/>
                <a:gd name="connsiteX3778" fmla="*/ 7836573 w 12192001"/>
                <a:gd name="connsiteY3778" fmla="*/ 748893 h 6523037"/>
                <a:gd name="connsiteX3779" fmla="*/ 8107684 w 12192001"/>
                <a:gd name="connsiteY3779" fmla="*/ 1019305 h 6523037"/>
                <a:gd name="connsiteX3780" fmla="*/ 8371807 w 12192001"/>
                <a:gd name="connsiteY3780" fmla="*/ 1019305 h 6523037"/>
                <a:gd name="connsiteX3781" fmla="*/ 8100696 w 12192001"/>
                <a:gd name="connsiteY3781" fmla="*/ 748893 h 6523037"/>
                <a:gd name="connsiteX3782" fmla="*/ 8285163 w 12192001"/>
                <a:gd name="connsiteY3782" fmla="*/ 564426 h 6523037"/>
                <a:gd name="connsiteX3783" fmla="*/ 8369711 w 12192001"/>
                <a:gd name="connsiteY3783" fmla="*/ 477782 h 6523037"/>
                <a:gd name="connsiteX3784" fmla="*/ 8655495 w 12192001"/>
                <a:gd name="connsiteY3784" fmla="*/ 477083 h 6523037"/>
                <a:gd name="connsiteX3785" fmla="*/ 8385083 w 12192001"/>
                <a:gd name="connsiteY3785" fmla="*/ 748194 h 6523037"/>
                <a:gd name="connsiteX3786" fmla="*/ 8656194 w 12192001"/>
                <a:gd name="connsiteY3786" fmla="*/ 1018606 h 6523037"/>
                <a:gd name="connsiteX3787" fmla="*/ 8920317 w 12192001"/>
                <a:gd name="connsiteY3787" fmla="*/ 1018606 h 6523037"/>
                <a:gd name="connsiteX3788" fmla="*/ 8649206 w 12192001"/>
                <a:gd name="connsiteY3788" fmla="*/ 748194 h 6523037"/>
                <a:gd name="connsiteX3789" fmla="*/ 8650604 w 12192001"/>
                <a:gd name="connsiteY3789" fmla="*/ 746796 h 6523037"/>
                <a:gd name="connsiteX3790" fmla="*/ 8649905 w 12192001"/>
                <a:gd name="connsiteY3790" fmla="*/ 746796 h 6523037"/>
                <a:gd name="connsiteX3791" fmla="*/ 8918222 w 12192001"/>
                <a:gd name="connsiteY3791" fmla="*/ 477782 h 6523037"/>
                <a:gd name="connsiteX3792" fmla="*/ 8659688 w 12192001"/>
                <a:gd name="connsiteY3792" fmla="*/ 477782 h 6523037"/>
                <a:gd name="connsiteX3793" fmla="*/ 8661085 w 12192001"/>
                <a:gd name="connsiteY3793" fmla="*/ 477083 h 6523037"/>
                <a:gd name="connsiteX3794" fmla="*/ 10023453 w 12192001"/>
                <a:gd name="connsiteY3794" fmla="*/ 476704 h 6523037"/>
                <a:gd name="connsiteX3795" fmla="*/ 9843179 w 12192001"/>
                <a:gd name="connsiteY3795" fmla="*/ 657677 h 6523037"/>
                <a:gd name="connsiteX3796" fmla="*/ 9753740 w 12192001"/>
                <a:gd name="connsiteY3796" fmla="*/ 747814 h 6523037"/>
                <a:gd name="connsiteX3797" fmla="*/ 9887898 w 12192001"/>
                <a:gd name="connsiteY3797" fmla="*/ 881273 h 6523037"/>
                <a:gd name="connsiteX3798" fmla="*/ 10024851 w 12192001"/>
                <a:gd name="connsiteY3798" fmla="*/ 1018227 h 6523037"/>
                <a:gd name="connsiteX3799" fmla="*/ 10288974 w 12192001"/>
                <a:gd name="connsiteY3799" fmla="*/ 1018227 h 6523037"/>
                <a:gd name="connsiteX3800" fmla="*/ 10017863 w 12192001"/>
                <a:gd name="connsiteY3800" fmla="*/ 747814 h 6523037"/>
                <a:gd name="connsiteX3801" fmla="*/ 10019261 w 12192001"/>
                <a:gd name="connsiteY3801" fmla="*/ 746417 h 6523037"/>
                <a:gd name="connsiteX3802" fmla="*/ 10287577 w 12192001"/>
                <a:gd name="connsiteY3802" fmla="*/ 476704 h 6523037"/>
                <a:gd name="connsiteX3803" fmla="*/ 9203307 w 12192001"/>
                <a:gd name="connsiteY3803" fmla="*/ 476384 h 6523037"/>
                <a:gd name="connsiteX3804" fmla="*/ 9022333 w 12192001"/>
                <a:gd name="connsiteY3804" fmla="*/ 657358 h 6523037"/>
                <a:gd name="connsiteX3805" fmla="*/ 9023032 w 12192001"/>
                <a:gd name="connsiteY3805" fmla="*/ 658057 h 6523037"/>
                <a:gd name="connsiteX3806" fmla="*/ 8933593 w 12192001"/>
                <a:gd name="connsiteY3806" fmla="*/ 748194 h 6523037"/>
                <a:gd name="connsiteX3807" fmla="*/ 9067752 w 12192001"/>
                <a:gd name="connsiteY3807" fmla="*/ 881654 h 6523037"/>
                <a:gd name="connsiteX3808" fmla="*/ 9204005 w 12192001"/>
                <a:gd name="connsiteY3808" fmla="*/ 1017907 h 6523037"/>
                <a:gd name="connsiteX3809" fmla="*/ 9464142 w 12192001"/>
                <a:gd name="connsiteY3809" fmla="*/ 1017907 h 6523037"/>
                <a:gd name="connsiteX3810" fmla="*/ 9320523 w 12192001"/>
                <a:gd name="connsiteY3810" fmla="*/ 874286 h 6523037"/>
                <a:gd name="connsiteX3811" fmla="*/ 9320523 w 12192001"/>
                <a:gd name="connsiteY3811" fmla="*/ 870682 h 6523037"/>
                <a:gd name="connsiteX3812" fmla="*/ 9197018 w 12192001"/>
                <a:gd name="connsiteY3812" fmla="*/ 747495 h 6523037"/>
                <a:gd name="connsiteX3813" fmla="*/ 9320523 w 12192001"/>
                <a:gd name="connsiteY3813" fmla="*/ 623671 h 6523037"/>
                <a:gd name="connsiteX3814" fmla="*/ 9320523 w 12192001"/>
                <a:gd name="connsiteY3814" fmla="*/ 622738 h 6523037"/>
                <a:gd name="connsiteX3815" fmla="*/ 9466190 w 12192001"/>
                <a:gd name="connsiteY3815" fmla="*/ 476384 h 6523037"/>
                <a:gd name="connsiteX3816" fmla="*/ 7276184 w 12192001"/>
                <a:gd name="connsiteY3816" fmla="*/ 476384 h 6523037"/>
                <a:gd name="connsiteX3817" fmla="*/ 7009966 w 12192001"/>
                <a:gd name="connsiteY3817" fmla="*/ 479180 h 6523037"/>
                <a:gd name="connsiteX3818" fmla="*/ 6739554 w 12192001"/>
                <a:gd name="connsiteY3818" fmla="*/ 750291 h 6523037"/>
                <a:gd name="connsiteX3819" fmla="*/ 7010664 w 12192001"/>
                <a:gd name="connsiteY3819" fmla="*/ 1020703 h 6523037"/>
                <a:gd name="connsiteX3820" fmla="*/ 7274787 w 12192001"/>
                <a:gd name="connsiteY3820" fmla="*/ 1020703 h 6523037"/>
                <a:gd name="connsiteX3821" fmla="*/ 7003677 w 12192001"/>
                <a:gd name="connsiteY3821" fmla="*/ 750291 h 6523037"/>
                <a:gd name="connsiteX3822" fmla="*/ 10572663 w 12192001"/>
                <a:gd name="connsiteY3822" fmla="*/ 476005 h 6523037"/>
                <a:gd name="connsiteX3823" fmla="*/ 10302250 w 12192001"/>
                <a:gd name="connsiteY3823" fmla="*/ 747116 h 6523037"/>
                <a:gd name="connsiteX3824" fmla="*/ 10573361 w 12192001"/>
                <a:gd name="connsiteY3824" fmla="*/ 1017528 h 6523037"/>
                <a:gd name="connsiteX3825" fmla="*/ 10837485 w 12192001"/>
                <a:gd name="connsiteY3825" fmla="*/ 1017528 h 6523037"/>
                <a:gd name="connsiteX3826" fmla="*/ 10566374 w 12192001"/>
                <a:gd name="connsiteY3826" fmla="*/ 747116 h 6523037"/>
                <a:gd name="connsiteX3827" fmla="*/ 10836786 w 12192001"/>
                <a:gd name="connsiteY3827" fmla="*/ 476005 h 6523037"/>
                <a:gd name="connsiteX3828" fmla="*/ 11120474 w 12192001"/>
                <a:gd name="connsiteY3828" fmla="*/ 475306 h 6523037"/>
                <a:gd name="connsiteX3829" fmla="*/ 10850062 w 12192001"/>
                <a:gd name="connsiteY3829" fmla="*/ 746417 h 6523037"/>
                <a:gd name="connsiteX3830" fmla="*/ 11121173 w 12192001"/>
                <a:gd name="connsiteY3830" fmla="*/ 1016829 h 6523037"/>
                <a:gd name="connsiteX3831" fmla="*/ 11122571 w 12192001"/>
                <a:gd name="connsiteY3831" fmla="*/ 1018227 h 6523037"/>
                <a:gd name="connsiteX3832" fmla="*/ 11386694 w 12192001"/>
                <a:gd name="connsiteY3832" fmla="*/ 1018227 h 6523037"/>
                <a:gd name="connsiteX3833" fmla="*/ 11255331 w 12192001"/>
                <a:gd name="connsiteY3833" fmla="*/ 886863 h 6523037"/>
                <a:gd name="connsiteX3834" fmla="*/ 11117678 w 12192001"/>
                <a:gd name="connsiteY3834" fmla="*/ 749211 h 6523037"/>
                <a:gd name="connsiteX3835" fmla="*/ 11386694 w 12192001"/>
                <a:gd name="connsiteY3835" fmla="*/ 475306 h 6523037"/>
                <a:gd name="connsiteX3836" fmla="*/ 11936601 w 12192001"/>
                <a:gd name="connsiteY3836" fmla="*/ 473209 h 6523037"/>
                <a:gd name="connsiteX3837" fmla="*/ 11670382 w 12192001"/>
                <a:gd name="connsiteY3837" fmla="*/ 476005 h 6523037"/>
                <a:gd name="connsiteX3838" fmla="*/ 11399970 w 12192001"/>
                <a:gd name="connsiteY3838" fmla="*/ 747116 h 6523037"/>
                <a:gd name="connsiteX3839" fmla="*/ 11671081 w 12192001"/>
                <a:gd name="connsiteY3839" fmla="*/ 1017528 h 6523037"/>
                <a:gd name="connsiteX3840" fmla="*/ 11935204 w 12192001"/>
                <a:gd name="connsiteY3840" fmla="*/ 1017528 h 6523037"/>
                <a:gd name="connsiteX3841" fmla="*/ 11664093 w 12192001"/>
                <a:gd name="connsiteY3841" fmla="*/ 747116 h 6523037"/>
                <a:gd name="connsiteX3842" fmla="*/ 161407 w 12192001"/>
                <a:gd name="connsiteY3842" fmla="*/ 211433 h 6523037"/>
                <a:gd name="connsiteX3843" fmla="*/ 432518 w 12192001"/>
                <a:gd name="connsiteY3843" fmla="*/ 481845 h 6523037"/>
                <a:gd name="connsiteX3844" fmla="*/ 429724 w 12192001"/>
                <a:gd name="connsiteY3844" fmla="*/ 484641 h 6523037"/>
                <a:gd name="connsiteX3845" fmla="*/ 339586 w 12192001"/>
                <a:gd name="connsiteY3845" fmla="*/ 575476 h 6523037"/>
                <a:gd name="connsiteX3846" fmla="*/ 162106 w 12192001"/>
                <a:gd name="connsiteY3846" fmla="*/ 752257 h 6523037"/>
                <a:gd name="connsiteX3847" fmla="*/ 426230 w 12192001"/>
                <a:gd name="connsiteY3847" fmla="*/ 752257 h 6523037"/>
                <a:gd name="connsiteX3848" fmla="*/ 515668 w 12192001"/>
                <a:gd name="connsiteY3848" fmla="*/ 662819 h 6523037"/>
                <a:gd name="connsiteX3849" fmla="*/ 696642 w 12192001"/>
                <a:gd name="connsiteY3849" fmla="*/ 481845 h 6523037"/>
                <a:gd name="connsiteX3850" fmla="*/ 425531 w 12192001"/>
                <a:gd name="connsiteY3850" fmla="*/ 211433 h 6523037"/>
                <a:gd name="connsiteX3851" fmla="*/ 710617 w 12192001"/>
                <a:gd name="connsiteY3851" fmla="*/ 210735 h 6523037"/>
                <a:gd name="connsiteX3852" fmla="*/ 840582 w 12192001"/>
                <a:gd name="connsiteY3852" fmla="*/ 340700 h 6523037"/>
                <a:gd name="connsiteX3853" fmla="*/ 981029 w 12192001"/>
                <a:gd name="connsiteY3853" fmla="*/ 480448 h 6523037"/>
                <a:gd name="connsiteX3854" fmla="*/ 710617 w 12192001"/>
                <a:gd name="connsiteY3854" fmla="*/ 751558 h 6523037"/>
                <a:gd name="connsiteX3855" fmla="*/ 974740 w 12192001"/>
                <a:gd name="connsiteY3855" fmla="*/ 751558 h 6523037"/>
                <a:gd name="connsiteX3856" fmla="*/ 1245851 w 12192001"/>
                <a:gd name="connsiteY3856" fmla="*/ 481146 h 6523037"/>
                <a:gd name="connsiteX3857" fmla="*/ 974740 w 12192001"/>
                <a:gd name="connsiteY3857" fmla="*/ 210735 h 6523037"/>
                <a:gd name="connsiteX3858" fmla="*/ 2906055 w 12192001"/>
                <a:gd name="connsiteY3858" fmla="*/ 210036 h 6523037"/>
                <a:gd name="connsiteX3859" fmla="*/ 3035322 w 12192001"/>
                <a:gd name="connsiteY3859" fmla="*/ 337905 h 6523037"/>
                <a:gd name="connsiteX3860" fmla="*/ 3035322 w 12192001"/>
                <a:gd name="connsiteY3860" fmla="*/ 338604 h 6523037"/>
                <a:gd name="connsiteX3861" fmla="*/ 3177166 w 12192001"/>
                <a:gd name="connsiteY3861" fmla="*/ 480448 h 6523037"/>
                <a:gd name="connsiteX3862" fmla="*/ 2906754 w 12192001"/>
                <a:gd name="connsiteY3862" fmla="*/ 751558 h 6523037"/>
                <a:gd name="connsiteX3863" fmla="*/ 3170178 w 12192001"/>
                <a:gd name="connsiteY3863" fmla="*/ 751558 h 6523037"/>
                <a:gd name="connsiteX3864" fmla="*/ 3440590 w 12192001"/>
                <a:gd name="connsiteY3864" fmla="*/ 480448 h 6523037"/>
                <a:gd name="connsiteX3865" fmla="*/ 3435000 w 12192001"/>
                <a:gd name="connsiteY3865" fmla="*/ 474858 h 6523037"/>
                <a:gd name="connsiteX3866" fmla="*/ 3434301 w 12192001"/>
                <a:gd name="connsiteY3866" fmla="*/ 474858 h 6523037"/>
                <a:gd name="connsiteX3867" fmla="*/ 3168781 w 12192001"/>
                <a:gd name="connsiteY3867" fmla="*/ 210036 h 6523037"/>
                <a:gd name="connsiteX3868" fmla="*/ 1808336 w 12192001"/>
                <a:gd name="connsiteY3868" fmla="*/ 210036 h 6523037"/>
                <a:gd name="connsiteX3869" fmla="*/ 1810426 w 12192001"/>
                <a:gd name="connsiteY3869" fmla="*/ 212824 h 6523037"/>
                <a:gd name="connsiteX3870" fmla="*/ 1809733 w 12192001"/>
                <a:gd name="connsiteY3870" fmla="*/ 212132 h 6523037"/>
                <a:gd name="connsiteX3871" fmla="*/ 1810432 w 12192001"/>
                <a:gd name="connsiteY3871" fmla="*/ 212831 h 6523037"/>
                <a:gd name="connsiteX3872" fmla="*/ 1810426 w 12192001"/>
                <a:gd name="connsiteY3872" fmla="*/ 212824 h 6523037"/>
                <a:gd name="connsiteX3873" fmla="*/ 2068965 w 12192001"/>
                <a:gd name="connsiteY3873" fmla="*/ 470666 h 6523037"/>
                <a:gd name="connsiteX3874" fmla="*/ 2078748 w 12192001"/>
                <a:gd name="connsiteY3874" fmla="*/ 479749 h 6523037"/>
                <a:gd name="connsiteX3875" fmla="*/ 2080844 w 12192001"/>
                <a:gd name="connsiteY3875" fmla="*/ 481845 h 6523037"/>
                <a:gd name="connsiteX3876" fmla="*/ 1816022 w 12192001"/>
                <a:gd name="connsiteY3876" fmla="*/ 751558 h 6523037"/>
                <a:gd name="connsiteX3877" fmla="*/ 2075254 w 12192001"/>
                <a:gd name="connsiteY3877" fmla="*/ 752257 h 6523037"/>
                <a:gd name="connsiteX3878" fmla="*/ 2344968 w 12192001"/>
                <a:gd name="connsiteY3878" fmla="*/ 481845 h 6523037"/>
                <a:gd name="connsiteX3879" fmla="*/ 2209412 w 12192001"/>
                <a:gd name="connsiteY3879" fmla="*/ 346988 h 6523037"/>
                <a:gd name="connsiteX3880" fmla="*/ 2192643 w 12192001"/>
                <a:gd name="connsiteY3880" fmla="*/ 330219 h 6523037"/>
                <a:gd name="connsiteX3881" fmla="*/ 2073158 w 12192001"/>
                <a:gd name="connsiteY3881" fmla="*/ 211433 h 6523037"/>
                <a:gd name="connsiteX3882" fmla="*/ 2068965 w 12192001"/>
                <a:gd name="connsiteY3882" fmla="*/ 210036 h 6523037"/>
                <a:gd name="connsiteX3883" fmla="*/ 1258428 w 12192001"/>
                <a:gd name="connsiteY3883" fmla="*/ 210036 h 6523037"/>
                <a:gd name="connsiteX3884" fmla="*/ 1529539 w 12192001"/>
                <a:gd name="connsiteY3884" fmla="*/ 480448 h 6523037"/>
                <a:gd name="connsiteX3885" fmla="*/ 1259127 w 12192001"/>
                <a:gd name="connsiteY3885" fmla="*/ 751558 h 6523037"/>
                <a:gd name="connsiteX3886" fmla="*/ 1523250 w 12192001"/>
                <a:gd name="connsiteY3886" fmla="*/ 751558 h 6523037"/>
                <a:gd name="connsiteX3887" fmla="*/ 1793662 w 12192001"/>
                <a:gd name="connsiteY3887" fmla="*/ 480448 h 6523037"/>
                <a:gd name="connsiteX3888" fmla="*/ 1522551 w 12192001"/>
                <a:gd name="connsiteY3888" fmla="*/ 210036 h 6523037"/>
                <a:gd name="connsiteX3889" fmla="*/ 2621668 w 12192001"/>
                <a:gd name="connsiteY3889" fmla="*/ 208638 h 6523037"/>
                <a:gd name="connsiteX3890" fmla="*/ 2358243 w 12192001"/>
                <a:gd name="connsiteY3890" fmla="*/ 209337 h 6523037"/>
                <a:gd name="connsiteX3891" fmla="*/ 2627259 w 12192001"/>
                <a:gd name="connsiteY3891" fmla="*/ 477653 h 6523037"/>
                <a:gd name="connsiteX3892" fmla="*/ 2626560 w 12192001"/>
                <a:gd name="connsiteY3892" fmla="*/ 478352 h 6523037"/>
                <a:gd name="connsiteX3893" fmla="*/ 2627957 w 12192001"/>
                <a:gd name="connsiteY3893" fmla="*/ 479749 h 6523037"/>
                <a:gd name="connsiteX3894" fmla="*/ 2357544 w 12192001"/>
                <a:gd name="connsiteY3894" fmla="*/ 750860 h 6523037"/>
                <a:gd name="connsiteX3895" fmla="*/ 2621668 w 12192001"/>
                <a:gd name="connsiteY3895" fmla="*/ 750860 h 6523037"/>
                <a:gd name="connsiteX3896" fmla="*/ 2711805 w 12192001"/>
                <a:gd name="connsiteY3896" fmla="*/ 660723 h 6523037"/>
                <a:gd name="connsiteX3897" fmla="*/ 2891382 w 12192001"/>
                <a:gd name="connsiteY3897" fmla="*/ 477653 h 6523037"/>
                <a:gd name="connsiteX3898" fmla="*/ 4550188 w 12192001"/>
                <a:gd name="connsiteY3898" fmla="*/ 207940 h 6523037"/>
                <a:gd name="connsiteX3899" fmla="*/ 4817219 w 12192001"/>
                <a:gd name="connsiteY3899" fmla="*/ 474283 h 6523037"/>
                <a:gd name="connsiteX3900" fmla="*/ 5079348 w 12192001"/>
                <a:gd name="connsiteY3900" fmla="*/ 473590 h 6523037"/>
                <a:gd name="connsiteX3901" fmla="*/ 4813011 w 12192001"/>
                <a:gd name="connsiteY3901" fmla="*/ 207940 h 6523037"/>
                <a:gd name="connsiteX3902" fmla="*/ 4001678 w 12192001"/>
                <a:gd name="connsiteY3902" fmla="*/ 207940 h 6523037"/>
                <a:gd name="connsiteX3903" fmla="*/ 4131644 w 12192001"/>
                <a:gd name="connsiteY3903" fmla="*/ 337206 h 6523037"/>
                <a:gd name="connsiteX3904" fmla="*/ 4272090 w 12192001"/>
                <a:gd name="connsiteY3904" fmla="*/ 477653 h 6523037"/>
                <a:gd name="connsiteX3905" fmla="*/ 4179158 w 12192001"/>
                <a:gd name="connsiteY3905" fmla="*/ 571284 h 6523037"/>
                <a:gd name="connsiteX3906" fmla="*/ 4179856 w 12192001"/>
                <a:gd name="connsiteY3906" fmla="*/ 571983 h 6523037"/>
                <a:gd name="connsiteX3907" fmla="*/ 4003075 w 12192001"/>
                <a:gd name="connsiteY3907" fmla="*/ 749462 h 6523037"/>
                <a:gd name="connsiteX3908" fmla="*/ 4265801 w 12192001"/>
                <a:gd name="connsiteY3908" fmla="*/ 749462 h 6523037"/>
                <a:gd name="connsiteX3909" fmla="*/ 4536213 w 12192001"/>
                <a:gd name="connsiteY3909" fmla="*/ 478352 h 6523037"/>
                <a:gd name="connsiteX3910" fmla="*/ 4265103 w 12192001"/>
                <a:gd name="connsiteY3910" fmla="*/ 207940 h 6523037"/>
                <a:gd name="connsiteX3911" fmla="*/ 3453167 w 12192001"/>
                <a:gd name="connsiteY3911" fmla="*/ 207940 h 6523037"/>
                <a:gd name="connsiteX3912" fmla="*/ 3724278 w 12192001"/>
                <a:gd name="connsiteY3912" fmla="*/ 478352 h 6523037"/>
                <a:gd name="connsiteX3913" fmla="*/ 3724977 w 12192001"/>
                <a:gd name="connsiteY3913" fmla="*/ 479050 h 6523037"/>
                <a:gd name="connsiteX3914" fmla="*/ 3454565 w 12192001"/>
                <a:gd name="connsiteY3914" fmla="*/ 750161 h 6523037"/>
                <a:gd name="connsiteX3915" fmla="*/ 3718688 w 12192001"/>
                <a:gd name="connsiteY3915" fmla="*/ 750161 h 6523037"/>
                <a:gd name="connsiteX3916" fmla="*/ 3808127 w 12192001"/>
                <a:gd name="connsiteY3916" fmla="*/ 660024 h 6523037"/>
                <a:gd name="connsiteX3917" fmla="*/ 3807428 w 12192001"/>
                <a:gd name="connsiteY3917" fmla="*/ 660024 h 6523037"/>
                <a:gd name="connsiteX3918" fmla="*/ 3988403 w 12192001"/>
                <a:gd name="connsiteY3918" fmla="*/ 479050 h 6523037"/>
                <a:gd name="connsiteX3919" fmla="*/ 3983511 w 12192001"/>
                <a:gd name="connsiteY3919" fmla="*/ 473460 h 6523037"/>
                <a:gd name="connsiteX3920" fmla="*/ 3717291 w 12192001"/>
                <a:gd name="connsiteY3920" fmla="*/ 207940 h 6523037"/>
                <a:gd name="connsiteX3921" fmla="*/ 4823396 w 12192001"/>
                <a:gd name="connsiteY3921" fmla="*/ 206671 h 6523037"/>
                <a:gd name="connsiteX3922" fmla="*/ 4823396 w 12192001"/>
                <a:gd name="connsiteY3922" fmla="*/ 208549 h 6523037"/>
                <a:gd name="connsiteX3923" fmla="*/ 5092624 w 12192001"/>
                <a:gd name="connsiteY3923" fmla="*/ 477083 h 6523037"/>
                <a:gd name="connsiteX3924" fmla="*/ 5089830 w 12192001"/>
                <a:gd name="connsiteY3924" fmla="*/ 479879 h 6523037"/>
                <a:gd name="connsiteX3925" fmla="*/ 4999692 w 12192001"/>
                <a:gd name="connsiteY3925" fmla="*/ 570714 h 6523037"/>
                <a:gd name="connsiteX3926" fmla="*/ 4823396 w 12192001"/>
                <a:gd name="connsiteY3926" fmla="*/ 746316 h 6523037"/>
                <a:gd name="connsiteX3927" fmla="*/ 4823396 w 12192001"/>
                <a:gd name="connsiteY3927" fmla="*/ 747495 h 6523037"/>
                <a:gd name="connsiteX3928" fmla="*/ 5086337 w 12192001"/>
                <a:gd name="connsiteY3928" fmla="*/ 747495 h 6523037"/>
                <a:gd name="connsiteX3929" fmla="*/ 5175775 w 12192001"/>
                <a:gd name="connsiteY3929" fmla="*/ 658057 h 6523037"/>
                <a:gd name="connsiteX3930" fmla="*/ 5356748 w 12192001"/>
                <a:gd name="connsiteY3930" fmla="*/ 477083 h 6523037"/>
                <a:gd name="connsiteX3931" fmla="*/ 5085637 w 12192001"/>
                <a:gd name="connsiteY3931" fmla="*/ 206671 h 6523037"/>
                <a:gd name="connsiteX3932" fmla="*/ 5370723 w 12192001"/>
                <a:gd name="connsiteY3932" fmla="*/ 205973 h 6523037"/>
                <a:gd name="connsiteX3933" fmla="*/ 5500688 w 12192001"/>
                <a:gd name="connsiteY3933" fmla="*/ 335938 h 6523037"/>
                <a:gd name="connsiteX3934" fmla="*/ 5641135 w 12192001"/>
                <a:gd name="connsiteY3934" fmla="*/ 475686 h 6523037"/>
                <a:gd name="connsiteX3935" fmla="*/ 5370723 w 12192001"/>
                <a:gd name="connsiteY3935" fmla="*/ 746796 h 6523037"/>
                <a:gd name="connsiteX3936" fmla="*/ 5634846 w 12192001"/>
                <a:gd name="connsiteY3936" fmla="*/ 746796 h 6523037"/>
                <a:gd name="connsiteX3937" fmla="*/ 5905958 w 12192001"/>
                <a:gd name="connsiteY3937" fmla="*/ 476384 h 6523037"/>
                <a:gd name="connsiteX3938" fmla="*/ 5634846 w 12192001"/>
                <a:gd name="connsiteY3938" fmla="*/ 205973 h 6523037"/>
                <a:gd name="connsiteX3939" fmla="*/ 7566161 w 12192001"/>
                <a:gd name="connsiteY3939" fmla="*/ 205274 h 6523037"/>
                <a:gd name="connsiteX3940" fmla="*/ 7695428 w 12192001"/>
                <a:gd name="connsiteY3940" fmla="*/ 333143 h 6523037"/>
                <a:gd name="connsiteX3941" fmla="*/ 7695428 w 12192001"/>
                <a:gd name="connsiteY3941" fmla="*/ 333842 h 6523037"/>
                <a:gd name="connsiteX3942" fmla="*/ 7837272 w 12192001"/>
                <a:gd name="connsiteY3942" fmla="*/ 475686 h 6523037"/>
                <a:gd name="connsiteX3943" fmla="*/ 7566860 w 12192001"/>
                <a:gd name="connsiteY3943" fmla="*/ 746796 h 6523037"/>
                <a:gd name="connsiteX3944" fmla="*/ 7830284 w 12192001"/>
                <a:gd name="connsiteY3944" fmla="*/ 746796 h 6523037"/>
                <a:gd name="connsiteX3945" fmla="*/ 8100696 w 12192001"/>
                <a:gd name="connsiteY3945" fmla="*/ 475686 h 6523037"/>
                <a:gd name="connsiteX3946" fmla="*/ 8095106 w 12192001"/>
                <a:gd name="connsiteY3946" fmla="*/ 470096 h 6523037"/>
                <a:gd name="connsiteX3947" fmla="*/ 8094407 w 12192001"/>
                <a:gd name="connsiteY3947" fmla="*/ 470096 h 6523037"/>
                <a:gd name="connsiteX3948" fmla="*/ 7828887 w 12192001"/>
                <a:gd name="connsiteY3948" fmla="*/ 205274 h 6523037"/>
                <a:gd name="connsiteX3949" fmla="*/ 6468443 w 12192001"/>
                <a:gd name="connsiteY3949" fmla="*/ 205274 h 6523037"/>
                <a:gd name="connsiteX3950" fmla="*/ 6470532 w 12192001"/>
                <a:gd name="connsiteY3950" fmla="*/ 208062 h 6523037"/>
                <a:gd name="connsiteX3951" fmla="*/ 6469839 w 12192001"/>
                <a:gd name="connsiteY3951" fmla="*/ 207370 h 6523037"/>
                <a:gd name="connsiteX3952" fmla="*/ 6470538 w 12192001"/>
                <a:gd name="connsiteY3952" fmla="*/ 208069 h 6523037"/>
                <a:gd name="connsiteX3953" fmla="*/ 6470532 w 12192001"/>
                <a:gd name="connsiteY3953" fmla="*/ 208062 h 6523037"/>
                <a:gd name="connsiteX3954" fmla="*/ 6729071 w 12192001"/>
                <a:gd name="connsiteY3954" fmla="*/ 465904 h 6523037"/>
                <a:gd name="connsiteX3955" fmla="*/ 6738854 w 12192001"/>
                <a:gd name="connsiteY3955" fmla="*/ 474987 h 6523037"/>
                <a:gd name="connsiteX3956" fmla="*/ 6740950 w 12192001"/>
                <a:gd name="connsiteY3956" fmla="*/ 477083 h 6523037"/>
                <a:gd name="connsiteX3957" fmla="*/ 6476128 w 12192001"/>
                <a:gd name="connsiteY3957" fmla="*/ 746796 h 6523037"/>
                <a:gd name="connsiteX3958" fmla="*/ 6735361 w 12192001"/>
                <a:gd name="connsiteY3958" fmla="*/ 747495 h 6523037"/>
                <a:gd name="connsiteX3959" fmla="*/ 7005075 w 12192001"/>
                <a:gd name="connsiteY3959" fmla="*/ 477083 h 6523037"/>
                <a:gd name="connsiteX3960" fmla="*/ 6869518 w 12192001"/>
                <a:gd name="connsiteY3960" fmla="*/ 342226 h 6523037"/>
                <a:gd name="connsiteX3961" fmla="*/ 6852749 w 12192001"/>
                <a:gd name="connsiteY3961" fmla="*/ 325457 h 6523037"/>
                <a:gd name="connsiteX3962" fmla="*/ 6733264 w 12192001"/>
                <a:gd name="connsiteY3962" fmla="*/ 206671 h 6523037"/>
                <a:gd name="connsiteX3963" fmla="*/ 6729071 w 12192001"/>
                <a:gd name="connsiteY3963" fmla="*/ 205274 h 6523037"/>
                <a:gd name="connsiteX3964" fmla="*/ 5918534 w 12192001"/>
                <a:gd name="connsiteY3964" fmla="*/ 205274 h 6523037"/>
                <a:gd name="connsiteX3965" fmla="*/ 6189645 w 12192001"/>
                <a:gd name="connsiteY3965" fmla="*/ 475686 h 6523037"/>
                <a:gd name="connsiteX3966" fmla="*/ 5919233 w 12192001"/>
                <a:gd name="connsiteY3966" fmla="*/ 746796 h 6523037"/>
                <a:gd name="connsiteX3967" fmla="*/ 6183356 w 12192001"/>
                <a:gd name="connsiteY3967" fmla="*/ 746796 h 6523037"/>
                <a:gd name="connsiteX3968" fmla="*/ 6453768 w 12192001"/>
                <a:gd name="connsiteY3968" fmla="*/ 475686 h 6523037"/>
                <a:gd name="connsiteX3969" fmla="*/ 6182657 w 12192001"/>
                <a:gd name="connsiteY3969" fmla="*/ 205274 h 6523037"/>
                <a:gd name="connsiteX3970" fmla="*/ 7281774 w 12192001"/>
                <a:gd name="connsiteY3970" fmla="*/ 203876 h 6523037"/>
                <a:gd name="connsiteX3971" fmla="*/ 7018349 w 12192001"/>
                <a:gd name="connsiteY3971" fmla="*/ 204575 h 6523037"/>
                <a:gd name="connsiteX3972" fmla="*/ 7287365 w 12192001"/>
                <a:gd name="connsiteY3972" fmla="*/ 472891 h 6523037"/>
                <a:gd name="connsiteX3973" fmla="*/ 7286666 w 12192001"/>
                <a:gd name="connsiteY3973" fmla="*/ 473590 h 6523037"/>
                <a:gd name="connsiteX3974" fmla="*/ 7288063 w 12192001"/>
                <a:gd name="connsiteY3974" fmla="*/ 474987 h 6523037"/>
                <a:gd name="connsiteX3975" fmla="*/ 7017651 w 12192001"/>
                <a:gd name="connsiteY3975" fmla="*/ 746098 h 6523037"/>
                <a:gd name="connsiteX3976" fmla="*/ 7281774 w 12192001"/>
                <a:gd name="connsiteY3976" fmla="*/ 746098 h 6523037"/>
                <a:gd name="connsiteX3977" fmla="*/ 7371911 w 12192001"/>
                <a:gd name="connsiteY3977" fmla="*/ 655961 h 6523037"/>
                <a:gd name="connsiteX3978" fmla="*/ 7551488 w 12192001"/>
                <a:gd name="connsiteY3978" fmla="*/ 472891 h 6523037"/>
                <a:gd name="connsiteX3979" fmla="*/ 9483502 w 12192001"/>
                <a:gd name="connsiteY3979" fmla="*/ 203496 h 6523037"/>
                <a:gd name="connsiteX3980" fmla="*/ 9483502 w 12192001"/>
                <a:gd name="connsiteY3980" fmla="*/ 205064 h 6523037"/>
                <a:gd name="connsiteX3981" fmla="*/ 9753041 w 12192001"/>
                <a:gd name="connsiteY3981" fmla="*/ 473908 h 6523037"/>
                <a:gd name="connsiteX3982" fmla="*/ 9750247 w 12192001"/>
                <a:gd name="connsiteY3982" fmla="*/ 476704 h 6523037"/>
                <a:gd name="connsiteX3983" fmla="*/ 9660109 w 12192001"/>
                <a:gd name="connsiteY3983" fmla="*/ 567539 h 6523037"/>
                <a:gd name="connsiteX3984" fmla="*/ 9483502 w 12192001"/>
                <a:gd name="connsiteY3984" fmla="*/ 743451 h 6523037"/>
                <a:gd name="connsiteX3985" fmla="*/ 9483502 w 12192001"/>
                <a:gd name="connsiteY3985" fmla="*/ 744320 h 6523037"/>
                <a:gd name="connsiteX3986" fmla="*/ 9746753 w 12192001"/>
                <a:gd name="connsiteY3986" fmla="*/ 744320 h 6523037"/>
                <a:gd name="connsiteX3987" fmla="*/ 9836191 w 12192001"/>
                <a:gd name="connsiteY3987" fmla="*/ 654882 h 6523037"/>
                <a:gd name="connsiteX3988" fmla="*/ 10017165 w 12192001"/>
                <a:gd name="connsiteY3988" fmla="*/ 473908 h 6523037"/>
                <a:gd name="connsiteX3989" fmla="*/ 9746054 w 12192001"/>
                <a:gd name="connsiteY3989" fmla="*/ 203496 h 6523037"/>
                <a:gd name="connsiteX3990" fmla="*/ 9210294 w 12192001"/>
                <a:gd name="connsiteY3990" fmla="*/ 203178 h 6523037"/>
                <a:gd name="connsiteX3991" fmla="*/ 9478913 w 12192001"/>
                <a:gd name="connsiteY3991" fmla="*/ 471105 h 6523037"/>
                <a:gd name="connsiteX3992" fmla="*/ 9739765 w 12192001"/>
                <a:gd name="connsiteY3992" fmla="*/ 470415 h 6523037"/>
                <a:gd name="connsiteX3993" fmla="*/ 9471837 w 12192001"/>
                <a:gd name="connsiteY3993" fmla="*/ 203178 h 6523037"/>
                <a:gd name="connsiteX3994" fmla="*/ 8661784 w 12192001"/>
                <a:gd name="connsiteY3994" fmla="*/ 203178 h 6523037"/>
                <a:gd name="connsiteX3995" fmla="*/ 8791750 w 12192001"/>
                <a:gd name="connsiteY3995" fmla="*/ 332444 h 6523037"/>
                <a:gd name="connsiteX3996" fmla="*/ 8932196 w 12192001"/>
                <a:gd name="connsiteY3996" fmla="*/ 472891 h 6523037"/>
                <a:gd name="connsiteX3997" fmla="*/ 8839264 w 12192001"/>
                <a:gd name="connsiteY3997" fmla="*/ 566522 h 6523037"/>
                <a:gd name="connsiteX3998" fmla="*/ 8839962 w 12192001"/>
                <a:gd name="connsiteY3998" fmla="*/ 567221 h 6523037"/>
                <a:gd name="connsiteX3999" fmla="*/ 8663181 w 12192001"/>
                <a:gd name="connsiteY3999" fmla="*/ 744700 h 6523037"/>
                <a:gd name="connsiteX4000" fmla="*/ 8925907 w 12192001"/>
                <a:gd name="connsiteY4000" fmla="*/ 744700 h 6523037"/>
                <a:gd name="connsiteX4001" fmla="*/ 9196319 w 12192001"/>
                <a:gd name="connsiteY4001" fmla="*/ 473590 h 6523037"/>
                <a:gd name="connsiteX4002" fmla="*/ 8925208 w 12192001"/>
                <a:gd name="connsiteY4002" fmla="*/ 203178 h 6523037"/>
                <a:gd name="connsiteX4003" fmla="*/ 8113273 w 12192001"/>
                <a:gd name="connsiteY4003" fmla="*/ 203178 h 6523037"/>
                <a:gd name="connsiteX4004" fmla="*/ 8384384 w 12192001"/>
                <a:gd name="connsiteY4004" fmla="*/ 473590 h 6523037"/>
                <a:gd name="connsiteX4005" fmla="*/ 8385083 w 12192001"/>
                <a:gd name="connsiteY4005" fmla="*/ 474288 h 6523037"/>
                <a:gd name="connsiteX4006" fmla="*/ 8114671 w 12192001"/>
                <a:gd name="connsiteY4006" fmla="*/ 745399 h 6523037"/>
                <a:gd name="connsiteX4007" fmla="*/ 8378794 w 12192001"/>
                <a:gd name="connsiteY4007" fmla="*/ 745399 h 6523037"/>
                <a:gd name="connsiteX4008" fmla="*/ 8468233 w 12192001"/>
                <a:gd name="connsiteY4008" fmla="*/ 655262 h 6523037"/>
                <a:gd name="connsiteX4009" fmla="*/ 8467534 w 12192001"/>
                <a:gd name="connsiteY4009" fmla="*/ 655262 h 6523037"/>
                <a:gd name="connsiteX4010" fmla="*/ 8648509 w 12192001"/>
                <a:gd name="connsiteY4010" fmla="*/ 474288 h 6523037"/>
                <a:gd name="connsiteX4011" fmla="*/ 8643617 w 12192001"/>
                <a:gd name="connsiteY4011" fmla="*/ 468698 h 6523037"/>
                <a:gd name="connsiteX4012" fmla="*/ 8377397 w 12192001"/>
                <a:gd name="connsiteY4012" fmla="*/ 203178 h 6523037"/>
                <a:gd name="connsiteX4013" fmla="*/ 10031140 w 12192001"/>
                <a:gd name="connsiteY4013" fmla="*/ 202798 h 6523037"/>
                <a:gd name="connsiteX4014" fmla="*/ 10161105 w 12192001"/>
                <a:gd name="connsiteY4014" fmla="*/ 332763 h 6523037"/>
                <a:gd name="connsiteX4015" fmla="*/ 10301552 w 12192001"/>
                <a:gd name="connsiteY4015" fmla="*/ 472511 h 6523037"/>
                <a:gd name="connsiteX4016" fmla="*/ 10031140 w 12192001"/>
                <a:gd name="connsiteY4016" fmla="*/ 743621 h 6523037"/>
                <a:gd name="connsiteX4017" fmla="*/ 10295263 w 12192001"/>
                <a:gd name="connsiteY4017" fmla="*/ 743621 h 6523037"/>
                <a:gd name="connsiteX4018" fmla="*/ 10566374 w 12192001"/>
                <a:gd name="connsiteY4018" fmla="*/ 473209 h 6523037"/>
                <a:gd name="connsiteX4019" fmla="*/ 10295263 w 12192001"/>
                <a:gd name="connsiteY4019" fmla="*/ 202798 h 6523037"/>
                <a:gd name="connsiteX4020" fmla="*/ 11128859 w 12192001"/>
                <a:gd name="connsiteY4020" fmla="*/ 202099 h 6523037"/>
                <a:gd name="connsiteX4021" fmla="*/ 11130949 w 12192001"/>
                <a:gd name="connsiteY4021" fmla="*/ 204887 h 6523037"/>
                <a:gd name="connsiteX4022" fmla="*/ 11130256 w 12192001"/>
                <a:gd name="connsiteY4022" fmla="*/ 204195 h 6523037"/>
                <a:gd name="connsiteX4023" fmla="*/ 11130955 w 12192001"/>
                <a:gd name="connsiteY4023" fmla="*/ 204894 h 6523037"/>
                <a:gd name="connsiteX4024" fmla="*/ 11130949 w 12192001"/>
                <a:gd name="connsiteY4024" fmla="*/ 204887 h 6523037"/>
                <a:gd name="connsiteX4025" fmla="*/ 11389488 w 12192001"/>
                <a:gd name="connsiteY4025" fmla="*/ 462729 h 6523037"/>
                <a:gd name="connsiteX4026" fmla="*/ 11399271 w 12192001"/>
                <a:gd name="connsiteY4026" fmla="*/ 471812 h 6523037"/>
                <a:gd name="connsiteX4027" fmla="*/ 11401367 w 12192001"/>
                <a:gd name="connsiteY4027" fmla="*/ 473908 h 6523037"/>
                <a:gd name="connsiteX4028" fmla="*/ 11136545 w 12192001"/>
                <a:gd name="connsiteY4028" fmla="*/ 743621 h 6523037"/>
                <a:gd name="connsiteX4029" fmla="*/ 11395777 w 12192001"/>
                <a:gd name="connsiteY4029" fmla="*/ 744320 h 6523037"/>
                <a:gd name="connsiteX4030" fmla="*/ 11665491 w 12192001"/>
                <a:gd name="connsiteY4030" fmla="*/ 473908 h 6523037"/>
                <a:gd name="connsiteX4031" fmla="*/ 11529935 w 12192001"/>
                <a:gd name="connsiteY4031" fmla="*/ 339051 h 6523037"/>
                <a:gd name="connsiteX4032" fmla="*/ 11513166 w 12192001"/>
                <a:gd name="connsiteY4032" fmla="*/ 322282 h 6523037"/>
                <a:gd name="connsiteX4033" fmla="*/ 11393681 w 12192001"/>
                <a:gd name="connsiteY4033" fmla="*/ 203496 h 6523037"/>
                <a:gd name="connsiteX4034" fmla="*/ 11389488 w 12192001"/>
                <a:gd name="connsiteY4034" fmla="*/ 202099 h 6523037"/>
                <a:gd name="connsiteX4035" fmla="*/ 10578951 w 12192001"/>
                <a:gd name="connsiteY4035" fmla="*/ 202099 h 6523037"/>
                <a:gd name="connsiteX4036" fmla="*/ 10850062 w 12192001"/>
                <a:gd name="connsiteY4036" fmla="*/ 472511 h 6523037"/>
                <a:gd name="connsiteX4037" fmla="*/ 10579650 w 12192001"/>
                <a:gd name="connsiteY4037" fmla="*/ 743621 h 6523037"/>
                <a:gd name="connsiteX4038" fmla="*/ 10843773 w 12192001"/>
                <a:gd name="connsiteY4038" fmla="*/ 743621 h 6523037"/>
                <a:gd name="connsiteX4039" fmla="*/ 11114185 w 12192001"/>
                <a:gd name="connsiteY4039" fmla="*/ 472511 h 6523037"/>
                <a:gd name="connsiteX4040" fmla="*/ 10843074 w 12192001"/>
                <a:gd name="connsiteY4040" fmla="*/ 202099 h 6523037"/>
                <a:gd name="connsiteX4041" fmla="*/ 73183 w 12192001"/>
                <a:gd name="connsiteY4041" fmla="*/ 7937 h 6523037"/>
                <a:gd name="connsiteX4042" fmla="*/ 84011 w 12192001"/>
                <a:gd name="connsiteY4042" fmla="*/ 7937 h 6523037"/>
                <a:gd name="connsiteX4043" fmla="*/ 0 w 12192001"/>
                <a:gd name="connsiteY4043" fmla="*/ 91948 h 6523037"/>
                <a:gd name="connsiteX4044" fmla="*/ 0 w 12192001"/>
                <a:gd name="connsiteY4044" fmla="*/ 81467 h 6523037"/>
                <a:gd name="connsiteX4045" fmla="*/ 9393706 w 12192001"/>
                <a:gd name="connsiteY4045" fmla="*/ 0 h 6523037"/>
                <a:gd name="connsiteX4046" fmla="*/ 9404534 w 12192001"/>
                <a:gd name="connsiteY4046" fmla="*/ 0 h 6523037"/>
                <a:gd name="connsiteX4047" fmla="*/ 9401359 w 12192001"/>
                <a:gd name="connsiteY4047" fmla="*/ 3175 h 6523037"/>
                <a:gd name="connsiteX4048" fmla="*/ 9401912 w 12192001"/>
                <a:gd name="connsiteY4048" fmla="*/ 3175 h 6523037"/>
                <a:gd name="connsiteX4049" fmla="*/ 9209595 w 12192001"/>
                <a:gd name="connsiteY4049" fmla="*/ 195492 h 6523037"/>
                <a:gd name="connsiteX4050" fmla="*/ 9473165 w 12192001"/>
                <a:gd name="connsiteY4050" fmla="*/ 195492 h 6523037"/>
                <a:gd name="connsiteX4051" fmla="*/ 9668657 w 12192001"/>
                <a:gd name="connsiteY4051" fmla="*/ 0 h 6523037"/>
                <a:gd name="connsiteX4052" fmla="*/ 9679138 w 12192001"/>
                <a:gd name="connsiteY4052" fmla="*/ 0 h 6523037"/>
                <a:gd name="connsiteX4053" fmla="*/ 9483502 w 12192001"/>
                <a:gd name="connsiteY4053" fmla="*/ 195636 h 6523037"/>
                <a:gd name="connsiteX4054" fmla="*/ 9483502 w 12192001"/>
                <a:gd name="connsiteY4054" fmla="*/ 196191 h 6523037"/>
                <a:gd name="connsiteX4055" fmla="*/ 9483184 w 12192001"/>
                <a:gd name="connsiteY4055" fmla="*/ 196509 h 6523037"/>
                <a:gd name="connsiteX4056" fmla="*/ 9746753 w 12192001"/>
                <a:gd name="connsiteY4056" fmla="*/ 196509 h 6523037"/>
                <a:gd name="connsiteX4057" fmla="*/ 9942755 w 12192001"/>
                <a:gd name="connsiteY4057" fmla="*/ 0 h 6523037"/>
                <a:gd name="connsiteX4058" fmla="*/ 9952529 w 12192001"/>
                <a:gd name="connsiteY4058" fmla="*/ 0 h 6523037"/>
                <a:gd name="connsiteX4059" fmla="*/ 9753041 w 12192001"/>
                <a:gd name="connsiteY4059" fmla="*/ 200003 h 6523037"/>
                <a:gd name="connsiteX4060" fmla="*/ 10024851 w 12192001"/>
                <a:gd name="connsiteY4060" fmla="*/ 470415 h 6523037"/>
                <a:gd name="connsiteX4061" fmla="*/ 10288275 w 12192001"/>
                <a:gd name="connsiteY4061" fmla="*/ 470415 h 6523037"/>
                <a:gd name="connsiteX4062" fmla="*/ 10157612 w 12192001"/>
                <a:gd name="connsiteY4062" fmla="*/ 340449 h 6523037"/>
                <a:gd name="connsiteX4063" fmla="*/ 10017165 w 12192001"/>
                <a:gd name="connsiteY4063" fmla="*/ 200003 h 6523037"/>
                <a:gd name="connsiteX4064" fmla="*/ 10216652 w 12192001"/>
                <a:gd name="connsiteY4064" fmla="*/ 0 h 6523037"/>
                <a:gd name="connsiteX4065" fmla="*/ 10227841 w 12192001"/>
                <a:gd name="connsiteY4065" fmla="*/ 0 h 6523037"/>
                <a:gd name="connsiteX4066" fmla="*/ 10031839 w 12192001"/>
                <a:gd name="connsiteY4066" fmla="*/ 196509 h 6523037"/>
                <a:gd name="connsiteX4067" fmla="*/ 10295263 w 12192001"/>
                <a:gd name="connsiteY4067" fmla="*/ 196509 h 6523037"/>
                <a:gd name="connsiteX4068" fmla="*/ 10491265 w 12192001"/>
                <a:gd name="connsiteY4068" fmla="*/ 0 h 6523037"/>
                <a:gd name="connsiteX4069" fmla="*/ 10500342 w 12192001"/>
                <a:gd name="connsiteY4069" fmla="*/ 0 h 6523037"/>
                <a:gd name="connsiteX4070" fmla="*/ 10301552 w 12192001"/>
                <a:gd name="connsiteY4070" fmla="*/ 199304 h 6523037"/>
                <a:gd name="connsiteX4071" fmla="*/ 10572663 w 12192001"/>
                <a:gd name="connsiteY4071" fmla="*/ 469716 h 6523037"/>
                <a:gd name="connsiteX4072" fmla="*/ 10836786 w 12192001"/>
                <a:gd name="connsiteY4072" fmla="*/ 469716 h 6523037"/>
                <a:gd name="connsiteX4073" fmla="*/ 10565675 w 12192001"/>
                <a:gd name="connsiteY4073" fmla="*/ 199304 h 6523037"/>
                <a:gd name="connsiteX4074" fmla="*/ 10764465 w 12192001"/>
                <a:gd name="connsiteY4074" fmla="*/ 0 h 6523037"/>
                <a:gd name="connsiteX4075" fmla="*/ 10773933 w 12192001"/>
                <a:gd name="connsiteY4075" fmla="*/ 0 h 6523037"/>
                <a:gd name="connsiteX4076" fmla="*/ 10757130 w 12192001"/>
                <a:gd name="connsiteY4076" fmla="*/ 16933 h 6523037"/>
                <a:gd name="connsiteX4077" fmla="*/ 10756431 w 12192001"/>
                <a:gd name="connsiteY4077" fmla="*/ 16933 h 6523037"/>
                <a:gd name="connsiteX4078" fmla="*/ 10578951 w 12192001"/>
                <a:gd name="connsiteY4078" fmla="*/ 195111 h 6523037"/>
                <a:gd name="connsiteX4079" fmla="*/ 10843074 w 12192001"/>
                <a:gd name="connsiteY4079" fmla="*/ 195111 h 6523037"/>
                <a:gd name="connsiteX4080" fmla="*/ 11038186 w 12192001"/>
                <a:gd name="connsiteY4080" fmla="*/ 0 h 6523037"/>
                <a:gd name="connsiteX4081" fmla="*/ 11048947 w 12192001"/>
                <a:gd name="connsiteY4081" fmla="*/ 0 h 6523037"/>
                <a:gd name="connsiteX4082" fmla="*/ 10940899 w 12192001"/>
                <a:gd name="connsiteY4082" fmla="*/ 108468 h 6523037"/>
                <a:gd name="connsiteX4083" fmla="*/ 10940200 w 12192001"/>
                <a:gd name="connsiteY4083" fmla="*/ 108468 h 6523037"/>
                <a:gd name="connsiteX4084" fmla="*/ 10850062 w 12192001"/>
                <a:gd name="connsiteY4084" fmla="*/ 198605 h 6523037"/>
                <a:gd name="connsiteX4085" fmla="*/ 11120474 w 12192001"/>
                <a:gd name="connsiteY4085" fmla="*/ 469716 h 6523037"/>
                <a:gd name="connsiteX4086" fmla="*/ 11384597 w 12192001"/>
                <a:gd name="connsiteY4086" fmla="*/ 469716 h 6523037"/>
                <a:gd name="connsiteX4087" fmla="*/ 11113487 w 12192001"/>
                <a:gd name="connsiteY4087" fmla="*/ 199304 h 6523037"/>
                <a:gd name="connsiteX4088" fmla="*/ 11297954 w 12192001"/>
                <a:gd name="connsiteY4088" fmla="*/ 14837 h 6523037"/>
                <a:gd name="connsiteX4089" fmla="*/ 11298653 w 12192001"/>
                <a:gd name="connsiteY4089" fmla="*/ 14837 h 6523037"/>
                <a:gd name="connsiteX4090" fmla="*/ 11313370 w 12192001"/>
                <a:gd name="connsiteY4090" fmla="*/ 0 h 6523037"/>
                <a:gd name="connsiteX4091" fmla="*/ 11322770 w 12192001"/>
                <a:gd name="connsiteY4091" fmla="*/ 0 h 6523037"/>
                <a:gd name="connsiteX4092" fmla="*/ 11128859 w 12192001"/>
                <a:gd name="connsiteY4092" fmla="*/ 194412 h 6523037"/>
                <a:gd name="connsiteX4093" fmla="*/ 11392284 w 12192001"/>
                <a:gd name="connsiteY4093" fmla="*/ 194412 h 6523037"/>
                <a:gd name="connsiteX4094" fmla="*/ 11586696 w 12192001"/>
                <a:gd name="connsiteY4094" fmla="*/ 0 h 6523037"/>
                <a:gd name="connsiteX4095" fmla="*/ 11598062 w 12192001"/>
                <a:gd name="connsiteY4095" fmla="*/ 0 h 6523037"/>
                <a:gd name="connsiteX4096" fmla="*/ 11399271 w 12192001"/>
                <a:gd name="connsiteY4096" fmla="*/ 199304 h 6523037"/>
                <a:gd name="connsiteX4097" fmla="*/ 11668984 w 12192001"/>
                <a:gd name="connsiteY4097" fmla="*/ 468319 h 6523037"/>
                <a:gd name="connsiteX4098" fmla="*/ 11932409 w 12192001"/>
                <a:gd name="connsiteY4098" fmla="*/ 468319 h 6523037"/>
                <a:gd name="connsiteX4099" fmla="*/ 11663395 w 12192001"/>
                <a:gd name="connsiteY4099" fmla="*/ 199304 h 6523037"/>
                <a:gd name="connsiteX4100" fmla="*/ 11664093 w 12192001"/>
                <a:gd name="connsiteY4100" fmla="*/ 198605 h 6523037"/>
                <a:gd name="connsiteX4101" fmla="*/ 11662696 w 12192001"/>
                <a:gd name="connsiteY4101" fmla="*/ 197208 h 6523037"/>
                <a:gd name="connsiteX4102" fmla="*/ 11859391 w 12192001"/>
                <a:gd name="connsiteY4102" fmla="*/ 0 h 6523037"/>
                <a:gd name="connsiteX4103" fmla="*/ 11872675 w 12192001"/>
                <a:gd name="connsiteY4103" fmla="*/ 0 h 6523037"/>
                <a:gd name="connsiteX4104" fmla="*/ 11678766 w 12192001"/>
                <a:gd name="connsiteY4104" fmla="*/ 194412 h 6523037"/>
                <a:gd name="connsiteX4105" fmla="*/ 11940794 w 12192001"/>
                <a:gd name="connsiteY4105" fmla="*/ 194412 h 6523037"/>
                <a:gd name="connsiteX4106" fmla="*/ 12134704 w 12192001"/>
                <a:gd name="connsiteY4106" fmla="*/ 0 h 6523037"/>
                <a:gd name="connsiteX4107" fmla="*/ 12146063 w 12192001"/>
                <a:gd name="connsiteY4107" fmla="*/ 0 h 6523037"/>
                <a:gd name="connsiteX4108" fmla="*/ 11949178 w 12192001"/>
                <a:gd name="connsiteY4108" fmla="*/ 197906 h 6523037"/>
                <a:gd name="connsiteX4109" fmla="*/ 12192001 w 12192001"/>
                <a:gd name="connsiteY4109" fmla="*/ 440101 h 6523037"/>
                <a:gd name="connsiteX4110" fmla="*/ 12192001 w 12192001"/>
                <a:gd name="connsiteY4110" fmla="*/ 449864 h 6523037"/>
                <a:gd name="connsiteX4111" fmla="*/ 11942191 w 12192001"/>
                <a:gd name="connsiteY4111" fmla="*/ 200701 h 6523037"/>
                <a:gd name="connsiteX4112" fmla="*/ 11678766 w 12192001"/>
                <a:gd name="connsiteY4112" fmla="*/ 201400 h 6523037"/>
                <a:gd name="connsiteX4113" fmla="*/ 11947782 w 12192001"/>
                <a:gd name="connsiteY4113" fmla="*/ 469716 h 6523037"/>
                <a:gd name="connsiteX4114" fmla="*/ 11947083 w 12192001"/>
                <a:gd name="connsiteY4114" fmla="*/ 470415 h 6523037"/>
                <a:gd name="connsiteX4115" fmla="*/ 11948480 w 12192001"/>
                <a:gd name="connsiteY4115" fmla="*/ 471812 h 6523037"/>
                <a:gd name="connsiteX4116" fmla="*/ 11678067 w 12192001"/>
                <a:gd name="connsiteY4116" fmla="*/ 742923 h 6523037"/>
                <a:gd name="connsiteX4117" fmla="*/ 11942191 w 12192001"/>
                <a:gd name="connsiteY4117" fmla="*/ 742923 h 6523037"/>
                <a:gd name="connsiteX4118" fmla="*/ 12032328 w 12192001"/>
                <a:gd name="connsiteY4118" fmla="*/ 652786 h 6523037"/>
                <a:gd name="connsiteX4119" fmla="*/ 12192001 w 12192001"/>
                <a:gd name="connsiteY4119" fmla="*/ 490007 h 6523037"/>
                <a:gd name="connsiteX4120" fmla="*/ 12192001 w 12192001"/>
                <a:gd name="connsiteY4120" fmla="*/ 502966 h 6523037"/>
                <a:gd name="connsiteX4121" fmla="*/ 11949178 w 12192001"/>
                <a:gd name="connsiteY4121" fmla="*/ 746417 h 6523037"/>
                <a:gd name="connsiteX4122" fmla="*/ 12192001 w 12192001"/>
                <a:gd name="connsiteY4122" fmla="*/ 988614 h 6523037"/>
                <a:gd name="connsiteX4123" fmla="*/ 12192001 w 12192001"/>
                <a:gd name="connsiteY4123" fmla="*/ 999775 h 6523037"/>
                <a:gd name="connsiteX4124" fmla="*/ 11942191 w 12192001"/>
                <a:gd name="connsiteY4124" fmla="*/ 750609 h 6523037"/>
                <a:gd name="connsiteX4125" fmla="*/ 11678067 w 12192001"/>
                <a:gd name="connsiteY4125" fmla="*/ 750609 h 6523037"/>
                <a:gd name="connsiteX4126" fmla="*/ 11949178 w 12192001"/>
                <a:gd name="connsiteY4126" fmla="*/ 1020322 h 6523037"/>
                <a:gd name="connsiteX4127" fmla="*/ 11946384 w 12192001"/>
                <a:gd name="connsiteY4127" fmla="*/ 1023118 h 6523037"/>
                <a:gd name="connsiteX4128" fmla="*/ 11856246 w 12192001"/>
                <a:gd name="connsiteY4128" fmla="*/ 1113953 h 6523037"/>
                <a:gd name="connsiteX4129" fmla="*/ 11678766 w 12192001"/>
                <a:gd name="connsiteY4129" fmla="*/ 1291433 h 6523037"/>
                <a:gd name="connsiteX4130" fmla="*/ 11942890 w 12192001"/>
                <a:gd name="connsiteY4130" fmla="*/ 1291433 h 6523037"/>
                <a:gd name="connsiteX4131" fmla="*/ 12032328 w 12192001"/>
                <a:gd name="connsiteY4131" fmla="*/ 1201994 h 6523037"/>
                <a:gd name="connsiteX4132" fmla="*/ 12192001 w 12192001"/>
                <a:gd name="connsiteY4132" fmla="*/ 1042322 h 6523037"/>
                <a:gd name="connsiteX4133" fmla="*/ 12192001 w 12192001"/>
                <a:gd name="connsiteY4133" fmla="*/ 1052103 h 6523037"/>
                <a:gd name="connsiteX4134" fmla="*/ 12039316 w 12192001"/>
                <a:gd name="connsiteY4134" fmla="*/ 1204790 h 6523037"/>
                <a:gd name="connsiteX4135" fmla="*/ 11949877 w 12192001"/>
                <a:gd name="connsiteY4135" fmla="*/ 1294927 h 6523037"/>
                <a:gd name="connsiteX4136" fmla="*/ 12084035 w 12192001"/>
                <a:gd name="connsiteY4136" fmla="*/ 1428386 h 6523037"/>
                <a:gd name="connsiteX4137" fmla="*/ 12192001 w 12192001"/>
                <a:gd name="connsiteY4137" fmla="*/ 1536351 h 6523037"/>
                <a:gd name="connsiteX4138" fmla="*/ 12192001 w 12192001"/>
                <a:gd name="connsiteY4138" fmla="*/ 1547647 h 6523037"/>
                <a:gd name="connsiteX4139" fmla="*/ 12079843 w 12192001"/>
                <a:gd name="connsiteY4139" fmla="*/ 1436072 h 6523037"/>
                <a:gd name="connsiteX4140" fmla="*/ 11942890 w 12192001"/>
                <a:gd name="connsiteY4140" fmla="*/ 1299119 h 6523037"/>
                <a:gd name="connsiteX4141" fmla="*/ 11678766 w 12192001"/>
                <a:gd name="connsiteY4141" fmla="*/ 1299119 h 6523037"/>
                <a:gd name="connsiteX4142" fmla="*/ 11949877 w 12192001"/>
                <a:gd name="connsiteY4142" fmla="*/ 1569531 h 6523037"/>
                <a:gd name="connsiteX4143" fmla="*/ 11680164 w 12192001"/>
                <a:gd name="connsiteY4143" fmla="*/ 1840642 h 6523037"/>
                <a:gd name="connsiteX4144" fmla="*/ 11943588 w 12192001"/>
                <a:gd name="connsiteY4144" fmla="*/ 1840642 h 6523037"/>
                <a:gd name="connsiteX4145" fmla="*/ 12192001 w 12192001"/>
                <a:gd name="connsiteY4145" fmla="*/ 1591587 h 6523037"/>
                <a:gd name="connsiteX4146" fmla="*/ 12192001 w 12192001"/>
                <a:gd name="connsiteY4146" fmla="*/ 1601385 h 6523037"/>
                <a:gd name="connsiteX4147" fmla="*/ 11949877 w 12192001"/>
                <a:gd name="connsiteY4147" fmla="*/ 1844135 h 6523037"/>
                <a:gd name="connsiteX4148" fmla="*/ 12192001 w 12192001"/>
                <a:gd name="connsiteY4148" fmla="*/ 2085635 h 6523037"/>
                <a:gd name="connsiteX4149" fmla="*/ 12192001 w 12192001"/>
                <a:gd name="connsiteY4149" fmla="*/ 2095403 h 6523037"/>
                <a:gd name="connsiteX4150" fmla="*/ 11943588 w 12192001"/>
                <a:gd name="connsiteY4150" fmla="*/ 1847630 h 6523037"/>
                <a:gd name="connsiteX4151" fmla="*/ 11680164 w 12192001"/>
                <a:gd name="connsiteY4151" fmla="*/ 1847630 h 6523037"/>
                <a:gd name="connsiteX4152" fmla="*/ 11810129 w 12192001"/>
                <a:gd name="connsiteY4152" fmla="*/ 1977595 h 6523037"/>
                <a:gd name="connsiteX4153" fmla="*/ 11950576 w 12192001"/>
                <a:gd name="connsiteY4153" fmla="*/ 2118042 h 6523037"/>
                <a:gd name="connsiteX4154" fmla="*/ 11680164 w 12192001"/>
                <a:gd name="connsiteY4154" fmla="*/ 2389152 h 6523037"/>
                <a:gd name="connsiteX4155" fmla="*/ 11944287 w 12192001"/>
                <a:gd name="connsiteY4155" fmla="*/ 2389152 h 6523037"/>
                <a:gd name="connsiteX4156" fmla="*/ 12192001 w 12192001"/>
                <a:gd name="connsiteY4156" fmla="*/ 2140799 h 6523037"/>
                <a:gd name="connsiteX4157" fmla="*/ 12192001 w 12192001"/>
                <a:gd name="connsiteY4157" fmla="*/ 2150597 h 6523037"/>
                <a:gd name="connsiteX4158" fmla="*/ 11950576 w 12192001"/>
                <a:gd name="connsiteY4158" fmla="*/ 2392646 h 6523037"/>
                <a:gd name="connsiteX4159" fmla="*/ 12192001 w 12192001"/>
                <a:gd name="connsiteY4159" fmla="*/ 2633449 h 6523037"/>
                <a:gd name="connsiteX4160" fmla="*/ 12192001 w 12192001"/>
                <a:gd name="connsiteY4160" fmla="*/ 2643202 h 6523037"/>
                <a:gd name="connsiteX4161" fmla="*/ 11944287 w 12192001"/>
                <a:gd name="connsiteY4161" fmla="*/ 2396139 h 6523037"/>
                <a:gd name="connsiteX4162" fmla="*/ 11680164 w 12192001"/>
                <a:gd name="connsiteY4162" fmla="*/ 2396139 h 6523037"/>
                <a:gd name="connsiteX4163" fmla="*/ 11681562 w 12192001"/>
                <a:gd name="connsiteY4163" fmla="*/ 2397537 h 6523037"/>
                <a:gd name="connsiteX4164" fmla="*/ 11949877 w 12192001"/>
                <a:gd name="connsiteY4164" fmla="*/ 2665853 h 6523037"/>
                <a:gd name="connsiteX4165" fmla="*/ 11679465 w 12192001"/>
                <a:gd name="connsiteY4165" fmla="*/ 2936964 h 6523037"/>
                <a:gd name="connsiteX4166" fmla="*/ 11943588 w 12192001"/>
                <a:gd name="connsiteY4166" fmla="*/ 2936964 h 6523037"/>
                <a:gd name="connsiteX4167" fmla="*/ 12192001 w 12192001"/>
                <a:gd name="connsiteY4167" fmla="*/ 2687909 h 6523037"/>
                <a:gd name="connsiteX4168" fmla="*/ 12192001 w 12192001"/>
                <a:gd name="connsiteY4168" fmla="*/ 2698409 h 6523037"/>
                <a:gd name="connsiteX4169" fmla="*/ 11950576 w 12192001"/>
                <a:gd name="connsiteY4169" fmla="*/ 2940457 h 6523037"/>
                <a:gd name="connsiteX4170" fmla="*/ 12192001 w 12192001"/>
                <a:gd name="connsiteY4170" fmla="*/ 3181261 h 6523037"/>
                <a:gd name="connsiteX4171" fmla="*/ 12192001 w 12192001"/>
                <a:gd name="connsiteY4171" fmla="*/ 3190330 h 6523037"/>
                <a:gd name="connsiteX4172" fmla="*/ 11944986 w 12192001"/>
                <a:gd name="connsiteY4172" fmla="*/ 2943952 h 6523037"/>
                <a:gd name="connsiteX4173" fmla="*/ 11680863 w 12192001"/>
                <a:gd name="connsiteY4173" fmla="*/ 2943952 h 6523037"/>
                <a:gd name="connsiteX4174" fmla="*/ 11951974 w 12192001"/>
                <a:gd name="connsiteY4174" fmla="*/ 3214364 h 6523037"/>
                <a:gd name="connsiteX4175" fmla="*/ 11681562 w 12192001"/>
                <a:gd name="connsiteY4175" fmla="*/ 3485473 h 6523037"/>
                <a:gd name="connsiteX4176" fmla="*/ 11945685 w 12192001"/>
                <a:gd name="connsiteY4176" fmla="*/ 3485473 h 6523037"/>
                <a:gd name="connsiteX4177" fmla="*/ 12192001 w 12192001"/>
                <a:gd name="connsiteY4177" fmla="*/ 3238522 h 6523037"/>
                <a:gd name="connsiteX4178" fmla="*/ 12192001 w 12192001"/>
                <a:gd name="connsiteY4178" fmla="*/ 3249019 h 6523037"/>
                <a:gd name="connsiteX4179" fmla="*/ 11951275 w 12192001"/>
                <a:gd name="connsiteY4179" fmla="*/ 3490365 h 6523037"/>
                <a:gd name="connsiteX4180" fmla="*/ 12192001 w 12192001"/>
                <a:gd name="connsiteY4180" fmla="*/ 3730470 h 6523037"/>
                <a:gd name="connsiteX4181" fmla="*/ 12192001 w 12192001"/>
                <a:gd name="connsiteY4181" fmla="*/ 3738839 h 6523037"/>
                <a:gd name="connsiteX4182" fmla="*/ 11945685 w 12192001"/>
                <a:gd name="connsiteY4182" fmla="*/ 3493160 h 6523037"/>
                <a:gd name="connsiteX4183" fmla="*/ 11681562 w 12192001"/>
                <a:gd name="connsiteY4183" fmla="*/ 3493160 h 6523037"/>
                <a:gd name="connsiteX4184" fmla="*/ 11951974 w 12192001"/>
                <a:gd name="connsiteY4184" fmla="*/ 3762174 h 6523037"/>
                <a:gd name="connsiteX4185" fmla="*/ 11949178 w 12192001"/>
                <a:gd name="connsiteY4185" fmla="*/ 3764969 h 6523037"/>
                <a:gd name="connsiteX4186" fmla="*/ 11859042 w 12192001"/>
                <a:gd name="connsiteY4186" fmla="*/ 3855806 h 6523037"/>
                <a:gd name="connsiteX4187" fmla="*/ 11682312 w 12192001"/>
                <a:gd name="connsiteY4187" fmla="*/ 4032535 h 6523037"/>
                <a:gd name="connsiteX4188" fmla="*/ 11945176 w 12192001"/>
                <a:gd name="connsiteY4188" fmla="*/ 4032535 h 6523037"/>
                <a:gd name="connsiteX4189" fmla="*/ 12116367 w 12192001"/>
                <a:gd name="connsiteY4189" fmla="*/ 3860644 h 6523037"/>
                <a:gd name="connsiteX4190" fmla="*/ 12118325 w 12192001"/>
                <a:gd name="connsiteY4190" fmla="*/ 3860644 h 6523037"/>
                <a:gd name="connsiteX4191" fmla="*/ 12192001 w 12192001"/>
                <a:gd name="connsiteY4191" fmla="*/ 3786969 h 6523037"/>
                <a:gd name="connsiteX4192" fmla="*/ 12192001 w 12192001"/>
                <a:gd name="connsiteY4192" fmla="*/ 3798267 h 6523037"/>
                <a:gd name="connsiteX4193" fmla="*/ 12042111 w 12192001"/>
                <a:gd name="connsiteY4193" fmla="*/ 3948738 h 6523037"/>
                <a:gd name="connsiteX4194" fmla="*/ 11953840 w 12192001"/>
                <a:gd name="connsiteY4194" fmla="*/ 4037700 h 6523037"/>
                <a:gd name="connsiteX4195" fmla="*/ 12192001 w 12192001"/>
                <a:gd name="connsiteY4195" fmla="*/ 4275248 h 6523037"/>
                <a:gd name="connsiteX4196" fmla="*/ 12192001 w 12192001"/>
                <a:gd name="connsiteY4196" fmla="*/ 4286404 h 6523037"/>
                <a:gd name="connsiteX4197" fmla="*/ 11988663 w 12192001"/>
                <a:gd name="connsiteY4197" fmla="*/ 4083594 h 6523037"/>
                <a:gd name="connsiteX4198" fmla="*/ 11986910 w 12192001"/>
                <a:gd name="connsiteY4198" fmla="*/ 4083594 h 6523037"/>
                <a:gd name="connsiteX4199" fmla="*/ 11946384 w 12192001"/>
                <a:gd name="connsiteY4199" fmla="*/ 4043068 h 6523037"/>
                <a:gd name="connsiteX4200" fmla="*/ 11683900 w 12192001"/>
                <a:gd name="connsiteY4200" fmla="*/ 4043068 h 6523037"/>
                <a:gd name="connsiteX4201" fmla="*/ 11951465 w 12192001"/>
                <a:gd name="connsiteY4201" fmla="*/ 4310632 h 6523037"/>
                <a:gd name="connsiteX4202" fmla="*/ 11952862 w 12192001"/>
                <a:gd name="connsiteY4202" fmla="*/ 4312030 h 6523037"/>
                <a:gd name="connsiteX4203" fmla="*/ 11683847 w 12192001"/>
                <a:gd name="connsiteY4203" fmla="*/ 4581743 h 6523037"/>
                <a:gd name="connsiteX4204" fmla="*/ 11945875 w 12192001"/>
                <a:gd name="connsiteY4204" fmla="*/ 4581743 h 6523037"/>
                <a:gd name="connsiteX4205" fmla="*/ 12192001 w 12192001"/>
                <a:gd name="connsiteY4205" fmla="*/ 4334979 h 6523037"/>
                <a:gd name="connsiteX4206" fmla="*/ 12192001 w 12192001"/>
                <a:gd name="connsiteY4206" fmla="*/ 4346260 h 6523037"/>
                <a:gd name="connsiteX4207" fmla="*/ 11954259 w 12192001"/>
                <a:gd name="connsiteY4207" fmla="*/ 4585237 h 6523037"/>
                <a:gd name="connsiteX4208" fmla="*/ 12192001 w 12192001"/>
                <a:gd name="connsiteY4208" fmla="*/ 4822363 h 6523037"/>
                <a:gd name="connsiteX4209" fmla="*/ 12192001 w 12192001"/>
                <a:gd name="connsiteY4209" fmla="*/ 4832127 h 6523037"/>
                <a:gd name="connsiteX4210" fmla="*/ 11947272 w 12192001"/>
                <a:gd name="connsiteY4210" fmla="*/ 4588031 h 6523037"/>
                <a:gd name="connsiteX4211" fmla="*/ 11683847 w 12192001"/>
                <a:gd name="connsiteY4211" fmla="*/ 4588730 h 6523037"/>
                <a:gd name="connsiteX4212" fmla="*/ 11952862 w 12192001"/>
                <a:gd name="connsiteY4212" fmla="*/ 4857047 h 6523037"/>
                <a:gd name="connsiteX4213" fmla="*/ 11952164 w 12192001"/>
                <a:gd name="connsiteY4213" fmla="*/ 4857746 h 6523037"/>
                <a:gd name="connsiteX4214" fmla="*/ 11953561 w 12192001"/>
                <a:gd name="connsiteY4214" fmla="*/ 4859142 h 6523037"/>
                <a:gd name="connsiteX4215" fmla="*/ 11683148 w 12192001"/>
                <a:gd name="connsiteY4215" fmla="*/ 5130253 h 6523037"/>
                <a:gd name="connsiteX4216" fmla="*/ 11947272 w 12192001"/>
                <a:gd name="connsiteY4216" fmla="*/ 5130253 h 6523037"/>
                <a:gd name="connsiteX4217" fmla="*/ 12037409 w 12192001"/>
                <a:gd name="connsiteY4217" fmla="*/ 5040116 h 6523037"/>
                <a:gd name="connsiteX4218" fmla="*/ 12192001 w 12192001"/>
                <a:gd name="connsiteY4218" fmla="*/ 4882518 h 6523037"/>
                <a:gd name="connsiteX4219" fmla="*/ 12192001 w 12192001"/>
                <a:gd name="connsiteY4219" fmla="*/ 4895391 h 6523037"/>
                <a:gd name="connsiteX4220" fmla="*/ 11954259 w 12192001"/>
                <a:gd name="connsiteY4220" fmla="*/ 5133747 h 6523037"/>
                <a:gd name="connsiteX4221" fmla="*/ 12192001 w 12192001"/>
                <a:gd name="connsiteY4221" fmla="*/ 5370876 h 6523037"/>
                <a:gd name="connsiteX4222" fmla="*/ 12192001 w 12192001"/>
                <a:gd name="connsiteY4222" fmla="*/ 5382038 h 6523037"/>
                <a:gd name="connsiteX4223" fmla="*/ 11947272 w 12192001"/>
                <a:gd name="connsiteY4223" fmla="*/ 5137939 h 6523037"/>
                <a:gd name="connsiteX4224" fmla="*/ 11683148 w 12192001"/>
                <a:gd name="connsiteY4224" fmla="*/ 5137939 h 6523037"/>
                <a:gd name="connsiteX4225" fmla="*/ 11954259 w 12192001"/>
                <a:gd name="connsiteY4225" fmla="*/ 5407653 h 6523037"/>
                <a:gd name="connsiteX4226" fmla="*/ 11951465 w 12192001"/>
                <a:gd name="connsiteY4226" fmla="*/ 5410448 h 6523037"/>
                <a:gd name="connsiteX4227" fmla="*/ 11861327 w 12192001"/>
                <a:gd name="connsiteY4227" fmla="*/ 5501283 h 6523037"/>
                <a:gd name="connsiteX4228" fmla="*/ 11683847 w 12192001"/>
                <a:gd name="connsiteY4228" fmla="*/ 5678763 h 6523037"/>
                <a:gd name="connsiteX4229" fmla="*/ 11947970 w 12192001"/>
                <a:gd name="connsiteY4229" fmla="*/ 5678763 h 6523037"/>
                <a:gd name="connsiteX4230" fmla="*/ 12037409 w 12192001"/>
                <a:gd name="connsiteY4230" fmla="*/ 5589325 h 6523037"/>
                <a:gd name="connsiteX4231" fmla="*/ 12192001 w 12192001"/>
                <a:gd name="connsiteY4231" fmla="*/ 5434732 h 6523037"/>
                <a:gd name="connsiteX4232" fmla="*/ 12192001 w 12192001"/>
                <a:gd name="connsiteY4232" fmla="*/ 5444515 h 6523037"/>
                <a:gd name="connsiteX4233" fmla="*/ 12044397 w 12192001"/>
                <a:gd name="connsiteY4233" fmla="*/ 5592120 h 6523037"/>
                <a:gd name="connsiteX4234" fmla="*/ 11954958 w 12192001"/>
                <a:gd name="connsiteY4234" fmla="*/ 5682258 h 6523037"/>
                <a:gd name="connsiteX4235" fmla="*/ 12089116 w 12192001"/>
                <a:gd name="connsiteY4235" fmla="*/ 5815716 h 6523037"/>
                <a:gd name="connsiteX4236" fmla="*/ 12192001 w 12192001"/>
                <a:gd name="connsiteY4236" fmla="*/ 5918601 h 6523037"/>
                <a:gd name="connsiteX4237" fmla="*/ 12192001 w 12192001"/>
                <a:gd name="connsiteY4237" fmla="*/ 5929923 h 6523037"/>
                <a:gd name="connsiteX4238" fmla="*/ 12084924 w 12192001"/>
                <a:gd name="connsiteY4238" fmla="*/ 5823402 h 6523037"/>
                <a:gd name="connsiteX4239" fmla="*/ 11947970 w 12192001"/>
                <a:gd name="connsiteY4239" fmla="*/ 5686450 h 6523037"/>
                <a:gd name="connsiteX4240" fmla="*/ 11683847 w 12192001"/>
                <a:gd name="connsiteY4240" fmla="*/ 5686450 h 6523037"/>
                <a:gd name="connsiteX4241" fmla="*/ 11954958 w 12192001"/>
                <a:gd name="connsiteY4241" fmla="*/ 5956862 h 6523037"/>
                <a:gd name="connsiteX4242" fmla="*/ 11685245 w 12192001"/>
                <a:gd name="connsiteY4242" fmla="*/ 6227973 h 6523037"/>
                <a:gd name="connsiteX4243" fmla="*/ 11948669 w 12192001"/>
                <a:gd name="connsiteY4243" fmla="*/ 6227973 h 6523037"/>
                <a:gd name="connsiteX4244" fmla="*/ 12192001 w 12192001"/>
                <a:gd name="connsiteY4244" fmla="*/ 5984012 h 6523037"/>
                <a:gd name="connsiteX4245" fmla="*/ 12192001 w 12192001"/>
                <a:gd name="connsiteY4245" fmla="*/ 5993810 h 6523037"/>
                <a:gd name="connsiteX4246" fmla="*/ 11954958 w 12192001"/>
                <a:gd name="connsiteY4246" fmla="*/ 6231466 h 6523037"/>
                <a:gd name="connsiteX4247" fmla="*/ 12192001 w 12192001"/>
                <a:gd name="connsiteY4247" fmla="*/ 6467898 h 6523037"/>
                <a:gd name="connsiteX4248" fmla="*/ 12192001 w 12192001"/>
                <a:gd name="connsiteY4248" fmla="*/ 6477665 h 6523037"/>
                <a:gd name="connsiteX4249" fmla="*/ 11948669 w 12192001"/>
                <a:gd name="connsiteY4249" fmla="*/ 6234960 h 6523037"/>
                <a:gd name="connsiteX4250" fmla="*/ 11685245 w 12192001"/>
                <a:gd name="connsiteY4250" fmla="*/ 6234960 h 6523037"/>
                <a:gd name="connsiteX4251" fmla="*/ 11815210 w 12192001"/>
                <a:gd name="connsiteY4251" fmla="*/ 6364925 h 6523037"/>
                <a:gd name="connsiteX4252" fmla="*/ 11955657 w 12192001"/>
                <a:gd name="connsiteY4252" fmla="*/ 6505372 h 6523037"/>
                <a:gd name="connsiteX4253" fmla="*/ 11945954 w 12192001"/>
                <a:gd name="connsiteY4253" fmla="*/ 6515100 h 6523037"/>
                <a:gd name="connsiteX4254" fmla="*/ 11935461 w 12192001"/>
                <a:gd name="connsiteY4254" fmla="*/ 6515100 h 6523037"/>
                <a:gd name="connsiteX4255" fmla="*/ 11940983 w 12192001"/>
                <a:gd name="connsiteY4255" fmla="*/ 6509564 h 6523037"/>
                <a:gd name="connsiteX4256" fmla="*/ 11677558 w 12192001"/>
                <a:gd name="connsiteY4256" fmla="*/ 6509564 h 6523037"/>
                <a:gd name="connsiteX4257" fmla="*/ 11672044 w 12192001"/>
                <a:gd name="connsiteY4257" fmla="*/ 6515100 h 6523037"/>
                <a:gd name="connsiteX4258" fmla="*/ 11661542 w 12192001"/>
                <a:gd name="connsiteY4258" fmla="*/ 6515100 h 6523037"/>
                <a:gd name="connsiteX4259" fmla="*/ 11671270 w 12192001"/>
                <a:gd name="connsiteY4259" fmla="*/ 6505372 h 6523037"/>
                <a:gd name="connsiteX4260" fmla="*/ 11400159 w 12192001"/>
                <a:gd name="connsiteY4260" fmla="*/ 6234960 h 6523037"/>
                <a:gd name="connsiteX4261" fmla="*/ 11136036 w 12192001"/>
                <a:gd name="connsiteY4261" fmla="*/ 6234960 h 6523037"/>
                <a:gd name="connsiteX4262" fmla="*/ 11407146 w 12192001"/>
                <a:gd name="connsiteY4262" fmla="*/ 6505372 h 6523037"/>
                <a:gd name="connsiteX4263" fmla="*/ 11404352 w 12192001"/>
                <a:gd name="connsiteY4263" fmla="*/ 6508166 h 6523037"/>
                <a:gd name="connsiteX4264" fmla="*/ 11397471 w 12192001"/>
                <a:gd name="connsiteY4264" fmla="*/ 6515100 h 6523037"/>
                <a:gd name="connsiteX4265" fmla="*/ 11387635 w 12192001"/>
                <a:gd name="connsiteY4265" fmla="*/ 6515100 h 6523037"/>
                <a:gd name="connsiteX4266" fmla="*/ 11393171 w 12192001"/>
                <a:gd name="connsiteY4266" fmla="*/ 6509564 h 6523037"/>
                <a:gd name="connsiteX4267" fmla="*/ 11129049 w 12192001"/>
                <a:gd name="connsiteY4267" fmla="*/ 6509564 h 6523037"/>
                <a:gd name="connsiteX4268" fmla="*/ 11123527 w 12192001"/>
                <a:gd name="connsiteY4268" fmla="*/ 6515100 h 6523037"/>
                <a:gd name="connsiteX4269" fmla="*/ 11113055 w 12192001"/>
                <a:gd name="connsiteY4269" fmla="*/ 6515100 h 6523037"/>
                <a:gd name="connsiteX4270" fmla="*/ 11122062 w 12192001"/>
                <a:gd name="connsiteY4270" fmla="*/ 6506071 h 6523037"/>
                <a:gd name="connsiteX4271" fmla="*/ 11117170 w 12192001"/>
                <a:gd name="connsiteY4271" fmla="*/ 6501179 h 6523037"/>
                <a:gd name="connsiteX4272" fmla="*/ 10851650 w 12192001"/>
                <a:gd name="connsiteY4272" fmla="*/ 6236358 h 6523037"/>
                <a:gd name="connsiteX4273" fmla="*/ 10587525 w 12192001"/>
                <a:gd name="connsiteY4273" fmla="*/ 6236358 h 6523037"/>
                <a:gd name="connsiteX4274" fmla="*/ 10588224 w 12192001"/>
                <a:gd name="connsiteY4274" fmla="*/ 6237056 h 6523037"/>
                <a:gd name="connsiteX4275" fmla="*/ 10588923 w 12192001"/>
                <a:gd name="connsiteY4275" fmla="*/ 6237056 h 6523037"/>
                <a:gd name="connsiteX4276" fmla="*/ 10857937 w 12192001"/>
                <a:gd name="connsiteY4276" fmla="*/ 6506071 h 6523037"/>
                <a:gd name="connsiteX4277" fmla="*/ 10848931 w 12192001"/>
                <a:gd name="connsiteY4277" fmla="*/ 6515100 h 6523037"/>
                <a:gd name="connsiteX4278" fmla="*/ 10840523 w 12192001"/>
                <a:gd name="connsiteY4278" fmla="*/ 6515100 h 6523037"/>
                <a:gd name="connsiteX4279" fmla="*/ 10845361 w 12192001"/>
                <a:gd name="connsiteY4279" fmla="*/ 6510263 h 6523037"/>
                <a:gd name="connsiteX4280" fmla="*/ 10581237 w 12192001"/>
                <a:gd name="connsiteY4280" fmla="*/ 6510263 h 6523037"/>
                <a:gd name="connsiteX4281" fmla="*/ 10576412 w 12192001"/>
                <a:gd name="connsiteY4281" fmla="*/ 6515100 h 6523037"/>
                <a:gd name="connsiteX4282" fmla="*/ 10563823 w 12192001"/>
                <a:gd name="connsiteY4282" fmla="*/ 6515100 h 6523037"/>
                <a:gd name="connsiteX4283" fmla="*/ 10572852 w 12192001"/>
                <a:gd name="connsiteY4283" fmla="*/ 6506071 h 6523037"/>
                <a:gd name="connsiteX4284" fmla="*/ 10440092 w 12192001"/>
                <a:gd name="connsiteY4284" fmla="*/ 6374009 h 6523037"/>
                <a:gd name="connsiteX4285" fmla="*/ 10301742 w 12192001"/>
                <a:gd name="connsiteY4285" fmla="*/ 6235659 h 6523037"/>
                <a:gd name="connsiteX4286" fmla="*/ 10037618 w 12192001"/>
                <a:gd name="connsiteY4286" fmla="*/ 6235659 h 6523037"/>
                <a:gd name="connsiteX4287" fmla="*/ 10308729 w 12192001"/>
                <a:gd name="connsiteY4287" fmla="*/ 6505372 h 6523037"/>
                <a:gd name="connsiteX4288" fmla="*/ 10305934 w 12192001"/>
                <a:gd name="connsiteY4288" fmla="*/ 6508166 h 6523037"/>
                <a:gd name="connsiteX4289" fmla="*/ 10299053 w 12192001"/>
                <a:gd name="connsiteY4289" fmla="*/ 6515100 h 6523037"/>
                <a:gd name="connsiteX4290" fmla="*/ 10289917 w 12192001"/>
                <a:gd name="connsiteY4290" fmla="*/ 6515100 h 6523037"/>
                <a:gd name="connsiteX4291" fmla="*/ 10295453 w 12192001"/>
                <a:gd name="connsiteY4291" fmla="*/ 6509564 h 6523037"/>
                <a:gd name="connsiteX4292" fmla="*/ 10036919 w 12192001"/>
                <a:gd name="connsiteY4292" fmla="*/ 6509564 h 6523037"/>
                <a:gd name="connsiteX4293" fmla="*/ 10035464 w 12192001"/>
                <a:gd name="connsiteY4293" fmla="*/ 6508865 h 6523037"/>
                <a:gd name="connsiteX4294" fmla="*/ 10036919 w 12192001"/>
                <a:gd name="connsiteY4294" fmla="*/ 6508865 h 6523037"/>
                <a:gd name="connsiteX4295" fmla="*/ 10019451 w 12192001"/>
                <a:gd name="connsiteY4295" fmla="*/ 6500480 h 6523037"/>
                <a:gd name="connsiteX4296" fmla="*/ 10020794 w 12192001"/>
                <a:gd name="connsiteY4296" fmla="*/ 6501824 h 6523037"/>
                <a:gd name="connsiteX4297" fmla="*/ 10019451 w 12192001"/>
                <a:gd name="connsiteY4297" fmla="*/ 6501179 h 6523037"/>
                <a:gd name="connsiteX4298" fmla="*/ 9753930 w 12192001"/>
                <a:gd name="connsiteY4298" fmla="*/ 6236358 h 6523037"/>
                <a:gd name="connsiteX4299" fmla="*/ 9489807 w 12192001"/>
                <a:gd name="connsiteY4299" fmla="*/ 6236358 h 6523037"/>
                <a:gd name="connsiteX4300" fmla="*/ 9491204 w 12192001"/>
                <a:gd name="connsiteY4300" fmla="*/ 6237754 h 6523037"/>
                <a:gd name="connsiteX4301" fmla="*/ 9760219 w 12192001"/>
                <a:gd name="connsiteY4301" fmla="*/ 6506770 h 6523037"/>
                <a:gd name="connsiteX4302" fmla="*/ 9751867 w 12192001"/>
                <a:gd name="connsiteY4302" fmla="*/ 6515100 h 6523037"/>
                <a:gd name="connsiteX4303" fmla="*/ 9741431 w 12192001"/>
                <a:gd name="connsiteY4303" fmla="*/ 6515100 h 6523037"/>
                <a:gd name="connsiteX4304" fmla="*/ 9746244 w 12192001"/>
                <a:gd name="connsiteY4304" fmla="*/ 6510263 h 6523037"/>
                <a:gd name="connsiteX4305" fmla="*/ 9484783 w 12192001"/>
                <a:gd name="connsiteY4305" fmla="*/ 6510263 h 6523037"/>
                <a:gd name="connsiteX4306" fmla="*/ 9476833 w 12192001"/>
                <a:gd name="connsiteY4306" fmla="*/ 6518275 h 6523037"/>
                <a:gd name="connsiteX4307" fmla="*/ 9466908 w 12192001"/>
                <a:gd name="connsiteY4307" fmla="*/ 6518275 h 6523037"/>
                <a:gd name="connsiteX4308" fmla="*/ 9470109 w 12192001"/>
                <a:gd name="connsiteY4308" fmla="*/ 6515100 h 6523037"/>
                <a:gd name="connsiteX4309" fmla="*/ 9467501 w 12192001"/>
                <a:gd name="connsiteY4309" fmla="*/ 6515100 h 6523037"/>
                <a:gd name="connsiteX4310" fmla="*/ 9472657 w 12192001"/>
                <a:gd name="connsiteY4310" fmla="*/ 6509945 h 6523037"/>
                <a:gd name="connsiteX4311" fmla="*/ 9211183 w 12192001"/>
                <a:gd name="connsiteY4311" fmla="*/ 6509945 h 6523037"/>
                <a:gd name="connsiteX4312" fmla="*/ 9202874 w 12192001"/>
                <a:gd name="connsiteY4312" fmla="*/ 6518275 h 6523037"/>
                <a:gd name="connsiteX4313" fmla="*/ 9191704 w 12192001"/>
                <a:gd name="connsiteY4313" fmla="*/ 6518275 h 6523037"/>
                <a:gd name="connsiteX4314" fmla="*/ 9204195 w 12192001"/>
                <a:gd name="connsiteY4314" fmla="*/ 6505752 h 6523037"/>
                <a:gd name="connsiteX4315" fmla="*/ 9199304 w 12192001"/>
                <a:gd name="connsiteY4315" fmla="*/ 6500861 h 6523037"/>
                <a:gd name="connsiteX4316" fmla="*/ 8933783 w 12192001"/>
                <a:gd name="connsiteY4316" fmla="*/ 6235340 h 6523037"/>
                <a:gd name="connsiteX4317" fmla="*/ 8669660 w 12192001"/>
                <a:gd name="connsiteY4317" fmla="*/ 6235340 h 6523037"/>
                <a:gd name="connsiteX4318" fmla="*/ 8671058 w 12192001"/>
                <a:gd name="connsiteY4318" fmla="*/ 6236737 h 6523037"/>
                <a:gd name="connsiteX4319" fmla="*/ 8940072 w 12192001"/>
                <a:gd name="connsiteY4319" fmla="*/ 6505752 h 6523037"/>
                <a:gd name="connsiteX4320" fmla="*/ 8927581 w 12192001"/>
                <a:gd name="connsiteY4320" fmla="*/ 6518275 h 6523037"/>
                <a:gd name="connsiteX4321" fmla="*/ 8919183 w 12192001"/>
                <a:gd name="connsiteY4321" fmla="*/ 6518275 h 6523037"/>
                <a:gd name="connsiteX4322" fmla="*/ 8926796 w 12192001"/>
                <a:gd name="connsiteY4322" fmla="*/ 6510643 h 6523037"/>
                <a:gd name="connsiteX4323" fmla="*/ 8662672 w 12192001"/>
                <a:gd name="connsiteY4323" fmla="*/ 6510643 h 6523037"/>
                <a:gd name="connsiteX4324" fmla="*/ 8655060 w 12192001"/>
                <a:gd name="connsiteY4324" fmla="*/ 6518275 h 6523037"/>
                <a:gd name="connsiteX4325" fmla="*/ 8643195 w 12192001"/>
                <a:gd name="connsiteY4325" fmla="*/ 6518275 h 6523037"/>
                <a:gd name="connsiteX4326" fmla="*/ 8656384 w 12192001"/>
                <a:gd name="connsiteY4326" fmla="*/ 6505053 h 6523037"/>
                <a:gd name="connsiteX4327" fmla="*/ 8522925 w 12192001"/>
                <a:gd name="connsiteY4327" fmla="*/ 6372290 h 6523037"/>
                <a:gd name="connsiteX4328" fmla="*/ 8525720 w 12192001"/>
                <a:gd name="connsiteY4328" fmla="*/ 6366702 h 6523037"/>
                <a:gd name="connsiteX4329" fmla="*/ 8525021 w 12192001"/>
                <a:gd name="connsiteY4329" fmla="*/ 6366004 h 6523037"/>
                <a:gd name="connsiteX4330" fmla="*/ 8525720 w 12192001"/>
                <a:gd name="connsiteY4330" fmla="*/ 6364607 h 6523037"/>
                <a:gd name="connsiteX4331" fmla="*/ 8662672 w 12192001"/>
                <a:gd name="connsiteY4331" fmla="*/ 6501560 h 6523037"/>
                <a:gd name="connsiteX4332" fmla="*/ 8926796 w 12192001"/>
                <a:gd name="connsiteY4332" fmla="*/ 6501560 h 6523037"/>
                <a:gd name="connsiteX4333" fmla="*/ 8655685 w 12192001"/>
                <a:gd name="connsiteY4333" fmla="*/ 6231148 h 6523037"/>
                <a:gd name="connsiteX4334" fmla="*/ 8657083 w 12192001"/>
                <a:gd name="connsiteY4334" fmla="*/ 6229750 h 6523037"/>
                <a:gd name="connsiteX4335" fmla="*/ 8925398 w 12192001"/>
                <a:gd name="connsiteY4335" fmla="*/ 5960736 h 6523037"/>
                <a:gd name="connsiteX4336" fmla="*/ 8726957 w 12192001"/>
                <a:gd name="connsiteY4336" fmla="*/ 5960736 h 6523037"/>
                <a:gd name="connsiteX4337" fmla="*/ 8730450 w 12192001"/>
                <a:gd name="connsiteY4337" fmla="*/ 5953748 h 6523037"/>
                <a:gd name="connsiteX4338" fmla="*/ 8925398 w 12192001"/>
                <a:gd name="connsiteY4338" fmla="*/ 5953748 h 6523037"/>
                <a:gd name="connsiteX4339" fmla="*/ 8795433 w 12192001"/>
                <a:gd name="connsiteY4339" fmla="*/ 5823783 h 6523037"/>
                <a:gd name="connsiteX4340" fmla="*/ 8798926 w 12192001"/>
                <a:gd name="connsiteY4340" fmla="*/ 5816795 h 6523037"/>
                <a:gd name="connsiteX4341" fmla="*/ 8939373 w 12192001"/>
                <a:gd name="connsiteY4341" fmla="*/ 5957241 h 6523037"/>
                <a:gd name="connsiteX4342" fmla="*/ 8668961 w 12192001"/>
                <a:gd name="connsiteY4342" fmla="*/ 6228352 h 6523037"/>
                <a:gd name="connsiteX4343" fmla="*/ 8933085 w 12192001"/>
                <a:gd name="connsiteY4343" fmla="*/ 6228352 h 6523037"/>
                <a:gd name="connsiteX4344" fmla="*/ 9203497 w 12192001"/>
                <a:gd name="connsiteY4344" fmla="*/ 5957241 h 6523037"/>
                <a:gd name="connsiteX4345" fmla="*/ 8932386 w 12192001"/>
                <a:gd name="connsiteY4345" fmla="*/ 5687528 h 6523037"/>
                <a:gd name="connsiteX4346" fmla="*/ 8863909 w 12192001"/>
                <a:gd name="connsiteY4346" fmla="*/ 5687528 h 6523037"/>
                <a:gd name="connsiteX4347" fmla="*/ 8668961 w 12192001"/>
                <a:gd name="connsiteY4347" fmla="*/ 5687528 h 6523037"/>
                <a:gd name="connsiteX4348" fmla="*/ 8798227 w 12192001"/>
                <a:gd name="connsiteY4348" fmla="*/ 5817494 h 6523037"/>
                <a:gd name="connsiteX4349" fmla="*/ 8794734 w 12192001"/>
                <a:gd name="connsiteY4349" fmla="*/ 5824481 h 6523037"/>
                <a:gd name="connsiteX4350" fmla="*/ 8654287 w 12192001"/>
                <a:gd name="connsiteY4350" fmla="*/ 5684035 h 6523037"/>
                <a:gd name="connsiteX4351" fmla="*/ 8924699 w 12192001"/>
                <a:gd name="connsiteY4351" fmla="*/ 5412924 h 6523037"/>
                <a:gd name="connsiteX4352" fmla="*/ 8660576 w 12192001"/>
                <a:gd name="connsiteY4352" fmla="*/ 5412924 h 6523037"/>
                <a:gd name="connsiteX4353" fmla="*/ 8390164 w 12192001"/>
                <a:gd name="connsiteY4353" fmla="*/ 5684035 h 6523037"/>
                <a:gd name="connsiteX4354" fmla="*/ 8661275 w 12192001"/>
                <a:gd name="connsiteY4354" fmla="*/ 5954447 h 6523037"/>
                <a:gd name="connsiteX4355" fmla="*/ 8729751 w 12192001"/>
                <a:gd name="connsiteY4355" fmla="*/ 5954447 h 6523037"/>
                <a:gd name="connsiteX4356" fmla="*/ 8726258 w 12192001"/>
                <a:gd name="connsiteY4356" fmla="*/ 5961434 h 6523037"/>
                <a:gd name="connsiteX4357" fmla="*/ 8661275 w 12192001"/>
                <a:gd name="connsiteY4357" fmla="*/ 5961434 h 6523037"/>
                <a:gd name="connsiteX4358" fmla="*/ 8481000 w 12192001"/>
                <a:gd name="connsiteY4358" fmla="*/ 6142408 h 6523037"/>
                <a:gd name="connsiteX4359" fmla="*/ 8391562 w 12192001"/>
                <a:gd name="connsiteY4359" fmla="*/ 6232545 h 6523037"/>
                <a:gd name="connsiteX4360" fmla="*/ 8525021 w 12192001"/>
                <a:gd name="connsiteY4360" fmla="*/ 6366004 h 6523037"/>
                <a:gd name="connsiteX4361" fmla="*/ 8522226 w 12192001"/>
                <a:gd name="connsiteY4361" fmla="*/ 6371593 h 6523037"/>
                <a:gd name="connsiteX4362" fmla="*/ 8522925 w 12192001"/>
                <a:gd name="connsiteY4362" fmla="*/ 6372290 h 6523037"/>
                <a:gd name="connsiteX4363" fmla="*/ 8522226 w 12192001"/>
                <a:gd name="connsiteY4363" fmla="*/ 6373690 h 6523037"/>
                <a:gd name="connsiteX4364" fmla="*/ 8385273 w 12192001"/>
                <a:gd name="connsiteY4364" fmla="*/ 6236737 h 6523037"/>
                <a:gd name="connsiteX4365" fmla="*/ 8121150 w 12192001"/>
                <a:gd name="connsiteY4365" fmla="*/ 6236737 h 6523037"/>
                <a:gd name="connsiteX4366" fmla="*/ 8392260 w 12192001"/>
                <a:gd name="connsiteY4366" fmla="*/ 6507149 h 6523037"/>
                <a:gd name="connsiteX4367" fmla="*/ 8381163 w 12192001"/>
                <a:gd name="connsiteY4367" fmla="*/ 6518275 h 6523037"/>
                <a:gd name="connsiteX4368" fmla="*/ 8370672 w 12192001"/>
                <a:gd name="connsiteY4368" fmla="*/ 6518275 h 6523037"/>
                <a:gd name="connsiteX4369" fmla="*/ 8378285 w 12192001"/>
                <a:gd name="connsiteY4369" fmla="*/ 6510643 h 6523037"/>
                <a:gd name="connsiteX4370" fmla="*/ 8114162 w 12192001"/>
                <a:gd name="connsiteY4370" fmla="*/ 6510643 h 6523037"/>
                <a:gd name="connsiteX4371" fmla="*/ 8106549 w 12192001"/>
                <a:gd name="connsiteY4371" fmla="*/ 6518275 h 6523037"/>
                <a:gd name="connsiteX4372" fmla="*/ 8097473 w 12192001"/>
                <a:gd name="connsiteY4372" fmla="*/ 6518275 h 6523037"/>
                <a:gd name="connsiteX4373" fmla="*/ 8107873 w 12192001"/>
                <a:gd name="connsiteY4373" fmla="*/ 6507848 h 6523037"/>
                <a:gd name="connsiteX4374" fmla="*/ 7836763 w 12192001"/>
                <a:gd name="connsiteY4374" fmla="*/ 6237436 h 6523037"/>
                <a:gd name="connsiteX4375" fmla="*/ 7572639 w 12192001"/>
                <a:gd name="connsiteY4375" fmla="*/ 6237436 h 6523037"/>
                <a:gd name="connsiteX4376" fmla="*/ 7843750 w 12192001"/>
                <a:gd name="connsiteY4376" fmla="*/ 6507848 h 6523037"/>
                <a:gd name="connsiteX4377" fmla="*/ 7833350 w 12192001"/>
                <a:gd name="connsiteY4377" fmla="*/ 6518275 h 6523037"/>
                <a:gd name="connsiteX4378" fmla="*/ 7823556 w 12192001"/>
                <a:gd name="connsiteY4378" fmla="*/ 6518275 h 6523037"/>
                <a:gd name="connsiteX4379" fmla="*/ 7829775 w 12192001"/>
                <a:gd name="connsiteY4379" fmla="*/ 6512040 h 6523037"/>
                <a:gd name="connsiteX4380" fmla="*/ 7565652 w 12192001"/>
                <a:gd name="connsiteY4380" fmla="*/ 6512040 h 6523037"/>
                <a:gd name="connsiteX4381" fmla="*/ 7559433 w 12192001"/>
                <a:gd name="connsiteY4381" fmla="*/ 6518275 h 6523037"/>
                <a:gd name="connsiteX4382" fmla="*/ 7549660 w 12192001"/>
                <a:gd name="connsiteY4382" fmla="*/ 6518275 h 6523037"/>
                <a:gd name="connsiteX4383" fmla="*/ 7559363 w 12192001"/>
                <a:gd name="connsiteY4383" fmla="*/ 6508547 h 6523037"/>
                <a:gd name="connsiteX4384" fmla="*/ 7288252 w 12192001"/>
                <a:gd name="connsiteY4384" fmla="*/ 6238135 h 6523037"/>
                <a:gd name="connsiteX4385" fmla="*/ 7024828 w 12192001"/>
                <a:gd name="connsiteY4385" fmla="*/ 6238135 h 6523037"/>
                <a:gd name="connsiteX4386" fmla="*/ 7154793 w 12192001"/>
                <a:gd name="connsiteY4386" fmla="*/ 6368100 h 6523037"/>
                <a:gd name="connsiteX4387" fmla="*/ 7295240 w 12192001"/>
                <a:gd name="connsiteY4387" fmla="*/ 6508547 h 6523037"/>
                <a:gd name="connsiteX4388" fmla="*/ 7285537 w 12192001"/>
                <a:gd name="connsiteY4388" fmla="*/ 6518275 h 6523037"/>
                <a:gd name="connsiteX4389" fmla="*/ 7275044 w 12192001"/>
                <a:gd name="connsiteY4389" fmla="*/ 6518275 h 6523037"/>
                <a:gd name="connsiteX4390" fmla="*/ 7280566 w 12192001"/>
                <a:gd name="connsiteY4390" fmla="*/ 6512739 h 6523037"/>
                <a:gd name="connsiteX4391" fmla="*/ 7017141 w 12192001"/>
                <a:gd name="connsiteY4391" fmla="*/ 6512739 h 6523037"/>
                <a:gd name="connsiteX4392" fmla="*/ 7011627 w 12192001"/>
                <a:gd name="connsiteY4392" fmla="*/ 6518275 h 6523037"/>
                <a:gd name="connsiteX4393" fmla="*/ 7001125 w 12192001"/>
                <a:gd name="connsiteY4393" fmla="*/ 6518275 h 6523037"/>
                <a:gd name="connsiteX4394" fmla="*/ 7010853 w 12192001"/>
                <a:gd name="connsiteY4394" fmla="*/ 6508547 h 6523037"/>
                <a:gd name="connsiteX4395" fmla="*/ 6739742 w 12192001"/>
                <a:gd name="connsiteY4395" fmla="*/ 6238135 h 6523037"/>
                <a:gd name="connsiteX4396" fmla="*/ 6475619 w 12192001"/>
                <a:gd name="connsiteY4396" fmla="*/ 6238135 h 6523037"/>
                <a:gd name="connsiteX4397" fmla="*/ 6746729 w 12192001"/>
                <a:gd name="connsiteY4397" fmla="*/ 6508547 h 6523037"/>
                <a:gd name="connsiteX4398" fmla="*/ 6743935 w 12192001"/>
                <a:gd name="connsiteY4398" fmla="*/ 6511341 h 6523037"/>
                <a:gd name="connsiteX4399" fmla="*/ 6737054 w 12192001"/>
                <a:gd name="connsiteY4399" fmla="*/ 6518275 h 6523037"/>
                <a:gd name="connsiteX4400" fmla="*/ 6727219 w 12192001"/>
                <a:gd name="connsiteY4400" fmla="*/ 6518275 h 6523037"/>
                <a:gd name="connsiteX4401" fmla="*/ 6732754 w 12192001"/>
                <a:gd name="connsiteY4401" fmla="*/ 6512739 h 6523037"/>
                <a:gd name="connsiteX4402" fmla="*/ 6468632 w 12192001"/>
                <a:gd name="connsiteY4402" fmla="*/ 6512739 h 6523037"/>
                <a:gd name="connsiteX4403" fmla="*/ 6463111 w 12192001"/>
                <a:gd name="connsiteY4403" fmla="*/ 6518275 h 6523037"/>
                <a:gd name="connsiteX4404" fmla="*/ 6452638 w 12192001"/>
                <a:gd name="connsiteY4404" fmla="*/ 6518275 h 6523037"/>
                <a:gd name="connsiteX4405" fmla="*/ 6461645 w 12192001"/>
                <a:gd name="connsiteY4405" fmla="*/ 6509246 h 6523037"/>
                <a:gd name="connsiteX4406" fmla="*/ 6456753 w 12192001"/>
                <a:gd name="connsiteY4406" fmla="*/ 6504354 h 6523037"/>
                <a:gd name="connsiteX4407" fmla="*/ 6191234 w 12192001"/>
                <a:gd name="connsiteY4407" fmla="*/ 6239533 h 6523037"/>
                <a:gd name="connsiteX4408" fmla="*/ 5927108 w 12192001"/>
                <a:gd name="connsiteY4408" fmla="*/ 6239533 h 6523037"/>
                <a:gd name="connsiteX4409" fmla="*/ 5927807 w 12192001"/>
                <a:gd name="connsiteY4409" fmla="*/ 6240231 h 6523037"/>
                <a:gd name="connsiteX4410" fmla="*/ 5928507 w 12192001"/>
                <a:gd name="connsiteY4410" fmla="*/ 6240231 h 6523037"/>
                <a:gd name="connsiteX4411" fmla="*/ 6197521 w 12192001"/>
                <a:gd name="connsiteY4411" fmla="*/ 6509246 h 6523037"/>
                <a:gd name="connsiteX4412" fmla="*/ 6188514 w 12192001"/>
                <a:gd name="connsiteY4412" fmla="*/ 6518275 h 6523037"/>
                <a:gd name="connsiteX4413" fmla="*/ 6180107 w 12192001"/>
                <a:gd name="connsiteY4413" fmla="*/ 6518275 h 6523037"/>
                <a:gd name="connsiteX4414" fmla="*/ 6184944 w 12192001"/>
                <a:gd name="connsiteY4414" fmla="*/ 6513438 h 6523037"/>
                <a:gd name="connsiteX4415" fmla="*/ 5920821 w 12192001"/>
                <a:gd name="connsiteY4415" fmla="*/ 6513438 h 6523037"/>
                <a:gd name="connsiteX4416" fmla="*/ 5915996 w 12192001"/>
                <a:gd name="connsiteY4416" fmla="*/ 6518275 h 6523037"/>
                <a:gd name="connsiteX4417" fmla="*/ 5903406 w 12192001"/>
                <a:gd name="connsiteY4417" fmla="*/ 6518275 h 6523037"/>
                <a:gd name="connsiteX4418" fmla="*/ 5912435 w 12192001"/>
                <a:gd name="connsiteY4418" fmla="*/ 6509246 h 6523037"/>
                <a:gd name="connsiteX4419" fmla="*/ 5779675 w 12192001"/>
                <a:gd name="connsiteY4419" fmla="*/ 6377184 h 6523037"/>
                <a:gd name="connsiteX4420" fmla="*/ 5641325 w 12192001"/>
                <a:gd name="connsiteY4420" fmla="*/ 6238834 h 6523037"/>
                <a:gd name="connsiteX4421" fmla="*/ 5377202 w 12192001"/>
                <a:gd name="connsiteY4421" fmla="*/ 6238834 h 6523037"/>
                <a:gd name="connsiteX4422" fmla="*/ 5648312 w 12192001"/>
                <a:gd name="connsiteY4422" fmla="*/ 6508547 h 6523037"/>
                <a:gd name="connsiteX4423" fmla="*/ 5645518 w 12192001"/>
                <a:gd name="connsiteY4423" fmla="*/ 6511341 h 6523037"/>
                <a:gd name="connsiteX4424" fmla="*/ 5638636 w 12192001"/>
                <a:gd name="connsiteY4424" fmla="*/ 6518275 h 6523037"/>
                <a:gd name="connsiteX4425" fmla="*/ 5629500 w 12192001"/>
                <a:gd name="connsiteY4425" fmla="*/ 6518275 h 6523037"/>
                <a:gd name="connsiteX4426" fmla="*/ 5635036 w 12192001"/>
                <a:gd name="connsiteY4426" fmla="*/ 6512739 h 6523037"/>
                <a:gd name="connsiteX4427" fmla="*/ 5376502 w 12192001"/>
                <a:gd name="connsiteY4427" fmla="*/ 6512739 h 6523037"/>
                <a:gd name="connsiteX4428" fmla="*/ 5375047 w 12192001"/>
                <a:gd name="connsiteY4428" fmla="*/ 6512040 h 6523037"/>
                <a:gd name="connsiteX4429" fmla="*/ 5376502 w 12192001"/>
                <a:gd name="connsiteY4429" fmla="*/ 6512040 h 6523037"/>
                <a:gd name="connsiteX4430" fmla="*/ 5359034 w 12192001"/>
                <a:gd name="connsiteY4430" fmla="*/ 6503655 h 6523037"/>
                <a:gd name="connsiteX4431" fmla="*/ 5360377 w 12192001"/>
                <a:gd name="connsiteY4431" fmla="*/ 6504999 h 6523037"/>
                <a:gd name="connsiteX4432" fmla="*/ 5359034 w 12192001"/>
                <a:gd name="connsiteY4432" fmla="*/ 6504354 h 6523037"/>
                <a:gd name="connsiteX4433" fmla="*/ 5093513 w 12192001"/>
                <a:gd name="connsiteY4433" fmla="*/ 6239533 h 6523037"/>
                <a:gd name="connsiteX4434" fmla="*/ 4829390 w 12192001"/>
                <a:gd name="connsiteY4434" fmla="*/ 6239533 h 6523037"/>
                <a:gd name="connsiteX4435" fmla="*/ 4830788 w 12192001"/>
                <a:gd name="connsiteY4435" fmla="*/ 6240929 h 6523037"/>
                <a:gd name="connsiteX4436" fmla="*/ 5099802 w 12192001"/>
                <a:gd name="connsiteY4436" fmla="*/ 6509945 h 6523037"/>
                <a:gd name="connsiteX4437" fmla="*/ 5091450 w 12192001"/>
                <a:gd name="connsiteY4437" fmla="*/ 6518275 h 6523037"/>
                <a:gd name="connsiteX4438" fmla="*/ 5081014 w 12192001"/>
                <a:gd name="connsiteY4438" fmla="*/ 6518275 h 6523037"/>
                <a:gd name="connsiteX4439" fmla="*/ 5085827 w 12192001"/>
                <a:gd name="connsiteY4439" fmla="*/ 6513438 h 6523037"/>
                <a:gd name="connsiteX4440" fmla="*/ 4826252 w 12192001"/>
                <a:gd name="connsiteY4440" fmla="*/ 6513438 h 6523037"/>
                <a:gd name="connsiteX4441" fmla="*/ 4816727 w 12192001"/>
                <a:gd name="connsiteY4441" fmla="*/ 6523037 h 6523037"/>
                <a:gd name="connsiteX4442" fmla="*/ 4806802 w 12192001"/>
                <a:gd name="connsiteY4442" fmla="*/ 6523037 h 6523037"/>
                <a:gd name="connsiteX4443" fmla="*/ 4811603 w 12192001"/>
                <a:gd name="connsiteY4443" fmla="*/ 6518275 h 6523037"/>
                <a:gd name="connsiteX4444" fmla="*/ 4807085 w 12192001"/>
                <a:gd name="connsiteY4444" fmla="*/ 6518275 h 6523037"/>
                <a:gd name="connsiteX4445" fmla="*/ 4810652 w 12192001"/>
                <a:gd name="connsiteY4445" fmla="*/ 6514707 h 6523037"/>
                <a:gd name="connsiteX4446" fmla="*/ 4551077 w 12192001"/>
                <a:gd name="connsiteY4446" fmla="*/ 6514707 h 6523037"/>
                <a:gd name="connsiteX4447" fmla="*/ 4542768 w 12192001"/>
                <a:gd name="connsiteY4447" fmla="*/ 6523037 h 6523037"/>
                <a:gd name="connsiteX4448" fmla="*/ 4531598 w 12192001"/>
                <a:gd name="connsiteY4448" fmla="*/ 6523037 h 6523037"/>
                <a:gd name="connsiteX4449" fmla="*/ 4544090 w 12192001"/>
                <a:gd name="connsiteY4449" fmla="*/ 6510514 h 6523037"/>
                <a:gd name="connsiteX4450" fmla="*/ 4539199 w 12192001"/>
                <a:gd name="connsiteY4450" fmla="*/ 6505623 h 6523037"/>
                <a:gd name="connsiteX4451" fmla="*/ 4273677 w 12192001"/>
                <a:gd name="connsiteY4451" fmla="*/ 6240102 h 6523037"/>
                <a:gd name="connsiteX4452" fmla="*/ 4009554 w 12192001"/>
                <a:gd name="connsiteY4452" fmla="*/ 6240102 h 6523037"/>
                <a:gd name="connsiteX4453" fmla="*/ 4010952 w 12192001"/>
                <a:gd name="connsiteY4453" fmla="*/ 6241499 h 6523037"/>
                <a:gd name="connsiteX4454" fmla="*/ 4279967 w 12192001"/>
                <a:gd name="connsiteY4454" fmla="*/ 6510514 h 6523037"/>
                <a:gd name="connsiteX4455" fmla="*/ 4267475 w 12192001"/>
                <a:gd name="connsiteY4455" fmla="*/ 6523037 h 6523037"/>
                <a:gd name="connsiteX4456" fmla="*/ 4259077 w 12192001"/>
                <a:gd name="connsiteY4456" fmla="*/ 6523037 h 6523037"/>
                <a:gd name="connsiteX4457" fmla="*/ 4266690 w 12192001"/>
                <a:gd name="connsiteY4457" fmla="*/ 6515405 h 6523037"/>
                <a:gd name="connsiteX4458" fmla="*/ 4002566 w 12192001"/>
                <a:gd name="connsiteY4458" fmla="*/ 6515405 h 6523037"/>
                <a:gd name="connsiteX4459" fmla="*/ 3994954 w 12192001"/>
                <a:gd name="connsiteY4459" fmla="*/ 6523037 h 6523037"/>
                <a:gd name="connsiteX4460" fmla="*/ 3983089 w 12192001"/>
                <a:gd name="connsiteY4460" fmla="*/ 6523037 h 6523037"/>
                <a:gd name="connsiteX4461" fmla="*/ 3996278 w 12192001"/>
                <a:gd name="connsiteY4461" fmla="*/ 6509815 h 6523037"/>
                <a:gd name="connsiteX4462" fmla="*/ 3862819 w 12192001"/>
                <a:gd name="connsiteY4462" fmla="*/ 6377052 h 6523037"/>
                <a:gd name="connsiteX4463" fmla="*/ 3865614 w 12192001"/>
                <a:gd name="connsiteY4463" fmla="*/ 6371464 h 6523037"/>
                <a:gd name="connsiteX4464" fmla="*/ 3864915 w 12192001"/>
                <a:gd name="connsiteY4464" fmla="*/ 6370766 h 6523037"/>
                <a:gd name="connsiteX4465" fmla="*/ 3865614 w 12192001"/>
                <a:gd name="connsiteY4465" fmla="*/ 6369369 h 6523037"/>
                <a:gd name="connsiteX4466" fmla="*/ 4002566 w 12192001"/>
                <a:gd name="connsiteY4466" fmla="*/ 6506322 h 6523037"/>
                <a:gd name="connsiteX4467" fmla="*/ 4266690 w 12192001"/>
                <a:gd name="connsiteY4467" fmla="*/ 6506322 h 6523037"/>
                <a:gd name="connsiteX4468" fmla="*/ 3995579 w 12192001"/>
                <a:gd name="connsiteY4468" fmla="*/ 6235910 h 6523037"/>
                <a:gd name="connsiteX4469" fmla="*/ 3996977 w 12192001"/>
                <a:gd name="connsiteY4469" fmla="*/ 6234512 h 6523037"/>
                <a:gd name="connsiteX4470" fmla="*/ 4265292 w 12192001"/>
                <a:gd name="connsiteY4470" fmla="*/ 5965498 h 6523037"/>
                <a:gd name="connsiteX4471" fmla="*/ 4066851 w 12192001"/>
                <a:gd name="connsiteY4471" fmla="*/ 5965498 h 6523037"/>
                <a:gd name="connsiteX4472" fmla="*/ 4070344 w 12192001"/>
                <a:gd name="connsiteY4472" fmla="*/ 5958510 h 6523037"/>
                <a:gd name="connsiteX4473" fmla="*/ 4265292 w 12192001"/>
                <a:gd name="connsiteY4473" fmla="*/ 5958510 h 6523037"/>
                <a:gd name="connsiteX4474" fmla="*/ 4135327 w 12192001"/>
                <a:gd name="connsiteY4474" fmla="*/ 5828545 h 6523037"/>
                <a:gd name="connsiteX4475" fmla="*/ 4138820 w 12192001"/>
                <a:gd name="connsiteY4475" fmla="*/ 5821557 h 6523037"/>
                <a:gd name="connsiteX4476" fmla="*/ 4279267 w 12192001"/>
                <a:gd name="connsiteY4476" fmla="*/ 5962003 h 6523037"/>
                <a:gd name="connsiteX4477" fmla="*/ 4008855 w 12192001"/>
                <a:gd name="connsiteY4477" fmla="*/ 6233114 h 6523037"/>
                <a:gd name="connsiteX4478" fmla="*/ 4272979 w 12192001"/>
                <a:gd name="connsiteY4478" fmla="*/ 6233114 h 6523037"/>
                <a:gd name="connsiteX4479" fmla="*/ 4543392 w 12192001"/>
                <a:gd name="connsiteY4479" fmla="*/ 5962003 h 6523037"/>
                <a:gd name="connsiteX4480" fmla="*/ 4272281 w 12192001"/>
                <a:gd name="connsiteY4480" fmla="*/ 5692290 h 6523037"/>
                <a:gd name="connsiteX4481" fmla="*/ 4203803 w 12192001"/>
                <a:gd name="connsiteY4481" fmla="*/ 5692290 h 6523037"/>
                <a:gd name="connsiteX4482" fmla="*/ 4008855 w 12192001"/>
                <a:gd name="connsiteY4482" fmla="*/ 5692290 h 6523037"/>
                <a:gd name="connsiteX4483" fmla="*/ 4138121 w 12192001"/>
                <a:gd name="connsiteY4483" fmla="*/ 5822256 h 6523037"/>
                <a:gd name="connsiteX4484" fmla="*/ 4134628 w 12192001"/>
                <a:gd name="connsiteY4484" fmla="*/ 5829243 h 6523037"/>
                <a:gd name="connsiteX4485" fmla="*/ 3994181 w 12192001"/>
                <a:gd name="connsiteY4485" fmla="*/ 5688797 h 6523037"/>
                <a:gd name="connsiteX4486" fmla="*/ 4264593 w 12192001"/>
                <a:gd name="connsiteY4486" fmla="*/ 5417686 h 6523037"/>
                <a:gd name="connsiteX4487" fmla="*/ 4000470 w 12192001"/>
                <a:gd name="connsiteY4487" fmla="*/ 5417686 h 6523037"/>
                <a:gd name="connsiteX4488" fmla="*/ 3730058 w 12192001"/>
                <a:gd name="connsiteY4488" fmla="*/ 5688797 h 6523037"/>
                <a:gd name="connsiteX4489" fmla="*/ 4001169 w 12192001"/>
                <a:gd name="connsiteY4489" fmla="*/ 5959209 h 6523037"/>
                <a:gd name="connsiteX4490" fmla="*/ 4069645 w 12192001"/>
                <a:gd name="connsiteY4490" fmla="*/ 5959209 h 6523037"/>
                <a:gd name="connsiteX4491" fmla="*/ 4066152 w 12192001"/>
                <a:gd name="connsiteY4491" fmla="*/ 5966196 h 6523037"/>
                <a:gd name="connsiteX4492" fmla="*/ 4001169 w 12192001"/>
                <a:gd name="connsiteY4492" fmla="*/ 5966196 h 6523037"/>
                <a:gd name="connsiteX4493" fmla="*/ 3820894 w 12192001"/>
                <a:gd name="connsiteY4493" fmla="*/ 6147170 h 6523037"/>
                <a:gd name="connsiteX4494" fmla="*/ 3731456 w 12192001"/>
                <a:gd name="connsiteY4494" fmla="*/ 6237307 h 6523037"/>
                <a:gd name="connsiteX4495" fmla="*/ 3864915 w 12192001"/>
                <a:gd name="connsiteY4495" fmla="*/ 6370766 h 6523037"/>
                <a:gd name="connsiteX4496" fmla="*/ 3862120 w 12192001"/>
                <a:gd name="connsiteY4496" fmla="*/ 6376355 h 6523037"/>
                <a:gd name="connsiteX4497" fmla="*/ 3862819 w 12192001"/>
                <a:gd name="connsiteY4497" fmla="*/ 6377052 h 6523037"/>
                <a:gd name="connsiteX4498" fmla="*/ 3862120 w 12192001"/>
                <a:gd name="connsiteY4498" fmla="*/ 6378452 h 6523037"/>
                <a:gd name="connsiteX4499" fmla="*/ 3725167 w 12192001"/>
                <a:gd name="connsiteY4499" fmla="*/ 6241499 h 6523037"/>
                <a:gd name="connsiteX4500" fmla="*/ 3461044 w 12192001"/>
                <a:gd name="connsiteY4500" fmla="*/ 6241499 h 6523037"/>
                <a:gd name="connsiteX4501" fmla="*/ 3732154 w 12192001"/>
                <a:gd name="connsiteY4501" fmla="*/ 6511911 h 6523037"/>
                <a:gd name="connsiteX4502" fmla="*/ 3721057 w 12192001"/>
                <a:gd name="connsiteY4502" fmla="*/ 6523037 h 6523037"/>
                <a:gd name="connsiteX4503" fmla="*/ 3710566 w 12192001"/>
                <a:gd name="connsiteY4503" fmla="*/ 6523037 h 6523037"/>
                <a:gd name="connsiteX4504" fmla="*/ 3718179 w 12192001"/>
                <a:gd name="connsiteY4504" fmla="*/ 6515405 h 6523037"/>
                <a:gd name="connsiteX4505" fmla="*/ 3454056 w 12192001"/>
                <a:gd name="connsiteY4505" fmla="*/ 6515405 h 6523037"/>
                <a:gd name="connsiteX4506" fmla="*/ 3446443 w 12192001"/>
                <a:gd name="connsiteY4506" fmla="*/ 6523037 h 6523037"/>
                <a:gd name="connsiteX4507" fmla="*/ 3437367 w 12192001"/>
                <a:gd name="connsiteY4507" fmla="*/ 6523037 h 6523037"/>
                <a:gd name="connsiteX4508" fmla="*/ 3447767 w 12192001"/>
                <a:gd name="connsiteY4508" fmla="*/ 6512610 h 6523037"/>
                <a:gd name="connsiteX4509" fmla="*/ 3176657 w 12192001"/>
                <a:gd name="connsiteY4509" fmla="*/ 6242198 h 6523037"/>
                <a:gd name="connsiteX4510" fmla="*/ 2912533 w 12192001"/>
                <a:gd name="connsiteY4510" fmla="*/ 6242198 h 6523037"/>
                <a:gd name="connsiteX4511" fmla="*/ 3183644 w 12192001"/>
                <a:gd name="connsiteY4511" fmla="*/ 6512610 h 6523037"/>
                <a:gd name="connsiteX4512" fmla="*/ 3173244 w 12192001"/>
                <a:gd name="connsiteY4512" fmla="*/ 6523037 h 6523037"/>
                <a:gd name="connsiteX4513" fmla="*/ 3163450 w 12192001"/>
                <a:gd name="connsiteY4513" fmla="*/ 6523037 h 6523037"/>
                <a:gd name="connsiteX4514" fmla="*/ 3169669 w 12192001"/>
                <a:gd name="connsiteY4514" fmla="*/ 6516802 h 6523037"/>
                <a:gd name="connsiteX4515" fmla="*/ 2905546 w 12192001"/>
                <a:gd name="connsiteY4515" fmla="*/ 6516802 h 6523037"/>
                <a:gd name="connsiteX4516" fmla="*/ 2899327 w 12192001"/>
                <a:gd name="connsiteY4516" fmla="*/ 6523037 h 6523037"/>
                <a:gd name="connsiteX4517" fmla="*/ 2889554 w 12192001"/>
                <a:gd name="connsiteY4517" fmla="*/ 6523037 h 6523037"/>
                <a:gd name="connsiteX4518" fmla="*/ 2899257 w 12192001"/>
                <a:gd name="connsiteY4518" fmla="*/ 6513309 h 6523037"/>
                <a:gd name="connsiteX4519" fmla="*/ 2628146 w 12192001"/>
                <a:gd name="connsiteY4519" fmla="*/ 6242897 h 6523037"/>
                <a:gd name="connsiteX4520" fmla="*/ 2364722 w 12192001"/>
                <a:gd name="connsiteY4520" fmla="*/ 6242897 h 6523037"/>
                <a:gd name="connsiteX4521" fmla="*/ 2494687 w 12192001"/>
                <a:gd name="connsiteY4521" fmla="*/ 6372862 h 6523037"/>
                <a:gd name="connsiteX4522" fmla="*/ 2635134 w 12192001"/>
                <a:gd name="connsiteY4522" fmla="*/ 6513309 h 6523037"/>
                <a:gd name="connsiteX4523" fmla="*/ 2625431 w 12192001"/>
                <a:gd name="connsiteY4523" fmla="*/ 6523037 h 6523037"/>
                <a:gd name="connsiteX4524" fmla="*/ 2614938 w 12192001"/>
                <a:gd name="connsiteY4524" fmla="*/ 6523037 h 6523037"/>
                <a:gd name="connsiteX4525" fmla="*/ 2620460 w 12192001"/>
                <a:gd name="connsiteY4525" fmla="*/ 6517501 h 6523037"/>
                <a:gd name="connsiteX4526" fmla="*/ 2357035 w 12192001"/>
                <a:gd name="connsiteY4526" fmla="*/ 6517501 h 6523037"/>
                <a:gd name="connsiteX4527" fmla="*/ 2351521 w 12192001"/>
                <a:gd name="connsiteY4527" fmla="*/ 6523037 h 6523037"/>
                <a:gd name="connsiteX4528" fmla="*/ 2341019 w 12192001"/>
                <a:gd name="connsiteY4528" fmla="*/ 6523037 h 6523037"/>
                <a:gd name="connsiteX4529" fmla="*/ 2350747 w 12192001"/>
                <a:gd name="connsiteY4529" fmla="*/ 6513309 h 6523037"/>
                <a:gd name="connsiteX4530" fmla="*/ 2079636 w 12192001"/>
                <a:gd name="connsiteY4530" fmla="*/ 6242897 h 6523037"/>
                <a:gd name="connsiteX4531" fmla="*/ 1815513 w 12192001"/>
                <a:gd name="connsiteY4531" fmla="*/ 6242897 h 6523037"/>
                <a:gd name="connsiteX4532" fmla="*/ 2086623 w 12192001"/>
                <a:gd name="connsiteY4532" fmla="*/ 6513309 h 6523037"/>
                <a:gd name="connsiteX4533" fmla="*/ 2083829 w 12192001"/>
                <a:gd name="connsiteY4533" fmla="*/ 6516103 h 6523037"/>
                <a:gd name="connsiteX4534" fmla="*/ 2076948 w 12192001"/>
                <a:gd name="connsiteY4534" fmla="*/ 6523037 h 6523037"/>
                <a:gd name="connsiteX4535" fmla="*/ 2067112 w 12192001"/>
                <a:gd name="connsiteY4535" fmla="*/ 6523037 h 6523037"/>
                <a:gd name="connsiteX4536" fmla="*/ 2072648 w 12192001"/>
                <a:gd name="connsiteY4536" fmla="*/ 6517501 h 6523037"/>
                <a:gd name="connsiteX4537" fmla="*/ 1808526 w 12192001"/>
                <a:gd name="connsiteY4537" fmla="*/ 6517501 h 6523037"/>
                <a:gd name="connsiteX4538" fmla="*/ 1803004 w 12192001"/>
                <a:gd name="connsiteY4538" fmla="*/ 6523037 h 6523037"/>
                <a:gd name="connsiteX4539" fmla="*/ 1792532 w 12192001"/>
                <a:gd name="connsiteY4539" fmla="*/ 6523037 h 6523037"/>
                <a:gd name="connsiteX4540" fmla="*/ 1801539 w 12192001"/>
                <a:gd name="connsiteY4540" fmla="*/ 6514008 h 6523037"/>
                <a:gd name="connsiteX4541" fmla="*/ 1796647 w 12192001"/>
                <a:gd name="connsiteY4541" fmla="*/ 6509116 h 6523037"/>
                <a:gd name="connsiteX4542" fmla="*/ 1531127 w 12192001"/>
                <a:gd name="connsiteY4542" fmla="*/ 6244295 h 6523037"/>
                <a:gd name="connsiteX4543" fmla="*/ 1267002 w 12192001"/>
                <a:gd name="connsiteY4543" fmla="*/ 6244295 h 6523037"/>
                <a:gd name="connsiteX4544" fmla="*/ 1267701 w 12192001"/>
                <a:gd name="connsiteY4544" fmla="*/ 6244993 h 6523037"/>
                <a:gd name="connsiteX4545" fmla="*/ 1268400 w 12192001"/>
                <a:gd name="connsiteY4545" fmla="*/ 6244993 h 6523037"/>
                <a:gd name="connsiteX4546" fmla="*/ 1537414 w 12192001"/>
                <a:gd name="connsiteY4546" fmla="*/ 6514008 h 6523037"/>
                <a:gd name="connsiteX4547" fmla="*/ 1528408 w 12192001"/>
                <a:gd name="connsiteY4547" fmla="*/ 6523037 h 6523037"/>
                <a:gd name="connsiteX4548" fmla="*/ 1520000 w 12192001"/>
                <a:gd name="connsiteY4548" fmla="*/ 6523037 h 6523037"/>
                <a:gd name="connsiteX4549" fmla="*/ 1524838 w 12192001"/>
                <a:gd name="connsiteY4549" fmla="*/ 6518200 h 6523037"/>
                <a:gd name="connsiteX4550" fmla="*/ 1260714 w 12192001"/>
                <a:gd name="connsiteY4550" fmla="*/ 6518200 h 6523037"/>
                <a:gd name="connsiteX4551" fmla="*/ 1255889 w 12192001"/>
                <a:gd name="connsiteY4551" fmla="*/ 6523037 h 6523037"/>
                <a:gd name="connsiteX4552" fmla="*/ 1243300 w 12192001"/>
                <a:gd name="connsiteY4552" fmla="*/ 6523037 h 6523037"/>
                <a:gd name="connsiteX4553" fmla="*/ 1252329 w 12192001"/>
                <a:gd name="connsiteY4553" fmla="*/ 6514008 h 6523037"/>
                <a:gd name="connsiteX4554" fmla="*/ 1119569 w 12192001"/>
                <a:gd name="connsiteY4554" fmla="*/ 6381946 h 6523037"/>
                <a:gd name="connsiteX4555" fmla="*/ 981219 w 12192001"/>
                <a:gd name="connsiteY4555" fmla="*/ 6243596 h 6523037"/>
                <a:gd name="connsiteX4556" fmla="*/ 717095 w 12192001"/>
                <a:gd name="connsiteY4556" fmla="*/ 6243596 h 6523037"/>
                <a:gd name="connsiteX4557" fmla="*/ 988206 w 12192001"/>
                <a:gd name="connsiteY4557" fmla="*/ 6513309 h 6523037"/>
                <a:gd name="connsiteX4558" fmla="*/ 985411 w 12192001"/>
                <a:gd name="connsiteY4558" fmla="*/ 6516103 h 6523037"/>
                <a:gd name="connsiteX4559" fmla="*/ 978530 w 12192001"/>
                <a:gd name="connsiteY4559" fmla="*/ 6523037 h 6523037"/>
                <a:gd name="connsiteX4560" fmla="*/ 969394 w 12192001"/>
                <a:gd name="connsiteY4560" fmla="*/ 6523037 h 6523037"/>
                <a:gd name="connsiteX4561" fmla="*/ 974930 w 12192001"/>
                <a:gd name="connsiteY4561" fmla="*/ 6517501 h 6523037"/>
                <a:gd name="connsiteX4562" fmla="*/ 716396 w 12192001"/>
                <a:gd name="connsiteY4562" fmla="*/ 6517501 h 6523037"/>
                <a:gd name="connsiteX4563" fmla="*/ 714941 w 12192001"/>
                <a:gd name="connsiteY4563" fmla="*/ 6516802 h 6523037"/>
                <a:gd name="connsiteX4564" fmla="*/ 716396 w 12192001"/>
                <a:gd name="connsiteY4564" fmla="*/ 6516802 h 6523037"/>
                <a:gd name="connsiteX4565" fmla="*/ 698928 w 12192001"/>
                <a:gd name="connsiteY4565" fmla="*/ 6508417 h 6523037"/>
                <a:gd name="connsiteX4566" fmla="*/ 700271 w 12192001"/>
                <a:gd name="connsiteY4566" fmla="*/ 6509761 h 6523037"/>
                <a:gd name="connsiteX4567" fmla="*/ 698928 w 12192001"/>
                <a:gd name="connsiteY4567" fmla="*/ 6509116 h 6523037"/>
                <a:gd name="connsiteX4568" fmla="*/ 433407 w 12192001"/>
                <a:gd name="connsiteY4568" fmla="*/ 6244295 h 6523037"/>
                <a:gd name="connsiteX4569" fmla="*/ 169284 w 12192001"/>
                <a:gd name="connsiteY4569" fmla="*/ 6244295 h 6523037"/>
                <a:gd name="connsiteX4570" fmla="*/ 170681 w 12192001"/>
                <a:gd name="connsiteY4570" fmla="*/ 6245691 h 6523037"/>
                <a:gd name="connsiteX4571" fmla="*/ 439696 w 12192001"/>
                <a:gd name="connsiteY4571" fmla="*/ 6514707 h 6523037"/>
                <a:gd name="connsiteX4572" fmla="*/ 431344 w 12192001"/>
                <a:gd name="connsiteY4572" fmla="*/ 6523037 h 6523037"/>
                <a:gd name="connsiteX4573" fmla="*/ 420908 w 12192001"/>
                <a:gd name="connsiteY4573" fmla="*/ 6523037 h 6523037"/>
                <a:gd name="connsiteX4574" fmla="*/ 425721 w 12192001"/>
                <a:gd name="connsiteY4574" fmla="*/ 6518200 h 6523037"/>
                <a:gd name="connsiteX4575" fmla="*/ 161597 w 12192001"/>
                <a:gd name="connsiteY4575" fmla="*/ 6518200 h 6523037"/>
                <a:gd name="connsiteX4576" fmla="*/ 156781 w 12192001"/>
                <a:gd name="connsiteY4576" fmla="*/ 6523037 h 6523037"/>
                <a:gd name="connsiteX4577" fmla="*/ 146978 w 12192001"/>
                <a:gd name="connsiteY4577" fmla="*/ 6523037 h 6523037"/>
                <a:gd name="connsiteX4578" fmla="*/ 155309 w 12192001"/>
                <a:gd name="connsiteY4578" fmla="*/ 6514707 h 6523037"/>
                <a:gd name="connsiteX4579" fmla="*/ 21150 w 12192001"/>
                <a:gd name="connsiteY4579" fmla="*/ 6381247 h 6523037"/>
                <a:gd name="connsiteX4580" fmla="*/ 5080 w 12192001"/>
                <a:gd name="connsiteY4580" fmla="*/ 6365176 h 6523037"/>
                <a:gd name="connsiteX4581" fmla="*/ 5080 w 12192001"/>
                <a:gd name="connsiteY4581" fmla="*/ 6355394 h 6523037"/>
                <a:gd name="connsiteX4582" fmla="*/ 24645 w 12192001"/>
                <a:gd name="connsiteY4582" fmla="*/ 6374959 h 6523037"/>
                <a:gd name="connsiteX4583" fmla="*/ 161597 w 12192001"/>
                <a:gd name="connsiteY4583" fmla="*/ 6511212 h 6523037"/>
                <a:gd name="connsiteX4584" fmla="*/ 425721 w 12192001"/>
                <a:gd name="connsiteY4584" fmla="*/ 6511212 h 6523037"/>
                <a:gd name="connsiteX4585" fmla="*/ 154610 w 12192001"/>
                <a:gd name="connsiteY4585" fmla="*/ 6240800 h 6523037"/>
                <a:gd name="connsiteX4586" fmla="*/ 156008 w 12192001"/>
                <a:gd name="connsiteY4586" fmla="*/ 6239403 h 6523037"/>
                <a:gd name="connsiteX4587" fmla="*/ 156706 w 12192001"/>
                <a:gd name="connsiteY4587" fmla="*/ 6239403 h 6523037"/>
                <a:gd name="connsiteX4588" fmla="*/ 425022 w 12192001"/>
                <a:gd name="connsiteY4588" fmla="*/ 5970389 h 6523037"/>
                <a:gd name="connsiteX4589" fmla="*/ 161597 w 12192001"/>
                <a:gd name="connsiteY4589" fmla="*/ 5970389 h 6523037"/>
                <a:gd name="connsiteX4590" fmla="*/ 5080 w 12192001"/>
                <a:gd name="connsiteY4590" fmla="*/ 6126906 h 6523037"/>
                <a:gd name="connsiteX4591" fmla="*/ 5080 w 12192001"/>
                <a:gd name="connsiteY4591" fmla="*/ 6116425 h 6523037"/>
                <a:gd name="connsiteX4592" fmla="*/ 154610 w 12192001"/>
                <a:gd name="connsiteY4592" fmla="*/ 5966894 h 6523037"/>
                <a:gd name="connsiteX4593" fmla="*/ 5080 w 12192001"/>
                <a:gd name="connsiteY4593" fmla="*/ 5817364 h 6523037"/>
                <a:gd name="connsiteX4594" fmla="*/ 5080 w 12192001"/>
                <a:gd name="connsiteY4594" fmla="*/ 5806884 h 6523037"/>
                <a:gd name="connsiteX4595" fmla="*/ 161597 w 12192001"/>
                <a:gd name="connsiteY4595" fmla="*/ 5962702 h 6523037"/>
                <a:gd name="connsiteX4596" fmla="*/ 425022 w 12192001"/>
                <a:gd name="connsiteY4596" fmla="*/ 5962702 h 6523037"/>
                <a:gd name="connsiteX4597" fmla="*/ 295057 w 12192001"/>
                <a:gd name="connsiteY4597" fmla="*/ 5832737 h 6523037"/>
                <a:gd name="connsiteX4598" fmla="*/ 154610 w 12192001"/>
                <a:gd name="connsiteY4598" fmla="*/ 5692290 h 6523037"/>
                <a:gd name="connsiteX4599" fmla="*/ 425022 w 12192001"/>
                <a:gd name="connsiteY4599" fmla="*/ 5421878 h 6523037"/>
                <a:gd name="connsiteX4600" fmla="*/ 160898 w 12192001"/>
                <a:gd name="connsiteY4600" fmla="*/ 5421878 h 6523037"/>
                <a:gd name="connsiteX4601" fmla="*/ 5080 w 12192001"/>
                <a:gd name="connsiteY4601" fmla="*/ 5577697 h 6523037"/>
                <a:gd name="connsiteX4602" fmla="*/ 5080 w 12192001"/>
                <a:gd name="connsiteY4602" fmla="*/ 5567216 h 6523037"/>
                <a:gd name="connsiteX4603" fmla="*/ 153911 w 12192001"/>
                <a:gd name="connsiteY4603" fmla="*/ 5418385 h 6523037"/>
                <a:gd name="connsiteX4604" fmla="*/ 5080 w 12192001"/>
                <a:gd name="connsiteY4604" fmla="*/ 5269553 h 6523037"/>
                <a:gd name="connsiteX4605" fmla="*/ 5080 w 12192001"/>
                <a:gd name="connsiteY4605" fmla="*/ 5259072 h 6523037"/>
                <a:gd name="connsiteX4606" fmla="*/ 160898 w 12192001"/>
                <a:gd name="connsiteY4606" fmla="*/ 5414192 h 6523037"/>
                <a:gd name="connsiteX4607" fmla="*/ 425022 w 12192001"/>
                <a:gd name="connsiteY4607" fmla="*/ 5414192 h 6523037"/>
                <a:gd name="connsiteX4608" fmla="*/ 153911 w 12192001"/>
                <a:gd name="connsiteY4608" fmla="*/ 5143780 h 6523037"/>
                <a:gd name="connsiteX4609" fmla="*/ 338378 w 12192001"/>
                <a:gd name="connsiteY4609" fmla="*/ 4959313 h 6523037"/>
                <a:gd name="connsiteX4610" fmla="*/ 424323 w 12192001"/>
                <a:gd name="connsiteY4610" fmla="*/ 4873368 h 6523037"/>
                <a:gd name="connsiteX4611" fmla="*/ 160200 w 12192001"/>
                <a:gd name="connsiteY4611" fmla="*/ 4873368 h 6523037"/>
                <a:gd name="connsiteX4612" fmla="*/ 5080 w 12192001"/>
                <a:gd name="connsiteY4612" fmla="*/ 5028489 h 6523037"/>
                <a:gd name="connsiteX4613" fmla="*/ 5080 w 12192001"/>
                <a:gd name="connsiteY4613" fmla="*/ 5018007 h 6523037"/>
                <a:gd name="connsiteX4614" fmla="*/ 153212 w 12192001"/>
                <a:gd name="connsiteY4614" fmla="*/ 4869176 h 6523037"/>
                <a:gd name="connsiteX4615" fmla="*/ 148321 w 12192001"/>
                <a:gd name="connsiteY4615" fmla="*/ 4864285 h 6523037"/>
                <a:gd name="connsiteX4616" fmla="*/ 5080 w 12192001"/>
                <a:gd name="connsiteY4616" fmla="*/ 4721741 h 6523037"/>
                <a:gd name="connsiteX4617" fmla="*/ 5080 w 12192001"/>
                <a:gd name="connsiteY4617" fmla="*/ 4711960 h 6523037"/>
                <a:gd name="connsiteX4618" fmla="*/ 160200 w 12192001"/>
                <a:gd name="connsiteY4618" fmla="*/ 4866380 h 6523037"/>
                <a:gd name="connsiteX4619" fmla="*/ 424323 w 12192001"/>
                <a:gd name="connsiteY4619" fmla="*/ 4865683 h 6523037"/>
                <a:gd name="connsiteX4620" fmla="*/ 153212 w 12192001"/>
                <a:gd name="connsiteY4620" fmla="*/ 4595271 h 6523037"/>
                <a:gd name="connsiteX4621" fmla="*/ 423624 w 12192001"/>
                <a:gd name="connsiteY4621" fmla="*/ 4324859 h 6523037"/>
                <a:gd name="connsiteX4622" fmla="*/ 159501 w 12192001"/>
                <a:gd name="connsiteY4622" fmla="*/ 4324859 h 6523037"/>
                <a:gd name="connsiteX4623" fmla="*/ 5080 w 12192001"/>
                <a:gd name="connsiteY4623" fmla="*/ 4479279 h 6523037"/>
                <a:gd name="connsiteX4624" fmla="*/ 5080 w 12192001"/>
                <a:gd name="connsiteY4624" fmla="*/ 4468799 h 6523037"/>
                <a:gd name="connsiteX4625" fmla="*/ 152513 w 12192001"/>
                <a:gd name="connsiteY4625" fmla="*/ 4320665 h 6523037"/>
                <a:gd name="connsiteX4626" fmla="*/ 5080 w 12192001"/>
                <a:gd name="connsiteY4626" fmla="*/ 4173930 h 6523037"/>
                <a:gd name="connsiteX4627" fmla="*/ 5080 w 12192001"/>
                <a:gd name="connsiteY4627" fmla="*/ 4163449 h 6523037"/>
                <a:gd name="connsiteX4628" fmla="*/ 159501 w 12192001"/>
                <a:gd name="connsiteY4628" fmla="*/ 4317172 h 6523037"/>
                <a:gd name="connsiteX4629" fmla="*/ 423624 w 12192001"/>
                <a:gd name="connsiteY4629" fmla="*/ 4317172 h 6523037"/>
                <a:gd name="connsiteX4630" fmla="*/ 152513 w 12192001"/>
                <a:gd name="connsiteY4630" fmla="*/ 4047459 h 6523037"/>
                <a:gd name="connsiteX4631" fmla="*/ 331391 w 12192001"/>
                <a:gd name="connsiteY4631" fmla="*/ 3868581 h 6523037"/>
                <a:gd name="connsiteX4632" fmla="*/ 331489 w 12192001"/>
                <a:gd name="connsiteY4632" fmla="*/ 3868581 h 6523037"/>
                <a:gd name="connsiteX4633" fmla="*/ 422038 w 12192001"/>
                <a:gd name="connsiteY4633" fmla="*/ 3777797 h 6523037"/>
                <a:gd name="connsiteX4634" fmla="*/ 225692 w 12192001"/>
                <a:gd name="connsiteY4634" fmla="*/ 3777797 h 6523037"/>
                <a:gd name="connsiteX4635" fmla="*/ 226391 w 12192001"/>
                <a:gd name="connsiteY4635" fmla="*/ 3776401 h 6523037"/>
                <a:gd name="connsiteX4636" fmla="*/ 158613 w 12192001"/>
                <a:gd name="connsiteY4636" fmla="*/ 3776401 h 6523037"/>
                <a:gd name="connsiteX4637" fmla="*/ 0 w 12192001"/>
                <a:gd name="connsiteY4637" fmla="*/ 3935012 h 6523037"/>
                <a:gd name="connsiteX4638" fmla="*/ 0 w 12192001"/>
                <a:gd name="connsiteY4638" fmla="*/ 3925231 h 6523037"/>
                <a:gd name="connsiteX4639" fmla="*/ 152324 w 12192001"/>
                <a:gd name="connsiteY4639" fmla="*/ 3772906 h 6523037"/>
                <a:gd name="connsiteX4640" fmla="*/ 0 w 12192001"/>
                <a:gd name="connsiteY4640" fmla="*/ 3621281 h 6523037"/>
                <a:gd name="connsiteX4641" fmla="*/ 0 w 12192001"/>
                <a:gd name="connsiteY4641" fmla="*/ 3610800 h 6523037"/>
                <a:gd name="connsiteX4642" fmla="*/ 159312 w 12192001"/>
                <a:gd name="connsiteY4642" fmla="*/ 3768713 h 6523037"/>
                <a:gd name="connsiteX4643" fmla="*/ 423435 w 12192001"/>
                <a:gd name="connsiteY4643" fmla="*/ 3768713 h 6523037"/>
                <a:gd name="connsiteX4644" fmla="*/ 294168 w 12192001"/>
                <a:gd name="connsiteY4644" fmla="*/ 3640146 h 6523037"/>
                <a:gd name="connsiteX4645" fmla="*/ 152324 w 12192001"/>
                <a:gd name="connsiteY4645" fmla="*/ 3499001 h 6523037"/>
                <a:gd name="connsiteX4646" fmla="*/ 336093 w 12192001"/>
                <a:gd name="connsiteY4646" fmla="*/ 3313835 h 6523037"/>
                <a:gd name="connsiteX4647" fmla="*/ 422038 w 12192001"/>
                <a:gd name="connsiteY4647" fmla="*/ 3227890 h 6523037"/>
                <a:gd name="connsiteX4648" fmla="*/ 157914 w 12192001"/>
                <a:gd name="connsiteY4648" fmla="*/ 3227890 h 6523037"/>
                <a:gd name="connsiteX4649" fmla="*/ 0 w 12192001"/>
                <a:gd name="connsiteY4649" fmla="*/ 3386503 h 6523037"/>
                <a:gd name="connsiteX4650" fmla="*/ 0 w 12192001"/>
                <a:gd name="connsiteY4650" fmla="*/ 3376021 h 6523037"/>
                <a:gd name="connsiteX4651" fmla="*/ 152324 w 12192001"/>
                <a:gd name="connsiteY4651" fmla="*/ 3224396 h 6523037"/>
                <a:gd name="connsiteX4652" fmla="*/ 146735 w 12192001"/>
                <a:gd name="connsiteY4652" fmla="*/ 3219505 h 6523037"/>
                <a:gd name="connsiteX4653" fmla="*/ 0 w 12192001"/>
                <a:gd name="connsiteY4653" fmla="*/ 3073469 h 6523037"/>
                <a:gd name="connsiteX4654" fmla="*/ 0 w 12192001"/>
                <a:gd name="connsiteY4654" fmla="*/ 3062989 h 6523037"/>
                <a:gd name="connsiteX4655" fmla="*/ 157914 w 12192001"/>
                <a:gd name="connsiteY4655" fmla="*/ 3220903 h 6523037"/>
                <a:gd name="connsiteX4656" fmla="*/ 422038 w 12192001"/>
                <a:gd name="connsiteY4656" fmla="*/ 3220903 h 6523037"/>
                <a:gd name="connsiteX4657" fmla="*/ 150927 w 12192001"/>
                <a:gd name="connsiteY4657" fmla="*/ 2950491 h 6523037"/>
                <a:gd name="connsiteX4658" fmla="*/ 421339 w 12192001"/>
                <a:gd name="connsiteY4658" fmla="*/ 2679380 h 6523037"/>
                <a:gd name="connsiteX4659" fmla="*/ 157215 w 12192001"/>
                <a:gd name="connsiteY4659" fmla="*/ 2679380 h 6523037"/>
                <a:gd name="connsiteX4660" fmla="*/ 0 w 12192001"/>
                <a:gd name="connsiteY4660" fmla="*/ 2837294 h 6523037"/>
                <a:gd name="connsiteX4661" fmla="*/ 0 w 12192001"/>
                <a:gd name="connsiteY4661" fmla="*/ 2826812 h 6523037"/>
                <a:gd name="connsiteX4662" fmla="*/ 150927 w 12192001"/>
                <a:gd name="connsiteY4662" fmla="*/ 2675886 h 6523037"/>
                <a:gd name="connsiteX4663" fmla="*/ 0 w 12192001"/>
                <a:gd name="connsiteY4663" fmla="*/ 2525658 h 6523037"/>
                <a:gd name="connsiteX4664" fmla="*/ 0 w 12192001"/>
                <a:gd name="connsiteY4664" fmla="*/ 2515876 h 6523037"/>
                <a:gd name="connsiteX4665" fmla="*/ 157914 w 12192001"/>
                <a:gd name="connsiteY4665" fmla="*/ 2672393 h 6523037"/>
                <a:gd name="connsiteX4666" fmla="*/ 422038 w 12192001"/>
                <a:gd name="connsiteY4666" fmla="*/ 2672393 h 6523037"/>
                <a:gd name="connsiteX4667" fmla="*/ 150927 w 12192001"/>
                <a:gd name="connsiteY4667" fmla="*/ 2401981 h 6523037"/>
                <a:gd name="connsiteX4668" fmla="*/ 420640 w 12192001"/>
                <a:gd name="connsiteY4668" fmla="*/ 2130870 h 6523037"/>
                <a:gd name="connsiteX4669" fmla="*/ 156517 w 12192001"/>
                <a:gd name="connsiteY4669" fmla="*/ 2130870 h 6523037"/>
                <a:gd name="connsiteX4670" fmla="*/ 0 w 12192001"/>
                <a:gd name="connsiteY4670" fmla="*/ 2288085 h 6523037"/>
                <a:gd name="connsiteX4671" fmla="*/ 0 w 12192001"/>
                <a:gd name="connsiteY4671" fmla="*/ 2277604 h 6523037"/>
                <a:gd name="connsiteX4672" fmla="*/ 150228 w 12192001"/>
                <a:gd name="connsiteY4672" fmla="*/ 2127376 h 6523037"/>
                <a:gd name="connsiteX4673" fmla="*/ 16070 w 12192001"/>
                <a:gd name="connsiteY4673" fmla="*/ 1993917 h 6523037"/>
                <a:gd name="connsiteX4674" fmla="*/ 0 w 12192001"/>
                <a:gd name="connsiteY4674" fmla="*/ 1977846 h 6523037"/>
                <a:gd name="connsiteX4675" fmla="*/ 0 w 12192001"/>
                <a:gd name="connsiteY4675" fmla="*/ 1968064 h 6523037"/>
                <a:gd name="connsiteX4676" fmla="*/ 19564 w 12192001"/>
                <a:gd name="connsiteY4676" fmla="*/ 1987628 h 6523037"/>
                <a:gd name="connsiteX4677" fmla="*/ 156517 w 12192001"/>
                <a:gd name="connsiteY4677" fmla="*/ 2123882 h 6523037"/>
                <a:gd name="connsiteX4678" fmla="*/ 420640 w 12192001"/>
                <a:gd name="connsiteY4678" fmla="*/ 2123882 h 6523037"/>
                <a:gd name="connsiteX4679" fmla="*/ 149529 w 12192001"/>
                <a:gd name="connsiteY4679" fmla="*/ 1853470 h 6523037"/>
                <a:gd name="connsiteX4680" fmla="*/ 150927 w 12192001"/>
                <a:gd name="connsiteY4680" fmla="*/ 1852072 h 6523037"/>
                <a:gd name="connsiteX4681" fmla="*/ 151626 w 12192001"/>
                <a:gd name="connsiteY4681" fmla="*/ 1852072 h 6523037"/>
                <a:gd name="connsiteX4682" fmla="*/ 419941 w 12192001"/>
                <a:gd name="connsiteY4682" fmla="*/ 1583058 h 6523037"/>
                <a:gd name="connsiteX4683" fmla="*/ 156517 w 12192001"/>
                <a:gd name="connsiteY4683" fmla="*/ 1583058 h 6523037"/>
                <a:gd name="connsiteX4684" fmla="*/ 0 w 12192001"/>
                <a:gd name="connsiteY4684" fmla="*/ 1739574 h 6523037"/>
                <a:gd name="connsiteX4685" fmla="*/ 0 w 12192001"/>
                <a:gd name="connsiteY4685" fmla="*/ 1729094 h 6523037"/>
                <a:gd name="connsiteX4686" fmla="*/ 149529 w 12192001"/>
                <a:gd name="connsiteY4686" fmla="*/ 1579564 h 6523037"/>
                <a:gd name="connsiteX4687" fmla="*/ 0 w 12192001"/>
                <a:gd name="connsiteY4687" fmla="*/ 1430035 h 6523037"/>
                <a:gd name="connsiteX4688" fmla="*/ 0 w 12192001"/>
                <a:gd name="connsiteY4688" fmla="*/ 1419554 h 6523037"/>
                <a:gd name="connsiteX4689" fmla="*/ 156517 w 12192001"/>
                <a:gd name="connsiteY4689" fmla="*/ 1575372 h 6523037"/>
                <a:gd name="connsiteX4690" fmla="*/ 419941 w 12192001"/>
                <a:gd name="connsiteY4690" fmla="*/ 1575372 h 6523037"/>
                <a:gd name="connsiteX4691" fmla="*/ 289976 w 12192001"/>
                <a:gd name="connsiteY4691" fmla="*/ 1445407 h 6523037"/>
                <a:gd name="connsiteX4692" fmla="*/ 149529 w 12192001"/>
                <a:gd name="connsiteY4692" fmla="*/ 1304960 h 6523037"/>
                <a:gd name="connsiteX4693" fmla="*/ 419941 w 12192001"/>
                <a:gd name="connsiteY4693" fmla="*/ 1034548 h 6523037"/>
                <a:gd name="connsiteX4694" fmla="*/ 155818 w 12192001"/>
                <a:gd name="connsiteY4694" fmla="*/ 1034548 h 6523037"/>
                <a:gd name="connsiteX4695" fmla="*/ 0 w 12192001"/>
                <a:gd name="connsiteY4695" fmla="*/ 1190365 h 6523037"/>
                <a:gd name="connsiteX4696" fmla="*/ 0 w 12192001"/>
                <a:gd name="connsiteY4696" fmla="*/ 1179885 h 6523037"/>
                <a:gd name="connsiteX4697" fmla="*/ 148830 w 12192001"/>
                <a:gd name="connsiteY4697" fmla="*/ 1031055 h 6523037"/>
                <a:gd name="connsiteX4698" fmla="*/ 0 w 12192001"/>
                <a:gd name="connsiteY4698" fmla="*/ 882223 h 6523037"/>
                <a:gd name="connsiteX4699" fmla="*/ 0 w 12192001"/>
                <a:gd name="connsiteY4699" fmla="*/ 871743 h 6523037"/>
                <a:gd name="connsiteX4700" fmla="*/ 155818 w 12192001"/>
                <a:gd name="connsiteY4700" fmla="*/ 1026861 h 6523037"/>
                <a:gd name="connsiteX4701" fmla="*/ 419941 w 12192001"/>
                <a:gd name="connsiteY4701" fmla="*/ 1026861 h 6523037"/>
                <a:gd name="connsiteX4702" fmla="*/ 148830 w 12192001"/>
                <a:gd name="connsiteY4702" fmla="*/ 756449 h 6523037"/>
                <a:gd name="connsiteX4703" fmla="*/ 333298 w 12192001"/>
                <a:gd name="connsiteY4703" fmla="*/ 571983 h 6523037"/>
                <a:gd name="connsiteX4704" fmla="*/ 419242 w 12192001"/>
                <a:gd name="connsiteY4704" fmla="*/ 486037 h 6523037"/>
                <a:gd name="connsiteX4705" fmla="*/ 155119 w 12192001"/>
                <a:gd name="connsiteY4705" fmla="*/ 486037 h 6523037"/>
                <a:gd name="connsiteX4706" fmla="*/ 0 w 12192001"/>
                <a:gd name="connsiteY4706" fmla="*/ 641157 h 6523037"/>
                <a:gd name="connsiteX4707" fmla="*/ 0 w 12192001"/>
                <a:gd name="connsiteY4707" fmla="*/ 630675 h 6523037"/>
                <a:gd name="connsiteX4708" fmla="*/ 148131 w 12192001"/>
                <a:gd name="connsiteY4708" fmla="*/ 481845 h 6523037"/>
                <a:gd name="connsiteX4709" fmla="*/ 143240 w 12192001"/>
                <a:gd name="connsiteY4709" fmla="*/ 476954 h 6523037"/>
                <a:gd name="connsiteX4710" fmla="*/ 0 w 12192001"/>
                <a:gd name="connsiteY4710" fmla="*/ 334412 h 6523037"/>
                <a:gd name="connsiteX4711" fmla="*/ 0 w 12192001"/>
                <a:gd name="connsiteY4711" fmla="*/ 324630 h 6523037"/>
                <a:gd name="connsiteX4712" fmla="*/ 155119 w 12192001"/>
                <a:gd name="connsiteY4712" fmla="*/ 479050 h 6523037"/>
                <a:gd name="connsiteX4713" fmla="*/ 419242 w 12192001"/>
                <a:gd name="connsiteY4713" fmla="*/ 478352 h 6523037"/>
                <a:gd name="connsiteX4714" fmla="*/ 148131 w 12192001"/>
                <a:gd name="connsiteY4714" fmla="*/ 207940 h 6523037"/>
                <a:gd name="connsiteX4715" fmla="*/ 348134 w 12192001"/>
                <a:gd name="connsiteY4715" fmla="*/ 7937 h 6523037"/>
                <a:gd name="connsiteX4716" fmla="*/ 358615 w 12192001"/>
                <a:gd name="connsiteY4716" fmla="*/ 7937 h 6523037"/>
                <a:gd name="connsiteX4717" fmla="*/ 162106 w 12192001"/>
                <a:gd name="connsiteY4717" fmla="*/ 204446 h 6523037"/>
                <a:gd name="connsiteX4718" fmla="*/ 426230 w 12192001"/>
                <a:gd name="connsiteY4718" fmla="*/ 204446 h 6523037"/>
                <a:gd name="connsiteX4719" fmla="*/ 622232 w 12192001"/>
                <a:gd name="connsiteY4719" fmla="*/ 7937 h 6523037"/>
                <a:gd name="connsiteX4720" fmla="*/ 632006 w 12192001"/>
                <a:gd name="connsiteY4720" fmla="*/ 7937 h 6523037"/>
                <a:gd name="connsiteX4721" fmla="*/ 432518 w 12192001"/>
                <a:gd name="connsiteY4721" fmla="*/ 207940 h 6523037"/>
                <a:gd name="connsiteX4722" fmla="*/ 704328 w 12192001"/>
                <a:gd name="connsiteY4722" fmla="*/ 478352 h 6523037"/>
                <a:gd name="connsiteX4723" fmla="*/ 967752 w 12192001"/>
                <a:gd name="connsiteY4723" fmla="*/ 478352 h 6523037"/>
                <a:gd name="connsiteX4724" fmla="*/ 837089 w 12192001"/>
                <a:gd name="connsiteY4724" fmla="*/ 348386 h 6523037"/>
                <a:gd name="connsiteX4725" fmla="*/ 696642 w 12192001"/>
                <a:gd name="connsiteY4725" fmla="*/ 207940 h 6523037"/>
                <a:gd name="connsiteX4726" fmla="*/ 896129 w 12192001"/>
                <a:gd name="connsiteY4726" fmla="*/ 7937 h 6523037"/>
                <a:gd name="connsiteX4727" fmla="*/ 907318 w 12192001"/>
                <a:gd name="connsiteY4727" fmla="*/ 7937 h 6523037"/>
                <a:gd name="connsiteX4728" fmla="*/ 711316 w 12192001"/>
                <a:gd name="connsiteY4728" fmla="*/ 204446 h 6523037"/>
                <a:gd name="connsiteX4729" fmla="*/ 974740 w 12192001"/>
                <a:gd name="connsiteY4729" fmla="*/ 204446 h 6523037"/>
                <a:gd name="connsiteX4730" fmla="*/ 1170742 w 12192001"/>
                <a:gd name="connsiteY4730" fmla="*/ 7937 h 6523037"/>
                <a:gd name="connsiteX4731" fmla="*/ 1179819 w 12192001"/>
                <a:gd name="connsiteY4731" fmla="*/ 7937 h 6523037"/>
                <a:gd name="connsiteX4732" fmla="*/ 981029 w 12192001"/>
                <a:gd name="connsiteY4732" fmla="*/ 207241 h 6523037"/>
                <a:gd name="connsiteX4733" fmla="*/ 1252140 w 12192001"/>
                <a:gd name="connsiteY4733" fmla="*/ 477653 h 6523037"/>
                <a:gd name="connsiteX4734" fmla="*/ 1516263 w 12192001"/>
                <a:gd name="connsiteY4734" fmla="*/ 477653 h 6523037"/>
                <a:gd name="connsiteX4735" fmla="*/ 1245152 w 12192001"/>
                <a:gd name="connsiteY4735" fmla="*/ 207241 h 6523037"/>
                <a:gd name="connsiteX4736" fmla="*/ 1443942 w 12192001"/>
                <a:gd name="connsiteY4736" fmla="*/ 7937 h 6523037"/>
                <a:gd name="connsiteX4737" fmla="*/ 1453410 w 12192001"/>
                <a:gd name="connsiteY4737" fmla="*/ 7937 h 6523037"/>
                <a:gd name="connsiteX4738" fmla="*/ 1436607 w 12192001"/>
                <a:gd name="connsiteY4738" fmla="*/ 24870 h 6523037"/>
                <a:gd name="connsiteX4739" fmla="*/ 1435908 w 12192001"/>
                <a:gd name="connsiteY4739" fmla="*/ 24870 h 6523037"/>
                <a:gd name="connsiteX4740" fmla="*/ 1258428 w 12192001"/>
                <a:gd name="connsiteY4740" fmla="*/ 203048 h 6523037"/>
                <a:gd name="connsiteX4741" fmla="*/ 1522551 w 12192001"/>
                <a:gd name="connsiteY4741" fmla="*/ 203048 h 6523037"/>
                <a:gd name="connsiteX4742" fmla="*/ 1717663 w 12192001"/>
                <a:gd name="connsiteY4742" fmla="*/ 7937 h 6523037"/>
                <a:gd name="connsiteX4743" fmla="*/ 1728424 w 12192001"/>
                <a:gd name="connsiteY4743" fmla="*/ 7937 h 6523037"/>
                <a:gd name="connsiteX4744" fmla="*/ 1620376 w 12192001"/>
                <a:gd name="connsiteY4744" fmla="*/ 116405 h 6523037"/>
                <a:gd name="connsiteX4745" fmla="*/ 1619677 w 12192001"/>
                <a:gd name="connsiteY4745" fmla="*/ 116405 h 6523037"/>
                <a:gd name="connsiteX4746" fmla="*/ 1529539 w 12192001"/>
                <a:gd name="connsiteY4746" fmla="*/ 206542 h 6523037"/>
                <a:gd name="connsiteX4747" fmla="*/ 1799951 w 12192001"/>
                <a:gd name="connsiteY4747" fmla="*/ 477653 h 6523037"/>
                <a:gd name="connsiteX4748" fmla="*/ 2064074 w 12192001"/>
                <a:gd name="connsiteY4748" fmla="*/ 477653 h 6523037"/>
                <a:gd name="connsiteX4749" fmla="*/ 1792964 w 12192001"/>
                <a:gd name="connsiteY4749" fmla="*/ 207241 h 6523037"/>
                <a:gd name="connsiteX4750" fmla="*/ 1977431 w 12192001"/>
                <a:gd name="connsiteY4750" fmla="*/ 22774 h 6523037"/>
                <a:gd name="connsiteX4751" fmla="*/ 1978130 w 12192001"/>
                <a:gd name="connsiteY4751" fmla="*/ 22774 h 6523037"/>
                <a:gd name="connsiteX4752" fmla="*/ 1992847 w 12192001"/>
                <a:gd name="connsiteY4752" fmla="*/ 7937 h 6523037"/>
                <a:gd name="connsiteX4753" fmla="*/ 2002247 w 12192001"/>
                <a:gd name="connsiteY4753" fmla="*/ 7937 h 6523037"/>
                <a:gd name="connsiteX4754" fmla="*/ 1808336 w 12192001"/>
                <a:gd name="connsiteY4754" fmla="*/ 202349 h 6523037"/>
                <a:gd name="connsiteX4755" fmla="*/ 2071761 w 12192001"/>
                <a:gd name="connsiteY4755" fmla="*/ 202349 h 6523037"/>
                <a:gd name="connsiteX4756" fmla="*/ 2266173 w 12192001"/>
                <a:gd name="connsiteY4756" fmla="*/ 7937 h 6523037"/>
                <a:gd name="connsiteX4757" fmla="*/ 2277539 w 12192001"/>
                <a:gd name="connsiteY4757" fmla="*/ 7937 h 6523037"/>
                <a:gd name="connsiteX4758" fmla="*/ 2078748 w 12192001"/>
                <a:gd name="connsiteY4758" fmla="*/ 207241 h 6523037"/>
                <a:gd name="connsiteX4759" fmla="*/ 2348461 w 12192001"/>
                <a:gd name="connsiteY4759" fmla="*/ 476256 h 6523037"/>
                <a:gd name="connsiteX4760" fmla="*/ 2611886 w 12192001"/>
                <a:gd name="connsiteY4760" fmla="*/ 476256 h 6523037"/>
                <a:gd name="connsiteX4761" fmla="*/ 2342872 w 12192001"/>
                <a:gd name="connsiteY4761" fmla="*/ 207241 h 6523037"/>
                <a:gd name="connsiteX4762" fmla="*/ 2343570 w 12192001"/>
                <a:gd name="connsiteY4762" fmla="*/ 206542 h 6523037"/>
                <a:gd name="connsiteX4763" fmla="*/ 2342173 w 12192001"/>
                <a:gd name="connsiteY4763" fmla="*/ 205145 h 6523037"/>
                <a:gd name="connsiteX4764" fmla="*/ 2538868 w 12192001"/>
                <a:gd name="connsiteY4764" fmla="*/ 7937 h 6523037"/>
                <a:gd name="connsiteX4765" fmla="*/ 2552152 w 12192001"/>
                <a:gd name="connsiteY4765" fmla="*/ 7937 h 6523037"/>
                <a:gd name="connsiteX4766" fmla="*/ 2358243 w 12192001"/>
                <a:gd name="connsiteY4766" fmla="*/ 202349 h 6523037"/>
                <a:gd name="connsiteX4767" fmla="*/ 2620271 w 12192001"/>
                <a:gd name="connsiteY4767" fmla="*/ 202349 h 6523037"/>
                <a:gd name="connsiteX4768" fmla="*/ 2814181 w 12192001"/>
                <a:gd name="connsiteY4768" fmla="*/ 7937 h 6523037"/>
                <a:gd name="connsiteX4769" fmla="*/ 2825540 w 12192001"/>
                <a:gd name="connsiteY4769" fmla="*/ 7937 h 6523037"/>
                <a:gd name="connsiteX4770" fmla="*/ 2628655 w 12192001"/>
                <a:gd name="connsiteY4770" fmla="*/ 205843 h 6523037"/>
                <a:gd name="connsiteX4771" fmla="*/ 2898368 w 12192001"/>
                <a:gd name="connsiteY4771" fmla="*/ 474858 h 6523037"/>
                <a:gd name="connsiteX4772" fmla="*/ 3163191 w 12192001"/>
                <a:gd name="connsiteY4772" fmla="*/ 476256 h 6523037"/>
                <a:gd name="connsiteX4773" fmla="*/ 2892081 w 12192001"/>
                <a:gd name="connsiteY4773" fmla="*/ 205843 h 6523037"/>
                <a:gd name="connsiteX4774" fmla="*/ 2890683 w 12192001"/>
                <a:gd name="connsiteY4774" fmla="*/ 204446 h 6523037"/>
                <a:gd name="connsiteX4775" fmla="*/ 3086683 w 12192001"/>
                <a:gd name="connsiteY4775" fmla="*/ 7937 h 6523037"/>
                <a:gd name="connsiteX4776" fmla="*/ 3097556 w 12192001"/>
                <a:gd name="connsiteY4776" fmla="*/ 7937 h 6523037"/>
                <a:gd name="connsiteX4777" fmla="*/ 3082137 w 12192001"/>
                <a:gd name="connsiteY4777" fmla="*/ 23473 h 6523037"/>
                <a:gd name="connsiteX4778" fmla="*/ 3082836 w 12192001"/>
                <a:gd name="connsiteY4778" fmla="*/ 24172 h 6523037"/>
                <a:gd name="connsiteX4779" fmla="*/ 2906754 w 12192001"/>
                <a:gd name="connsiteY4779" fmla="*/ 200254 h 6523037"/>
                <a:gd name="connsiteX4780" fmla="*/ 3103099 w 12192001"/>
                <a:gd name="connsiteY4780" fmla="*/ 200254 h 6523037"/>
                <a:gd name="connsiteX4781" fmla="*/ 3102401 w 12192001"/>
                <a:gd name="connsiteY4781" fmla="*/ 201651 h 6523037"/>
                <a:gd name="connsiteX4782" fmla="*/ 3168083 w 12192001"/>
                <a:gd name="connsiteY4782" fmla="*/ 201651 h 6523037"/>
                <a:gd name="connsiteX4783" fmla="*/ 3361298 w 12192001"/>
                <a:gd name="connsiteY4783" fmla="*/ 7937 h 6523037"/>
                <a:gd name="connsiteX4784" fmla="*/ 3371863 w 12192001"/>
                <a:gd name="connsiteY4784" fmla="*/ 7937 h 6523037"/>
                <a:gd name="connsiteX4785" fmla="*/ 3264508 w 12192001"/>
                <a:gd name="connsiteY4785" fmla="*/ 115706 h 6523037"/>
                <a:gd name="connsiteX4786" fmla="*/ 3265906 w 12192001"/>
                <a:gd name="connsiteY4786" fmla="*/ 116405 h 6523037"/>
                <a:gd name="connsiteX4787" fmla="*/ 3176467 w 12192001"/>
                <a:gd name="connsiteY4787" fmla="*/ 205843 h 6523037"/>
                <a:gd name="connsiteX4788" fmla="*/ 3446879 w 12192001"/>
                <a:gd name="connsiteY4788" fmla="*/ 475557 h 6523037"/>
                <a:gd name="connsiteX4789" fmla="*/ 3710303 w 12192001"/>
                <a:gd name="connsiteY4789" fmla="*/ 475557 h 6523037"/>
                <a:gd name="connsiteX4790" fmla="*/ 3439891 w 12192001"/>
                <a:gd name="connsiteY4790" fmla="*/ 205843 h 6523037"/>
                <a:gd name="connsiteX4791" fmla="*/ 3439193 w 12192001"/>
                <a:gd name="connsiteY4791" fmla="*/ 205145 h 6523037"/>
                <a:gd name="connsiteX4792" fmla="*/ 3635893 w 12192001"/>
                <a:gd name="connsiteY4792" fmla="*/ 7937 h 6523037"/>
                <a:gd name="connsiteX4793" fmla="*/ 3646183 w 12192001"/>
                <a:gd name="connsiteY4793" fmla="*/ 7937 h 6523037"/>
                <a:gd name="connsiteX4794" fmla="*/ 3453167 w 12192001"/>
                <a:gd name="connsiteY4794" fmla="*/ 200953 h 6523037"/>
                <a:gd name="connsiteX4795" fmla="*/ 3717291 w 12192001"/>
                <a:gd name="connsiteY4795" fmla="*/ 200953 h 6523037"/>
                <a:gd name="connsiteX4796" fmla="*/ 3910306 w 12192001"/>
                <a:gd name="connsiteY4796" fmla="*/ 7937 h 6523037"/>
                <a:gd name="connsiteX4797" fmla="*/ 3919582 w 12192001"/>
                <a:gd name="connsiteY4797" fmla="*/ 7937 h 6523037"/>
                <a:gd name="connsiteX4798" fmla="*/ 3723579 w 12192001"/>
                <a:gd name="connsiteY4798" fmla="*/ 204446 h 6523037"/>
                <a:gd name="connsiteX4799" fmla="*/ 3994690 w 12192001"/>
                <a:gd name="connsiteY4799" fmla="*/ 474858 h 6523037"/>
                <a:gd name="connsiteX4800" fmla="*/ 4258116 w 12192001"/>
                <a:gd name="connsiteY4800" fmla="*/ 474858 h 6523037"/>
                <a:gd name="connsiteX4801" fmla="*/ 4128150 w 12192001"/>
                <a:gd name="connsiteY4801" fmla="*/ 344893 h 6523037"/>
                <a:gd name="connsiteX4802" fmla="*/ 3987703 w 12192001"/>
                <a:gd name="connsiteY4802" fmla="*/ 204446 h 6523037"/>
                <a:gd name="connsiteX4803" fmla="*/ 4183705 w 12192001"/>
                <a:gd name="connsiteY4803" fmla="*/ 7937 h 6523037"/>
                <a:gd name="connsiteX4804" fmla="*/ 4194197 w 12192001"/>
                <a:gd name="connsiteY4804" fmla="*/ 7937 h 6523037"/>
                <a:gd name="connsiteX4805" fmla="*/ 4002377 w 12192001"/>
                <a:gd name="connsiteY4805" fmla="*/ 200254 h 6523037"/>
                <a:gd name="connsiteX4806" fmla="*/ 4265801 w 12192001"/>
                <a:gd name="connsiteY4806" fmla="*/ 200254 h 6523037"/>
                <a:gd name="connsiteX4807" fmla="*/ 4457622 w 12192001"/>
                <a:gd name="connsiteY4807" fmla="*/ 7937 h 6523037"/>
                <a:gd name="connsiteX4808" fmla="*/ 4467396 w 12192001"/>
                <a:gd name="connsiteY4808" fmla="*/ 7937 h 6523037"/>
                <a:gd name="connsiteX4809" fmla="*/ 4272090 w 12192001"/>
                <a:gd name="connsiteY4809" fmla="*/ 203747 h 6523037"/>
                <a:gd name="connsiteX4810" fmla="*/ 4543201 w 12192001"/>
                <a:gd name="connsiteY4810" fmla="*/ 474159 h 6523037"/>
                <a:gd name="connsiteX4811" fmla="*/ 4805314 w 12192001"/>
                <a:gd name="connsiteY4811" fmla="*/ 474159 h 6523037"/>
                <a:gd name="connsiteX4812" fmla="*/ 4803346 w 12192001"/>
                <a:gd name="connsiteY4812" fmla="*/ 472192 h 6523037"/>
                <a:gd name="connsiteX4813" fmla="*/ 4660106 w 12192001"/>
                <a:gd name="connsiteY4813" fmla="*/ 329650 h 6523037"/>
                <a:gd name="connsiteX4814" fmla="*/ 4660106 w 12192001"/>
                <a:gd name="connsiteY4814" fmla="*/ 327321 h 6523037"/>
                <a:gd name="connsiteX4815" fmla="*/ 4536213 w 12192001"/>
                <a:gd name="connsiteY4815" fmla="*/ 203747 h 6523037"/>
                <a:gd name="connsiteX4816" fmla="*/ 4660106 w 12192001"/>
                <a:gd name="connsiteY4816" fmla="*/ 79534 h 6523037"/>
                <a:gd name="connsiteX4817" fmla="*/ 4660106 w 12192001"/>
                <a:gd name="connsiteY4817" fmla="*/ 76705 h 6523037"/>
                <a:gd name="connsiteX4818" fmla="*/ 4733289 w 12192001"/>
                <a:gd name="connsiteY4818" fmla="*/ 3175 h 6523037"/>
                <a:gd name="connsiteX4819" fmla="*/ 4744118 w 12192001"/>
                <a:gd name="connsiteY4819" fmla="*/ 3175 h 6523037"/>
                <a:gd name="connsiteX4820" fmla="*/ 4739355 w 12192001"/>
                <a:gd name="connsiteY4820" fmla="*/ 7937 h 6523037"/>
                <a:gd name="connsiteX4821" fmla="*/ 4741807 w 12192001"/>
                <a:gd name="connsiteY4821" fmla="*/ 7937 h 6523037"/>
                <a:gd name="connsiteX4822" fmla="*/ 4549490 w 12192001"/>
                <a:gd name="connsiteY4822" fmla="*/ 200254 h 6523037"/>
                <a:gd name="connsiteX4823" fmla="*/ 4811162 w 12192001"/>
                <a:gd name="connsiteY4823" fmla="*/ 200254 h 6523037"/>
                <a:gd name="connsiteX4824" fmla="*/ 5008241 w 12192001"/>
                <a:gd name="connsiteY4824" fmla="*/ 3175 h 6523037"/>
                <a:gd name="connsiteX4825" fmla="*/ 5018721 w 12192001"/>
                <a:gd name="connsiteY4825" fmla="*/ 3175 h 6523037"/>
                <a:gd name="connsiteX4826" fmla="*/ 4823396 w 12192001"/>
                <a:gd name="connsiteY4826" fmla="*/ 198500 h 6523037"/>
                <a:gd name="connsiteX4827" fmla="*/ 4823396 w 12192001"/>
                <a:gd name="connsiteY4827" fmla="*/ 199684 h 6523037"/>
                <a:gd name="connsiteX4828" fmla="*/ 5086337 w 12192001"/>
                <a:gd name="connsiteY4828" fmla="*/ 199684 h 6523037"/>
                <a:gd name="connsiteX4829" fmla="*/ 5282338 w 12192001"/>
                <a:gd name="connsiteY4829" fmla="*/ 3175 h 6523037"/>
                <a:gd name="connsiteX4830" fmla="*/ 5292112 w 12192001"/>
                <a:gd name="connsiteY4830" fmla="*/ 3175 h 6523037"/>
                <a:gd name="connsiteX4831" fmla="*/ 5092624 w 12192001"/>
                <a:gd name="connsiteY4831" fmla="*/ 203178 h 6523037"/>
                <a:gd name="connsiteX4832" fmla="*/ 5364435 w 12192001"/>
                <a:gd name="connsiteY4832" fmla="*/ 473590 h 6523037"/>
                <a:gd name="connsiteX4833" fmla="*/ 5627858 w 12192001"/>
                <a:gd name="connsiteY4833" fmla="*/ 473590 h 6523037"/>
                <a:gd name="connsiteX4834" fmla="*/ 5497196 w 12192001"/>
                <a:gd name="connsiteY4834" fmla="*/ 343624 h 6523037"/>
                <a:gd name="connsiteX4835" fmla="*/ 5356748 w 12192001"/>
                <a:gd name="connsiteY4835" fmla="*/ 203178 h 6523037"/>
                <a:gd name="connsiteX4836" fmla="*/ 5556235 w 12192001"/>
                <a:gd name="connsiteY4836" fmla="*/ 3175 h 6523037"/>
                <a:gd name="connsiteX4837" fmla="*/ 5567425 w 12192001"/>
                <a:gd name="connsiteY4837" fmla="*/ 3175 h 6523037"/>
                <a:gd name="connsiteX4838" fmla="*/ 5371422 w 12192001"/>
                <a:gd name="connsiteY4838" fmla="*/ 199684 h 6523037"/>
                <a:gd name="connsiteX4839" fmla="*/ 5634846 w 12192001"/>
                <a:gd name="connsiteY4839" fmla="*/ 199684 h 6523037"/>
                <a:gd name="connsiteX4840" fmla="*/ 5830848 w 12192001"/>
                <a:gd name="connsiteY4840" fmla="*/ 3175 h 6523037"/>
                <a:gd name="connsiteX4841" fmla="*/ 5839925 w 12192001"/>
                <a:gd name="connsiteY4841" fmla="*/ 3175 h 6523037"/>
                <a:gd name="connsiteX4842" fmla="*/ 5641135 w 12192001"/>
                <a:gd name="connsiteY4842" fmla="*/ 202479 h 6523037"/>
                <a:gd name="connsiteX4843" fmla="*/ 5912246 w 12192001"/>
                <a:gd name="connsiteY4843" fmla="*/ 472891 h 6523037"/>
                <a:gd name="connsiteX4844" fmla="*/ 6176369 w 12192001"/>
                <a:gd name="connsiteY4844" fmla="*/ 472891 h 6523037"/>
                <a:gd name="connsiteX4845" fmla="*/ 5905258 w 12192001"/>
                <a:gd name="connsiteY4845" fmla="*/ 202479 h 6523037"/>
                <a:gd name="connsiteX4846" fmla="*/ 6104048 w 12192001"/>
                <a:gd name="connsiteY4846" fmla="*/ 3175 h 6523037"/>
                <a:gd name="connsiteX4847" fmla="*/ 6113517 w 12192001"/>
                <a:gd name="connsiteY4847" fmla="*/ 3175 h 6523037"/>
                <a:gd name="connsiteX4848" fmla="*/ 6096713 w 12192001"/>
                <a:gd name="connsiteY4848" fmla="*/ 20108 h 6523037"/>
                <a:gd name="connsiteX4849" fmla="*/ 6096014 w 12192001"/>
                <a:gd name="connsiteY4849" fmla="*/ 20108 h 6523037"/>
                <a:gd name="connsiteX4850" fmla="*/ 5918534 w 12192001"/>
                <a:gd name="connsiteY4850" fmla="*/ 198286 h 6523037"/>
                <a:gd name="connsiteX4851" fmla="*/ 6182657 w 12192001"/>
                <a:gd name="connsiteY4851" fmla="*/ 198286 h 6523037"/>
                <a:gd name="connsiteX4852" fmla="*/ 6377769 w 12192001"/>
                <a:gd name="connsiteY4852" fmla="*/ 3175 h 6523037"/>
                <a:gd name="connsiteX4853" fmla="*/ 6388531 w 12192001"/>
                <a:gd name="connsiteY4853" fmla="*/ 3175 h 6523037"/>
                <a:gd name="connsiteX4854" fmla="*/ 6280482 w 12192001"/>
                <a:gd name="connsiteY4854" fmla="*/ 111643 h 6523037"/>
                <a:gd name="connsiteX4855" fmla="*/ 6279783 w 12192001"/>
                <a:gd name="connsiteY4855" fmla="*/ 111643 h 6523037"/>
                <a:gd name="connsiteX4856" fmla="*/ 6189645 w 12192001"/>
                <a:gd name="connsiteY4856" fmla="*/ 201780 h 6523037"/>
                <a:gd name="connsiteX4857" fmla="*/ 6460057 w 12192001"/>
                <a:gd name="connsiteY4857" fmla="*/ 472891 h 6523037"/>
                <a:gd name="connsiteX4858" fmla="*/ 6724180 w 12192001"/>
                <a:gd name="connsiteY4858" fmla="*/ 472891 h 6523037"/>
                <a:gd name="connsiteX4859" fmla="*/ 6453070 w 12192001"/>
                <a:gd name="connsiteY4859" fmla="*/ 202479 h 6523037"/>
                <a:gd name="connsiteX4860" fmla="*/ 6637537 w 12192001"/>
                <a:gd name="connsiteY4860" fmla="*/ 18012 h 6523037"/>
                <a:gd name="connsiteX4861" fmla="*/ 6638236 w 12192001"/>
                <a:gd name="connsiteY4861" fmla="*/ 18012 h 6523037"/>
                <a:gd name="connsiteX4862" fmla="*/ 6652953 w 12192001"/>
                <a:gd name="connsiteY4862" fmla="*/ 3175 h 6523037"/>
                <a:gd name="connsiteX4863" fmla="*/ 6662353 w 12192001"/>
                <a:gd name="connsiteY4863" fmla="*/ 3175 h 6523037"/>
                <a:gd name="connsiteX4864" fmla="*/ 6468443 w 12192001"/>
                <a:gd name="connsiteY4864" fmla="*/ 197587 h 6523037"/>
                <a:gd name="connsiteX4865" fmla="*/ 6731868 w 12192001"/>
                <a:gd name="connsiteY4865" fmla="*/ 197587 h 6523037"/>
                <a:gd name="connsiteX4866" fmla="*/ 6926279 w 12192001"/>
                <a:gd name="connsiteY4866" fmla="*/ 3175 h 6523037"/>
                <a:gd name="connsiteX4867" fmla="*/ 6937645 w 12192001"/>
                <a:gd name="connsiteY4867" fmla="*/ 3175 h 6523037"/>
                <a:gd name="connsiteX4868" fmla="*/ 6738854 w 12192001"/>
                <a:gd name="connsiteY4868" fmla="*/ 202479 h 6523037"/>
                <a:gd name="connsiteX4869" fmla="*/ 7008567 w 12192001"/>
                <a:gd name="connsiteY4869" fmla="*/ 471494 h 6523037"/>
                <a:gd name="connsiteX4870" fmla="*/ 7271992 w 12192001"/>
                <a:gd name="connsiteY4870" fmla="*/ 471494 h 6523037"/>
                <a:gd name="connsiteX4871" fmla="*/ 7002979 w 12192001"/>
                <a:gd name="connsiteY4871" fmla="*/ 202479 h 6523037"/>
                <a:gd name="connsiteX4872" fmla="*/ 7003677 w 12192001"/>
                <a:gd name="connsiteY4872" fmla="*/ 201780 h 6523037"/>
                <a:gd name="connsiteX4873" fmla="*/ 7002279 w 12192001"/>
                <a:gd name="connsiteY4873" fmla="*/ 200383 h 6523037"/>
                <a:gd name="connsiteX4874" fmla="*/ 7198974 w 12192001"/>
                <a:gd name="connsiteY4874" fmla="*/ 3175 h 6523037"/>
                <a:gd name="connsiteX4875" fmla="*/ 7212258 w 12192001"/>
                <a:gd name="connsiteY4875" fmla="*/ 3175 h 6523037"/>
                <a:gd name="connsiteX4876" fmla="*/ 7018349 w 12192001"/>
                <a:gd name="connsiteY4876" fmla="*/ 197587 h 6523037"/>
                <a:gd name="connsiteX4877" fmla="*/ 7280377 w 12192001"/>
                <a:gd name="connsiteY4877" fmla="*/ 197587 h 6523037"/>
                <a:gd name="connsiteX4878" fmla="*/ 7474287 w 12192001"/>
                <a:gd name="connsiteY4878" fmla="*/ 3175 h 6523037"/>
                <a:gd name="connsiteX4879" fmla="*/ 7485646 w 12192001"/>
                <a:gd name="connsiteY4879" fmla="*/ 3175 h 6523037"/>
                <a:gd name="connsiteX4880" fmla="*/ 7288761 w 12192001"/>
                <a:gd name="connsiteY4880" fmla="*/ 201081 h 6523037"/>
                <a:gd name="connsiteX4881" fmla="*/ 7558474 w 12192001"/>
                <a:gd name="connsiteY4881" fmla="*/ 470096 h 6523037"/>
                <a:gd name="connsiteX4882" fmla="*/ 7823297 w 12192001"/>
                <a:gd name="connsiteY4882" fmla="*/ 471494 h 6523037"/>
                <a:gd name="connsiteX4883" fmla="*/ 7552187 w 12192001"/>
                <a:gd name="connsiteY4883" fmla="*/ 201081 h 6523037"/>
                <a:gd name="connsiteX4884" fmla="*/ 7550789 w 12192001"/>
                <a:gd name="connsiteY4884" fmla="*/ 199684 h 6523037"/>
                <a:gd name="connsiteX4885" fmla="*/ 7746789 w 12192001"/>
                <a:gd name="connsiteY4885" fmla="*/ 3175 h 6523037"/>
                <a:gd name="connsiteX4886" fmla="*/ 7757662 w 12192001"/>
                <a:gd name="connsiteY4886" fmla="*/ 3175 h 6523037"/>
                <a:gd name="connsiteX4887" fmla="*/ 7742243 w 12192001"/>
                <a:gd name="connsiteY4887" fmla="*/ 18711 h 6523037"/>
                <a:gd name="connsiteX4888" fmla="*/ 7742942 w 12192001"/>
                <a:gd name="connsiteY4888" fmla="*/ 19410 h 6523037"/>
                <a:gd name="connsiteX4889" fmla="*/ 7566860 w 12192001"/>
                <a:gd name="connsiteY4889" fmla="*/ 195492 h 6523037"/>
                <a:gd name="connsiteX4890" fmla="*/ 7763205 w 12192001"/>
                <a:gd name="connsiteY4890" fmla="*/ 195492 h 6523037"/>
                <a:gd name="connsiteX4891" fmla="*/ 7762507 w 12192001"/>
                <a:gd name="connsiteY4891" fmla="*/ 196889 h 6523037"/>
                <a:gd name="connsiteX4892" fmla="*/ 7828189 w 12192001"/>
                <a:gd name="connsiteY4892" fmla="*/ 196889 h 6523037"/>
                <a:gd name="connsiteX4893" fmla="*/ 8021404 w 12192001"/>
                <a:gd name="connsiteY4893" fmla="*/ 3175 h 6523037"/>
                <a:gd name="connsiteX4894" fmla="*/ 8031969 w 12192001"/>
                <a:gd name="connsiteY4894" fmla="*/ 3175 h 6523037"/>
                <a:gd name="connsiteX4895" fmla="*/ 7924614 w 12192001"/>
                <a:gd name="connsiteY4895" fmla="*/ 110944 h 6523037"/>
                <a:gd name="connsiteX4896" fmla="*/ 7926012 w 12192001"/>
                <a:gd name="connsiteY4896" fmla="*/ 111643 h 6523037"/>
                <a:gd name="connsiteX4897" fmla="*/ 7836573 w 12192001"/>
                <a:gd name="connsiteY4897" fmla="*/ 201081 h 6523037"/>
                <a:gd name="connsiteX4898" fmla="*/ 8106985 w 12192001"/>
                <a:gd name="connsiteY4898" fmla="*/ 470795 h 6523037"/>
                <a:gd name="connsiteX4899" fmla="*/ 8370409 w 12192001"/>
                <a:gd name="connsiteY4899" fmla="*/ 470795 h 6523037"/>
                <a:gd name="connsiteX4900" fmla="*/ 8099997 w 12192001"/>
                <a:gd name="connsiteY4900" fmla="*/ 201081 h 6523037"/>
                <a:gd name="connsiteX4901" fmla="*/ 8099299 w 12192001"/>
                <a:gd name="connsiteY4901" fmla="*/ 200383 h 6523037"/>
                <a:gd name="connsiteX4902" fmla="*/ 8295999 w 12192001"/>
                <a:gd name="connsiteY4902" fmla="*/ 3175 h 6523037"/>
                <a:gd name="connsiteX4903" fmla="*/ 8306289 w 12192001"/>
                <a:gd name="connsiteY4903" fmla="*/ 3175 h 6523037"/>
                <a:gd name="connsiteX4904" fmla="*/ 8113273 w 12192001"/>
                <a:gd name="connsiteY4904" fmla="*/ 196191 h 6523037"/>
                <a:gd name="connsiteX4905" fmla="*/ 8377397 w 12192001"/>
                <a:gd name="connsiteY4905" fmla="*/ 196191 h 6523037"/>
                <a:gd name="connsiteX4906" fmla="*/ 8570412 w 12192001"/>
                <a:gd name="connsiteY4906" fmla="*/ 3175 h 6523037"/>
                <a:gd name="connsiteX4907" fmla="*/ 8579688 w 12192001"/>
                <a:gd name="connsiteY4907" fmla="*/ 3175 h 6523037"/>
                <a:gd name="connsiteX4908" fmla="*/ 8383685 w 12192001"/>
                <a:gd name="connsiteY4908" fmla="*/ 199684 h 6523037"/>
                <a:gd name="connsiteX4909" fmla="*/ 8654796 w 12192001"/>
                <a:gd name="connsiteY4909" fmla="*/ 470096 h 6523037"/>
                <a:gd name="connsiteX4910" fmla="*/ 8918222 w 12192001"/>
                <a:gd name="connsiteY4910" fmla="*/ 470096 h 6523037"/>
                <a:gd name="connsiteX4911" fmla="*/ 8788256 w 12192001"/>
                <a:gd name="connsiteY4911" fmla="*/ 340131 h 6523037"/>
                <a:gd name="connsiteX4912" fmla="*/ 8647809 w 12192001"/>
                <a:gd name="connsiteY4912" fmla="*/ 199684 h 6523037"/>
                <a:gd name="connsiteX4913" fmla="*/ 8843811 w 12192001"/>
                <a:gd name="connsiteY4913" fmla="*/ 3175 h 6523037"/>
                <a:gd name="connsiteX4914" fmla="*/ 8854303 w 12192001"/>
                <a:gd name="connsiteY4914" fmla="*/ 3175 h 6523037"/>
                <a:gd name="connsiteX4915" fmla="*/ 8662483 w 12192001"/>
                <a:gd name="connsiteY4915" fmla="*/ 195492 h 6523037"/>
                <a:gd name="connsiteX4916" fmla="*/ 8925907 w 12192001"/>
                <a:gd name="connsiteY4916" fmla="*/ 195492 h 6523037"/>
                <a:gd name="connsiteX4917" fmla="*/ 9117728 w 12192001"/>
                <a:gd name="connsiteY4917" fmla="*/ 3175 h 6523037"/>
                <a:gd name="connsiteX4918" fmla="*/ 9127502 w 12192001"/>
                <a:gd name="connsiteY4918" fmla="*/ 3175 h 6523037"/>
                <a:gd name="connsiteX4919" fmla="*/ 8932196 w 12192001"/>
                <a:gd name="connsiteY4919" fmla="*/ 198985 h 6523037"/>
                <a:gd name="connsiteX4920" fmla="*/ 9203307 w 12192001"/>
                <a:gd name="connsiteY4920" fmla="*/ 469397 h 6523037"/>
                <a:gd name="connsiteX4921" fmla="*/ 9464143 w 12192001"/>
                <a:gd name="connsiteY4921" fmla="*/ 469397 h 6523037"/>
                <a:gd name="connsiteX4922" fmla="*/ 9463763 w 12192001"/>
                <a:gd name="connsiteY4922" fmla="*/ 469017 h 6523037"/>
                <a:gd name="connsiteX4923" fmla="*/ 9320523 w 12192001"/>
                <a:gd name="connsiteY4923" fmla="*/ 326475 h 6523037"/>
                <a:gd name="connsiteX4924" fmla="*/ 9320523 w 12192001"/>
                <a:gd name="connsiteY4924" fmla="*/ 322869 h 6523037"/>
                <a:gd name="connsiteX4925" fmla="*/ 9196319 w 12192001"/>
                <a:gd name="connsiteY4925" fmla="*/ 198985 h 6523037"/>
                <a:gd name="connsiteX4926" fmla="*/ 9320523 w 12192001"/>
                <a:gd name="connsiteY4926" fmla="*/ 74460 h 6523037"/>
                <a:gd name="connsiteX4927" fmla="*/ 9320523 w 12192001"/>
                <a:gd name="connsiteY4927" fmla="*/ 73530 h 652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Lst>
              <a:rect l="l" t="t" r="r" b="b"/>
              <a:pathLst>
                <a:path w="12192001" h="6523037">
                  <a:moveTo>
                    <a:pt x="700271" y="6509761"/>
                  </a:moveTo>
                  <a:lnTo>
                    <a:pt x="714941" y="6516802"/>
                  </a:lnTo>
                  <a:lnTo>
                    <a:pt x="710807" y="6516802"/>
                  </a:lnTo>
                  <a:lnTo>
                    <a:pt x="704588" y="6523037"/>
                  </a:lnTo>
                  <a:lnTo>
                    <a:pt x="694116" y="6523037"/>
                  </a:lnTo>
                  <a:lnTo>
                    <a:pt x="703819" y="6513309"/>
                  </a:lnTo>
                  <a:close/>
                  <a:moveTo>
                    <a:pt x="5360377" y="6504999"/>
                  </a:moveTo>
                  <a:lnTo>
                    <a:pt x="5375047" y="6512040"/>
                  </a:lnTo>
                  <a:lnTo>
                    <a:pt x="5370913" y="6512040"/>
                  </a:lnTo>
                  <a:lnTo>
                    <a:pt x="5364694" y="6518275"/>
                  </a:lnTo>
                  <a:lnTo>
                    <a:pt x="5354222" y="6518275"/>
                  </a:lnTo>
                  <a:lnTo>
                    <a:pt x="5363925" y="6508547"/>
                  </a:lnTo>
                  <a:close/>
                  <a:moveTo>
                    <a:pt x="10020794" y="6501824"/>
                  </a:moveTo>
                  <a:lnTo>
                    <a:pt x="10035464" y="6508865"/>
                  </a:lnTo>
                  <a:lnTo>
                    <a:pt x="10031330" y="6508865"/>
                  </a:lnTo>
                  <a:lnTo>
                    <a:pt x="10025111" y="6515100"/>
                  </a:lnTo>
                  <a:lnTo>
                    <a:pt x="10014639" y="6515100"/>
                  </a:lnTo>
                  <a:lnTo>
                    <a:pt x="10024342" y="6505372"/>
                  </a:lnTo>
                  <a:close/>
                  <a:moveTo>
                    <a:pt x="4558064" y="6240102"/>
                  </a:moveTo>
                  <a:lnTo>
                    <a:pt x="4825101" y="6506450"/>
                  </a:lnTo>
                  <a:lnTo>
                    <a:pt x="5085827" y="6506450"/>
                  </a:lnTo>
                  <a:lnTo>
                    <a:pt x="4818791" y="6240102"/>
                  </a:lnTo>
                  <a:close/>
                  <a:moveTo>
                    <a:pt x="9218170" y="6235340"/>
                  </a:moveTo>
                  <a:lnTo>
                    <a:pt x="9486798" y="6503275"/>
                  </a:lnTo>
                  <a:lnTo>
                    <a:pt x="9746244" y="6503275"/>
                  </a:lnTo>
                  <a:lnTo>
                    <a:pt x="9477616" y="6235340"/>
                  </a:lnTo>
                  <a:close/>
                  <a:moveTo>
                    <a:pt x="710108" y="5969690"/>
                  </a:moveTo>
                  <a:lnTo>
                    <a:pt x="439696" y="6240800"/>
                  </a:lnTo>
                  <a:lnTo>
                    <a:pt x="710807" y="6511212"/>
                  </a:lnTo>
                  <a:lnTo>
                    <a:pt x="974930" y="6511212"/>
                  </a:lnTo>
                  <a:lnTo>
                    <a:pt x="703819" y="6240800"/>
                  </a:lnTo>
                  <a:lnTo>
                    <a:pt x="974231" y="5969690"/>
                  </a:lnTo>
                  <a:close/>
                  <a:moveTo>
                    <a:pt x="1807827" y="5968991"/>
                  </a:moveTo>
                  <a:lnTo>
                    <a:pt x="1537414" y="6240102"/>
                  </a:lnTo>
                  <a:lnTo>
                    <a:pt x="1808526" y="6510514"/>
                  </a:lnTo>
                  <a:lnTo>
                    <a:pt x="2072648" y="6510514"/>
                  </a:lnTo>
                  <a:lnTo>
                    <a:pt x="1801539" y="6240102"/>
                  </a:lnTo>
                  <a:lnTo>
                    <a:pt x="2071951" y="5968991"/>
                  </a:lnTo>
                  <a:close/>
                  <a:moveTo>
                    <a:pt x="1257919" y="5968991"/>
                  </a:moveTo>
                  <a:lnTo>
                    <a:pt x="988206" y="6240102"/>
                  </a:lnTo>
                  <a:lnTo>
                    <a:pt x="1188744" y="6440640"/>
                  </a:lnTo>
                  <a:lnTo>
                    <a:pt x="1259317" y="6510514"/>
                  </a:lnTo>
                  <a:lnTo>
                    <a:pt x="1327793" y="6510514"/>
                  </a:lnTo>
                  <a:lnTo>
                    <a:pt x="1327094" y="6511911"/>
                  </a:lnTo>
                  <a:lnTo>
                    <a:pt x="1524139" y="6511911"/>
                  </a:lnTo>
                  <a:lnTo>
                    <a:pt x="1253028" y="6241499"/>
                  </a:lnTo>
                  <a:lnTo>
                    <a:pt x="1253727" y="6240800"/>
                  </a:lnTo>
                  <a:lnTo>
                    <a:pt x="1251631" y="6240102"/>
                  </a:lnTo>
                  <a:lnTo>
                    <a:pt x="1522043" y="5968991"/>
                  </a:lnTo>
                  <a:close/>
                  <a:moveTo>
                    <a:pt x="2904847" y="5968292"/>
                  </a:moveTo>
                  <a:lnTo>
                    <a:pt x="2634435" y="6239403"/>
                  </a:lnTo>
                  <a:lnTo>
                    <a:pt x="2905546" y="6509815"/>
                  </a:lnTo>
                  <a:lnTo>
                    <a:pt x="3169669" y="6509815"/>
                  </a:lnTo>
                  <a:lnTo>
                    <a:pt x="2898558" y="6239403"/>
                  </a:lnTo>
                  <a:lnTo>
                    <a:pt x="3168970" y="5968292"/>
                  </a:lnTo>
                  <a:close/>
                  <a:moveTo>
                    <a:pt x="2356338" y="5968292"/>
                  </a:moveTo>
                  <a:lnTo>
                    <a:pt x="2085925" y="6239403"/>
                  </a:lnTo>
                  <a:lnTo>
                    <a:pt x="2357035" y="6509815"/>
                  </a:lnTo>
                  <a:lnTo>
                    <a:pt x="2620460" y="6509815"/>
                  </a:lnTo>
                  <a:lnTo>
                    <a:pt x="2490495" y="6379850"/>
                  </a:lnTo>
                  <a:lnTo>
                    <a:pt x="2350049" y="6239403"/>
                  </a:lnTo>
                  <a:lnTo>
                    <a:pt x="2620460" y="5968292"/>
                  </a:lnTo>
                  <a:close/>
                  <a:moveTo>
                    <a:pt x="3453357" y="5967593"/>
                  </a:moveTo>
                  <a:lnTo>
                    <a:pt x="3182945" y="6238704"/>
                  </a:lnTo>
                  <a:lnTo>
                    <a:pt x="3454056" y="6508417"/>
                  </a:lnTo>
                  <a:lnTo>
                    <a:pt x="3718179" y="6508417"/>
                  </a:lnTo>
                  <a:lnTo>
                    <a:pt x="3447069" y="6238006"/>
                  </a:lnTo>
                  <a:lnTo>
                    <a:pt x="3631536" y="6053539"/>
                  </a:lnTo>
                  <a:lnTo>
                    <a:pt x="3717481" y="5967593"/>
                  </a:lnTo>
                  <a:close/>
                  <a:moveTo>
                    <a:pt x="4550379" y="5966196"/>
                  </a:moveTo>
                  <a:lnTo>
                    <a:pt x="4279967" y="6237307"/>
                  </a:lnTo>
                  <a:lnTo>
                    <a:pt x="4551077" y="6507020"/>
                  </a:lnTo>
                  <a:lnTo>
                    <a:pt x="4812475" y="6507020"/>
                  </a:lnTo>
                  <a:lnTo>
                    <a:pt x="4681256" y="6376485"/>
                  </a:lnTo>
                  <a:lnTo>
                    <a:pt x="4665187" y="6360414"/>
                  </a:lnTo>
                  <a:lnTo>
                    <a:pt x="4665187" y="6357393"/>
                  </a:lnTo>
                  <a:lnTo>
                    <a:pt x="4544090" y="6236608"/>
                  </a:lnTo>
                  <a:lnTo>
                    <a:pt x="4665187" y="6115511"/>
                  </a:lnTo>
                  <a:lnTo>
                    <a:pt x="4665187" y="6111663"/>
                  </a:lnTo>
                  <a:lnTo>
                    <a:pt x="4810652" y="5966196"/>
                  </a:lnTo>
                  <a:close/>
                  <a:moveTo>
                    <a:pt x="4824862" y="5965627"/>
                  </a:moveTo>
                  <a:lnTo>
                    <a:pt x="4558064" y="6233114"/>
                  </a:lnTo>
                  <a:lnTo>
                    <a:pt x="4818335" y="6233114"/>
                  </a:lnTo>
                  <a:lnTo>
                    <a:pt x="5085129" y="5965627"/>
                  </a:lnTo>
                  <a:close/>
                  <a:moveTo>
                    <a:pt x="5370215" y="5964928"/>
                  </a:moveTo>
                  <a:lnTo>
                    <a:pt x="5099802" y="6236038"/>
                  </a:lnTo>
                  <a:lnTo>
                    <a:pt x="5370913" y="6506450"/>
                  </a:lnTo>
                  <a:lnTo>
                    <a:pt x="5635036" y="6506450"/>
                  </a:lnTo>
                  <a:lnTo>
                    <a:pt x="5363925" y="6236038"/>
                  </a:lnTo>
                  <a:lnTo>
                    <a:pt x="5634338" y="5964928"/>
                  </a:lnTo>
                  <a:close/>
                  <a:moveTo>
                    <a:pt x="6467933" y="5964229"/>
                  </a:moveTo>
                  <a:lnTo>
                    <a:pt x="6197521" y="6235340"/>
                  </a:lnTo>
                  <a:lnTo>
                    <a:pt x="6468632" y="6505752"/>
                  </a:lnTo>
                  <a:lnTo>
                    <a:pt x="6732754" y="6505752"/>
                  </a:lnTo>
                  <a:lnTo>
                    <a:pt x="6461645" y="6235340"/>
                  </a:lnTo>
                  <a:lnTo>
                    <a:pt x="6732057" y="5964229"/>
                  </a:lnTo>
                  <a:close/>
                  <a:moveTo>
                    <a:pt x="5918025" y="5964229"/>
                  </a:moveTo>
                  <a:lnTo>
                    <a:pt x="5648312" y="6235340"/>
                  </a:lnTo>
                  <a:lnTo>
                    <a:pt x="5848851" y="6435878"/>
                  </a:lnTo>
                  <a:lnTo>
                    <a:pt x="5919423" y="6505752"/>
                  </a:lnTo>
                  <a:lnTo>
                    <a:pt x="5987899" y="6505752"/>
                  </a:lnTo>
                  <a:lnTo>
                    <a:pt x="5987200" y="6507149"/>
                  </a:lnTo>
                  <a:lnTo>
                    <a:pt x="6184245" y="6507149"/>
                  </a:lnTo>
                  <a:lnTo>
                    <a:pt x="5913134" y="6236737"/>
                  </a:lnTo>
                  <a:lnTo>
                    <a:pt x="5913834" y="6236038"/>
                  </a:lnTo>
                  <a:lnTo>
                    <a:pt x="5911738" y="6235340"/>
                  </a:lnTo>
                  <a:lnTo>
                    <a:pt x="6182150" y="5964229"/>
                  </a:lnTo>
                  <a:close/>
                  <a:moveTo>
                    <a:pt x="7564953" y="5963530"/>
                  </a:moveTo>
                  <a:lnTo>
                    <a:pt x="7294541" y="6234641"/>
                  </a:lnTo>
                  <a:lnTo>
                    <a:pt x="7565652" y="6505053"/>
                  </a:lnTo>
                  <a:lnTo>
                    <a:pt x="7829775" y="6505053"/>
                  </a:lnTo>
                  <a:lnTo>
                    <a:pt x="7558664" y="6234641"/>
                  </a:lnTo>
                  <a:lnTo>
                    <a:pt x="7829076" y="5963530"/>
                  </a:lnTo>
                  <a:close/>
                  <a:moveTo>
                    <a:pt x="7016444" y="5963530"/>
                  </a:moveTo>
                  <a:lnTo>
                    <a:pt x="6746031" y="6234641"/>
                  </a:lnTo>
                  <a:lnTo>
                    <a:pt x="7017141" y="6505053"/>
                  </a:lnTo>
                  <a:lnTo>
                    <a:pt x="7280566" y="6505053"/>
                  </a:lnTo>
                  <a:lnTo>
                    <a:pt x="7150601" y="6375088"/>
                  </a:lnTo>
                  <a:lnTo>
                    <a:pt x="7010155" y="6234641"/>
                  </a:lnTo>
                  <a:lnTo>
                    <a:pt x="7280566" y="5963530"/>
                  </a:lnTo>
                  <a:close/>
                  <a:moveTo>
                    <a:pt x="8113463" y="5962831"/>
                  </a:moveTo>
                  <a:lnTo>
                    <a:pt x="7843051" y="6233942"/>
                  </a:lnTo>
                  <a:lnTo>
                    <a:pt x="8114162" y="6503655"/>
                  </a:lnTo>
                  <a:lnTo>
                    <a:pt x="8378285" y="6503655"/>
                  </a:lnTo>
                  <a:lnTo>
                    <a:pt x="8107175" y="6233244"/>
                  </a:lnTo>
                  <a:lnTo>
                    <a:pt x="8291642" y="6048777"/>
                  </a:lnTo>
                  <a:lnTo>
                    <a:pt x="8377587" y="5962831"/>
                  </a:lnTo>
                  <a:close/>
                  <a:moveTo>
                    <a:pt x="9483384" y="5962452"/>
                  </a:moveTo>
                  <a:lnTo>
                    <a:pt x="9218170" y="6228352"/>
                  </a:lnTo>
                  <a:lnTo>
                    <a:pt x="9480335" y="6228352"/>
                  </a:lnTo>
                  <a:lnTo>
                    <a:pt x="9745545" y="5962452"/>
                  </a:lnTo>
                  <a:close/>
                  <a:moveTo>
                    <a:pt x="10030631" y="5961753"/>
                  </a:moveTo>
                  <a:lnTo>
                    <a:pt x="9760219" y="6232863"/>
                  </a:lnTo>
                  <a:lnTo>
                    <a:pt x="10031330" y="6503275"/>
                  </a:lnTo>
                  <a:lnTo>
                    <a:pt x="10295453" y="6503275"/>
                  </a:lnTo>
                  <a:lnTo>
                    <a:pt x="10024342" y="6232863"/>
                  </a:lnTo>
                  <a:lnTo>
                    <a:pt x="10294754" y="5961753"/>
                  </a:lnTo>
                  <a:close/>
                  <a:moveTo>
                    <a:pt x="9210484" y="5961434"/>
                  </a:moveTo>
                  <a:lnTo>
                    <a:pt x="8940072" y="6232545"/>
                  </a:lnTo>
                  <a:lnTo>
                    <a:pt x="9211183" y="6502258"/>
                  </a:lnTo>
                  <a:lnTo>
                    <a:pt x="9471296" y="6502258"/>
                  </a:lnTo>
                  <a:lnTo>
                    <a:pt x="9341673" y="6373310"/>
                  </a:lnTo>
                  <a:lnTo>
                    <a:pt x="9325603" y="6357239"/>
                  </a:lnTo>
                  <a:lnTo>
                    <a:pt x="9325603" y="6352941"/>
                  </a:lnTo>
                  <a:lnTo>
                    <a:pt x="9204195" y="6231846"/>
                  </a:lnTo>
                  <a:lnTo>
                    <a:pt x="9325603" y="6110438"/>
                  </a:lnTo>
                  <a:lnTo>
                    <a:pt x="9325603" y="6108488"/>
                  </a:lnTo>
                  <a:lnTo>
                    <a:pt x="9472656" y="5961434"/>
                  </a:lnTo>
                  <a:close/>
                  <a:moveTo>
                    <a:pt x="11128350" y="5961054"/>
                  </a:moveTo>
                  <a:lnTo>
                    <a:pt x="10857937" y="6232165"/>
                  </a:lnTo>
                  <a:lnTo>
                    <a:pt x="11129049" y="6502577"/>
                  </a:lnTo>
                  <a:lnTo>
                    <a:pt x="11393171" y="6502577"/>
                  </a:lnTo>
                  <a:lnTo>
                    <a:pt x="11122062" y="6232165"/>
                  </a:lnTo>
                  <a:lnTo>
                    <a:pt x="11392474" y="5961054"/>
                  </a:lnTo>
                  <a:close/>
                  <a:moveTo>
                    <a:pt x="10578442" y="5961054"/>
                  </a:moveTo>
                  <a:lnTo>
                    <a:pt x="10308729" y="6232165"/>
                  </a:lnTo>
                  <a:lnTo>
                    <a:pt x="10509267" y="6432703"/>
                  </a:lnTo>
                  <a:lnTo>
                    <a:pt x="10579840" y="6502577"/>
                  </a:lnTo>
                  <a:lnTo>
                    <a:pt x="10648316" y="6502577"/>
                  </a:lnTo>
                  <a:lnTo>
                    <a:pt x="10647617" y="6503974"/>
                  </a:lnTo>
                  <a:lnTo>
                    <a:pt x="10844662" y="6503974"/>
                  </a:lnTo>
                  <a:lnTo>
                    <a:pt x="10573551" y="6233562"/>
                  </a:lnTo>
                  <a:lnTo>
                    <a:pt x="10574250" y="6232863"/>
                  </a:lnTo>
                  <a:lnTo>
                    <a:pt x="10572154" y="6232165"/>
                  </a:lnTo>
                  <a:lnTo>
                    <a:pt x="10842566" y="5961054"/>
                  </a:lnTo>
                  <a:close/>
                  <a:moveTo>
                    <a:pt x="11676861" y="5960355"/>
                  </a:moveTo>
                  <a:lnTo>
                    <a:pt x="11406448" y="6231466"/>
                  </a:lnTo>
                  <a:lnTo>
                    <a:pt x="11677558" y="6501878"/>
                  </a:lnTo>
                  <a:lnTo>
                    <a:pt x="11940983" y="6501878"/>
                  </a:lnTo>
                  <a:lnTo>
                    <a:pt x="11811018" y="6371913"/>
                  </a:lnTo>
                  <a:lnTo>
                    <a:pt x="11670572" y="6231466"/>
                  </a:lnTo>
                  <a:lnTo>
                    <a:pt x="11940983" y="5960355"/>
                  </a:lnTo>
                  <a:close/>
                  <a:moveTo>
                    <a:pt x="169284" y="5695784"/>
                  </a:moveTo>
                  <a:lnTo>
                    <a:pt x="299249" y="5825750"/>
                  </a:lnTo>
                  <a:lnTo>
                    <a:pt x="439696" y="5966196"/>
                  </a:lnTo>
                  <a:lnTo>
                    <a:pt x="169284" y="6237307"/>
                  </a:lnTo>
                  <a:lnTo>
                    <a:pt x="433407" y="6237307"/>
                  </a:lnTo>
                  <a:lnTo>
                    <a:pt x="703819" y="5966196"/>
                  </a:lnTo>
                  <a:lnTo>
                    <a:pt x="432708" y="5695784"/>
                  </a:lnTo>
                  <a:close/>
                  <a:moveTo>
                    <a:pt x="1814814" y="5695086"/>
                  </a:moveTo>
                  <a:lnTo>
                    <a:pt x="2085925" y="5965498"/>
                  </a:lnTo>
                  <a:lnTo>
                    <a:pt x="1815513" y="6235910"/>
                  </a:lnTo>
                  <a:lnTo>
                    <a:pt x="2079636" y="6235910"/>
                  </a:lnTo>
                  <a:lnTo>
                    <a:pt x="2350049" y="5965498"/>
                  </a:lnTo>
                  <a:lnTo>
                    <a:pt x="2078937" y="5695086"/>
                  </a:lnTo>
                  <a:close/>
                  <a:moveTo>
                    <a:pt x="717095" y="5695086"/>
                  </a:moveTo>
                  <a:lnTo>
                    <a:pt x="988206" y="5965498"/>
                  </a:lnTo>
                  <a:lnTo>
                    <a:pt x="717794" y="6236608"/>
                  </a:lnTo>
                  <a:lnTo>
                    <a:pt x="981917" y="6236608"/>
                  </a:lnTo>
                  <a:lnTo>
                    <a:pt x="1252329" y="5965498"/>
                  </a:lnTo>
                  <a:lnTo>
                    <a:pt x="981219" y="5695086"/>
                  </a:lnTo>
                  <a:close/>
                  <a:moveTo>
                    <a:pt x="2363324" y="5694387"/>
                  </a:moveTo>
                  <a:lnTo>
                    <a:pt x="2634435" y="5964799"/>
                  </a:lnTo>
                  <a:lnTo>
                    <a:pt x="2364722" y="6235910"/>
                  </a:lnTo>
                  <a:lnTo>
                    <a:pt x="2628146" y="6235910"/>
                  </a:lnTo>
                  <a:lnTo>
                    <a:pt x="2898558" y="5964799"/>
                  </a:lnTo>
                  <a:lnTo>
                    <a:pt x="2764401" y="5831339"/>
                  </a:lnTo>
                  <a:lnTo>
                    <a:pt x="2627447" y="5694387"/>
                  </a:lnTo>
                  <a:close/>
                  <a:moveTo>
                    <a:pt x="2911834" y="5693688"/>
                  </a:moveTo>
                  <a:lnTo>
                    <a:pt x="2913232" y="5695086"/>
                  </a:lnTo>
                  <a:lnTo>
                    <a:pt x="3182945" y="5964100"/>
                  </a:lnTo>
                  <a:lnTo>
                    <a:pt x="2912533" y="6234512"/>
                  </a:lnTo>
                  <a:lnTo>
                    <a:pt x="3176657" y="6234512"/>
                  </a:lnTo>
                  <a:lnTo>
                    <a:pt x="3447069" y="5964100"/>
                  </a:lnTo>
                  <a:lnTo>
                    <a:pt x="3441479" y="5959209"/>
                  </a:lnTo>
                  <a:lnTo>
                    <a:pt x="3175958" y="5693688"/>
                  </a:lnTo>
                  <a:close/>
                  <a:moveTo>
                    <a:pt x="1530428" y="5693688"/>
                  </a:moveTo>
                  <a:lnTo>
                    <a:pt x="1529030" y="5694387"/>
                  </a:lnTo>
                  <a:lnTo>
                    <a:pt x="1264907" y="5694387"/>
                  </a:lnTo>
                  <a:lnTo>
                    <a:pt x="1536018" y="5964799"/>
                  </a:lnTo>
                  <a:lnTo>
                    <a:pt x="1531824" y="5968991"/>
                  </a:lnTo>
                  <a:lnTo>
                    <a:pt x="1537414" y="5966196"/>
                  </a:lnTo>
                  <a:lnTo>
                    <a:pt x="1267002" y="6237307"/>
                  </a:lnTo>
                  <a:lnTo>
                    <a:pt x="1531127" y="6237307"/>
                  </a:lnTo>
                  <a:lnTo>
                    <a:pt x="1801539" y="5966196"/>
                  </a:lnTo>
                  <a:lnTo>
                    <a:pt x="1530428" y="5695784"/>
                  </a:lnTo>
                  <a:close/>
                  <a:moveTo>
                    <a:pt x="3459646" y="5692989"/>
                  </a:moveTo>
                  <a:lnTo>
                    <a:pt x="3730757" y="5963401"/>
                  </a:lnTo>
                  <a:lnTo>
                    <a:pt x="3727962" y="5966196"/>
                  </a:lnTo>
                  <a:lnTo>
                    <a:pt x="3637825" y="6057032"/>
                  </a:lnTo>
                  <a:lnTo>
                    <a:pt x="3460345" y="6233813"/>
                  </a:lnTo>
                  <a:lnTo>
                    <a:pt x="3724468" y="6233813"/>
                  </a:lnTo>
                  <a:lnTo>
                    <a:pt x="3813907" y="6144374"/>
                  </a:lnTo>
                  <a:lnTo>
                    <a:pt x="3994880" y="5963401"/>
                  </a:lnTo>
                  <a:lnTo>
                    <a:pt x="3723769" y="5692989"/>
                  </a:lnTo>
                  <a:close/>
                  <a:moveTo>
                    <a:pt x="4818785" y="5691597"/>
                  </a:moveTo>
                  <a:lnTo>
                    <a:pt x="4556667" y="5692290"/>
                  </a:lnTo>
                  <a:lnTo>
                    <a:pt x="4824382" y="5957940"/>
                  </a:lnTo>
                  <a:lnTo>
                    <a:pt x="5085129" y="5957940"/>
                  </a:lnTo>
                  <a:lnTo>
                    <a:pt x="4955163" y="5827975"/>
                  </a:lnTo>
                  <a:close/>
                  <a:moveTo>
                    <a:pt x="4829390" y="5691022"/>
                  </a:moveTo>
                  <a:lnTo>
                    <a:pt x="4959356" y="5820988"/>
                  </a:lnTo>
                  <a:lnTo>
                    <a:pt x="5099802" y="5961434"/>
                  </a:lnTo>
                  <a:lnTo>
                    <a:pt x="4829390" y="6232545"/>
                  </a:lnTo>
                  <a:lnTo>
                    <a:pt x="5093513" y="6232545"/>
                  </a:lnTo>
                  <a:lnTo>
                    <a:pt x="5363925" y="5961434"/>
                  </a:lnTo>
                  <a:lnTo>
                    <a:pt x="5092815" y="5691022"/>
                  </a:lnTo>
                  <a:close/>
                  <a:moveTo>
                    <a:pt x="6474921" y="5690324"/>
                  </a:moveTo>
                  <a:lnTo>
                    <a:pt x="6746031" y="5960736"/>
                  </a:lnTo>
                  <a:lnTo>
                    <a:pt x="6475619" y="6231148"/>
                  </a:lnTo>
                  <a:lnTo>
                    <a:pt x="6739742" y="6231148"/>
                  </a:lnTo>
                  <a:lnTo>
                    <a:pt x="7010155" y="5960736"/>
                  </a:lnTo>
                  <a:lnTo>
                    <a:pt x="6739044" y="5690324"/>
                  </a:lnTo>
                  <a:close/>
                  <a:moveTo>
                    <a:pt x="5377202" y="5690324"/>
                  </a:moveTo>
                  <a:lnTo>
                    <a:pt x="5648312" y="5960736"/>
                  </a:lnTo>
                  <a:lnTo>
                    <a:pt x="5377900" y="6231846"/>
                  </a:lnTo>
                  <a:lnTo>
                    <a:pt x="5642023" y="6231846"/>
                  </a:lnTo>
                  <a:lnTo>
                    <a:pt x="5912435" y="5960736"/>
                  </a:lnTo>
                  <a:lnTo>
                    <a:pt x="5641325" y="5690324"/>
                  </a:lnTo>
                  <a:close/>
                  <a:moveTo>
                    <a:pt x="7023431" y="5689625"/>
                  </a:moveTo>
                  <a:lnTo>
                    <a:pt x="7294541" y="5960037"/>
                  </a:lnTo>
                  <a:lnTo>
                    <a:pt x="7024828" y="6231148"/>
                  </a:lnTo>
                  <a:lnTo>
                    <a:pt x="7288252" y="6231148"/>
                  </a:lnTo>
                  <a:lnTo>
                    <a:pt x="7558664" y="5960037"/>
                  </a:lnTo>
                  <a:lnTo>
                    <a:pt x="7424507" y="5826577"/>
                  </a:lnTo>
                  <a:lnTo>
                    <a:pt x="7287553" y="5689625"/>
                  </a:lnTo>
                  <a:close/>
                  <a:moveTo>
                    <a:pt x="7571940" y="5688926"/>
                  </a:moveTo>
                  <a:lnTo>
                    <a:pt x="7573338" y="5690324"/>
                  </a:lnTo>
                  <a:lnTo>
                    <a:pt x="7843051" y="5959338"/>
                  </a:lnTo>
                  <a:lnTo>
                    <a:pt x="7572639" y="6229750"/>
                  </a:lnTo>
                  <a:lnTo>
                    <a:pt x="7836763" y="6229750"/>
                  </a:lnTo>
                  <a:lnTo>
                    <a:pt x="8107175" y="5959338"/>
                  </a:lnTo>
                  <a:lnTo>
                    <a:pt x="8101585" y="5954447"/>
                  </a:lnTo>
                  <a:lnTo>
                    <a:pt x="7836064" y="5688926"/>
                  </a:lnTo>
                  <a:close/>
                  <a:moveTo>
                    <a:pt x="6190534" y="5688926"/>
                  </a:moveTo>
                  <a:lnTo>
                    <a:pt x="6189136" y="5689625"/>
                  </a:lnTo>
                  <a:lnTo>
                    <a:pt x="5925013" y="5689625"/>
                  </a:lnTo>
                  <a:lnTo>
                    <a:pt x="6196125" y="5960037"/>
                  </a:lnTo>
                  <a:lnTo>
                    <a:pt x="6191930" y="5964229"/>
                  </a:lnTo>
                  <a:lnTo>
                    <a:pt x="6197521" y="5961434"/>
                  </a:lnTo>
                  <a:lnTo>
                    <a:pt x="5927108" y="6232545"/>
                  </a:lnTo>
                  <a:lnTo>
                    <a:pt x="6191234" y="6232545"/>
                  </a:lnTo>
                  <a:lnTo>
                    <a:pt x="6461645" y="5961434"/>
                  </a:lnTo>
                  <a:lnTo>
                    <a:pt x="6190534" y="5691022"/>
                  </a:lnTo>
                  <a:close/>
                  <a:moveTo>
                    <a:pt x="8119752" y="5688227"/>
                  </a:moveTo>
                  <a:lnTo>
                    <a:pt x="8390863" y="5958639"/>
                  </a:lnTo>
                  <a:lnTo>
                    <a:pt x="8388068" y="5961434"/>
                  </a:lnTo>
                  <a:lnTo>
                    <a:pt x="8297931" y="6052270"/>
                  </a:lnTo>
                  <a:lnTo>
                    <a:pt x="8120451" y="6229051"/>
                  </a:lnTo>
                  <a:lnTo>
                    <a:pt x="8384574" y="6229051"/>
                  </a:lnTo>
                  <a:lnTo>
                    <a:pt x="8474013" y="6139612"/>
                  </a:lnTo>
                  <a:lnTo>
                    <a:pt x="8654986" y="5958639"/>
                  </a:lnTo>
                  <a:lnTo>
                    <a:pt x="8383875" y="5688227"/>
                  </a:lnTo>
                  <a:close/>
                  <a:moveTo>
                    <a:pt x="9489807" y="5687847"/>
                  </a:moveTo>
                  <a:lnTo>
                    <a:pt x="9619772" y="5817813"/>
                  </a:lnTo>
                  <a:lnTo>
                    <a:pt x="9760219" y="5958259"/>
                  </a:lnTo>
                  <a:lnTo>
                    <a:pt x="9489807" y="6229370"/>
                  </a:lnTo>
                  <a:lnTo>
                    <a:pt x="9753930" y="6229370"/>
                  </a:lnTo>
                  <a:lnTo>
                    <a:pt x="10024342" y="5958259"/>
                  </a:lnTo>
                  <a:lnTo>
                    <a:pt x="9753231" y="5687847"/>
                  </a:lnTo>
                  <a:close/>
                  <a:moveTo>
                    <a:pt x="11135337" y="5687149"/>
                  </a:moveTo>
                  <a:lnTo>
                    <a:pt x="11406448" y="5957561"/>
                  </a:lnTo>
                  <a:lnTo>
                    <a:pt x="11136036" y="6227973"/>
                  </a:lnTo>
                  <a:lnTo>
                    <a:pt x="11400159" y="6227973"/>
                  </a:lnTo>
                  <a:lnTo>
                    <a:pt x="11670572" y="5957561"/>
                  </a:lnTo>
                  <a:lnTo>
                    <a:pt x="11399460" y="5687149"/>
                  </a:lnTo>
                  <a:close/>
                  <a:moveTo>
                    <a:pt x="10037618" y="5687149"/>
                  </a:moveTo>
                  <a:lnTo>
                    <a:pt x="10308729" y="5957561"/>
                  </a:lnTo>
                  <a:lnTo>
                    <a:pt x="10038317" y="6228671"/>
                  </a:lnTo>
                  <a:lnTo>
                    <a:pt x="10302440" y="6228671"/>
                  </a:lnTo>
                  <a:lnTo>
                    <a:pt x="10572852" y="5957561"/>
                  </a:lnTo>
                  <a:lnTo>
                    <a:pt x="10301742" y="5687149"/>
                  </a:lnTo>
                  <a:close/>
                  <a:moveTo>
                    <a:pt x="9477618" y="5686838"/>
                  </a:moveTo>
                  <a:lnTo>
                    <a:pt x="9216773" y="5687528"/>
                  </a:lnTo>
                  <a:lnTo>
                    <a:pt x="9486087" y="5954765"/>
                  </a:lnTo>
                  <a:lnTo>
                    <a:pt x="9745545" y="5954765"/>
                  </a:lnTo>
                  <a:lnTo>
                    <a:pt x="9615580" y="5824800"/>
                  </a:lnTo>
                  <a:close/>
                  <a:moveTo>
                    <a:pt x="10850951" y="5685751"/>
                  </a:moveTo>
                  <a:lnTo>
                    <a:pt x="10849553" y="5686450"/>
                  </a:lnTo>
                  <a:lnTo>
                    <a:pt x="10585430" y="5686450"/>
                  </a:lnTo>
                  <a:lnTo>
                    <a:pt x="10856541" y="5956862"/>
                  </a:lnTo>
                  <a:lnTo>
                    <a:pt x="10852347" y="5961054"/>
                  </a:lnTo>
                  <a:lnTo>
                    <a:pt x="10857937" y="5958259"/>
                  </a:lnTo>
                  <a:lnTo>
                    <a:pt x="10587525" y="6229370"/>
                  </a:lnTo>
                  <a:lnTo>
                    <a:pt x="10851650" y="6229370"/>
                  </a:lnTo>
                  <a:lnTo>
                    <a:pt x="11122062" y="5958259"/>
                  </a:lnTo>
                  <a:lnTo>
                    <a:pt x="10850951" y="5687847"/>
                  </a:lnTo>
                  <a:close/>
                  <a:moveTo>
                    <a:pt x="1807128" y="5420480"/>
                  </a:moveTo>
                  <a:lnTo>
                    <a:pt x="1536716" y="5691591"/>
                  </a:lnTo>
                  <a:lnTo>
                    <a:pt x="1807827" y="5962003"/>
                  </a:lnTo>
                  <a:lnTo>
                    <a:pt x="2071951" y="5962003"/>
                  </a:lnTo>
                  <a:lnTo>
                    <a:pt x="1800840" y="5691591"/>
                  </a:lnTo>
                  <a:lnTo>
                    <a:pt x="2071252" y="5420480"/>
                  </a:lnTo>
                  <a:close/>
                  <a:moveTo>
                    <a:pt x="709409" y="5420480"/>
                  </a:moveTo>
                  <a:lnTo>
                    <a:pt x="438997" y="5691591"/>
                  </a:lnTo>
                  <a:lnTo>
                    <a:pt x="710108" y="5962003"/>
                  </a:lnTo>
                  <a:lnTo>
                    <a:pt x="974231" y="5962003"/>
                  </a:lnTo>
                  <a:lnTo>
                    <a:pt x="703120" y="5691591"/>
                  </a:lnTo>
                  <a:lnTo>
                    <a:pt x="972833" y="5420480"/>
                  </a:lnTo>
                  <a:close/>
                  <a:moveTo>
                    <a:pt x="2904148" y="5419782"/>
                  </a:moveTo>
                  <a:lnTo>
                    <a:pt x="2723874" y="5600057"/>
                  </a:lnTo>
                  <a:lnTo>
                    <a:pt x="2634435" y="5690195"/>
                  </a:lnTo>
                  <a:lnTo>
                    <a:pt x="2768593" y="5823653"/>
                  </a:lnTo>
                  <a:lnTo>
                    <a:pt x="2905546" y="5960606"/>
                  </a:lnTo>
                  <a:lnTo>
                    <a:pt x="3169669" y="5960606"/>
                  </a:lnTo>
                  <a:lnTo>
                    <a:pt x="2898558" y="5690195"/>
                  </a:lnTo>
                  <a:lnTo>
                    <a:pt x="2899956" y="5688797"/>
                  </a:lnTo>
                  <a:lnTo>
                    <a:pt x="3168271" y="5419782"/>
                  </a:lnTo>
                  <a:close/>
                  <a:moveTo>
                    <a:pt x="2355639" y="5419782"/>
                  </a:moveTo>
                  <a:lnTo>
                    <a:pt x="2085226" y="5690892"/>
                  </a:lnTo>
                  <a:lnTo>
                    <a:pt x="2356338" y="5961304"/>
                  </a:lnTo>
                  <a:lnTo>
                    <a:pt x="2620460" y="5961304"/>
                  </a:lnTo>
                  <a:lnTo>
                    <a:pt x="2349350" y="5690892"/>
                  </a:lnTo>
                  <a:lnTo>
                    <a:pt x="2533816" y="5506426"/>
                  </a:lnTo>
                  <a:lnTo>
                    <a:pt x="2619762" y="5420480"/>
                  </a:lnTo>
                  <a:lnTo>
                    <a:pt x="2361229" y="5420480"/>
                  </a:lnTo>
                  <a:close/>
                  <a:moveTo>
                    <a:pt x="1257919" y="5419782"/>
                  </a:moveTo>
                  <a:lnTo>
                    <a:pt x="987507" y="5690892"/>
                  </a:lnTo>
                  <a:lnTo>
                    <a:pt x="1258618" y="5961304"/>
                  </a:lnTo>
                  <a:lnTo>
                    <a:pt x="1522741" y="5961304"/>
                  </a:lnTo>
                  <a:lnTo>
                    <a:pt x="1251631" y="5690892"/>
                  </a:lnTo>
                  <a:lnTo>
                    <a:pt x="1436098" y="5506426"/>
                  </a:lnTo>
                  <a:lnTo>
                    <a:pt x="1522043" y="5419782"/>
                  </a:lnTo>
                  <a:close/>
                  <a:moveTo>
                    <a:pt x="3452658" y="5419084"/>
                  </a:moveTo>
                  <a:lnTo>
                    <a:pt x="3182246" y="5690195"/>
                  </a:lnTo>
                  <a:lnTo>
                    <a:pt x="3453357" y="5960606"/>
                  </a:lnTo>
                  <a:lnTo>
                    <a:pt x="3717481" y="5960606"/>
                  </a:lnTo>
                  <a:lnTo>
                    <a:pt x="3446370" y="5690195"/>
                  </a:lnTo>
                  <a:lnTo>
                    <a:pt x="3716782" y="5419084"/>
                  </a:lnTo>
                  <a:close/>
                  <a:moveTo>
                    <a:pt x="4549679" y="5417686"/>
                  </a:moveTo>
                  <a:lnTo>
                    <a:pt x="4279267" y="5688797"/>
                  </a:lnTo>
                  <a:lnTo>
                    <a:pt x="4550379" y="5959209"/>
                  </a:lnTo>
                  <a:lnTo>
                    <a:pt x="4811794" y="5959209"/>
                  </a:lnTo>
                  <a:lnTo>
                    <a:pt x="4665187" y="5812602"/>
                  </a:lnTo>
                  <a:lnTo>
                    <a:pt x="4665187" y="5810279"/>
                  </a:lnTo>
                  <a:lnTo>
                    <a:pt x="4543392" y="5688797"/>
                  </a:lnTo>
                  <a:lnTo>
                    <a:pt x="4665187" y="5566541"/>
                  </a:lnTo>
                  <a:lnTo>
                    <a:pt x="4665187" y="5562454"/>
                  </a:lnTo>
                  <a:lnTo>
                    <a:pt x="4809954" y="5417686"/>
                  </a:lnTo>
                  <a:close/>
                  <a:moveTo>
                    <a:pt x="4824163" y="5417116"/>
                  </a:moveTo>
                  <a:lnTo>
                    <a:pt x="4556667" y="5685303"/>
                  </a:lnTo>
                  <a:lnTo>
                    <a:pt x="4816942" y="5685303"/>
                  </a:lnTo>
                  <a:lnTo>
                    <a:pt x="5085129" y="5417116"/>
                  </a:lnTo>
                  <a:close/>
                  <a:moveTo>
                    <a:pt x="6467235" y="5415718"/>
                  </a:moveTo>
                  <a:lnTo>
                    <a:pt x="6196823" y="5686829"/>
                  </a:lnTo>
                  <a:lnTo>
                    <a:pt x="6467933" y="5957241"/>
                  </a:lnTo>
                  <a:lnTo>
                    <a:pt x="6732057" y="5957241"/>
                  </a:lnTo>
                  <a:lnTo>
                    <a:pt x="6460946" y="5686829"/>
                  </a:lnTo>
                  <a:lnTo>
                    <a:pt x="6731358" y="5415718"/>
                  </a:lnTo>
                  <a:close/>
                  <a:moveTo>
                    <a:pt x="5369515" y="5415718"/>
                  </a:moveTo>
                  <a:lnTo>
                    <a:pt x="5099104" y="5686829"/>
                  </a:lnTo>
                  <a:lnTo>
                    <a:pt x="5370215" y="5957241"/>
                  </a:lnTo>
                  <a:lnTo>
                    <a:pt x="5634338" y="5957241"/>
                  </a:lnTo>
                  <a:lnTo>
                    <a:pt x="5363227" y="5686829"/>
                  </a:lnTo>
                  <a:lnTo>
                    <a:pt x="5632939" y="5415718"/>
                  </a:lnTo>
                  <a:close/>
                  <a:moveTo>
                    <a:pt x="7564254" y="5415020"/>
                  </a:moveTo>
                  <a:lnTo>
                    <a:pt x="7383980" y="5595295"/>
                  </a:lnTo>
                  <a:lnTo>
                    <a:pt x="7294541" y="5685433"/>
                  </a:lnTo>
                  <a:lnTo>
                    <a:pt x="7428699" y="5818891"/>
                  </a:lnTo>
                  <a:lnTo>
                    <a:pt x="7565652" y="5955844"/>
                  </a:lnTo>
                  <a:lnTo>
                    <a:pt x="7829775" y="5955844"/>
                  </a:lnTo>
                  <a:lnTo>
                    <a:pt x="7558664" y="5685433"/>
                  </a:lnTo>
                  <a:lnTo>
                    <a:pt x="7560062" y="5684035"/>
                  </a:lnTo>
                  <a:lnTo>
                    <a:pt x="7828377" y="5415020"/>
                  </a:lnTo>
                  <a:close/>
                  <a:moveTo>
                    <a:pt x="7015746" y="5415020"/>
                  </a:moveTo>
                  <a:lnTo>
                    <a:pt x="6745333" y="5686130"/>
                  </a:lnTo>
                  <a:lnTo>
                    <a:pt x="7016444" y="5956542"/>
                  </a:lnTo>
                  <a:lnTo>
                    <a:pt x="7280566" y="5956542"/>
                  </a:lnTo>
                  <a:lnTo>
                    <a:pt x="7009456" y="5686130"/>
                  </a:lnTo>
                  <a:lnTo>
                    <a:pt x="7193922" y="5501664"/>
                  </a:lnTo>
                  <a:lnTo>
                    <a:pt x="7279868" y="5415718"/>
                  </a:lnTo>
                  <a:lnTo>
                    <a:pt x="7021335" y="5415718"/>
                  </a:lnTo>
                  <a:close/>
                  <a:moveTo>
                    <a:pt x="5918025" y="5415020"/>
                  </a:moveTo>
                  <a:lnTo>
                    <a:pt x="5647613" y="5686130"/>
                  </a:lnTo>
                  <a:lnTo>
                    <a:pt x="5918725" y="5956542"/>
                  </a:lnTo>
                  <a:lnTo>
                    <a:pt x="6182848" y="5956542"/>
                  </a:lnTo>
                  <a:lnTo>
                    <a:pt x="5911738" y="5686130"/>
                  </a:lnTo>
                  <a:lnTo>
                    <a:pt x="6096205" y="5501664"/>
                  </a:lnTo>
                  <a:lnTo>
                    <a:pt x="6182150" y="5415020"/>
                  </a:lnTo>
                  <a:close/>
                  <a:moveTo>
                    <a:pt x="8112764" y="5414322"/>
                  </a:moveTo>
                  <a:lnTo>
                    <a:pt x="7842352" y="5685433"/>
                  </a:lnTo>
                  <a:lnTo>
                    <a:pt x="8113463" y="5955844"/>
                  </a:lnTo>
                  <a:lnTo>
                    <a:pt x="8377587" y="5955844"/>
                  </a:lnTo>
                  <a:lnTo>
                    <a:pt x="8106476" y="5685433"/>
                  </a:lnTo>
                  <a:lnTo>
                    <a:pt x="8376888" y="5414322"/>
                  </a:lnTo>
                  <a:close/>
                  <a:moveTo>
                    <a:pt x="9482686" y="5413941"/>
                  </a:moveTo>
                  <a:lnTo>
                    <a:pt x="9216773" y="5680541"/>
                  </a:lnTo>
                  <a:lnTo>
                    <a:pt x="9478945" y="5680541"/>
                  </a:lnTo>
                  <a:lnTo>
                    <a:pt x="9745545" y="5413941"/>
                  </a:lnTo>
                  <a:close/>
                  <a:moveTo>
                    <a:pt x="9209785" y="5412924"/>
                  </a:moveTo>
                  <a:lnTo>
                    <a:pt x="8939373" y="5684035"/>
                  </a:lnTo>
                  <a:lnTo>
                    <a:pt x="9210484" y="5954447"/>
                  </a:lnTo>
                  <a:lnTo>
                    <a:pt x="9470623" y="5954447"/>
                  </a:lnTo>
                  <a:lnTo>
                    <a:pt x="9325603" y="5809427"/>
                  </a:lnTo>
                  <a:lnTo>
                    <a:pt x="9325603" y="5805827"/>
                  </a:lnTo>
                  <a:lnTo>
                    <a:pt x="9203497" y="5684035"/>
                  </a:lnTo>
                  <a:lnTo>
                    <a:pt x="9325603" y="5561467"/>
                  </a:lnTo>
                  <a:lnTo>
                    <a:pt x="9325603" y="5559279"/>
                  </a:lnTo>
                  <a:lnTo>
                    <a:pt x="9471958" y="5412924"/>
                  </a:lnTo>
                  <a:close/>
                  <a:moveTo>
                    <a:pt x="11127651" y="5412543"/>
                  </a:moveTo>
                  <a:lnTo>
                    <a:pt x="10857239" y="5683654"/>
                  </a:lnTo>
                  <a:lnTo>
                    <a:pt x="11128350" y="5954066"/>
                  </a:lnTo>
                  <a:lnTo>
                    <a:pt x="11392474" y="5954066"/>
                  </a:lnTo>
                  <a:lnTo>
                    <a:pt x="11121363" y="5683654"/>
                  </a:lnTo>
                  <a:lnTo>
                    <a:pt x="11391775" y="5412543"/>
                  </a:lnTo>
                  <a:close/>
                  <a:moveTo>
                    <a:pt x="10029932" y="5412543"/>
                  </a:moveTo>
                  <a:lnTo>
                    <a:pt x="9759520" y="5683654"/>
                  </a:lnTo>
                  <a:lnTo>
                    <a:pt x="10030631" y="5954066"/>
                  </a:lnTo>
                  <a:lnTo>
                    <a:pt x="10294754" y="5954066"/>
                  </a:lnTo>
                  <a:lnTo>
                    <a:pt x="10023643" y="5683654"/>
                  </a:lnTo>
                  <a:lnTo>
                    <a:pt x="10293356" y="5412543"/>
                  </a:lnTo>
                  <a:close/>
                  <a:moveTo>
                    <a:pt x="11676162" y="5411845"/>
                  </a:moveTo>
                  <a:lnTo>
                    <a:pt x="11405749" y="5682955"/>
                  </a:lnTo>
                  <a:lnTo>
                    <a:pt x="11676861" y="5953367"/>
                  </a:lnTo>
                  <a:lnTo>
                    <a:pt x="11940983" y="5953367"/>
                  </a:lnTo>
                  <a:lnTo>
                    <a:pt x="11669873" y="5682955"/>
                  </a:lnTo>
                  <a:lnTo>
                    <a:pt x="11854339" y="5498489"/>
                  </a:lnTo>
                  <a:lnTo>
                    <a:pt x="11940285" y="5412543"/>
                  </a:lnTo>
                  <a:lnTo>
                    <a:pt x="11681752" y="5412543"/>
                  </a:lnTo>
                  <a:close/>
                  <a:moveTo>
                    <a:pt x="10578442" y="5411845"/>
                  </a:moveTo>
                  <a:lnTo>
                    <a:pt x="10308030" y="5682955"/>
                  </a:lnTo>
                  <a:lnTo>
                    <a:pt x="10579141" y="5953367"/>
                  </a:lnTo>
                  <a:lnTo>
                    <a:pt x="10843264" y="5953367"/>
                  </a:lnTo>
                  <a:lnTo>
                    <a:pt x="10572154" y="5682955"/>
                  </a:lnTo>
                  <a:lnTo>
                    <a:pt x="10756621" y="5498489"/>
                  </a:lnTo>
                  <a:lnTo>
                    <a:pt x="10842566" y="5411845"/>
                  </a:lnTo>
                  <a:close/>
                  <a:moveTo>
                    <a:pt x="167886" y="5147274"/>
                  </a:moveTo>
                  <a:lnTo>
                    <a:pt x="438997" y="5417686"/>
                  </a:lnTo>
                  <a:lnTo>
                    <a:pt x="169284" y="5688797"/>
                  </a:lnTo>
                  <a:lnTo>
                    <a:pt x="432708" y="5688797"/>
                  </a:lnTo>
                  <a:lnTo>
                    <a:pt x="703120" y="5417686"/>
                  </a:lnTo>
                  <a:lnTo>
                    <a:pt x="568962" y="5284227"/>
                  </a:lnTo>
                  <a:lnTo>
                    <a:pt x="432009" y="5147274"/>
                  </a:lnTo>
                  <a:close/>
                  <a:moveTo>
                    <a:pt x="1814116" y="5146575"/>
                  </a:moveTo>
                  <a:lnTo>
                    <a:pt x="1942683" y="5275144"/>
                  </a:lnTo>
                  <a:lnTo>
                    <a:pt x="2084528" y="5416987"/>
                  </a:lnTo>
                  <a:lnTo>
                    <a:pt x="1814116" y="5688098"/>
                  </a:lnTo>
                  <a:lnTo>
                    <a:pt x="2078239" y="5688098"/>
                  </a:lnTo>
                  <a:lnTo>
                    <a:pt x="2348651" y="5416987"/>
                  </a:lnTo>
                  <a:lnTo>
                    <a:pt x="2343759" y="5412096"/>
                  </a:lnTo>
                  <a:lnTo>
                    <a:pt x="2078239" y="5146575"/>
                  </a:lnTo>
                  <a:close/>
                  <a:moveTo>
                    <a:pt x="2362625" y="5145876"/>
                  </a:moveTo>
                  <a:lnTo>
                    <a:pt x="2633736" y="5415590"/>
                  </a:lnTo>
                  <a:lnTo>
                    <a:pt x="2630942" y="5418385"/>
                  </a:lnTo>
                  <a:lnTo>
                    <a:pt x="2540804" y="5509220"/>
                  </a:lnTo>
                  <a:lnTo>
                    <a:pt x="2363324" y="5686700"/>
                  </a:lnTo>
                  <a:lnTo>
                    <a:pt x="2627447" y="5686700"/>
                  </a:lnTo>
                  <a:lnTo>
                    <a:pt x="2716886" y="5597262"/>
                  </a:lnTo>
                  <a:lnTo>
                    <a:pt x="2897859" y="5416288"/>
                  </a:lnTo>
                  <a:lnTo>
                    <a:pt x="2626749" y="5145876"/>
                  </a:lnTo>
                  <a:close/>
                  <a:moveTo>
                    <a:pt x="1264208" y="5145876"/>
                  </a:moveTo>
                  <a:lnTo>
                    <a:pt x="1535319" y="5415590"/>
                  </a:lnTo>
                  <a:lnTo>
                    <a:pt x="1532523" y="5418385"/>
                  </a:lnTo>
                  <a:lnTo>
                    <a:pt x="1442387" y="5509220"/>
                  </a:lnTo>
                  <a:lnTo>
                    <a:pt x="1264907" y="5686700"/>
                  </a:lnTo>
                  <a:lnTo>
                    <a:pt x="1529030" y="5686700"/>
                  </a:lnTo>
                  <a:lnTo>
                    <a:pt x="1618469" y="5597262"/>
                  </a:lnTo>
                  <a:lnTo>
                    <a:pt x="1799442" y="5416288"/>
                  </a:lnTo>
                  <a:lnTo>
                    <a:pt x="1528331" y="5145876"/>
                  </a:lnTo>
                  <a:close/>
                  <a:moveTo>
                    <a:pt x="715697" y="5145876"/>
                  </a:moveTo>
                  <a:lnTo>
                    <a:pt x="717095" y="5147274"/>
                  </a:lnTo>
                  <a:lnTo>
                    <a:pt x="986808" y="5416288"/>
                  </a:lnTo>
                  <a:lnTo>
                    <a:pt x="716396" y="5687399"/>
                  </a:lnTo>
                  <a:lnTo>
                    <a:pt x="980520" y="5687399"/>
                  </a:lnTo>
                  <a:lnTo>
                    <a:pt x="1250932" y="5416288"/>
                  </a:lnTo>
                  <a:lnTo>
                    <a:pt x="1245342" y="5411397"/>
                  </a:lnTo>
                  <a:lnTo>
                    <a:pt x="979821" y="5145876"/>
                  </a:lnTo>
                  <a:close/>
                  <a:moveTo>
                    <a:pt x="2911136" y="5145178"/>
                  </a:moveTo>
                  <a:lnTo>
                    <a:pt x="3041801" y="5274445"/>
                  </a:lnTo>
                  <a:lnTo>
                    <a:pt x="3182246" y="5414891"/>
                  </a:lnTo>
                  <a:lnTo>
                    <a:pt x="2911834" y="5686002"/>
                  </a:lnTo>
                  <a:lnTo>
                    <a:pt x="3175958" y="5686002"/>
                  </a:lnTo>
                  <a:lnTo>
                    <a:pt x="3446370" y="5415590"/>
                  </a:lnTo>
                  <a:lnTo>
                    <a:pt x="3175259" y="5145178"/>
                  </a:lnTo>
                  <a:close/>
                  <a:moveTo>
                    <a:pt x="3459646" y="5144479"/>
                  </a:moveTo>
                  <a:lnTo>
                    <a:pt x="3730757" y="5414891"/>
                  </a:lnTo>
                  <a:lnTo>
                    <a:pt x="3460345" y="5686002"/>
                  </a:lnTo>
                  <a:lnTo>
                    <a:pt x="3724468" y="5686002"/>
                  </a:lnTo>
                  <a:lnTo>
                    <a:pt x="3994880" y="5414891"/>
                  </a:lnTo>
                  <a:lnTo>
                    <a:pt x="3723769" y="5144479"/>
                  </a:lnTo>
                  <a:close/>
                  <a:moveTo>
                    <a:pt x="4008156" y="5143780"/>
                  </a:moveTo>
                  <a:lnTo>
                    <a:pt x="4279267" y="5414192"/>
                  </a:lnTo>
                  <a:lnTo>
                    <a:pt x="4008855" y="5685303"/>
                  </a:lnTo>
                  <a:lnTo>
                    <a:pt x="4207298" y="5685303"/>
                  </a:lnTo>
                  <a:lnTo>
                    <a:pt x="4272281" y="5685303"/>
                  </a:lnTo>
                  <a:lnTo>
                    <a:pt x="4543392" y="5414192"/>
                  </a:lnTo>
                  <a:lnTo>
                    <a:pt x="4409232" y="5280734"/>
                  </a:lnTo>
                  <a:lnTo>
                    <a:pt x="4272281" y="5143780"/>
                  </a:lnTo>
                  <a:close/>
                  <a:moveTo>
                    <a:pt x="4555270" y="5143081"/>
                  </a:moveTo>
                  <a:lnTo>
                    <a:pt x="4822307" y="5409430"/>
                  </a:lnTo>
                  <a:lnTo>
                    <a:pt x="5085129" y="5409430"/>
                  </a:lnTo>
                  <a:lnTo>
                    <a:pt x="4818091" y="5143081"/>
                  </a:lnTo>
                  <a:close/>
                  <a:moveTo>
                    <a:pt x="4828477" y="5142512"/>
                  </a:moveTo>
                  <a:lnTo>
                    <a:pt x="4828477" y="5142995"/>
                  </a:lnTo>
                  <a:lnTo>
                    <a:pt x="5099104" y="5412924"/>
                  </a:lnTo>
                  <a:lnTo>
                    <a:pt x="4829390" y="5684035"/>
                  </a:lnTo>
                  <a:lnTo>
                    <a:pt x="5092815" y="5684035"/>
                  </a:lnTo>
                  <a:lnTo>
                    <a:pt x="5363227" y="5412924"/>
                  </a:lnTo>
                  <a:lnTo>
                    <a:pt x="5229068" y="5279465"/>
                  </a:lnTo>
                  <a:lnTo>
                    <a:pt x="5092115" y="5142512"/>
                  </a:lnTo>
                  <a:close/>
                  <a:moveTo>
                    <a:pt x="6474223" y="5141813"/>
                  </a:moveTo>
                  <a:lnTo>
                    <a:pt x="6602789" y="5270382"/>
                  </a:lnTo>
                  <a:lnTo>
                    <a:pt x="6744635" y="5412225"/>
                  </a:lnTo>
                  <a:lnTo>
                    <a:pt x="6474223" y="5683336"/>
                  </a:lnTo>
                  <a:lnTo>
                    <a:pt x="6738346" y="5683336"/>
                  </a:lnTo>
                  <a:lnTo>
                    <a:pt x="7008758" y="5412225"/>
                  </a:lnTo>
                  <a:lnTo>
                    <a:pt x="7003865" y="5407334"/>
                  </a:lnTo>
                  <a:lnTo>
                    <a:pt x="6738346" y="5141813"/>
                  </a:lnTo>
                  <a:close/>
                  <a:moveTo>
                    <a:pt x="7022731" y="5141114"/>
                  </a:moveTo>
                  <a:lnTo>
                    <a:pt x="7293842" y="5410828"/>
                  </a:lnTo>
                  <a:lnTo>
                    <a:pt x="7291048" y="5413623"/>
                  </a:lnTo>
                  <a:lnTo>
                    <a:pt x="7200910" y="5504458"/>
                  </a:lnTo>
                  <a:lnTo>
                    <a:pt x="7023431" y="5681938"/>
                  </a:lnTo>
                  <a:lnTo>
                    <a:pt x="7287553" y="5681938"/>
                  </a:lnTo>
                  <a:lnTo>
                    <a:pt x="7376992" y="5592500"/>
                  </a:lnTo>
                  <a:lnTo>
                    <a:pt x="7557965" y="5411526"/>
                  </a:lnTo>
                  <a:lnTo>
                    <a:pt x="7286855" y="5141114"/>
                  </a:lnTo>
                  <a:close/>
                  <a:moveTo>
                    <a:pt x="5924314" y="5141114"/>
                  </a:moveTo>
                  <a:lnTo>
                    <a:pt x="6195425" y="5410828"/>
                  </a:lnTo>
                  <a:lnTo>
                    <a:pt x="6192630" y="5413623"/>
                  </a:lnTo>
                  <a:lnTo>
                    <a:pt x="6102494" y="5504458"/>
                  </a:lnTo>
                  <a:lnTo>
                    <a:pt x="5925013" y="5681938"/>
                  </a:lnTo>
                  <a:lnTo>
                    <a:pt x="6189136" y="5681938"/>
                  </a:lnTo>
                  <a:lnTo>
                    <a:pt x="6278575" y="5592500"/>
                  </a:lnTo>
                  <a:lnTo>
                    <a:pt x="6459548" y="5411526"/>
                  </a:lnTo>
                  <a:lnTo>
                    <a:pt x="6188437" y="5141114"/>
                  </a:lnTo>
                  <a:close/>
                  <a:moveTo>
                    <a:pt x="5375803" y="5141114"/>
                  </a:moveTo>
                  <a:lnTo>
                    <a:pt x="5377202" y="5142512"/>
                  </a:lnTo>
                  <a:lnTo>
                    <a:pt x="5646914" y="5411526"/>
                  </a:lnTo>
                  <a:lnTo>
                    <a:pt x="5376502" y="5682637"/>
                  </a:lnTo>
                  <a:lnTo>
                    <a:pt x="5640627" y="5682637"/>
                  </a:lnTo>
                  <a:lnTo>
                    <a:pt x="5911038" y="5411526"/>
                  </a:lnTo>
                  <a:lnTo>
                    <a:pt x="5905448" y="5406635"/>
                  </a:lnTo>
                  <a:lnTo>
                    <a:pt x="5639927" y="5141114"/>
                  </a:lnTo>
                  <a:close/>
                  <a:moveTo>
                    <a:pt x="7571242" y="5140416"/>
                  </a:moveTo>
                  <a:lnTo>
                    <a:pt x="7701907" y="5269683"/>
                  </a:lnTo>
                  <a:lnTo>
                    <a:pt x="7842352" y="5410129"/>
                  </a:lnTo>
                  <a:lnTo>
                    <a:pt x="7571940" y="5681240"/>
                  </a:lnTo>
                  <a:lnTo>
                    <a:pt x="7836064" y="5681240"/>
                  </a:lnTo>
                  <a:lnTo>
                    <a:pt x="8106476" y="5410828"/>
                  </a:lnTo>
                  <a:lnTo>
                    <a:pt x="7835365" y="5140416"/>
                  </a:lnTo>
                  <a:close/>
                  <a:moveTo>
                    <a:pt x="8119752" y="5139717"/>
                  </a:moveTo>
                  <a:lnTo>
                    <a:pt x="8390863" y="5410129"/>
                  </a:lnTo>
                  <a:lnTo>
                    <a:pt x="8120451" y="5681240"/>
                  </a:lnTo>
                  <a:lnTo>
                    <a:pt x="8384574" y="5681240"/>
                  </a:lnTo>
                  <a:lnTo>
                    <a:pt x="8654986" y="5410129"/>
                  </a:lnTo>
                  <a:lnTo>
                    <a:pt x="8383875" y="5139717"/>
                  </a:lnTo>
                  <a:close/>
                  <a:moveTo>
                    <a:pt x="9488582" y="5139337"/>
                  </a:moveTo>
                  <a:lnTo>
                    <a:pt x="9488582" y="5139510"/>
                  </a:lnTo>
                  <a:lnTo>
                    <a:pt x="9759520" y="5409749"/>
                  </a:lnTo>
                  <a:lnTo>
                    <a:pt x="9489807" y="5680860"/>
                  </a:lnTo>
                  <a:lnTo>
                    <a:pt x="9753231" y="5680860"/>
                  </a:lnTo>
                  <a:lnTo>
                    <a:pt x="10023643" y="5409749"/>
                  </a:lnTo>
                  <a:lnTo>
                    <a:pt x="9889485" y="5276290"/>
                  </a:lnTo>
                  <a:lnTo>
                    <a:pt x="9752532" y="5139337"/>
                  </a:lnTo>
                  <a:close/>
                  <a:moveTo>
                    <a:pt x="8668262" y="5139018"/>
                  </a:moveTo>
                  <a:lnTo>
                    <a:pt x="8939373" y="5409430"/>
                  </a:lnTo>
                  <a:lnTo>
                    <a:pt x="8668961" y="5680541"/>
                  </a:lnTo>
                  <a:lnTo>
                    <a:pt x="8867403" y="5680541"/>
                  </a:lnTo>
                  <a:lnTo>
                    <a:pt x="8932386" y="5680541"/>
                  </a:lnTo>
                  <a:lnTo>
                    <a:pt x="9203497" y="5409430"/>
                  </a:lnTo>
                  <a:lnTo>
                    <a:pt x="9069338" y="5275972"/>
                  </a:lnTo>
                  <a:lnTo>
                    <a:pt x="8932386" y="5139018"/>
                  </a:lnTo>
                  <a:close/>
                  <a:moveTo>
                    <a:pt x="11134639" y="5138638"/>
                  </a:moveTo>
                  <a:lnTo>
                    <a:pt x="11263206" y="5267207"/>
                  </a:lnTo>
                  <a:lnTo>
                    <a:pt x="11405051" y="5409050"/>
                  </a:lnTo>
                  <a:lnTo>
                    <a:pt x="11134639" y="5680161"/>
                  </a:lnTo>
                  <a:lnTo>
                    <a:pt x="11398762" y="5680161"/>
                  </a:lnTo>
                  <a:lnTo>
                    <a:pt x="11669174" y="5409050"/>
                  </a:lnTo>
                  <a:lnTo>
                    <a:pt x="11664282" y="5404159"/>
                  </a:lnTo>
                  <a:lnTo>
                    <a:pt x="11398762" y="5138638"/>
                  </a:lnTo>
                  <a:close/>
                  <a:moveTo>
                    <a:pt x="9215375" y="5138319"/>
                  </a:moveTo>
                  <a:lnTo>
                    <a:pt x="9484003" y="5406255"/>
                  </a:lnTo>
                  <a:lnTo>
                    <a:pt x="9745545" y="5406255"/>
                  </a:lnTo>
                  <a:lnTo>
                    <a:pt x="9476916" y="5138319"/>
                  </a:lnTo>
                  <a:close/>
                  <a:moveTo>
                    <a:pt x="10584731" y="5137939"/>
                  </a:moveTo>
                  <a:lnTo>
                    <a:pt x="10855842" y="5407653"/>
                  </a:lnTo>
                  <a:lnTo>
                    <a:pt x="10853046" y="5410448"/>
                  </a:lnTo>
                  <a:lnTo>
                    <a:pt x="10762910" y="5501283"/>
                  </a:lnTo>
                  <a:lnTo>
                    <a:pt x="10585430" y="5678763"/>
                  </a:lnTo>
                  <a:lnTo>
                    <a:pt x="10849553" y="5678763"/>
                  </a:lnTo>
                  <a:lnTo>
                    <a:pt x="10938992" y="5589325"/>
                  </a:lnTo>
                  <a:lnTo>
                    <a:pt x="11119965" y="5408351"/>
                  </a:lnTo>
                  <a:lnTo>
                    <a:pt x="10848854" y="5137939"/>
                  </a:lnTo>
                  <a:close/>
                  <a:moveTo>
                    <a:pt x="10036220" y="5137939"/>
                  </a:moveTo>
                  <a:lnTo>
                    <a:pt x="10037618" y="5139337"/>
                  </a:lnTo>
                  <a:lnTo>
                    <a:pt x="10307331" y="5408351"/>
                  </a:lnTo>
                  <a:lnTo>
                    <a:pt x="10036919" y="5679462"/>
                  </a:lnTo>
                  <a:lnTo>
                    <a:pt x="10301043" y="5679462"/>
                  </a:lnTo>
                  <a:lnTo>
                    <a:pt x="10571455" y="5408351"/>
                  </a:lnTo>
                  <a:lnTo>
                    <a:pt x="10565865" y="5403460"/>
                  </a:lnTo>
                  <a:lnTo>
                    <a:pt x="10300344" y="5137939"/>
                  </a:lnTo>
                  <a:close/>
                  <a:moveTo>
                    <a:pt x="708011" y="4871971"/>
                  </a:moveTo>
                  <a:lnTo>
                    <a:pt x="527737" y="5052944"/>
                  </a:lnTo>
                  <a:lnTo>
                    <a:pt x="438298" y="5143081"/>
                  </a:lnTo>
                  <a:lnTo>
                    <a:pt x="572456" y="5276540"/>
                  </a:lnTo>
                  <a:lnTo>
                    <a:pt x="709409" y="5413494"/>
                  </a:lnTo>
                  <a:lnTo>
                    <a:pt x="973532" y="5413494"/>
                  </a:lnTo>
                  <a:lnTo>
                    <a:pt x="702421" y="5143081"/>
                  </a:lnTo>
                  <a:lnTo>
                    <a:pt x="703819" y="5141684"/>
                  </a:lnTo>
                  <a:lnTo>
                    <a:pt x="972135" y="4871971"/>
                  </a:lnTo>
                  <a:close/>
                  <a:moveTo>
                    <a:pt x="1257220" y="4871272"/>
                  </a:moveTo>
                  <a:lnTo>
                    <a:pt x="986808" y="5142383"/>
                  </a:lnTo>
                  <a:lnTo>
                    <a:pt x="1257919" y="5412795"/>
                  </a:lnTo>
                  <a:lnTo>
                    <a:pt x="1522043" y="5412795"/>
                  </a:lnTo>
                  <a:lnTo>
                    <a:pt x="1250932" y="5142383"/>
                  </a:lnTo>
                  <a:lnTo>
                    <a:pt x="1521344" y="4871272"/>
                  </a:lnTo>
                  <a:close/>
                  <a:moveTo>
                    <a:pt x="2904148" y="4870573"/>
                  </a:moveTo>
                  <a:lnTo>
                    <a:pt x="2633736" y="5141684"/>
                  </a:lnTo>
                  <a:lnTo>
                    <a:pt x="2904847" y="5412096"/>
                  </a:lnTo>
                  <a:lnTo>
                    <a:pt x="3168271" y="5412096"/>
                  </a:lnTo>
                  <a:lnTo>
                    <a:pt x="3037607" y="5282130"/>
                  </a:lnTo>
                  <a:lnTo>
                    <a:pt x="2897162" y="5141684"/>
                  </a:lnTo>
                  <a:lnTo>
                    <a:pt x="3168271" y="4870573"/>
                  </a:lnTo>
                  <a:close/>
                  <a:moveTo>
                    <a:pt x="1805032" y="4870573"/>
                  </a:moveTo>
                  <a:lnTo>
                    <a:pt x="1534620" y="5141684"/>
                  </a:lnTo>
                  <a:lnTo>
                    <a:pt x="1805731" y="5412096"/>
                  </a:lnTo>
                  <a:lnTo>
                    <a:pt x="1807128" y="5413494"/>
                  </a:lnTo>
                  <a:lnTo>
                    <a:pt x="2071252" y="5413494"/>
                  </a:lnTo>
                  <a:lnTo>
                    <a:pt x="1939889" y="5282130"/>
                  </a:lnTo>
                  <a:lnTo>
                    <a:pt x="1802236" y="5144479"/>
                  </a:lnTo>
                  <a:lnTo>
                    <a:pt x="2071252" y="4870573"/>
                  </a:lnTo>
                  <a:close/>
                  <a:moveTo>
                    <a:pt x="3451960" y="4869875"/>
                  </a:moveTo>
                  <a:lnTo>
                    <a:pt x="3181548" y="5140985"/>
                  </a:lnTo>
                  <a:lnTo>
                    <a:pt x="3452658" y="5411397"/>
                  </a:lnTo>
                  <a:lnTo>
                    <a:pt x="3716782" y="5411397"/>
                  </a:lnTo>
                  <a:lnTo>
                    <a:pt x="3445671" y="5140985"/>
                  </a:lnTo>
                  <a:lnTo>
                    <a:pt x="3630138" y="4956518"/>
                  </a:lnTo>
                  <a:lnTo>
                    <a:pt x="3714686" y="4869875"/>
                  </a:lnTo>
                  <a:close/>
                  <a:moveTo>
                    <a:pt x="4000470" y="4869176"/>
                  </a:moveTo>
                  <a:lnTo>
                    <a:pt x="3730058" y="5140287"/>
                  </a:lnTo>
                  <a:lnTo>
                    <a:pt x="4001169" y="5410699"/>
                  </a:lnTo>
                  <a:lnTo>
                    <a:pt x="4265292" y="5410699"/>
                  </a:lnTo>
                  <a:lnTo>
                    <a:pt x="3994181" y="5140287"/>
                  </a:lnTo>
                  <a:lnTo>
                    <a:pt x="3995579" y="5138889"/>
                  </a:lnTo>
                  <a:lnTo>
                    <a:pt x="3994880" y="5138889"/>
                  </a:lnTo>
                  <a:lnTo>
                    <a:pt x="4263197" y="4869875"/>
                  </a:lnTo>
                  <a:lnTo>
                    <a:pt x="4004663" y="4869875"/>
                  </a:lnTo>
                  <a:lnTo>
                    <a:pt x="4006060" y="4869176"/>
                  </a:lnTo>
                  <a:close/>
                  <a:moveTo>
                    <a:pt x="4823465" y="4868606"/>
                  </a:moveTo>
                  <a:lnTo>
                    <a:pt x="4555968" y="5136792"/>
                  </a:lnTo>
                  <a:lnTo>
                    <a:pt x="4816244" y="5136792"/>
                  </a:lnTo>
                  <a:lnTo>
                    <a:pt x="4998484" y="4954551"/>
                  </a:lnTo>
                  <a:lnTo>
                    <a:pt x="5084429" y="4868606"/>
                  </a:lnTo>
                  <a:close/>
                  <a:moveTo>
                    <a:pt x="4548281" y="4868477"/>
                  </a:moveTo>
                  <a:lnTo>
                    <a:pt x="4367308" y="5049450"/>
                  </a:lnTo>
                  <a:lnTo>
                    <a:pt x="4368007" y="5050149"/>
                  </a:lnTo>
                  <a:lnTo>
                    <a:pt x="4278568" y="5140287"/>
                  </a:lnTo>
                  <a:lnTo>
                    <a:pt x="4412727" y="5273746"/>
                  </a:lnTo>
                  <a:lnTo>
                    <a:pt x="4548980" y="5410000"/>
                  </a:lnTo>
                  <a:lnTo>
                    <a:pt x="4810394" y="5410000"/>
                  </a:lnTo>
                  <a:lnTo>
                    <a:pt x="4665187" y="5264791"/>
                  </a:lnTo>
                  <a:lnTo>
                    <a:pt x="4665187" y="5262463"/>
                  </a:lnTo>
                  <a:lnTo>
                    <a:pt x="4541993" y="5139588"/>
                  </a:lnTo>
                  <a:lnTo>
                    <a:pt x="4665187" y="5016077"/>
                  </a:lnTo>
                  <a:lnTo>
                    <a:pt x="4665187" y="5013245"/>
                  </a:lnTo>
                  <a:lnTo>
                    <a:pt x="4809274" y="4868477"/>
                  </a:lnTo>
                  <a:close/>
                  <a:moveTo>
                    <a:pt x="2621159" y="4868477"/>
                  </a:moveTo>
                  <a:lnTo>
                    <a:pt x="2354940" y="4871272"/>
                  </a:lnTo>
                  <a:lnTo>
                    <a:pt x="2084528" y="5142383"/>
                  </a:lnTo>
                  <a:lnTo>
                    <a:pt x="2355639" y="5412795"/>
                  </a:lnTo>
                  <a:lnTo>
                    <a:pt x="2619762" y="5412795"/>
                  </a:lnTo>
                  <a:lnTo>
                    <a:pt x="2348651" y="5142383"/>
                  </a:lnTo>
                  <a:close/>
                  <a:moveTo>
                    <a:pt x="5368118" y="4867209"/>
                  </a:moveTo>
                  <a:lnTo>
                    <a:pt x="5187844" y="5048182"/>
                  </a:lnTo>
                  <a:lnTo>
                    <a:pt x="5098404" y="5138319"/>
                  </a:lnTo>
                  <a:lnTo>
                    <a:pt x="5232563" y="5271778"/>
                  </a:lnTo>
                  <a:lnTo>
                    <a:pt x="5369515" y="5408732"/>
                  </a:lnTo>
                  <a:lnTo>
                    <a:pt x="5633638" y="5408732"/>
                  </a:lnTo>
                  <a:lnTo>
                    <a:pt x="5362527" y="5138319"/>
                  </a:lnTo>
                  <a:lnTo>
                    <a:pt x="5363925" y="5136922"/>
                  </a:lnTo>
                  <a:lnTo>
                    <a:pt x="5632241" y="4867209"/>
                  </a:lnTo>
                  <a:close/>
                  <a:moveTo>
                    <a:pt x="5917326" y="4866510"/>
                  </a:moveTo>
                  <a:lnTo>
                    <a:pt x="5646914" y="5137621"/>
                  </a:lnTo>
                  <a:lnTo>
                    <a:pt x="5918025" y="5408033"/>
                  </a:lnTo>
                  <a:lnTo>
                    <a:pt x="6182150" y="5408033"/>
                  </a:lnTo>
                  <a:lnTo>
                    <a:pt x="5911038" y="5137621"/>
                  </a:lnTo>
                  <a:lnTo>
                    <a:pt x="6181450" y="4866510"/>
                  </a:lnTo>
                  <a:close/>
                  <a:moveTo>
                    <a:pt x="7564254" y="4865811"/>
                  </a:moveTo>
                  <a:lnTo>
                    <a:pt x="7293842" y="5136922"/>
                  </a:lnTo>
                  <a:lnTo>
                    <a:pt x="7564953" y="5407334"/>
                  </a:lnTo>
                  <a:lnTo>
                    <a:pt x="7828377" y="5407334"/>
                  </a:lnTo>
                  <a:lnTo>
                    <a:pt x="7697713" y="5277368"/>
                  </a:lnTo>
                  <a:lnTo>
                    <a:pt x="7557268" y="5136922"/>
                  </a:lnTo>
                  <a:lnTo>
                    <a:pt x="7828377" y="4865811"/>
                  </a:lnTo>
                  <a:close/>
                  <a:moveTo>
                    <a:pt x="6465139" y="4865811"/>
                  </a:moveTo>
                  <a:lnTo>
                    <a:pt x="6194726" y="5136922"/>
                  </a:lnTo>
                  <a:lnTo>
                    <a:pt x="6465837" y="5407334"/>
                  </a:lnTo>
                  <a:lnTo>
                    <a:pt x="6467235" y="5408732"/>
                  </a:lnTo>
                  <a:lnTo>
                    <a:pt x="6731358" y="5408732"/>
                  </a:lnTo>
                  <a:lnTo>
                    <a:pt x="6599996" y="5277368"/>
                  </a:lnTo>
                  <a:lnTo>
                    <a:pt x="6462342" y="5139717"/>
                  </a:lnTo>
                  <a:lnTo>
                    <a:pt x="6731358" y="4865811"/>
                  </a:lnTo>
                  <a:close/>
                  <a:moveTo>
                    <a:pt x="9481988" y="4865431"/>
                  </a:moveTo>
                  <a:lnTo>
                    <a:pt x="9216074" y="5132030"/>
                  </a:lnTo>
                  <a:lnTo>
                    <a:pt x="9478247" y="5132030"/>
                  </a:lnTo>
                  <a:lnTo>
                    <a:pt x="9658901" y="4951376"/>
                  </a:lnTo>
                  <a:lnTo>
                    <a:pt x="9744846" y="4865431"/>
                  </a:lnTo>
                  <a:close/>
                  <a:moveTo>
                    <a:pt x="8112066" y="4865113"/>
                  </a:moveTo>
                  <a:lnTo>
                    <a:pt x="7841654" y="5136223"/>
                  </a:lnTo>
                  <a:lnTo>
                    <a:pt x="8112764" y="5406635"/>
                  </a:lnTo>
                  <a:lnTo>
                    <a:pt x="8376888" y="5406635"/>
                  </a:lnTo>
                  <a:lnTo>
                    <a:pt x="8105777" y="5136223"/>
                  </a:lnTo>
                  <a:lnTo>
                    <a:pt x="8290244" y="4951756"/>
                  </a:lnTo>
                  <a:lnTo>
                    <a:pt x="8374792" y="4865113"/>
                  </a:lnTo>
                  <a:close/>
                  <a:moveTo>
                    <a:pt x="8660576" y="4864414"/>
                  </a:moveTo>
                  <a:lnTo>
                    <a:pt x="8390164" y="5135525"/>
                  </a:lnTo>
                  <a:lnTo>
                    <a:pt x="8661275" y="5405937"/>
                  </a:lnTo>
                  <a:lnTo>
                    <a:pt x="8925398" y="5405937"/>
                  </a:lnTo>
                  <a:lnTo>
                    <a:pt x="8654287" y="5135525"/>
                  </a:lnTo>
                  <a:lnTo>
                    <a:pt x="8655685" y="5134127"/>
                  </a:lnTo>
                  <a:lnTo>
                    <a:pt x="8654986" y="5134127"/>
                  </a:lnTo>
                  <a:lnTo>
                    <a:pt x="8923303" y="4865113"/>
                  </a:lnTo>
                  <a:lnTo>
                    <a:pt x="8664769" y="4865113"/>
                  </a:lnTo>
                  <a:lnTo>
                    <a:pt x="8666166" y="4864414"/>
                  </a:lnTo>
                  <a:close/>
                  <a:moveTo>
                    <a:pt x="10028534" y="4864034"/>
                  </a:moveTo>
                  <a:lnTo>
                    <a:pt x="9848260" y="5045007"/>
                  </a:lnTo>
                  <a:lnTo>
                    <a:pt x="9758821" y="5135144"/>
                  </a:lnTo>
                  <a:lnTo>
                    <a:pt x="9892979" y="5268603"/>
                  </a:lnTo>
                  <a:lnTo>
                    <a:pt x="10029932" y="5405557"/>
                  </a:lnTo>
                  <a:lnTo>
                    <a:pt x="10294055" y="5405557"/>
                  </a:lnTo>
                  <a:lnTo>
                    <a:pt x="10022944" y="5135144"/>
                  </a:lnTo>
                  <a:lnTo>
                    <a:pt x="10024342" y="5133747"/>
                  </a:lnTo>
                  <a:lnTo>
                    <a:pt x="10292658" y="4864034"/>
                  </a:lnTo>
                  <a:close/>
                  <a:moveTo>
                    <a:pt x="9208387" y="4863715"/>
                  </a:moveTo>
                  <a:lnTo>
                    <a:pt x="9027414" y="5044688"/>
                  </a:lnTo>
                  <a:lnTo>
                    <a:pt x="9028113" y="5045387"/>
                  </a:lnTo>
                  <a:lnTo>
                    <a:pt x="8938674" y="5135525"/>
                  </a:lnTo>
                  <a:lnTo>
                    <a:pt x="9072833" y="5268984"/>
                  </a:lnTo>
                  <a:lnTo>
                    <a:pt x="9209086" y="5405238"/>
                  </a:lnTo>
                  <a:lnTo>
                    <a:pt x="9469224" y="5405238"/>
                  </a:lnTo>
                  <a:lnTo>
                    <a:pt x="9325603" y="5261616"/>
                  </a:lnTo>
                  <a:lnTo>
                    <a:pt x="9325603" y="5258012"/>
                  </a:lnTo>
                  <a:lnTo>
                    <a:pt x="9202099" y="5134826"/>
                  </a:lnTo>
                  <a:lnTo>
                    <a:pt x="9325603" y="5011003"/>
                  </a:lnTo>
                  <a:lnTo>
                    <a:pt x="9325603" y="5010070"/>
                  </a:lnTo>
                  <a:lnTo>
                    <a:pt x="9471271" y="4863715"/>
                  </a:lnTo>
                  <a:close/>
                  <a:moveTo>
                    <a:pt x="7281265" y="4863715"/>
                  </a:moveTo>
                  <a:lnTo>
                    <a:pt x="7015046" y="4866510"/>
                  </a:lnTo>
                  <a:lnTo>
                    <a:pt x="6744635" y="5137621"/>
                  </a:lnTo>
                  <a:lnTo>
                    <a:pt x="7015746" y="5408033"/>
                  </a:lnTo>
                  <a:lnTo>
                    <a:pt x="7279868" y="5408033"/>
                  </a:lnTo>
                  <a:lnTo>
                    <a:pt x="7008758" y="5137621"/>
                  </a:lnTo>
                  <a:close/>
                  <a:moveTo>
                    <a:pt x="10577743" y="4863335"/>
                  </a:moveTo>
                  <a:lnTo>
                    <a:pt x="10307331" y="5134446"/>
                  </a:lnTo>
                  <a:lnTo>
                    <a:pt x="10578442" y="5404858"/>
                  </a:lnTo>
                  <a:lnTo>
                    <a:pt x="10842566" y="5404858"/>
                  </a:lnTo>
                  <a:lnTo>
                    <a:pt x="10571455" y="5134446"/>
                  </a:lnTo>
                  <a:lnTo>
                    <a:pt x="10841867" y="4863335"/>
                  </a:lnTo>
                  <a:close/>
                  <a:moveTo>
                    <a:pt x="11125555" y="4862636"/>
                  </a:moveTo>
                  <a:lnTo>
                    <a:pt x="10855143" y="5133747"/>
                  </a:lnTo>
                  <a:lnTo>
                    <a:pt x="11126254" y="5404159"/>
                  </a:lnTo>
                  <a:lnTo>
                    <a:pt x="11127651" y="5405557"/>
                  </a:lnTo>
                  <a:lnTo>
                    <a:pt x="11391775" y="5405557"/>
                  </a:lnTo>
                  <a:lnTo>
                    <a:pt x="11260412" y="5274193"/>
                  </a:lnTo>
                  <a:lnTo>
                    <a:pt x="11122759" y="5136542"/>
                  </a:lnTo>
                  <a:lnTo>
                    <a:pt x="11391775" y="4862636"/>
                  </a:lnTo>
                  <a:close/>
                  <a:moveTo>
                    <a:pt x="11941682" y="4860540"/>
                  </a:moveTo>
                  <a:lnTo>
                    <a:pt x="11675463" y="4863335"/>
                  </a:lnTo>
                  <a:lnTo>
                    <a:pt x="11405051" y="5134446"/>
                  </a:lnTo>
                  <a:lnTo>
                    <a:pt x="11676162" y="5404858"/>
                  </a:lnTo>
                  <a:lnTo>
                    <a:pt x="11940285" y="5404858"/>
                  </a:lnTo>
                  <a:lnTo>
                    <a:pt x="11669174" y="5134446"/>
                  </a:lnTo>
                  <a:close/>
                  <a:moveTo>
                    <a:pt x="166488" y="4598764"/>
                  </a:moveTo>
                  <a:lnTo>
                    <a:pt x="437599" y="4869176"/>
                  </a:lnTo>
                  <a:lnTo>
                    <a:pt x="434805" y="4871971"/>
                  </a:lnTo>
                  <a:lnTo>
                    <a:pt x="344667" y="4962807"/>
                  </a:lnTo>
                  <a:lnTo>
                    <a:pt x="167187" y="5139588"/>
                  </a:lnTo>
                  <a:lnTo>
                    <a:pt x="431311" y="5139588"/>
                  </a:lnTo>
                  <a:lnTo>
                    <a:pt x="520749" y="5050149"/>
                  </a:lnTo>
                  <a:lnTo>
                    <a:pt x="701722" y="4869176"/>
                  </a:lnTo>
                  <a:lnTo>
                    <a:pt x="430612" y="4598764"/>
                  </a:lnTo>
                  <a:close/>
                  <a:moveTo>
                    <a:pt x="715697" y="4598065"/>
                  </a:moveTo>
                  <a:lnTo>
                    <a:pt x="845663" y="4728030"/>
                  </a:lnTo>
                  <a:lnTo>
                    <a:pt x="986109" y="4867778"/>
                  </a:lnTo>
                  <a:lnTo>
                    <a:pt x="715697" y="5138889"/>
                  </a:lnTo>
                  <a:lnTo>
                    <a:pt x="979821" y="5138889"/>
                  </a:lnTo>
                  <a:lnTo>
                    <a:pt x="1250932" y="4868477"/>
                  </a:lnTo>
                  <a:lnTo>
                    <a:pt x="979821" y="4598065"/>
                  </a:lnTo>
                  <a:close/>
                  <a:moveTo>
                    <a:pt x="2911136" y="4597366"/>
                  </a:moveTo>
                  <a:lnTo>
                    <a:pt x="3040403" y="4725236"/>
                  </a:lnTo>
                  <a:lnTo>
                    <a:pt x="3040403" y="4725935"/>
                  </a:lnTo>
                  <a:lnTo>
                    <a:pt x="3182246" y="4867778"/>
                  </a:lnTo>
                  <a:lnTo>
                    <a:pt x="2911834" y="5138889"/>
                  </a:lnTo>
                  <a:lnTo>
                    <a:pt x="3175259" y="5138889"/>
                  </a:lnTo>
                  <a:lnTo>
                    <a:pt x="3445671" y="4867778"/>
                  </a:lnTo>
                  <a:lnTo>
                    <a:pt x="3440081" y="4862188"/>
                  </a:lnTo>
                  <a:lnTo>
                    <a:pt x="3439382" y="4862188"/>
                  </a:lnTo>
                  <a:lnTo>
                    <a:pt x="3173862" y="4597366"/>
                  </a:lnTo>
                  <a:close/>
                  <a:moveTo>
                    <a:pt x="1813417" y="4597366"/>
                  </a:moveTo>
                  <a:lnTo>
                    <a:pt x="1815507" y="4600154"/>
                  </a:lnTo>
                  <a:lnTo>
                    <a:pt x="1814814" y="4599463"/>
                  </a:lnTo>
                  <a:lnTo>
                    <a:pt x="1815513" y="4600162"/>
                  </a:lnTo>
                  <a:lnTo>
                    <a:pt x="1815507" y="4600154"/>
                  </a:lnTo>
                  <a:lnTo>
                    <a:pt x="2074046" y="4857996"/>
                  </a:lnTo>
                  <a:lnTo>
                    <a:pt x="2083829" y="4867079"/>
                  </a:lnTo>
                  <a:lnTo>
                    <a:pt x="2085925" y="4869176"/>
                  </a:lnTo>
                  <a:lnTo>
                    <a:pt x="1821102" y="5138889"/>
                  </a:lnTo>
                  <a:lnTo>
                    <a:pt x="2080335" y="5139588"/>
                  </a:lnTo>
                  <a:lnTo>
                    <a:pt x="2350049" y="4869176"/>
                  </a:lnTo>
                  <a:lnTo>
                    <a:pt x="2214493" y="4734319"/>
                  </a:lnTo>
                  <a:lnTo>
                    <a:pt x="2197724" y="4717549"/>
                  </a:lnTo>
                  <a:lnTo>
                    <a:pt x="2078239" y="4598764"/>
                  </a:lnTo>
                  <a:lnTo>
                    <a:pt x="2074046" y="4597366"/>
                  </a:lnTo>
                  <a:close/>
                  <a:moveTo>
                    <a:pt x="1263509" y="4597366"/>
                  </a:moveTo>
                  <a:lnTo>
                    <a:pt x="1534620" y="4867778"/>
                  </a:lnTo>
                  <a:lnTo>
                    <a:pt x="1264208" y="5138889"/>
                  </a:lnTo>
                  <a:lnTo>
                    <a:pt x="1528331" y="5138889"/>
                  </a:lnTo>
                  <a:lnTo>
                    <a:pt x="1798743" y="4867778"/>
                  </a:lnTo>
                  <a:lnTo>
                    <a:pt x="1527632" y="4597366"/>
                  </a:lnTo>
                  <a:close/>
                  <a:moveTo>
                    <a:pt x="2626749" y="4595968"/>
                  </a:moveTo>
                  <a:lnTo>
                    <a:pt x="2363324" y="4596667"/>
                  </a:lnTo>
                  <a:lnTo>
                    <a:pt x="2632339" y="4864984"/>
                  </a:lnTo>
                  <a:lnTo>
                    <a:pt x="2631641" y="4865683"/>
                  </a:lnTo>
                  <a:lnTo>
                    <a:pt x="2633038" y="4867079"/>
                  </a:lnTo>
                  <a:lnTo>
                    <a:pt x="2362625" y="5138190"/>
                  </a:lnTo>
                  <a:lnTo>
                    <a:pt x="2626749" y="5138190"/>
                  </a:lnTo>
                  <a:lnTo>
                    <a:pt x="2716886" y="5048053"/>
                  </a:lnTo>
                  <a:lnTo>
                    <a:pt x="2896463" y="4864984"/>
                  </a:lnTo>
                  <a:close/>
                  <a:moveTo>
                    <a:pt x="4555270" y="4595271"/>
                  </a:moveTo>
                  <a:lnTo>
                    <a:pt x="4822299" y="4861613"/>
                  </a:lnTo>
                  <a:lnTo>
                    <a:pt x="5084429" y="4860921"/>
                  </a:lnTo>
                  <a:lnTo>
                    <a:pt x="4818093" y="4595271"/>
                  </a:lnTo>
                  <a:close/>
                  <a:moveTo>
                    <a:pt x="4006759" y="4595271"/>
                  </a:moveTo>
                  <a:lnTo>
                    <a:pt x="4136725" y="4724537"/>
                  </a:lnTo>
                  <a:lnTo>
                    <a:pt x="4277172" y="4864984"/>
                  </a:lnTo>
                  <a:lnTo>
                    <a:pt x="4184238" y="4958615"/>
                  </a:lnTo>
                  <a:lnTo>
                    <a:pt x="4184937" y="4959313"/>
                  </a:lnTo>
                  <a:lnTo>
                    <a:pt x="4008156" y="5136792"/>
                  </a:lnTo>
                  <a:lnTo>
                    <a:pt x="4270883" y="5136792"/>
                  </a:lnTo>
                  <a:lnTo>
                    <a:pt x="4541295" y="4865683"/>
                  </a:lnTo>
                  <a:lnTo>
                    <a:pt x="4270183" y="4595271"/>
                  </a:lnTo>
                  <a:close/>
                  <a:moveTo>
                    <a:pt x="3458248" y="4595271"/>
                  </a:moveTo>
                  <a:lnTo>
                    <a:pt x="3729359" y="4865683"/>
                  </a:lnTo>
                  <a:lnTo>
                    <a:pt x="3730058" y="4866380"/>
                  </a:lnTo>
                  <a:lnTo>
                    <a:pt x="3459646" y="5137491"/>
                  </a:lnTo>
                  <a:lnTo>
                    <a:pt x="3723769" y="5137491"/>
                  </a:lnTo>
                  <a:lnTo>
                    <a:pt x="3813208" y="5047355"/>
                  </a:lnTo>
                  <a:lnTo>
                    <a:pt x="3812509" y="5047355"/>
                  </a:lnTo>
                  <a:lnTo>
                    <a:pt x="3993483" y="4866380"/>
                  </a:lnTo>
                  <a:lnTo>
                    <a:pt x="3988591" y="4860791"/>
                  </a:lnTo>
                  <a:lnTo>
                    <a:pt x="3722372" y="4595271"/>
                  </a:lnTo>
                  <a:close/>
                  <a:moveTo>
                    <a:pt x="4828477" y="4594002"/>
                  </a:moveTo>
                  <a:lnTo>
                    <a:pt x="4828477" y="4595879"/>
                  </a:lnTo>
                  <a:lnTo>
                    <a:pt x="5097706" y="4864414"/>
                  </a:lnTo>
                  <a:lnTo>
                    <a:pt x="5094911" y="4867209"/>
                  </a:lnTo>
                  <a:lnTo>
                    <a:pt x="5004773" y="4958045"/>
                  </a:lnTo>
                  <a:lnTo>
                    <a:pt x="4828477" y="5133648"/>
                  </a:lnTo>
                  <a:lnTo>
                    <a:pt x="4828477" y="5134826"/>
                  </a:lnTo>
                  <a:lnTo>
                    <a:pt x="5091417" y="5134826"/>
                  </a:lnTo>
                  <a:lnTo>
                    <a:pt x="5180855" y="5045387"/>
                  </a:lnTo>
                  <a:lnTo>
                    <a:pt x="5361829" y="4864414"/>
                  </a:lnTo>
                  <a:lnTo>
                    <a:pt x="5090718" y="4594002"/>
                  </a:lnTo>
                  <a:close/>
                  <a:moveTo>
                    <a:pt x="5375803" y="4593303"/>
                  </a:moveTo>
                  <a:lnTo>
                    <a:pt x="5505770" y="4723268"/>
                  </a:lnTo>
                  <a:lnTo>
                    <a:pt x="5646216" y="4863016"/>
                  </a:lnTo>
                  <a:lnTo>
                    <a:pt x="5375803" y="5134127"/>
                  </a:lnTo>
                  <a:lnTo>
                    <a:pt x="5639927" y="5134127"/>
                  </a:lnTo>
                  <a:lnTo>
                    <a:pt x="5911038" y="4863715"/>
                  </a:lnTo>
                  <a:lnTo>
                    <a:pt x="5639927" y="4593303"/>
                  </a:lnTo>
                  <a:close/>
                  <a:moveTo>
                    <a:pt x="7571242" y="4592604"/>
                  </a:moveTo>
                  <a:lnTo>
                    <a:pt x="7700509" y="4720474"/>
                  </a:lnTo>
                  <a:lnTo>
                    <a:pt x="7700509" y="4721173"/>
                  </a:lnTo>
                  <a:lnTo>
                    <a:pt x="7842352" y="4863016"/>
                  </a:lnTo>
                  <a:lnTo>
                    <a:pt x="7571940" y="5134127"/>
                  </a:lnTo>
                  <a:lnTo>
                    <a:pt x="7835365" y="5134127"/>
                  </a:lnTo>
                  <a:lnTo>
                    <a:pt x="8105777" y="4863016"/>
                  </a:lnTo>
                  <a:lnTo>
                    <a:pt x="8100187" y="4857426"/>
                  </a:lnTo>
                  <a:lnTo>
                    <a:pt x="8099488" y="4857426"/>
                  </a:lnTo>
                  <a:lnTo>
                    <a:pt x="7833968" y="4592604"/>
                  </a:lnTo>
                  <a:close/>
                  <a:moveTo>
                    <a:pt x="6473523" y="4592604"/>
                  </a:moveTo>
                  <a:lnTo>
                    <a:pt x="6475613" y="4595392"/>
                  </a:lnTo>
                  <a:lnTo>
                    <a:pt x="6474921" y="4594701"/>
                  </a:lnTo>
                  <a:lnTo>
                    <a:pt x="6475619" y="4595400"/>
                  </a:lnTo>
                  <a:lnTo>
                    <a:pt x="6475613" y="4595392"/>
                  </a:lnTo>
                  <a:lnTo>
                    <a:pt x="6734153" y="4853234"/>
                  </a:lnTo>
                  <a:lnTo>
                    <a:pt x="6743935" y="4862317"/>
                  </a:lnTo>
                  <a:lnTo>
                    <a:pt x="6746031" y="4864414"/>
                  </a:lnTo>
                  <a:lnTo>
                    <a:pt x="6481208" y="5134127"/>
                  </a:lnTo>
                  <a:lnTo>
                    <a:pt x="6740442" y="5134826"/>
                  </a:lnTo>
                  <a:lnTo>
                    <a:pt x="7010155" y="4864414"/>
                  </a:lnTo>
                  <a:lnTo>
                    <a:pt x="6874599" y="4729557"/>
                  </a:lnTo>
                  <a:lnTo>
                    <a:pt x="6857830" y="4712787"/>
                  </a:lnTo>
                  <a:lnTo>
                    <a:pt x="6738346" y="4594002"/>
                  </a:lnTo>
                  <a:lnTo>
                    <a:pt x="6734153" y="4592604"/>
                  </a:lnTo>
                  <a:close/>
                  <a:moveTo>
                    <a:pt x="5923616" y="4592604"/>
                  </a:moveTo>
                  <a:lnTo>
                    <a:pt x="6194726" y="4863016"/>
                  </a:lnTo>
                  <a:lnTo>
                    <a:pt x="5924314" y="5134127"/>
                  </a:lnTo>
                  <a:lnTo>
                    <a:pt x="6188437" y="5134127"/>
                  </a:lnTo>
                  <a:lnTo>
                    <a:pt x="6458849" y="4863016"/>
                  </a:lnTo>
                  <a:lnTo>
                    <a:pt x="6187739" y="4592604"/>
                  </a:lnTo>
                  <a:close/>
                  <a:moveTo>
                    <a:pt x="7286855" y="4591206"/>
                  </a:moveTo>
                  <a:lnTo>
                    <a:pt x="7023431" y="4591905"/>
                  </a:lnTo>
                  <a:lnTo>
                    <a:pt x="7292445" y="4860222"/>
                  </a:lnTo>
                  <a:lnTo>
                    <a:pt x="7291747" y="4860921"/>
                  </a:lnTo>
                  <a:lnTo>
                    <a:pt x="7293144" y="4862317"/>
                  </a:lnTo>
                  <a:lnTo>
                    <a:pt x="7022731" y="5133428"/>
                  </a:lnTo>
                  <a:lnTo>
                    <a:pt x="7286855" y="5133428"/>
                  </a:lnTo>
                  <a:lnTo>
                    <a:pt x="7376992" y="5043291"/>
                  </a:lnTo>
                  <a:lnTo>
                    <a:pt x="7556569" y="4860222"/>
                  </a:lnTo>
                  <a:close/>
                  <a:moveTo>
                    <a:pt x="9488582" y="4590827"/>
                  </a:moveTo>
                  <a:lnTo>
                    <a:pt x="9488582" y="4592394"/>
                  </a:lnTo>
                  <a:lnTo>
                    <a:pt x="9758122" y="4861239"/>
                  </a:lnTo>
                  <a:lnTo>
                    <a:pt x="9755328" y="4864034"/>
                  </a:lnTo>
                  <a:lnTo>
                    <a:pt x="9665190" y="4954870"/>
                  </a:lnTo>
                  <a:lnTo>
                    <a:pt x="9488582" y="5130783"/>
                  </a:lnTo>
                  <a:lnTo>
                    <a:pt x="9488582" y="5131651"/>
                  </a:lnTo>
                  <a:lnTo>
                    <a:pt x="9751834" y="5131651"/>
                  </a:lnTo>
                  <a:lnTo>
                    <a:pt x="9841272" y="5042212"/>
                  </a:lnTo>
                  <a:lnTo>
                    <a:pt x="10022245" y="4861239"/>
                  </a:lnTo>
                  <a:lnTo>
                    <a:pt x="9751135" y="4590827"/>
                  </a:lnTo>
                  <a:close/>
                  <a:moveTo>
                    <a:pt x="9215375" y="4590509"/>
                  </a:moveTo>
                  <a:lnTo>
                    <a:pt x="9483993" y="4858435"/>
                  </a:lnTo>
                  <a:lnTo>
                    <a:pt x="9744846" y="4857746"/>
                  </a:lnTo>
                  <a:lnTo>
                    <a:pt x="9476918" y="4590509"/>
                  </a:lnTo>
                  <a:close/>
                  <a:moveTo>
                    <a:pt x="8666865" y="4590509"/>
                  </a:moveTo>
                  <a:lnTo>
                    <a:pt x="8796831" y="4719775"/>
                  </a:lnTo>
                  <a:lnTo>
                    <a:pt x="8937277" y="4860222"/>
                  </a:lnTo>
                  <a:lnTo>
                    <a:pt x="8844344" y="4953853"/>
                  </a:lnTo>
                  <a:lnTo>
                    <a:pt x="8845043" y="4954551"/>
                  </a:lnTo>
                  <a:lnTo>
                    <a:pt x="8668262" y="5132030"/>
                  </a:lnTo>
                  <a:lnTo>
                    <a:pt x="8930988" y="5132030"/>
                  </a:lnTo>
                  <a:lnTo>
                    <a:pt x="9201400" y="4860921"/>
                  </a:lnTo>
                  <a:lnTo>
                    <a:pt x="8930289" y="4590509"/>
                  </a:lnTo>
                  <a:close/>
                  <a:moveTo>
                    <a:pt x="8118354" y="4590509"/>
                  </a:moveTo>
                  <a:lnTo>
                    <a:pt x="8389465" y="4860921"/>
                  </a:lnTo>
                  <a:lnTo>
                    <a:pt x="8390164" y="4861618"/>
                  </a:lnTo>
                  <a:lnTo>
                    <a:pt x="8119752" y="5132729"/>
                  </a:lnTo>
                  <a:lnTo>
                    <a:pt x="8383875" y="5132729"/>
                  </a:lnTo>
                  <a:lnTo>
                    <a:pt x="8473314" y="5042593"/>
                  </a:lnTo>
                  <a:lnTo>
                    <a:pt x="8472615" y="5042593"/>
                  </a:lnTo>
                  <a:lnTo>
                    <a:pt x="8653589" y="4861618"/>
                  </a:lnTo>
                  <a:lnTo>
                    <a:pt x="8648697" y="4856029"/>
                  </a:lnTo>
                  <a:lnTo>
                    <a:pt x="8382478" y="4590509"/>
                  </a:lnTo>
                  <a:close/>
                  <a:moveTo>
                    <a:pt x="10036220" y="4590128"/>
                  </a:moveTo>
                  <a:lnTo>
                    <a:pt x="10166186" y="4720093"/>
                  </a:lnTo>
                  <a:lnTo>
                    <a:pt x="10306632" y="4859841"/>
                  </a:lnTo>
                  <a:lnTo>
                    <a:pt x="10036220" y="5130952"/>
                  </a:lnTo>
                  <a:lnTo>
                    <a:pt x="10300344" y="5130952"/>
                  </a:lnTo>
                  <a:lnTo>
                    <a:pt x="10571455" y="4860540"/>
                  </a:lnTo>
                  <a:lnTo>
                    <a:pt x="10300344" y="4590128"/>
                  </a:lnTo>
                  <a:close/>
                  <a:moveTo>
                    <a:pt x="11133940" y="4589429"/>
                  </a:moveTo>
                  <a:lnTo>
                    <a:pt x="11136030" y="4592217"/>
                  </a:lnTo>
                  <a:lnTo>
                    <a:pt x="11135337" y="4591526"/>
                  </a:lnTo>
                  <a:lnTo>
                    <a:pt x="11136036" y="4592225"/>
                  </a:lnTo>
                  <a:lnTo>
                    <a:pt x="11136030" y="4592217"/>
                  </a:lnTo>
                  <a:lnTo>
                    <a:pt x="11394569" y="4850059"/>
                  </a:lnTo>
                  <a:lnTo>
                    <a:pt x="11404352" y="4859142"/>
                  </a:lnTo>
                  <a:lnTo>
                    <a:pt x="11406448" y="4861239"/>
                  </a:lnTo>
                  <a:lnTo>
                    <a:pt x="11141625" y="5130952"/>
                  </a:lnTo>
                  <a:lnTo>
                    <a:pt x="11400858" y="5131651"/>
                  </a:lnTo>
                  <a:lnTo>
                    <a:pt x="11670572" y="4861239"/>
                  </a:lnTo>
                  <a:lnTo>
                    <a:pt x="11535016" y="4726382"/>
                  </a:lnTo>
                  <a:lnTo>
                    <a:pt x="11518247" y="4709612"/>
                  </a:lnTo>
                  <a:lnTo>
                    <a:pt x="11398762" y="4590827"/>
                  </a:lnTo>
                  <a:lnTo>
                    <a:pt x="11394569" y="4589429"/>
                  </a:lnTo>
                  <a:close/>
                  <a:moveTo>
                    <a:pt x="10584032" y="4589429"/>
                  </a:moveTo>
                  <a:lnTo>
                    <a:pt x="10855143" y="4859841"/>
                  </a:lnTo>
                  <a:lnTo>
                    <a:pt x="10584731" y="5130952"/>
                  </a:lnTo>
                  <a:lnTo>
                    <a:pt x="10848854" y="5130952"/>
                  </a:lnTo>
                  <a:lnTo>
                    <a:pt x="11119266" y="4859841"/>
                  </a:lnTo>
                  <a:lnTo>
                    <a:pt x="10848155" y="4589429"/>
                  </a:lnTo>
                  <a:close/>
                  <a:moveTo>
                    <a:pt x="708011" y="4324160"/>
                  </a:moveTo>
                  <a:lnTo>
                    <a:pt x="437599" y="4595271"/>
                  </a:lnTo>
                  <a:lnTo>
                    <a:pt x="709409" y="4865683"/>
                  </a:lnTo>
                  <a:lnTo>
                    <a:pt x="972833" y="4865683"/>
                  </a:lnTo>
                  <a:lnTo>
                    <a:pt x="842169" y="4735716"/>
                  </a:lnTo>
                  <a:lnTo>
                    <a:pt x="701722" y="4595271"/>
                  </a:lnTo>
                  <a:lnTo>
                    <a:pt x="972135" y="4324160"/>
                  </a:lnTo>
                  <a:close/>
                  <a:moveTo>
                    <a:pt x="2354241" y="4323461"/>
                  </a:moveTo>
                  <a:lnTo>
                    <a:pt x="2083829" y="4594572"/>
                  </a:lnTo>
                  <a:lnTo>
                    <a:pt x="2353542" y="4863586"/>
                  </a:lnTo>
                  <a:lnTo>
                    <a:pt x="2616967" y="4863586"/>
                  </a:lnTo>
                  <a:lnTo>
                    <a:pt x="2347952" y="4594572"/>
                  </a:lnTo>
                  <a:lnTo>
                    <a:pt x="2348651" y="4593873"/>
                  </a:lnTo>
                  <a:lnTo>
                    <a:pt x="2347254" y="4592475"/>
                  </a:lnTo>
                  <a:lnTo>
                    <a:pt x="2615569" y="4323461"/>
                  </a:lnTo>
                  <a:close/>
                  <a:moveTo>
                    <a:pt x="1256521" y="4323461"/>
                  </a:moveTo>
                  <a:lnTo>
                    <a:pt x="986109" y="4594572"/>
                  </a:lnTo>
                  <a:lnTo>
                    <a:pt x="1257220" y="4864984"/>
                  </a:lnTo>
                  <a:lnTo>
                    <a:pt x="1521344" y="4864984"/>
                  </a:lnTo>
                  <a:lnTo>
                    <a:pt x="1250233" y="4594572"/>
                  </a:lnTo>
                  <a:lnTo>
                    <a:pt x="1520645" y="4323461"/>
                  </a:lnTo>
                  <a:lnTo>
                    <a:pt x="1392775" y="4323461"/>
                  </a:lnTo>
                  <a:close/>
                  <a:moveTo>
                    <a:pt x="1805731" y="4322762"/>
                  </a:moveTo>
                  <a:lnTo>
                    <a:pt x="1625456" y="4503735"/>
                  </a:lnTo>
                  <a:lnTo>
                    <a:pt x="1624758" y="4503735"/>
                  </a:lnTo>
                  <a:lnTo>
                    <a:pt x="1534620" y="4593873"/>
                  </a:lnTo>
                  <a:lnTo>
                    <a:pt x="1805032" y="4864984"/>
                  </a:lnTo>
                  <a:lnTo>
                    <a:pt x="2069155" y="4864984"/>
                  </a:lnTo>
                  <a:lnTo>
                    <a:pt x="1798044" y="4594572"/>
                  </a:lnTo>
                  <a:lnTo>
                    <a:pt x="1982512" y="4410104"/>
                  </a:lnTo>
                  <a:lnTo>
                    <a:pt x="1983211" y="4410104"/>
                  </a:lnTo>
                  <a:lnTo>
                    <a:pt x="2069155" y="4323461"/>
                  </a:lnTo>
                  <a:lnTo>
                    <a:pt x="1810622" y="4323461"/>
                  </a:lnTo>
                  <a:close/>
                  <a:moveTo>
                    <a:pt x="3450563" y="4321364"/>
                  </a:moveTo>
                  <a:lnTo>
                    <a:pt x="3269589" y="4503036"/>
                  </a:lnTo>
                  <a:lnTo>
                    <a:pt x="3270986" y="4503735"/>
                  </a:lnTo>
                  <a:lnTo>
                    <a:pt x="3181548" y="4593174"/>
                  </a:lnTo>
                  <a:lnTo>
                    <a:pt x="3451960" y="4862887"/>
                  </a:lnTo>
                  <a:lnTo>
                    <a:pt x="3715384" y="4862887"/>
                  </a:lnTo>
                  <a:lnTo>
                    <a:pt x="3444972" y="4593174"/>
                  </a:lnTo>
                  <a:lnTo>
                    <a:pt x="3444274" y="4592475"/>
                  </a:lnTo>
                  <a:lnTo>
                    <a:pt x="3714686" y="4321364"/>
                  </a:lnTo>
                  <a:close/>
                  <a:moveTo>
                    <a:pt x="2904847" y="4321364"/>
                  </a:moveTo>
                  <a:lnTo>
                    <a:pt x="2908341" y="4322762"/>
                  </a:lnTo>
                  <a:lnTo>
                    <a:pt x="2902751" y="4322762"/>
                  </a:lnTo>
                  <a:lnTo>
                    <a:pt x="2633736" y="4593174"/>
                  </a:lnTo>
                  <a:lnTo>
                    <a:pt x="2903449" y="4862188"/>
                  </a:lnTo>
                  <a:lnTo>
                    <a:pt x="3168271" y="4863586"/>
                  </a:lnTo>
                  <a:lnTo>
                    <a:pt x="2897162" y="4593174"/>
                  </a:lnTo>
                  <a:lnTo>
                    <a:pt x="2895764" y="4591776"/>
                  </a:lnTo>
                  <a:lnTo>
                    <a:pt x="3164778" y="4322063"/>
                  </a:lnTo>
                  <a:lnTo>
                    <a:pt x="2967035" y="4322063"/>
                  </a:lnTo>
                  <a:lnTo>
                    <a:pt x="2967733" y="4321364"/>
                  </a:lnTo>
                  <a:close/>
                  <a:moveTo>
                    <a:pt x="3999073" y="4320665"/>
                  </a:moveTo>
                  <a:lnTo>
                    <a:pt x="3728660" y="4591776"/>
                  </a:lnTo>
                  <a:lnTo>
                    <a:pt x="3999771" y="4862188"/>
                  </a:lnTo>
                  <a:lnTo>
                    <a:pt x="4263197" y="4862188"/>
                  </a:lnTo>
                  <a:lnTo>
                    <a:pt x="4133230" y="4732223"/>
                  </a:lnTo>
                  <a:lnTo>
                    <a:pt x="3992783" y="4591776"/>
                  </a:lnTo>
                  <a:lnTo>
                    <a:pt x="4263197" y="4320665"/>
                  </a:lnTo>
                  <a:close/>
                  <a:moveTo>
                    <a:pt x="4822057" y="4320097"/>
                  </a:moveTo>
                  <a:lnTo>
                    <a:pt x="4554570" y="4587584"/>
                  </a:lnTo>
                  <a:lnTo>
                    <a:pt x="4816244" y="4587584"/>
                  </a:lnTo>
                  <a:lnTo>
                    <a:pt x="5083731" y="4320097"/>
                  </a:lnTo>
                  <a:close/>
                  <a:moveTo>
                    <a:pt x="4547585" y="4319967"/>
                  </a:moveTo>
                  <a:lnTo>
                    <a:pt x="4277172" y="4591077"/>
                  </a:lnTo>
                  <a:lnTo>
                    <a:pt x="4548281" y="4861489"/>
                  </a:lnTo>
                  <a:lnTo>
                    <a:pt x="4810393" y="4861489"/>
                  </a:lnTo>
                  <a:lnTo>
                    <a:pt x="4808427" y="4859523"/>
                  </a:lnTo>
                  <a:lnTo>
                    <a:pt x="4665187" y="4716979"/>
                  </a:lnTo>
                  <a:lnTo>
                    <a:pt x="4665187" y="4714650"/>
                  </a:lnTo>
                  <a:lnTo>
                    <a:pt x="4541295" y="4591077"/>
                  </a:lnTo>
                  <a:lnTo>
                    <a:pt x="4665187" y="4466865"/>
                  </a:lnTo>
                  <a:lnTo>
                    <a:pt x="4665187" y="4464037"/>
                  </a:lnTo>
                  <a:lnTo>
                    <a:pt x="4808574" y="4319967"/>
                  </a:lnTo>
                  <a:close/>
                  <a:moveTo>
                    <a:pt x="5368118" y="4319398"/>
                  </a:moveTo>
                  <a:lnTo>
                    <a:pt x="5097706" y="4590509"/>
                  </a:lnTo>
                  <a:lnTo>
                    <a:pt x="5369515" y="4860921"/>
                  </a:lnTo>
                  <a:lnTo>
                    <a:pt x="5632939" y="4860921"/>
                  </a:lnTo>
                  <a:lnTo>
                    <a:pt x="5502275" y="4730954"/>
                  </a:lnTo>
                  <a:lnTo>
                    <a:pt x="5361829" y="4590509"/>
                  </a:lnTo>
                  <a:lnTo>
                    <a:pt x="5632241" y="4319398"/>
                  </a:lnTo>
                  <a:close/>
                  <a:moveTo>
                    <a:pt x="7014347" y="4318699"/>
                  </a:moveTo>
                  <a:lnTo>
                    <a:pt x="6743935" y="4589810"/>
                  </a:lnTo>
                  <a:lnTo>
                    <a:pt x="7013649" y="4858824"/>
                  </a:lnTo>
                  <a:lnTo>
                    <a:pt x="7277073" y="4858824"/>
                  </a:lnTo>
                  <a:lnTo>
                    <a:pt x="7008058" y="4589810"/>
                  </a:lnTo>
                  <a:lnTo>
                    <a:pt x="7008758" y="4589111"/>
                  </a:lnTo>
                  <a:lnTo>
                    <a:pt x="7007360" y="4587713"/>
                  </a:lnTo>
                  <a:lnTo>
                    <a:pt x="7275675" y="4318699"/>
                  </a:lnTo>
                  <a:close/>
                  <a:moveTo>
                    <a:pt x="5916628" y="4318699"/>
                  </a:moveTo>
                  <a:lnTo>
                    <a:pt x="5646216" y="4589810"/>
                  </a:lnTo>
                  <a:lnTo>
                    <a:pt x="5917326" y="4860222"/>
                  </a:lnTo>
                  <a:lnTo>
                    <a:pt x="6181450" y="4860222"/>
                  </a:lnTo>
                  <a:lnTo>
                    <a:pt x="5910339" y="4589810"/>
                  </a:lnTo>
                  <a:lnTo>
                    <a:pt x="6180751" y="4318699"/>
                  </a:lnTo>
                  <a:lnTo>
                    <a:pt x="6052882" y="4318699"/>
                  </a:lnTo>
                  <a:close/>
                  <a:moveTo>
                    <a:pt x="6465837" y="4318000"/>
                  </a:moveTo>
                  <a:lnTo>
                    <a:pt x="6285563" y="4498973"/>
                  </a:lnTo>
                  <a:lnTo>
                    <a:pt x="6284865" y="4498973"/>
                  </a:lnTo>
                  <a:lnTo>
                    <a:pt x="6194726" y="4589111"/>
                  </a:lnTo>
                  <a:lnTo>
                    <a:pt x="6465139" y="4860222"/>
                  </a:lnTo>
                  <a:lnTo>
                    <a:pt x="6729262" y="4860222"/>
                  </a:lnTo>
                  <a:lnTo>
                    <a:pt x="6458151" y="4589810"/>
                  </a:lnTo>
                  <a:lnTo>
                    <a:pt x="6642619" y="4405342"/>
                  </a:lnTo>
                  <a:lnTo>
                    <a:pt x="6643317" y="4405342"/>
                  </a:lnTo>
                  <a:lnTo>
                    <a:pt x="6729262" y="4318699"/>
                  </a:lnTo>
                  <a:lnTo>
                    <a:pt x="6470728" y="4318699"/>
                  </a:lnTo>
                  <a:close/>
                  <a:moveTo>
                    <a:pt x="9480576" y="4316922"/>
                  </a:moveTo>
                  <a:lnTo>
                    <a:pt x="9214676" y="4582822"/>
                  </a:lnTo>
                  <a:lnTo>
                    <a:pt x="9478247" y="4582822"/>
                  </a:lnTo>
                  <a:lnTo>
                    <a:pt x="9744147" y="4316922"/>
                  </a:lnTo>
                  <a:close/>
                  <a:moveTo>
                    <a:pt x="8110669" y="4316602"/>
                  </a:moveTo>
                  <a:lnTo>
                    <a:pt x="7929695" y="4498274"/>
                  </a:lnTo>
                  <a:lnTo>
                    <a:pt x="7931092" y="4498973"/>
                  </a:lnTo>
                  <a:lnTo>
                    <a:pt x="7841654" y="4588412"/>
                  </a:lnTo>
                  <a:lnTo>
                    <a:pt x="8112066" y="4858125"/>
                  </a:lnTo>
                  <a:lnTo>
                    <a:pt x="8375490" y="4858125"/>
                  </a:lnTo>
                  <a:lnTo>
                    <a:pt x="8105078" y="4588412"/>
                  </a:lnTo>
                  <a:lnTo>
                    <a:pt x="8104380" y="4587713"/>
                  </a:lnTo>
                  <a:lnTo>
                    <a:pt x="8374792" y="4316602"/>
                  </a:lnTo>
                  <a:close/>
                  <a:moveTo>
                    <a:pt x="7564953" y="4316602"/>
                  </a:moveTo>
                  <a:lnTo>
                    <a:pt x="7568447" y="4318000"/>
                  </a:lnTo>
                  <a:lnTo>
                    <a:pt x="7562857" y="4318000"/>
                  </a:lnTo>
                  <a:lnTo>
                    <a:pt x="7293842" y="4588412"/>
                  </a:lnTo>
                  <a:lnTo>
                    <a:pt x="7563555" y="4857426"/>
                  </a:lnTo>
                  <a:lnTo>
                    <a:pt x="7828377" y="4858824"/>
                  </a:lnTo>
                  <a:lnTo>
                    <a:pt x="7557268" y="4588412"/>
                  </a:lnTo>
                  <a:lnTo>
                    <a:pt x="7555870" y="4587014"/>
                  </a:lnTo>
                  <a:lnTo>
                    <a:pt x="7824884" y="4317301"/>
                  </a:lnTo>
                  <a:lnTo>
                    <a:pt x="7627141" y="4317301"/>
                  </a:lnTo>
                  <a:lnTo>
                    <a:pt x="7627839" y="4316602"/>
                  </a:lnTo>
                  <a:close/>
                  <a:moveTo>
                    <a:pt x="10028534" y="4316223"/>
                  </a:moveTo>
                  <a:lnTo>
                    <a:pt x="9758122" y="4587334"/>
                  </a:lnTo>
                  <a:lnTo>
                    <a:pt x="10029932" y="4857746"/>
                  </a:lnTo>
                  <a:lnTo>
                    <a:pt x="10293356" y="4857746"/>
                  </a:lnTo>
                  <a:lnTo>
                    <a:pt x="10162692" y="4727779"/>
                  </a:lnTo>
                  <a:lnTo>
                    <a:pt x="10022245" y="4587334"/>
                  </a:lnTo>
                  <a:lnTo>
                    <a:pt x="10292658" y="4316223"/>
                  </a:lnTo>
                  <a:close/>
                  <a:moveTo>
                    <a:pt x="8659179" y="4315903"/>
                  </a:moveTo>
                  <a:lnTo>
                    <a:pt x="8388766" y="4587014"/>
                  </a:lnTo>
                  <a:lnTo>
                    <a:pt x="8659877" y="4857426"/>
                  </a:lnTo>
                  <a:lnTo>
                    <a:pt x="8923303" y="4857426"/>
                  </a:lnTo>
                  <a:lnTo>
                    <a:pt x="8793336" y="4727461"/>
                  </a:lnTo>
                  <a:lnTo>
                    <a:pt x="8652889" y="4587014"/>
                  </a:lnTo>
                  <a:lnTo>
                    <a:pt x="8923303" y="4315903"/>
                  </a:lnTo>
                  <a:close/>
                  <a:moveTo>
                    <a:pt x="11674764" y="4315524"/>
                  </a:moveTo>
                  <a:lnTo>
                    <a:pt x="11404352" y="4586635"/>
                  </a:lnTo>
                  <a:lnTo>
                    <a:pt x="11674065" y="4855649"/>
                  </a:lnTo>
                  <a:lnTo>
                    <a:pt x="11937490" y="4855649"/>
                  </a:lnTo>
                  <a:lnTo>
                    <a:pt x="11668475" y="4586635"/>
                  </a:lnTo>
                  <a:lnTo>
                    <a:pt x="11669174" y="4585936"/>
                  </a:lnTo>
                  <a:lnTo>
                    <a:pt x="11667777" y="4584538"/>
                  </a:lnTo>
                  <a:lnTo>
                    <a:pt x="11936092" y="4315524"/>
                  </a:lnTo>
                  <a:close/>
                  <a:moveTo>
                    <a:pt x="10577044" y="4315524"/>
                  </a:moveTo>
                  <a:lnTo>
                    <a:pt x="10306632" y="4586635"/>
                  </a:lnTo>
                  <a:lnTo>
                    <a:pt x="10577743" y="4857047"/>
                  </a:lnTo>
                  <a:lnTo>
                    <a:pt x="10841867" y="4857047"/>
                  </a:lnTo>
                  <a:lnTo>
                    <a:pt x="10570756" y="4586635"/>
                  </a:lnTo>
                  <a:lnTo>
                    <a:pt x="10841168" y="4315524"/>
                  </a:lnTo>
                  <a:lnTo>
                    <a:pt x="10713298" y="4315524"/>
                  </a:lnTo>
                  <a:close/>
                  <a:moveTo>
                    <a:pt x="9207690" y="4315205"/>
                  </a:moveTo>
                  <a:lnTo>
                    <a:pt x="8937277" y="4586315"/>
                  </a:lnTo>
                  <a:lnTo>
                    <a:pt x="9208387" y="4856727"/>
                  </a:lnTo>
                  <a:lnTo>
                    <a:pt x="9469223" y="4856727"/>
                  </a:lnTo>
                  <a:lnTo>
                    <a:pt x="9468844" y="4856348"/>
                  </a:lnTo>
                  <a:lnTo>
                    <a:pt x="9325603" y="4713804"/>
                  </a:lnTo>
                  <a:lnTo>
                    <a:pt x="9325603" y="4710198"/>
                  </a:lnTo>
                  <a:lnTo>
                    <a:pt x="9201400" y="4586315"/>
                  </a:lnTo>
                  <a:lnTo>
                    <a:pt x="9325603" y="4461792"/>
                  </a:lnTo>
                  <a:lnTo>
                    <a:pt x="9325603" y="4460862"/>
                  </a:lnTo>
                  <a:lnTo>
                    <a:pt x="9470571" y="4315205"/>
                  </a:lnTo>
                  <a:close/>
                  <a:moveTo>
                    <a:pt x="11126254" y="4314825"/>
                  </a:moveTo>
                  <a:lnTo>
                    <a:pt x="10945979" y="4495798"/>
                  </a:lnTo>
                  <a:lnTo>
                    <a:pt x="10945281" y="4495798"/>
                  </a:lnTo>
                  <a:lnTo>
                    <a:pt x="10855143" y="4585936"/>
                  </a:lnTo>
                  <a:lnTo>
                    <a:pt x="11125555" y="4857047"/>
                  </a:lnTo>
                  <a:lnTo>
                    <a:pt x="11389678" y="4857047"/>
                  </a:lnTo>
                  <a:lnTo>
                    <a:pt x="11118567" y="4586635"/>
                  </a:lnTo>
                  <a:lnTo>
                    <a:pt x="11303035" y="4402167"/>
                  </a:lnTo>
                  <a:lnTo>
                    <a:pt x="11303734" y="4402167"/>
                  </a:lnTo>
                  <a:lnTo>
                    <a:pt x="11389678" y="4315524"/>
                  </a:lnTo>
                  <a:lnTo>
                    <a:pt x="11131145" y="4315524"/>
                  </a:lnTo>
                  <a:close/>
                  <a:moveTo>
                    <a:pt x="717155" y="4052402"/>
                  </a:moveTo>
                  <a:lnTo>
                    <a:pt x="986808" y="4320665"/>
                  </a:lnTo>
                  <a:lnTo>
                    <a:pt x="716396" y="4591776"/>
                  </a:lnTo>
                  <a:lnTo>
                    <a:pt x="979821" y="4591776"/>
                  </a:lnTo>
                  <a:lnTo>
                    <a:pt x="1250233" y="4320665"/>
                  </a:lnTo>
                  <a:lnTo>
                    <a:pt x="1116075" y="4187206"/>
                  </a:lnTo>
                  <a:lnTo>
                    <a:pt x="1019702" y="4090833"/>
                  </a:lnTo>
                  <a:lnTo>
                    <a:pt x="1018761" y="4090833"/>
                  </a:lnTo>
                  <a:lnTo>
                    <a:pt x="980330" y="4052402"/>
                  </a:lnTo>
                  <a:close/>
                  <a:moveTo>
                    <a:pt x="168395" y="4052402"/>
                  </a:moveTo>
                  <a:lnTo>
                    <a:pt x="206127" y="4090134"/>
                  </a:lnTo>
                  <a:lnTo>
                    <a:pt x="205772" y="4090134"/>
                  </a:lnTo>
                  <a:lnTo>
                    <a:pt x="437599" y="4321364"/>
                  </a:lnTo>
                  <a:lnTo>
                    <a:pt x="167187" y="4591776"/>
                  </a:lnTo>
                  <a:lnTo>
                    <a:pt x="431311" y="4591776"/>
                  </a:lnTo>
                  <a:lnTo>
                    <a:pt x="701722" y="4320665"/>
                  </a:lnTo>
                  <a:lnTo>
                    <a:pt x="470596" y="4090134"/>
                  </a:lnTo>
                  <a:lnTo>
                    <a:pt x="470250" y="4090134"/>
                  </a:lnTo>
                  <a:lnTo>
                    <a:pt x="432518" y="4052402"/>
                  </a:lnTo>
                  <a:close/>
                  <a:moveTo>
                    <a:pt x="1816265" y="4051703"/>
                  </a:moveTo>
                  <a:lnTo>
                    <a:pt x="1942683" y="4178123"/>
                  </a:lnTo>
                  <a:lnTo>
                    <a:pt x="2083829" y="4318569"/>
                  </a:lnTo>
                  <a:lnTo>
                    <a:pt x="1813417" y="4589680"/>
                  </a:lnTo>
                  <a:lnTo>
                    <a:pt x="2076842" y="4589680"/>
                  </a:lnTo>
                  <a:lnTo>
                    <a:pt x="2347254" y="4319268"/>
                  </a:lnTo>
                  <a:lnTo>
                    <a:pt x="2214493" y="4186507"/>
                  </a:lnTo>
                  <a:lnTo>
                    <a:pt x="2214493" y="4185809"/>
                  </a:lnTo>
                  <a:lnTo>
                    <a:pt x="2119736" y="4091531"/>
                  </a:lnTo>
                  <a:lnTo>
                    <a:pt x="2116480" y="4091531"/>
                  </a:lnTo>
                  <a:lnTo>
                    <a:pt x="2076652" y="4051703"/>
                  </a:lnTo>
                  <a:close/>
                  <a:moveTo>
                    <a:pt x="1266369" y="4051703"/>
                  </a:moveTo>
                  <a:lnTo>
                    <a:pt x="1534620" y="4318569"/>
                  </a:lnTo>
                  <a:lnTo>
                    <a:pt x="1531824" y="4321364"/>
                  </a:lnTo>
                  <a:lnTo>
                    <a:pt x="1441688" y="4412201"/>
                  </a:lnTo>
                  <a:lnTo>
                    <a:pt x="1440989" y="4412201"/>
                  </a:lnTo>
                  <a:lnTo>
                    <a:pt x="1263509" y="4590379"/>
                  </a:lnTo>
                  <a:lnTo>
                    <a:pt x="1527632" y="4590379"/>
                  </a:lnTo>
                  <a:lnTo>
                    <a:pt x="1798044" y="4319967"/>
                  </a:lnTo>
                  <a:lnTo>
                    <a:pt x="1793153" y="4315076"/>
                  </a:lnTo>
                  <a:lnTo>
                    <a:pt x="1795249" y="4315775"/>
                  </a:lnTo>
                  <a:lnTo>
                    <a:pt x="1569718" y="4090833"/>
                  </a:lnTo>
                  <a:lnTo>
                    <a:pt x="1567271" y="4090833"/>
                  </a:lnTo>
                  <a:lnTo>
                    <a:pt x="1528141" y="4051703"/>
                  </a:lnTo>
                  <a:close/>
                  <a:moveTo>
                    <a:pt x="2363377" y="4051005"/>
                  </a:moveTo>
                  <a:lnTo>
                    <a:pt x="2630942" y="4318569"/>
                  </a:lnTo>
                  <a:lnTo>
                    <a:pt x="2632339" y="4319967"/>
                  </a:lnTo>
                  <a:lnTo>
                    <a:pt x="2363324" y="4589680"/>
                  </a:lnTo>
                  <a:lnTo>
                    <a:pt x="2625352" y="4589680"/>
                  </a:lnTo>
                  <a:lnTo>
                    <a:pt x="2895065" y="4319268"/>
                  </a:lnTo>
                  <a:lnTo>
                    <a:pt x="2890873" y="4315076"/>
                  </a:lnTo>
                  <a:lnTo>
                    <a:pt x="2892968" y="4315775"/>
                  </a:lnTo>
                  <a:lnTo>
                    <a:pt x="2668140" y="4091531"/>
                  </a:lnTo>
                  <a:lnTo>
                    <a:pt x="2666387" y="4091531"/>
                  </a:lnTo>
                  <a:lnTo>
                    <a:pt x="2625861" y="4051005"/>
                  </a:lnTo>
                  <a:close/>
                  <a:moveTo>
                    <a:pt x="2911879" y="4049607"/>
                  </a:moveTo>
                  <a:lnTo>
                    <a:pt x="3179452" y="4317871"/>
                  </a:lnTo>
                  <a:lnTo>
                    <a:pt x="3087218" y="4410803"/>
                  </a:lnTo>
                  <a:lnTo>
                    <a:pt x="3087917" y="4411502"/>
                  </a:lnTo>
                  <a:lnTo>
                    <a:pt x="2911834" y="4587584"/>
                  </a:lnTo>
                  <a:lnTo>
                    <a:pt x="3108180" y="4587584"/>
                  </a:lnTo>
                  <a:lnTo>
                    <a:pt x="3107481" y="4588982"/>
                  </a:lnTo>
                  <a:lnTo>
                    <a:pt x="3173163" y="4588982"/>
                  </a:lnTo>
                  <a:lnTo>
                    <a:pt x="3443575" y="4317871"/>
                  </a:lnTo>
                  <a:lnTo>
                    <a:pt x="3215951" y="4090833"/>
                  </a:lnTo>
                  <a:lnTo>
                    <a:pt x="3215596" y="4090833"/>
                  </a:lnTo>
                  <a:lnTo>
                    <a:pt x="3174371" y="4049607"/>
                  </a:lnTo>
                  <a:close/>
                  <a:moveTo>
                    <a:pt x="3459004" y="4048908"/>
                  </a:moveTo>
                  <a:lnTo>
                    <a:pt x="3728660" y="4317871"/>
                  </a:lnTo>
                  <a:lnTo>
                    <a:pt x="3458248" y="4588283"/>
                  </a:lnTo>
                  <a:lnTo>
                    <a:pt x="3722372" y="4588283"/>
                  </a:lnTo>
                  <a:lnTo>
                    <a:pt x="3992783" y="4317871"/>
                  </a:lnTo>
                  <a:lnTo>
                    <a:pt x="3765160" y="4090833"/>
                  </a:lnTo>
                  <a:lnTo>
                    <a:pt x="3764107" y="4090833"/>
                  </a:lnTo>
                  <a:lnTo>
                    <a:pt x="3722183" y="4048908"/>
                  </a:lnTo>
                  <a:close/>
                  <a:moveTo>
                    <a:pt x="4007520" y="4048209"/>
                  </a:moveTo>
                  <a:lnTo>
                    <a:pt x="4277870" y="4316473"/>
                  </a:lnTo>
                  <a:lnTo>
                    <a:pt x="4007457" y="4587584"/>
                  </a:lnTo>
                  <a:lnTo>
                    <a:pt x="4270883" y="4587584"/>
                  </a:lnTo>
                  <a:lnTo>
                    <a:pt x="4541295" y="4316473"/>
                  </a:lnTo>
                  <a:lnTo>
                    <a:pt x="4407136" y="4183014"/>
                  </a:lnTo>
                  <a:lnTo>
                    <a:pt x="4314483" y="4090833"/>
                  </a:lnTo>
                  <a:lnTo>
                    <a:pt x="4313317" y="4090833"/>
                  </a:lnTo>
                  <a:lnTo>
                    <a:pt x="4270692" y="4048209"/>
                  </a:lnTo>
                  <a:close/>
                  <a:moveTo>
                    <a:pt x="5377262" y="4047640"/>
                  </a:moveTo>
                  <a:lnTo>
                    <a:pt x="5646914" y="4315903"/>
                  </a:lnTo>
                  <a:lnTo>
                    <a:pt x="5376502" y="4587014"/>
                  </a:lnTo>
                  <a:lnTo>
                    <a:pt x="5639927" y="4587014"/>
                  </a:lnTo>
                  <a:lnTo>
                    <a:pt x="5910339" y="4315903"/>
                  </a:lnTo>
                  <a:lnTo>
                    <a:pt x="5776182" y="4182444"/>
                  </a:lnTo>
                  <a:lnTo>
                    <a:pt x="5679808" y="4086071"/>
                  </a:lnTo>
                  <a:lnTo>
                    <a:pt x="5678867" y="4086071"/>
                  </a:lnTo>
                  <a:lnTo>
                    <a:pt x="5640436" y="4047640"/>
                  </a:lnTo>
                  <a:close/>
                  <a:moveTo>
                    <a:pt x="4828501" y="4047640"/>
                  </a:moveTo>
                  <a:lnTo>
                    <a:pt x="4866233" y="4085372"/>
                  </a:lnTo>
                  <a:lnTo>
                    <a:pt x="4865878" y="4085372"/>
                  </a:lnTo>
                  <a:lnTo>
                    <a:pt x="5097706" y="4316602"/>
                  </a:lnTo>
                  <a:lnTo>
                    <a:pt x="4828477" y="4585831"/>
                  </a:lnTo>
                  <a:lnTo>
                    <a:pt x="4828477" y="4587014"/>
                  </a:lnTo>
                  <a:lnTo>
                    <a:pt x="5091417" y="4587014"/>
                  </a:lnTo>
                  <a:lnTo>
                    <a:pt x="5361829" y="4315903"/>
                  </a:lnTo>
                  <a:lnTo>
                    <a:pt x="5130702" y="4085372"/>
                  </a:lnTo>
                  <a:lnTo>
                    <a:pt x="5130356" y="4085372"/>
                  </a:lnTo>
                  <a:lnTo>
                    <a:pt x="5092624" y="4047640"/>
                  </a:lnTo>
                  <a:close/>
                  <a:moveTo>
                    <a:pt x="6476371" y="4046941"/>
                  </a:moveTo>
                  <a:lnTo>
                    <a:pt x="6602789" y="4173361"/>
                  </a:lnTo>
                  <a:lnTo>
                    <a:pt x="6743935" y="4313807"/>
                  </a:lnTo>
                  <a:lnTo>
                    <a:pt x="6473523" y="4584918"/>
                  </a:lnTo>
                  <a:lnTo>
                    <a:pt x="6736948" y="4584918"/>
                  </a:lnTo>
                  <a:lnTo>
                    <a:pt x="7007360" y="4314506"/>
                  </a:lnTo>
                  <a:lnTo>
                    <a:pt x="6874599" y="4181745"/>
                  </a:lnTo>
                  <a:lnTo>
                    <a:pt x="6874599" y="4181047"/>
                  </a:lnTo>
                  <a:lnTo>
                    <a:pt x="6779842" y="4086769"/>
                  </a:lnTo>
                  <a:lnTo>
                    <a:pt x="6776587" y="4086769"/>
                  </a:lnTo>
                  <a:lnTo>
                    <a:pt x="6736759" y="4046941"/>
                  </a:lnTo>
                  <a:close/>
                  <a:moveTo>
                    <a:pt x="5926476" y="4046941"/>
                  </a:moveTo>
                  <a:lnTo>
                    <a:pt x="6194726" y="4313807"/>
                  </a:lnTo>
                  <a:lnTo>
                    <a:pt x="6191930" y="4316602"/>
                  </a:lnTo>
                  <a:lnTo>
                    <a:pt x="6101794" y="4407439"/>
                  </a:lnTo>
                  <a:lnTo>
                    <a:pt x="6101096" y="4407439"/>
                  </a:lnTo>
                  <a:lnTo>
                    <a:pt x="5923616" y="4585617"/>
                  </a:lnTo>
                  <a:lnTo>
                    <a:pt x="6187739" y="4585617"/>
                  </a:lnTo>
                  <a:lnTo>
                    <a:pt x="6458151" y="4315205"/>
                  </a:lnTo>
                  <a:lnTo>
                    <a:pt x="6453259" y="4310314"/>
                  </a:lnTo>
                  <a:lnTo>
                    <a:pt x="6455355" y="4311013"/>
                  </a:lnTo>
                  <a:lnTo>
                    <a:pt x="6229824" y="4086071"/>
                  </a:lnTo>
                  <a:lnTo>
                    <a:pt x="6227377" y="4086071"/>
                  </a:lnTo>
                  <a:lnTo>
                    <a:pt x="6188247" y="4046941"/>
                  </a:lnTo>
                  <a:close/>
                  <a:moveTo>
                    <a:pt x="4555321" y="4046813"/>
                  </a:moveTo>
                  <a:lnTo>
                    <a:pt x="4555968" y="4047459"/>
                  </a:lnTo>
                  <a:lnTo>
                    <a:pt x="4821607" y="4312410"/>
                  </a:lnTo>
                  <a:lnTo>
                    <a:pt x="5083731" y="4312410"/>
                  </a:lnTo>
                  <a:lnTo>
                    <a:pt x="4816757" y="4046813"/>
                  </a:lnTo>
                  <a:close/>
                  <a:moveTo>
                    <a:pt x="7023483" y="4046243"/>
                  </a:moveTo>
                  <a:lnTo>
                    <a:pt x="7291048" y="4313807"/>
                  </a:lnTo>
                  <a:lnTo>
                    <a:pt x="7292445" y="4315205"/>
                  </a:lnTo>
                  <a:lnTo>
                    <a:pt x="7023431" y="4584918"/>
                  </a:lnTo>
                  <a:lnTo>
                    <a:pt x="7285458" y="4584918"/>
                  </a:lnTo>
                  <a:lnTo>
                    <a:pt x="7555171" y="4314506"/>
                  </a:lnTo>
                  <a:lnTo>
                    <a:pt x="7550979" y="4310314"/>
                  </a:lnTo>
                  <a:lnTo>
                    <a:pt x="7553074" y="4311013"/>
                  </a:lnTo>
                  <a:lnTo>
                    <a:pt x="7328246" y="4086769"/>
                  </a:lnTo>
                  <a:lnTo>
                    <a:pt x="7326493" y="4086769"/>
                  </a:lnTo>
                  <a:lnTo>
                    <a:pt x="7285967" y="4046243"/>
                  </a:lnTo>
                  <a:close/>
                  <a:moveTo>
                    <a:pt x="7571985" y="4044845"/>
                  </a:moveTo>
                  <a:lnTo>
                    <a:pt x="7839558" y="4313109"/>
                  </a:lnTo>
                  <a:lnTo>
                    <a:pt x="7747324" y="4406041"/>
                  </a:lnTo>
                  <a:lnTo>
                    <a:pt x="7748023" y="4406740"/>
                  </a:lnTo>
                  <a:lnTo>
                    <a:pt x="7571940" y="4582822"/>
                  </a:lnTo>
                  <a:lnTo>
                    <a:pt x="7768286" y="4582822"/>
                  </a:lnTo>
                  <a:lnTo>
                    <a:pt x="7767587" y="4584220"/>
                  </a:lnTo>
                  <a:lnTo>
                    <a:pt x="7833269" y="4584220"/>
                  </a:lnTo>
                  <a:lnTo>
                    <a:pt x="8103681" y="4313109"/>
                  </a:lnTo>
                  <a:lnTo>
                    <a:pt x="7876057" y="4086071"/>
                  </a:lnTo>
                  <a:lnTo>
                    <a:pt x="7875702" y="4086071"/>
                  </a:lnTo>
                  <a:lnTo>
                    <a:pt x="7834477" y="4044845"/>
                  </a:lnTo>
                  <a:close/>
                  <a:moveTo>
                    <a:pt x="10037678" y="4044465"/>
                  </a:moveTo>
                  <a:lnTo>
                    <a:pt x="10307331" y="4312728"/>
                  </a:lnTo>
                  <a:lnTo>
                    <a:pt x="10036919" y="4583839"/>
                  </a:lnTo>
                  <a:lnTo>
                    <a:pt x="10300344" y="4583839"/>
                  </a:lnTo>
                  <a:lnTo>
                    <a:pt x="10570756" y="4312728"/>
                  </a:lnTo>
                  <a:lnTo>
                    <a:pt x="10436598" y="4179269"/>
                  </a:lnTo>
                  <a:lnTo>
                    <a:pt x="10340225" y="4082896"/>
                  </a:lnTo>
                  <a:lnTo>
                    <a:pt x="10339284" y="4082896"/>
                  </a:lnTo>
                  <a:lnTo>
                    <a:pt x="10300853" y="4044465"/>
                  </a:lnTo>
                  <a:close/>
                  <a:moveTo>
                    <a:pt x="9488918" y="4044465"/>
                  </a:moveTo>
                  <a:lnTo>
                    <a:pt x="9526650" y="4082197"/>
                  </a:lnTo>
                  <a:lnTo>
                    <a:pt x="9526295" y="4082197"/>
                  </a:lnTo>
                  <a:lnTo>
                    <a:pt x="9758122" y="4313427"/>
                  </a:lnTo>
                  <a:lnTo>
                    <a:pt x="9488582" y="4582967"/>
                  </a:lnTo>
                  <a:lnTo>
                    <a:pt x="9488582" y="4583521"/>
                  </a:lnTo>
                  <a:lnTo>
                    <a:pt x="9488264" y="4583839"/>
                  </a:lnTo>
                  <a:lnTo>
                    <a:pt x="9751834" y="4583839"/>
                  </a:lnTo>
                  <a:lnTo>
                    <a:pt x="10022245" y="4312728"/>
                  </a:lnTo>
                  <a:lnTo>
                    <a:pt x="9791119" y="4082197"/>
                  </a:lnTo>
                  <a:lnTo>
                    <a:pt x="9790773" y="4082197"/>
                  </a:lnTo>
                  <a:lnTo>
                    <a:pt x="9753041" y="4044465"/>
                  </a:lnTo>
                  <a:close/>
                  <a:moveTo>
                    <a:pt x="8119110" y="4044146"/>
                  </a:moveTo>
                  <a:lnTo>
                    <a:pt x="8388766" y="4313109"/>
                  </a:lnTo>
                  <a:lnTo>
                    <a:pt x="8118354" y="4583521"/>
                  </a:lnTo>
                  <a:lnTo>
                    <a:pt x="8382478" y="4583521"/>
                  </a:lnTo>
                  <a:lnTo>
                    <a:pt x="8652889" y="4313109"/>
                  </a:lnTo>
                  <a:lnTo>
                    <a:pt x="8425266" y="4086071"/>
                  </a:lnTo>
                  <a:lnTo>
                    <a:pt x="8424213" y="4086071"/>
                  </a:lnTo>
                  <a:lnTo>
                    <a:pt x="8382289" y="4044146"/>
                  </a:lnTo>
                  <a:close/>
                  <a:moveTo>
                    <a:pt x="11136788" y="4043766"/>
                  </a:moveTo>
                  <a:lnTo>
                    <a:pt x="11263206" y="4170186"/>
                  </a:lnTo>
                  <a:lnTo>
                    <a:pt x="11404352" y="4310632"/>
                  </a:lnTo>
                  <a:lnTo>
                    <a:pt x="11133940" y="4581743"/>
                  </a:lnTo>
                  <a:lnTo>
                    <a:pt x="11397365" y="4581743"/>
                  </a:lnTo>
                  <a:lnTo>
                    <a:pt x="11667777" y="4311331"/>
                  </a:lnTo>
                  <a:lnTo>
                    <a:pt x="11535016" y="4178570"/>
                  </a:lnTo>
                  <a:lnTo>
                    <a:pt x="11535016" y="4177872"/>
                  </a:lnTo>
                  <a:lnTo>
                    <a:pt x="11440259" y="4083594"/>
                  </a:lnTo>
                  <a:lnTo>
                    <a:pt x="11437003" y="4083594"/>
                  </a:lnTo>
                  <a:lnTo>
                    <a:pt x="11397175" y="4043766"/>
                  </a:lnTo>
                  <a:close/>
                  <a:moveTo>
                    <a:pt x="10586892" y="4043766"/>
                  </a:moveTo>
                  <a:lnTo>
                    <a:pt x="10855143" y="4310632"/>
                  </a:lnTo>
                  <a:lnTo>
                    <a:pt x="10852347" y="4313427"/>
                  </a:lnTo>
                  <a:lnTo>
                    <a:pt x="10762211" y="4404264"/>
                  </a:lnTo>
                  <a:lnTo>
                    <a:pt x="10761512" y="4404264"/>
                  </a:lnTo>
                  <a:lnTo>
                    <a:pt x="10584032" y="4582442"/>
                  </a:lnTo>
                  <a:lnTo>
                    <a:pt x="10848155" y="4582442"/>
                  </a:lnTo>
                  <a:lnTo>
                    <a:pt x="11118567" y="4312030"/>
                  </a:lnTo>
                  <a:lnTo>
                    <a:pt x="11113676" y="4307139"/>
                  </a:lnTo>
                  <a:lnTo>
                    <a:pt x="11115772" y="4307838"/>
                  </a:lnTo>
                  <a:lnTo>
                    <a:pt x="10890241" y="4082896"/>
                  </a:lnTo>
                  <a:lnTo>
                    <a:pt x="10887794" y="4082896"/>
                  </a:lnTo>
                  <a:lnTo>
                    <a:pt x="10848664" y="4043766"/>
                  </a:lnTo>
                  <a:close/>
                  <a:moveTo>
                    <a:pt x="8667626" y="4043447"/>
                  </a:moveTo>
                  <a:lnTo>
                    <a:pt x="8937975" y="4311711"/>
                  </a:lnTo>
                  <a:lnTo>
                    <a:pt x="8667563" y="4582822"/>
                  </a:lnTo>
                  <a:lnTo>
                    <a:pt x="8930988" y="4582822"/>
                  </a:lnTo>
                  <a:lnTo>
                    <a:pt x="9201400" y="4311711"/>
                  </a:lnTo>
                  <a:lnTo>
                    <a:pt x="9067242" y="4178252"/>
                  </a:lnTo>
                  <a:lnTo>
                    <a:pt x="8974588" y="4086071"/>
                  </a:lnTo>
                  <a:lnTo>
                    <a:pt x="8973422" y="4086071"/>
                  </a:lnTo>
                  <a:lnTo>
                    <a:pt x="8930798" y="4043447"/>
                  </a:lnTo>
                  <a:close/>
                  <a:moveTo>
                    <a:pt x="9215427" y="4042051"/>
                  </a:moveTo>
                  <a:lnTo>
                    <a:pt x="9216074" y="4042697"/>
                  </a:lnTo>
                  <a:lnTo>
                    <a:pt x="9483305" y="4309235"/>
                  </a:lnTo>
                  <a:lnTo>
                    <a:pt x="9744147" y="4309235"/>
                  </a:lnTo>
                  <a:lnTo>
                    <a:pt x="9475578" y="4042051"/>
                  </a:lnTo>
                  <a:close/>
                  <a:moveTo>
                    <a:pt x="2354051" y="3777098"/>
                  </a:moveTo>
                  <a:lnTo>
                    <a:pt x="2084461" y="4047387"/>
                  </a:lnTo>
                  <a:lnTo>
                    <a:pt x="2353542" y="4315775"/>
                  </a:lnTo>
                  <a:lnTo>
                    <a:pt x="2616967" y="4315775"/>
                  </a:lnTo>
                  <a:lnTo>
                    <a:pt x="2392140" y="4091531"/>
                  </a:lnTo>
                  <a:lnTo>
                    <a:pt x="2391783" y="4091531"/>
                  </a:lnTo>
                  <a:lnTo>
                    <a:pt x="2347762" y="4047510"/>
                  </a:lnTo>
                  <a:lnTo>
                    <a:pt x="2347884" y="4047389"/>
                  </a:lnTo>
                  <a:lnTo>
                    <a:pt x="2347254" y="4046760"/>
                  </a:lnTo>
                  <a:lnTo>
                    <a:pt x="2347952" y="4046061"/>
                  </a:lnTo>
                  <a:lnTo>
                    <a:pt x="2346555" y="4044664"/>
                  </a:lnTo>
                  <a:lnTo>
                    <a:pt x="2521938" y="3868581"/>
                  </a:lnTo>
                  <a:lnTo>
                    <a:pt x="2526691" y="3868581"/>
                  </a:lnTo>
                  <a:lnTo>
                    <a:pt x="2532230" y="3863043"/>
                  </a:lnTo>
                  <a:lnTo>
                    <a:pt x="2618174" y="3777098"/>
                  </a:lnTo>
                  <a:close/>
                  <a:moveTo>
                    <a:pt x="1804842" y="3777098"/>
                  </a:moveTo>
                  <a:lnTo>
                    <a:pt x="1535948" y="4046688"/>
                  </a:lnTo>
                  <a:lnTo>
                    <a:pt x="1805731" y="4315775"/>
                  </a:lnTo>
                  <a:lnTo>
                    <a:pt x="2069155" y="4315775"/>
                  </a:lnTo>
                  <a:lnTo>
                    <a:pt x="1939190" y="4185809"/>
                  </a:lnTo>
                  <a:lnTo>
                    <a:pt x="1844912" y="4091531"/>
                  </a:lnTo>
                  <a:lnTo>
                    <a:pt x="1841875" y="4091531"/>
                  </a:lnTo>
                  <a:lnTo>
                    <a:pt x="1798553" y="4048209"/>
                  </a:lnTo>
                  <a:lnTo>
                    <a:pt x="1800069" y="4046689"/>
                  </a:lnTo>
                  <a:lnTo>
                    <a:pt x="1798743" y="4045363"/>
                  </a:lnTo>
                  <a:lnTo>
                    <a:pt x="1974825" y="3868581"/>
                  </a:lnTo>
                  <a:lnTo>
                    <a:pt x="1977718" y="3868581"/>
                  </a:lnTo>
                  <a:lnTo>
                    <a:pt x="2068965" y="3777098"/>
                  </a:lnTo>
                  <a:close/>
                  <a:moveTo>
                    <a:pt x="1257031" y="3777098"/>
                  </a:moveTo>
                  <a:lnTo>
                    <a:pt x="987788" y="4047037"/>
                  </a:lnTo>
                  <a:lnTo>
                    <a:pt x="1257220" y="4315775"/>
                  </a:lnTo>
                  <a:lnTo>
                    <a:pt x="1519946" y="4315775"/>
                  </a:lnTo>
                  <a:lnTo>
                    <a:pt x="1294422" y="4090833"/>
                  </a:lnTo>
                  <a:lnTo>
                    <a:pt x="1293365" y="4090833"/>
                  </a:lnTo>
                  <a:lnTo>
                    <a:pt x="1250742" y="4048209"/>
                  </a:lnTo>
                  <a:lnTo>
                    <a:pt x="1251213" y="4047737"/>
                  </a:lnTo>
                  <a:lnTo>
                    <a:pt x="1249534" y="4046061"/>
                  </a:lnTo>
                  <a:lnTo>
                    <a:pt x="1250932" y="4044664"/>
                  </a:lnTo>
                  <a:lnTo>
                    <a:pt x="1426315" y="3868581"/>
                  </a:lnTo>
                  <a:lnTo>
                    <a:pt x="1429907" y="3868581"/>
                  </a:lnTo>
                  <a:lnTo>
                    <a:pt x="1521154" y="3777098"/>
                  </a:lnTo>
                  <a:close/>
                  <a:moveTo>
                    <a:pt x="709219" y="3777098"/>
                  </a:moveTo>
                  <a:lnTo>
                    <a:pt x="438807" y="4048209"/>
                  </a:lnTo>
                  <a:lnTo>
                    <a:pt x="480732" y="4090134"/>
                  </a:lnTo>
                  <a:lnTo>
                    <a:pt x="480499" y="4090134"/>
                  </a:lnTo>
                  <a:lnTo>
                    <a:pt x="708011" y="4316473"/>
                  </a:lnTo>
                  <a:lnTo>
                    <a:pt x="972135" y="4316473"/>
                  </a:lnTo>
                  <a:lnTo>
                    <a:pt x="745211" y="4090134"/>
                  </a:lnTo>
                  <a:lnTo>
                    <a:pt x="744855" y="4090134"/>
                  </a:lnTo>
                  <a:lnTo>
                    <a:pt x="702930" y="4048209"/>
                  </a:lnTo>
                  <a:lnTo>
                    <a:pt x="703053" y="4048086"/>
                  </a:lnTo>
                  <a:lnTo>
                    <a:pt x="701024" y="4046061"/>
                  </a:lnTo>
                  <a:lnTo>
                    <a:pt x="878504" y="3868581"/>
                  </a:lnTo>
                  <a:lnTo>
                    <a:pt x="882095" y="3868581"/>
                  </a:lnTo>
                  <a:lnTo>
                    <a:pt x="973342" y="3777098"/>
                  </a:lnTo>
                  <a:close/>
                  <a:moveTo>
                    <a:pt x="3451072" y="3775003"/>
                  </a:moveTo>
                  <a:lnTo>
                    <a:pt x="3181135" y="4045639"/>
                  </a:lnTo>
                  <a:lnTo>
                    <a:pt x="3312910" y="4176725"/>
                  </a:lnTo>
                  <a:lnTo>
                    <a:pt x="3312910" y="4177424"/>
                  </a:lnTo>
                  <a:lnTo>
                    <a:pt x="3450563" y="4314377"/>
                  </a:lnTo>
                  <a:lnTo>
                    <a:pt x="3714686" y="4314377"/>
                  </a:lnTo>
                  <a:lnTo>
                    <a:pt x="3490444" y="4090134"/>
                  </a:lnTo>
                  <a:lnTo>
                    <a:pt x="3489503" y="4090134"/>
                  </a:lnTo>
                  <a:lnTo>
                    <a:pt x="3444084" y="4044716"/>
                  </a:lnTo>
                  <a:lnTo>
                    <a:pt x="3444556" y="4044247"/>
                  </a:lnTo>
                  <a:lnTo>
                    <a:pt x="3444274" y="4043965"/>
                  </a:lnTo>
                  <a:lnTo>
                    <a:pt x="3618959" y="3868581"/>
                  </a:lnTo>
                  <a:lnTo>
                    <a:pt x="3621132" y="3868581"/>
                  </a:lnTo>
                  <a:lnTo>
                    <a:pt x="3715195" y="3775003"/>
                  </a:lnTo>
                  <a:close/>
                  <a:moveTo>
                    <a:pt x="3999582" y="3774304"/>
                  </a:moveTo>
                  <a:lnTo>
                    <a:pt x="3729642" y="4044941"/>
                  </a:lnTo>
                  <a:lnTo>
                    <a:pt x="3999073" y="4313678"/>
                  </a:lnTo>
                  <a:lnTo>
                    <a:pt x="4263197" y="4313678"/>
                  </a:lnTo>
                  <a:lnTo>
                    <a:pt x="4039076" y="4090134"/>
                  </a:lnTo>
                  <a:lnTo>
                    <a:pt x="4038711" y="4090134"/>
                  </a:lnTo>
                  <a:lnTo>
                    <a:pt x="3992595" y="4044017"/>
                  </a:lnTo>
                  <a:lnTo>
                    <a:pt x="3992717" y="4043895"/>
                  </a:lnTo>
                  <a:lnTo>
                    <a:pt x="3992086" y="4043266"/>
                  </a:lnTo>
                  <a:lnTo>
                    <a:pt x="4166770" y="3868581"/>
                  </a:lnTo>
                  <a:lnTo>
                    <a:pt x="4168939" y="3868581"/>
                  </a:lnTo>
                  <a:lnTo>
                    <a:pt x="4263707" y="3774304"/>
                  </a:lnTo>
                  <a:close/>
                  <a:moveTo>
                    <a:pt x="4547394" y="3773605"/>
                  </a:moveTo>
                  <a:lnTo>
                    <a:pt x="4277804" y="4043891"/>
                  </a:lnTo>
                  <a:lnTo>
                    <a:pt x="4410631" y="4176026"/>
                  </a:lnTo>
                  <a:lnTo>
                    <a:pt x="4547585" y="4312979"/>
                  </a:lnTo>
                  <a:lnTo>
                    <a:pt x="4809681" y="4312979"/>
                  </a:lnTo>
                  <a:lnTo>
                    <a:pt x="4665187" y="4169168"/>
                  </a:lnTo>
                  <a:lnTo>
                    <a:pt x="4665187" y="4166459"/>
                  </a:lnTo>
                  <a:lnTo>
                    <a:pt x="4588162" y="4089435"/>
                  </a:lnTo>
                  <a:lnTo>
                    <a:pt x="4587920" y="4089435"/>
                  </a:lnTo>
                  <a:lnTo>
                    <a:pt x="4541105" y="4043318"/>
                  </a:lnTo>
                  <a:lnTo>
                    <a:pt x="4541576" y="4042849"/>
                  </a:lnTo>
                  <a:lnTo>
                    <a:pt x="4541295" y="4042567"/>
                  </a:lnTo>
                  <a:lnTo>
                    <a:pt x="4542692" y="4041170"/>
                  </a:lnTo>
                  <a:lnTo>
                    <a:pt x="4660106" y="3923279"/>
                  </a:lnTo>
                  <a:lnTo>
                    <a:pt x="4660106" y="3920469"/>
                  </a:lnTo>
                  <a:lnTo>
                    <a:pt x="4806969" y="3773605"/>
                  </a:lnTo>
                  <a:close/>
                  <a:moveTo>
                    <a:pt x="7014157" y="3772336"/>
                  </a:moveTo>
                  <a:lnTo>
                    <a:pt x="6744567" y="4042625"/>
                  </a:lnTo>
                  <a:lnTo>
                    <a:pt x="7013649" y="4311013"/>
                  </a:lnTo>
                  <a:lnTo>
                    <a:pt x="7277073" y="4311013"/>
                  </a:lnTo>
                  <a:lnTo>
                    <a:pt x="7052246" y="4086769"/>
                  </a:lnTo>
                  <a:lnTo>
                    <a:pt x="7051889" y="4086769"/>
                  </a:lnTo>
                  <a:lnTo>
                    <a:pt x="7007868" y="4042748"/>
                  </a:lnTo>
                  <a:lnTo>
                    <a:pt x="7007990" y="4042627"/>
                  </a:lnTo>
                  <a:lnTo>
                    <a:pt x="7007360" y="4041998"/>
                  </a:lnTo>
                  <a:lnTo>
                    <a:pt x="7008058" y="4041299"/>
                  </a:lnTo>
                  <a:lnTo>
                    <a:pt x="7006662" y="4039902"/>
                  </a:lnTo>
                  <a:lnTo>
                    <a:pt x="7182045" y="3863819"/>
                  </a:lnTo>
                  <a:lnTo>
                    <a:pt x="7186797" y="3863819"/>
                  </a:lnTo>
                  <a:lnTo>
                    <a:pt x="7192337" y="3858281"/>
                  </a:lnTo>
                  <a:lnTo>
                    <a:pt x="7278280" y="3772336"/>
                  </a:lnTo>
                  <a:close/>
                  <a:moveTo>
                    <a:pt x="6464948" y="3772336"/>
                  </a:moveTo>
                  <a:lnTo>
                    <a:pt x="6196054" y="4041926"/>
                  </a:lnTo>
                  <a:lnTo>
                    <a:pt x="6465837" y="4311013"/>
                  </a:lnTo>
                  <a:lnTo>
                    <a:pt x="6729262" y="4311013"/>
                  </a:lnTo>
                  <a:lnTo>
                    <a:pt x="6599296" y="4181047"/>
                  </a:lnTo>
                  <a:lnTo>
                    <a:pt x="6505018" y="4086769"/>
                  </a:lnTo>
                  <a:lnTo>
                    <a:pt x="6501982" y="4086769"/>
                  </a:lnTo>
                  <a:lnTo>
                    <a:pt x="6458659" y="4043447"/>
                  </a:lnTo>
                  <a:lnTo>
                    <a:pt x="6460176" y="4041927"/>
                  </a:lnTo>
                  <a:lnTo>
                    <a:pt x="6458849" y="4040601"/>
                  </a:lnTo>
                  <a:lnTo>
                    <a:pt x="6634931" y="3863819"/>
                  </a:lnTo>
                  <a:lnTo>
                    <a:pt x="6637824" y="3863819"/>
                  </a:lnTo>
                  <a:lnTo>
                    <a:pt x="6729071" y="3772336"/>
                  </a:lnTo>
                  <a:close/>
                  <a:moveTo>
                    <a:pt x="5917138" y="3772336"/>
                  </a:moveTo>
                  <a:lnTo>
                    <a:pt x="5647895" y="4042275"/>
                  </a:lnTo>
                  <a:lnTo>
                    <a:pt x="5917326" y="4311013"/>
                  </a:lnTo>
                  <a:lnTo>
                    <a:pt x="6180052" y="4311013"/>
                  </a:lnTo>
                  <a:lnTo>
                    <a:pt x="5954528" y="4086071"/>
                  </a:lnTo>
                  <a:lnTo>
                    <a:pt x="5953471" y="4086071"/>
                  </a:lnTo>
                  <a:lnTo>
                    <a:pt x="5910849" y="4043447"/>
                  </a:lnTo>
                  <a:lnTo>
                    <a:pt x="5911320" y="4042975"/>
                  </a:lnTo>
                  <a:lnTo>
                    <a:pt x="5909641" y="4041299"/>
                  </a:lnTo>
                  <a:lnTo>
                    <a:pt x="5911038" y="4039902"/>
                  </a:lnTo>
                  <a:lnTo>
                    <a:pt x="6086421" y="3863819"/>
                  </a:lnTo>
                  <a:lnTo>
                    <a:pt x="6090013" y="3863819"/>
                  </a:lnTo>
                  <a:lnTo>
                    <a:pt x="6181261" y="3772336"/>
                  </a:lnTo>
                  <a:close/>
                  <a:moveTo>
                    <a:pt x="5369326" y="3772336"/>
                  </a:moveTo>
                  <a:lnTo>
                    <a:pt x="5098913" y="4043447"/>
                  </a:lnTo>
                  <a:lnTo>
                    <a:pt x="5140838" y="4085372"/>
                  </a:lnTo>
                  <a:lnTo>
                    <a:pt x="5140605" y="4085372"/>
                  </a:lnTo>
                  <a:lnTo>
                    <a:pt x="5368118" y="4311711"/>
                  </a:lnTo>
                  <a:lnTo>
                    <a:pt x="5632241" y="4311711"/>
                  </a:lnTo>
                  <a:lnTo>
                    <a:pt x="5405317" y="4085372"/>
                  </a:lnTo>
                  <a:lnTo>
                    <a:pt x="5404961" y="4085372"/>
                  </a:lnTo>
                  <a:lnTo>
                    <a:pt x="5363036" y="4043447"/>
                  </a:lnTo>
                  <a:lnTo>
                    <a:pt x="5363159" y="4043324"/>
                  </a:lnTo>
                  <a:lnTo>
                    <a:pt x="5361131" y="4041299"/>
                  </a:lnTo>
                  <a:lnTo>
                    <a:pt x="5538610" y="3863819"/>
                  </a:lnTo>
                  <a:lnTo>
                    <a:pt x="5542201" y="3863819"/>
                  </a:lnTo>
                  <a:lnTo>
                    <a:pt x="5633449" y="3772336"/>
                  </a:lnTo>
                  <a:close/>
                  <a:moveTo>
                    <a:pt x="4821872" y="3771639"/>
                  </a:moveTo>
                  <a:lnTo>
                    <a:pt x="4555828" y="4038375"/>
                  </a:lnTo>
                  <a:lnTo>
                    <a:pt x="4816942" y="4038375"/>
                  </a:lnTo>
                  <a:lnTo>
                    <a:pt x="4991497" y="3863819"/>
                  </a:lnTo>
                  <a:lnTo>
                    <a:pt x="4991595" y="3863819"/>
                  </a:lnTo>
                  <a:lnTo>
                    <a:pt x="5082144" y="3773035"/>
                  </a:lnTo>
                  <a:lnTo>
                    <a:pt x="4885799" y="3773035"/>
                  </a:lnTo>
                  <a:lnTo>
                    <a:pt x="4886497" y="3771639"/>
                  </a:lnTo>
                  <a:close/>
                  <a:moveTo>
                    <a:pt x="8111178" y="3770241"/>
                  </a:moveTo>
                  <a:lnTo>
                    <a:pt x="7841241" y="4040877"/>
                  </a:lnTo>
                  <a:lnTo>
                    <a:pt x="7973016" y="4171963"/>
                  </a:lnTo>
                  <a:lnTo>
                    <a:pt x="7973016" y="4172662"/>
                  </a:lnTo>
                  <a:lnTo>
                    <a:pt x="8110669" y="4309615"/>
                  </a:lnTo>
                  <a:lnTo>
                    <a:pt x="8374792" y="4309615"/>
                  </a:lnTo>
                  <a:lnTo>
                    <a:pt x="8150550" y="4085372"/>
                  </a:lnTo>
                  <a:lnTo>
                    <a:pt x="8149609" y="4085372"/>
                  </a:lnTo>
                  <a:lnTo>
                    <a:pt x="8104190" y="4039954"/>
                  </a:lnTo>
                  <a:lnTo>
                    <a:pt x="8104662" y="4039485"/>
                  </a:lnTo>
                  <a:lnTo>
                    <a:pt x="8104380" y="4039203"/>
                  </a:lnTo>
                  <a:lnTo>
                    <a:pt x="8279065" y="3863819"/>
                  </a:lnTo>
                  <a:lnTo>
                    <a:pt x="8281238" y="3863819"/>
                  </a:lnTo>
                  <a:lnTo>
                    <a:pt x="8375301" y="3770241"/>
                  </a:lnTo>
                  <a:close/>
                  <a:moveTo>
                    <a:pt x="8659688" y="3769542"/>
                  </a:moveTo>
                  <a:lnTo>
                    <a:pt x="8389748" y="4040179"/>
                  </a:lnTo>
                  <a:lnTo>
                    <a:pt x="8659179" y="4308916"/>
                  </a:lnTo>
                  <a:lnTo>
                    <a:pt x="8923303" y="4308916"/>
                  </a:lnTo>
                  <a:lnTo>
                    <a:pt x="8699182" y="4085372"/>
                  </a:lnTo>
                  <a:lnTo>
                    <a:pt x="8698817" y="4085372"/>
                  </a:lnTo>
                  <a:lnTo>
                    <a:pt x="8652701" y="4039255"/>
                  </a:lnTo>
                  <a:lnTo>
                    <a:pt x="8652823" y="4039133"/>
                  </a:lnTo>
                  <a:lnTo>
                    <a:pt x="8652192" y="4038504"/>
                  </a:lnTo>
                  <a:lnTo>
                    <a:pt x="8826876" y="3863819"/>
                  </a:lnTo>
                  <a:lnTo>
                    <a:pt x="8829045" y="3863819"/>
                  </a:lnTo>
                  <a:lnTo>
                    <a:pt x="8923812" y="3769542"/>
                  </a:lnTo>
                  <a:close/>
                  <a:moveTo>
                    <a:pt x="11674574" y="3769161"/>
                  </a:moveTo>
                  <a:lnTo>
                    <a:pt x="11404984" y="4039450"/>
                  </a:lnTo>
                  <a:lnTo>
                    <a:pt x="11674065" y="4307838"/>
                  </a:lnTo>
                  <a:lnTo>
                    <a:pt x="11937490" y="4307838"/>
                  </a:lnTo>
                  <a:lnTo>
                    <a:pt x="11712663" y="4083594"/>
                  </a:lnTo>
                  <a:lnTo>
                    <a:pt x="11712306" y="4083594"/>
                  </a:lnTo>
                  <a:lnTo>
                    <a:pt x="11668285" y="4039573"/>
                  </a:lnTo>
                  <a:lnTo>
                    <a:pt x="11668407" y="4039452"/>
                  </a:lnTo>
                  <a:lnTo>
                    <a:pt x="11667777" y="4038823"/>
                  </a:lnTo>
                  <a:lnTo>
                    <a:pt x="11668475" y="4038124"/>
                  </a:lnTo>
                  <a:lnTo>
                    <a:pt x="11667078" y="4036727"/>
                  </a:lnTo>
                  <a:lnTo>
                    <a:pt x="11842461" y="3860644"/>
                  </a:lnTo>
                  <a:lnTo>
                    <a:pt x="11847214" y="3860644"/>
                  </a:lnTo>
                  <a:lnTo>
                    <a:pt x="11852753" y="3855106"/>
                  </a:lnTo>
                  <a:lnTo>
                    <a:pt x="11938697" y="3769161"/>
                  </a:lnTo>
                  <a:close/>
                  <a:moveTo>
                    <a:pt x="11125365" y="3769161"/>
                  </a:moveTo>
                  <a:lnTo>
                    <a:pt x="10856471" y="4038751"/>
                  </a:lnTo>
                  <a:lnTo>
                    <a:pt x="11126254" y="4307838"/>
                  </a:lnTo>
                  <a:lnTo>
                    <a:pt x="11389678" y="4307838"/>
                  </a:lnTo>
                  <a:lnTo>
                    <a:pt x="11259713" y="4177872"/>
                  </a:lnTo>
                  <a:lnTo>
                    <a:pt x="11165435" y="4083594"/>
                  </a:lnTo>
                  <a:lnTo>
                    <a:pt x="11162398" y="4083594"/>
                  </a:lnTo>
                  <a:lnTo>
                    <a:pt x="11119076" y="4040272"/>
                  </a:lnTo>
                  <a:lnTo>
                    <a:pt x="11120592" y="4038752"/>
                  </a:lnTo>
                  <a:lnTo>
                    <a:pt x="11119266" y="4037426"/>
                  </a:lnTo>
                  <a:lnTo>
                    <a:pt x="11295348" y="3860644"/>
                  </a:lnTo>
                  <a:lnTo>
                    <a:pt x="11298241" y="3860644"/>
                  </a:lnTo>
                  <a:lnTo>
                    <a:pt x="11389488" y="3769161"/>
                  </a:lnTo>
                  <a:close/>
                  <a:moveTo>
                    <a:pt x="10577554" y="3769161"/>
                  </a:moveTo>
                  <a:lnTo>
                    <a:pt x="10308311" y="4039100"/>
                  </a:lnTo>
                  <a:lnTo>
                    <a:pt x="10577743" y="4307838"/>
                  </a:lnTo>
                  <a:lnTo>
                    <a:pt x="10840469" y="4307838"/>
                  </a:lnTo>
                  <a:lnTo>
                    <a:pt x="10614945" y="4082896"/>
                  </a:lnTo>
                  <a:lnTo>
                    <a:pt x="10613888" y="4082896"/>
                  </a:lnTo>
                  <a:lnTo>
                    <a:pt x="10571265" y="4040272"/>
                  </a:lnTo>
                  <a:lnTo>
                    <a:pt x="10571736" y="4039800"/>
                  </a:lnTo>
                  <a:lnTo>
                    <a:pt x="10570057" y="4038124"/>
                  </a:lnTo>
                  <a:lnTo>
                    <a:pt x="10571455" y="4036727"/>
                  </a:lnTo>
                  <a:lnTo>
                    <a:pt x="10746838" y="3860644"/>
                  </a:lnTo>
                  <a:lnTo>
                    <a:pt x="10750430" y="3860644"/>
                  </a:lnTo>
                  <a:lnTo>
                    <a:pt x="10841677" y="3769161"/>
                  </a:lnTo>
                  <a:close/>
                  <a:moveTo>
                    <a:pt x="10029742" y="3769161"/>
                  </a:moveTo>
                  <a:lnTo>
                    <a:pt x="9759330" y="4040272"/>
                  </a:lnTo>
                  <a:lnTo>
                    <a:pt x="9801255" y="4082197"/>
                  </a:lnTo>
                  <a:lnTo>
                    <a:pt x="9801022" y="4082197"/>
                  </a:lnTo>
                  <a:lnTo>
                    <a:pt x="10028534" y="4308536"/>
                  </a:lnTo>
                  <a:lnTo>
                    <a:pt x="10292658" y="4308536"/>
                  </a:lnTo>
                  <a:lnTo>
                    <a:pt x="10065734" y="4082197"/>
                  </a:lnTo>
                  <a:lnTo>
                    <a:pt x="10065378" y="4082197"/>
                  </a:lnTo>
                  <a:lnTo>
                    <a:pt x="10023453" y="4040272"/>
                  </a:lnTo>
                  <a:lnTo>
                    <a:pt x="10023576" y="4040149"/>
                  </a:lnTo>
                  <a:lnTo>
                    <a:pt x="10021547" y="4038124"/>
                  </a:lnTo>
                  <a:lnTo>
                    <a:pt x="10199027" y="3860644"/>
                  </a:lnTo>
                  <a:lnTo>
                    <a:pt x="10202618" y="3860644"/>
                  </a:lnTo>
                  <a:lnTo>
                    <a:pt x="10293865" y="3769161"/>
                  </a:lnTo>
                  <a:close/>
                  <a:moveTo>
                    <a:pt x="9207500" y="3768843"/>
                  </a:moveTo>
                  <a:lnTo>
                    <a:pt x="8937910" y="4039129"/>
                  </a:lnTo>
                  <a:lnTo>
                    <a:pt x="9070736" y="4171264"/>
                  </a:lnTo>
                  <a:lnTo>
                    <a:pt x="9207690" y="4308217"/>
                  </a:lnTo>
                  <a:lnTo>
                    <a:pt x="9468504" y="4308217"/>
                  </a:lnTo>
                  <a:lnTo>
                    <a:pt x="9325603" y="4165993"/>
                  </a:lnTo>
                  <a:lnTo>
                    <a:pt x="9325603" y="4162008"/>
                  </a:lnTo>
                  <a:lnTo>
                    <a:pt x="9248268" y="4084673"/>
                  </a:lnTo>
                  <a:lnTo>
                    <a:pt x="9248026" y="4084673"/>
                  </a:lnTo>
                  <a:lnTo>
                    <a:pt x="9201211" y="4038556"/>
                  </a:lnTo>
                  <a:lnTo>
                    <a:pt x="9201682" y="4038087"/>
                  </a:lnTo>
                  <a:lnTo>
                    <a:pt x="9201400" y="4037805"/>
                  </a:lnTo>
                  <a:lnTo>
                    <a:pt x="9202798" y="4036408"/>
                  </a:lnTo>
                  <a:lnTo>
                    <a:pt x="9320523" y="3918204"/>
                  </a:lnTo>
                  <a:lnTo>
                    <a:pt x="9320523" y="3917294"/>
                  </a:lnTo>
                  <a:lnTo>
                    <a:pt x="9468973" y="3768843"/>
                  </a:lnTo>
                  <a:close/>
                  <a:moveTo>
                    <a:pt x="9480395" y="3768464"/>
                  </a:moveTo>
                  <a:lnTo>
                    <a:pt x="9215934" y="4033613"/>
                  </a:lnTo>
                  <a:lnTo>
                    <a:pt x="9478102" y="4033613"/>
                  </a:lnTo>
                  <a:lnTo>
                    <a:pt x="9488582" y="4023132"/>
                  </a:lnTo>
                  <a:lnTo>
                    <a:pt x="9488582" y="4023976"/>
                  </a:lnTo>
                  <a:lnTo>
                    <a:pt x="9651914" y="3860644"/>
                  </a:lnTo>
                  <a:lnTo>
                    <a:pt x="9652012" y="3860644"/>
                  </a:lnTo>
                  <a:lnTo>
                    <a:pt x="9742561" y="3769860"/>
                  </a:lnTo>
                  <a:lnTo>
                    <a:pt x="9546215" y="3769860"/>
                  </a:lnTo>
                  <a:lnTo>
                    <a:pt x="9546914" y="3768464"/>
                  </a:lnTo>
                  <a:close/>
                  <a:moveTo>
                    <a:pt x="1264018" y="3501795"/>
                  </a:moveTo>
                  <a:lnTo>
                    <a:pt x="1535828" y="3771509"/>
                  </a:lnTo>
                  <a:lnTo>
                    <a:pt x="1266165" y="4041868"/>
                  </a:lnTo>
                  <a:lnTo>
                    <a:pt x="1527632" y="4041868"/>
                  </a:lnTo>
                  <a:lnTo>
                    <a:pt x="1700221" y="3868581"/>
                  </a:lnTo>
                  <a:lnTo>
                    <a:pt x="1702878" y="3868581"/>
                  </a:lnTo>
                  <a:lnTo>
                    <a:pt x="1799252" y="3772207"/>
                  </a:lnTo>
                  <a:lnTo>
                    <a:pt x="1665094" y="3638748"/>
                  </a:lnTo>
                  <a:lnTo>
                    <a:pt x="1528141" y="3501795"/>
                  </a:lnTo>
                  <a:close/>
                  <a:moveTo>
                    <a:pt x="715508" y="3501795"/>
                  </a:moveTo>
                  <a:lnTo>
                    <a:pt x="986618" y="3772207"/>
                  </a:lnTo>
                  <a:lnTo>
                    <a:pt x="716955" y="4042567"/>
                  </a:lnTo>
                  <a:lnTo>
                    <a:pt x="979122" y="4042567"/>
                  </a:lnTo>
                  <a:lnTo>
                    <a:pt x="1067862" y="3953129"/>
                  </a:lnTo>
                  <a:lnTo>
                    <a:pt x="1152410" y="3868581"/>
                  </a:lnTo>
                  <a:lnTo>
                    <a:pt x="1154616" y="3868581"/>
                  </a:lnTo>
                  <a:lnTo>
                    <a:pt x="1250742" y="3772207"/>
                  </a:lnTo>
                  <a:lnTo>
                    <a:pt x="979631" y="3501795"/>
                  </a:lnTo>
                  <a:close/>
                  <a:moveTo>
                    <a:pt x="165601" y="3501795"/>
                  </a:moveTo>
                  <a:lnTo>
                    <a:pt x="436711" y="3772207"/>
                  </a:lnTo>
                  <a:lnTo>
                    <a:pt x="438108" y="3772906"/>
                  </a:lnTo>
                  <a:lnTo>
                    <a:pt x="169094" y="4042619"/>
                  </a:lnTo>
                  <a:lnTo>
                    <a:pt x="365440" y="4042619"/>
                  </a:lnTo>
                  <a:lnTo>
                    <a:pt x="365116" y="4043266"/>
                  </a:lnTo>
                  <a:lnTo>
                    <a:pt x="430612" y="4043266"/>
                  </a:lnTo>
                  <a:lnTo>
                    <a:pt x="604598" y="3868581"/>
                  </a:lnTo>
                  <a:lnTo>
                    <a:pt x="606802" y="3868581"/>
                  </a:lnTo>
                  <a:lnTo>
                    <a:pt x="701533" y="3773605"/>
                  </a:lnTo>
                  <a:lnTo>
                    <a:pt x="430423" y="3503193"/>
                  </a:lnTo>
                  <a:lnTo>
                    <a:pt x="362644" y="3501795"/>
                  </a:lnTo>
                  <a:close/>
                  <a:moveTo>
                    <a:pt x="2361039" y="3501097"/>
                  </a:moveTo>
                  <a:lnTo>
                    <a:pt x="2631451" y="3770111"/>
                  </a:lnTo>
                  <a:lnTo>
                    <a:pt x="2628655" y="3772906"/>
                  </a:lnTo>
                  <a:lnTo>
                    <a:pt x="2538519" y="3863743"/>
                  </a:lnTo>
                  <a:lnTo>
                    <a:pt x="2361789" y="4040472"/>
                  </a:lnTo>
                  <a:lnTo>
                    <a:pt x="2624653" y="4040472"/>
                  </a:lnTo>
                  <a:lnTo>
                    <a:pt x="2795844" y="3868581"/>
                  </a:lnTo>
                  <a:lnTo>
                    <a:pt x="2797802" y="3868581"/>
                  </a:lnTo>
                  <a:lnTo>
                    <a:pt x="2895574" y="3770810"/>
                  </a:lnTo>
                  <a:lnTo>
                    <a:pt x="2625162" y="3501097"/>
                  </a:lnTo>
                  <a:close/>
                  <a:moveTo>
                    <a:pt x="1812528" y="3501097"/>
                  </a:moveTo>
                  <a:lnTo>
                    <a:pt x="1813926" y="3502494"/>
                  </a:lnTo>
                  <a:lnTo>
                    <a:pt x="2083639" y="3771509"/>
                  </a:lnTo>
                  <a:lnTo>
                    <a:pt x="1814673" y="4041170"/>
                  </a:lnTo>
                  <a:lnTo>
                    <a:pt x="2076143" y="4041170"/>
                  </a:lnTo>
                  <a:lnTo>
                    <a:pt x="2248033" y="3868581"/>
                  </a:lnTo>
                  <a:lnTo>
                    <a:pt x="2250940" y="3868581"/>
                  </a:lnTo>
                  <a:lnTo>
                    <a:pt x="2347762" y="3771509"/>
                  </a:lnTo>
                  <a:lnTo>
                    <a:pt x="2342173" y="3766618"/>
                  </a:lnTo>
                  <a:lnTo>
                    <a:pt x="2076652" y="3501097"/>
                  </a:lnTo>
                  <a:close/>
                  <a:moveTo>
                    <a:pt x="4005871" y="3499001"/>
                  </a:moveTo>
                  <a:lnTo>
                    <a:pt x="4277680" y="3768713"/>
                  </a:lnTo>
                  <a:lnTo>
                    <a:pt x="4008016" y="4039074"/>
                  </a:lnTo>
                  <a:lnTo>
                    <a:pt x="4270183" y="4039074"/>
                  </a:lnTo>
                  <a:lnTo>
                    <a:pt x="4359622" y="3949635"/>
                  </a:lnTo>
                  <a:lnTo>
                    <a:pt x="4440677" y="3868581"/>
                  </a:lnTo>
                  <a:lnTo>
                    <a:pt x="4441937" y="3868581"/>
                  </a:lnTo>
                  <a:lnTo>
                    <a:pt x="4541105" y="3769413"/>
                  </a:lnTo>
                  <a:lnTo>
                    <a:pt x="4406948" y="3635954"/>
                  </a:lnTo>
                  <a:lnTo>
                    <a:pt x="4269994" y="3499001"/>
                  </a:lnTo>
                  <a:close/>
                  <a:moveTo>
                    <a:pt x="4554381" y="3498302"/>
                  </a:moveTo>
                  <a:lnTo>
                    <a:pt x="4555778" y="3499699"/>
                  </a:lnTo>
                  <a:lnTo>
                    <a:pt x="4820723" y="3763951"/>
                  </a:lnTo>
                  <a:lnTo>
                    <a:pt x="5083541" y="3763951"/>
                  </a:lnTo>
                  <a:lnTo>
                    <a:pt x="4954274" y="3635384"/>
                  </a:lnTo>
                  <a:lnTo>
                    <a:pt x="4816513" y="3498302"/>
                  </a:lnTo>
                  <a:close/>
                  <a:moveTo>
                    <a:pt x="3721484" y="3498302"/>
                  </a:moveTo>
                  <a:lnTo>
                    <a:pt x="3457360" y="3499001"/>
                  </a:lnTo>
                  <a:lnTo>
                    <a:pt x="3728471" y="3769413"/>
                  </a:lnTo>
                  <a:lnTo>
                    <a:pt x="3458808" y="4039773"/>
                  </a:lnTo>
                  <a:lnTo>
                    <a:pt x="3721674" y="4039773"/>
                  </a:lnTo>
                  <a:lnTo>
                    <a:pt x="3892166" y="3867883"/>
                  </a:lnTo>
                  <a:lnTo>
                    <a:pt x="3893935" y="3867883"/>
                  </a:lnTo>
                  <a:lnTo>
                    <a:pt x="3992595" y="3768713"/>
                  </a:lnTo>
                  <a:close/>
                  <a:moveTo>
                    <a:pt x="5924124" y="3497033"/>
                  </a:moveTo>
                  <a:lnTo>
                    <a:pt x="6195934" y="3766747"/>
                  </a:lnTo>
                  <a:lnTo>
                    <a:pt x="5926271" y="4037106"/>
                  </a:lnTo>
                  <a:lnTo>
                    <a:pt x="6187739" y="4037106"/>
                  </a:lnTo>
                  <a:lnTo>
                    <a:pt x="6360328" y="3863819"/>
                  </a:lnTo>
                  <a:lnTo>
                    <a:pt x="6362985" y="3863819"/>
                  </a:lnTo>
                  <a:lnTo>
                    <a:pt x="6459359" y="3767445"/>
                  </a:lnTo>
                  <a:lnTo>
                    <a:pt x="6325200" y="3633986"/>
                  </a:lnTo>
                  <a:lnTo>
                    <a:pt x="6188247" y="3497033"/>
                  </a:lnTo>
                  <a:close/>
                  <a:moveTo>
                    <a:pt x="5375615" y="3497033"/>
                  </a:moveTo>
                  <a:lnTo>
                    <a:pt x="5646724" y="3767445"/>
                  </a:lnTo>
                  <a:lnTo>
                    <a:pt x="5377062" y="4037805"/>
                  </a:lnTo>
                  <a:lnTo>
                    <a:pt x="5639228" y="4037805"/>
                  </a:lnTo>
                  <a:lnTo>
                    <a:pt x="5727968" y="3948367"/>
                  </a:lnTo>
                  <a:lnTo>
                    <a:pt x="5812516" y="3863819"/>
                  </a:lnTo>
                  <a:lnTo>
                    <a:pt x="5814722" y="3863819"/>
                  </a:lnTo>
                  <a:lnTo>
                    <a:pt x="5910849" y="3767445"/>
                  </a:lnTo>
                  <a:lnTo>
                    <a:pt x="5639738" y="3497033"/>
                  </a:lnTo>
                  <a:close/>
                  <a:moveTo>
                    <a:pt x="4825707" y="3497033"/>
                  </a:moveTo>
                  <a:lnTo>
                    <a:pt x="5096817" y="3767445"/>
                  </a:lnTo>
                  <a:lnTo>
                    <a:pt x="5098215" y="3768144"/>
                  </a:lnTo>
                  <a:lnTo>
                    <a:pt x="4829200" y="4037857"/>
                  </a:lnTo>
                  <a:lnTo>
                    <a:pt x="5025547" y="4037857"/>
                  </a:lnTo>
                  <a:lnTo>
                    <a:pt x="5025222" y="4038504"/>
                  </a:lnTo>
                  <a:lnTo>
                    <a:pt x="5090718" y="4038504"/>
                  </a:lnTo>
                  <a:lnTo>
                    <a:pt x="5264704" y="3863819"/>
                  </a:lnTo>
                  <a:lnTo>
                    <a:pt x="5266909" y="3863819"/>
                  </a:lnTo>
                  <a:lnTo>
                    <a:pt x="5361639" y="3768843"/>
                  </a:lnTo>
                  <a:lnTo>
                    <a:pt x="5090530" y="3498431"/>
                  </a:lnTo>
                  <a:lnTo>
                    <a:pt x="5022750" y="3497033"/>
                  </a:lnTo>
                  <a:close/>
                  <a:moveTo>
                    <a:pt x="7021145" y="3496335"/>
                  </a:moveTo>
                  <a:lnTo>
                    <a:pt x="7291557" y="3765349"/>
                  </a:lnTo>
                  <a:lnTo>
                    <a:pt x="7288761" y="3768144"/>
                  </a:lnTo>
                  <a:lnTo>
                    <a:pt x="7198625" y="3858981"/>
                  </a:lnTo>
                  <a:lnTo>
                    <a:pt x="7021895" y="4035710"/>
                  </a:lnTo>
                  <a:lnTo>
                    <a:pt x="7284759" y="4035710"/>
                  </a:lnTo>
                  <a:lnTo>
                    <a:pt x="7455950" y="3863819"/>
                  </a:lnTo>
                  <a:lnTo>
                    <a:pt x="7457908" y="3863819"/>
                  </a:lnTo>
                  <a:lnTo>
                    <a:pt x="7555680" y="3766048"/>
                  </a:lnTo>
                  <a:lnTo>
                    <a:pt x="7285268" y="3496335"/>
                  </a:lnTo>
                  <a:close/>
                  <a:moveTo>
                    <a:pt x="6472634" y="3496335"/>
                  </a:moveTo>
                  <a:lnTo>
                    <a:pt x="6474032" y="3497732"/>
                  </a:lnTo>
                  <a:lnTo>
                    <a:pt x="6743745" y="3766747"/>
                  </a:lnTo>
                  <a:lnTo>
                    <a:pt x="6474780" y="4036408"/>
                  </a:lnTo>
                  <a:lnTo>
                    <a:pt x="6736249" y="4036408"/>
                  </a:lnTo>
                  <a:lnTo>
                    <a:pt x="6908140" y="3863819"/>
                  </a:lnTo>
                  <a:lnTo>
                    <a:pt x="6911046" y="3863819"/>
                  </a:lnTo>
                  <a:lnTo>
                    <a:pt x="7007868" y="3766747"/>
                  </a:lnTo>
                  <a:lnTo>
                    <a:pt x="7002279" y="3761856"/>
                  </a:lnTo>
                  <a:lnTo>
                    <a:pt x="6736759" y="3496335"/>
                  </a:lnTo>
                  <a:close/>
                  <a:moveTo>
                    <a:pt x="8665977" y="3494239"/>
                  </a:moveTo>
                  <a:lnTo>
                    <a:pt x="8937786" y="3763951"/>
                  </a:lnTo>
                  <a:lnTo>
                    <a:pt x="8668122" y="4034312"/>
                  </a:lnTo>
                  <a:lnTo>
                    <a:pt x="8930289" y="4034312"/>
                  </a:lnTo>
                  <a:lnTo>
                    <a:pt x="9019728" y="3944873"/>
                  </a:lnTo>
                  <a:lnTo>
                    <a:pt x="9100782" y="3863819"/>
                  </a:lnTo>
                  <a:lnTo>
                    <a:pt x="9102043" y="3863819"/>
                  </a:lnTo>
                  <a:lnTo>
                    <a:pt x="9201211" y="3764651"/>
                  </a:lnTo>
                  <a:lnTo>
                    <a:pt x="9067053" y="3631192"/>
                  </a:lnTo>
                  <a:lnTo>
                    <a:pt x="8930100" y="3494239"/>
                  </a:lnTo>
                  <a:close/>
                  <a:moveTo>
                    <a:pt x="10584541" y="3493858"/>
                  </a:moveTo>
                  <a:lnTo>
                    <a:pt x="10856351" y="3763572"/>
                  </a:lnTo>
                  <a:lnTo>
                    <a:pt x="10586688" y="4033931"/>
                  </a:lnTo>
                  <a:lnTo>
                    <a:pt x="10848155" y="4033931"/>
                  </a:lnTo>
                  <a:lnTo>
                    <a:pt x="11020744" y="3860644"/>
                  </a:lnTo>
                  <a:lnTo>
                    <a:pt x="11023401" y="3860644"/>
                  </a:lnTo>
                  <a:lnTo>
                    <a:pt x="11119775" y="3764270"/>
                  </a:lnTo>
                  <a:lnTo>
                    <a:pt x="10985617" y="3630811"/>
                  </a:lnTo>
                  <a:lnTo>
                    <a:pt x="10848664" y="3493858"/>
                  </a:lnTo>
                  <a:close/>
                  <a:moveTo>
                    <a:pt x="10036031" y="3493858"/>
                  </a:moveTo>
                  <a:lnTo>
                    <a:pt x="10307141" y="3764270"/>
                  </a:lnTo>
                  <a:lnTo>
                    <a:pt x="10037478" y="4034630"/>
                  </a:lnTo>
                  <a:lnTo>
                    <a:pt x="10299645" y="4034630"/>
                  </a:lnTo>
                  <a:lnTo>
                    <a:pt x="10388385" y="3945192"/>
                  </a:lnTo>
                  <a:lnTo>
                    <a:pt x="10472933" y="3860644"/>
                  </a:lnTo>
                  <a:lnTo>
                    <a:pt x="10475139" y="3860644"/>
                  </a:lnTo>
                  <a:lnTo>
                    <a:pt x="10571265" y="3764270"/>
                  </a:lnTo>
                  <a:lnTo>
                    <a:pt x="10300154" y="3493858"/>
                  </a:lnTo>
                  <a:close/>
                  <a:moveTo>
                    <a:pt x="9486124" y="3493858"/>
                  </a:moveTo>
                  <a:lnTo>
                    <a:pt x="9757234" y="3764270"/>
                  </a:lnTo>
                  <a:lnTo>
                    <a:pt x="9758631" y="3764969"/>
                  </a:lnTo>
                  <a:lnTo>
                    <a:pt x="9489617" y="4034682"/>
                  </a:lnTo>
                  <a:lnTo>
                    <a:pt x="9685963" y="4034682"/>
                  </a:lnTo>
                  <a:lnTo>
                    <a:pt x="9685639" y="4035329"/>
                  </a:lnTo>
                  <a:lnTo>
                    <a:pt x="9751135" y="4035329"/>
                  </a:lnTo>
                  <a:lnTo>
                    <a:pt x="9925121" y="3860644"/>
                  </a:lnTo>
                  <a:lnTo>
                    <a:pt x="9927325" y="3860644"/>
                  </a:lnTo>
                  <a:lnTo>
                    <a:pt x="10022056" y="3765668"/>
                  </a:lnTo>
                  <a:lnTo>
                    <a:pt x="9750946" y="3495256"/>
                  </a:lnTo>
                  <a:lnTo>
                    <a:pt x="9683167" y="3493858"/>
                  </a:lnTo>
                  <a:close/>
                  <a:moveTo>
                    <a:pt x="9214487" y="3493540"/>
                  </a:moveTo>
                  <a:lnTo>
                    <a:pt x="9215884" y="3494937"/>
                  </a:lnTo>
                  <a:lnTo>
                    <a:pt x="9482419" y="3760776"/>
                  </a:lnTo>
                  <a:lnTo>
                    <a:pt x="9743958" y="3760776"/>
                  </a:lnTo>
                  <a:lnTo>
                    <a:pt x="9614691" y="3632209"/>
                  </a:lnTo>
                  <a:lnTo>
                    <a:pt x="9475335" y="3493540"/>
                  </a:lnTo>
                  <a:close/>
                  <a:moveTo>
                    <a:pt x="8381590" y="3493540"/>
                  </a:moveTo>
                  <a:lnTo>
                    <a:pt x="8117466" y="3494239"/>
                  </a:lnTo>
                  <a:lnTo>
                    <a:pt x="8388577" y="3764651"/>
                  </a:lnTo>
                  <a:lnTo>
                    <a:pt x="8118914" y="4035011"/>
                  </a:lnTo>
                  <a:lnTo>
                    <a:pt x="8381780" y="4035011"/>
                  </a:lnTo>
                  <a:lnTo>
                    <a:pt x="8552272" y="3863121"/>
                  </a:lnTo>
                  <a:lnTo>
                    <a:pt x="8554041" y="3863121"/>
                  </a:lnTo>
                  <a:lnTo>
                    <a:pt x="8652701" y="3763951"/>
                  </a:lnTo>
                  <a:close/>
                  <a:moveTo>
                    <a:pt x="11133051" y="3493160"/>
                  </a:moveTo>
                  <a:lnTo>
                    <a:pt x="11134449" y="3494557"/>
                  </a:lnTo>
                  <a:lnTo>
                    <a:pt x="11404162" y="3763572"/>
                  </a:lnTo>
                  <a:lnTo>
                    <a:pt x="11135196" y="4033233"/>
                  </a:lnTo>
                  <a:lnTo>
                    <a:pt x="11396666" y="4033233"/>
                  </a:lnTo>
                  <a:lnTo>
                    <a:pt x="11568556" y="3860644"/>
                  </a:lnTo>
                  <a:lnTo>
                    <a:pt x="11571463" y="3860644"/>
                  </a:lnTo>
                  <a:lnTo>
                    <a:pt x="11668285" y="3763572"/>
                  </a:lnTo>
                  <a:lnTo>
                    <a:pt x="11662696" y="3758681"/>
                  </a:lnTo>
                  <a:lnTo>
                    <a:pt x="11397175" y="3493160"/>
                  </a:lnTo>
                  <a:close/>
                  <a:moveTo>
                    <a:pt x="707821" y="3228588"/>
                  </a:moveTo>
                  <a:lnTo>
                    <a:pt x="437409" y="3499699"/>
                  </a:lnTo>
                  <a:lnTo>
                    <a:pt x="570170" y="3631761"/>
                  </a:lnTo>
                  <a:lnTo>
                    <a:pt x="708520" y="3769413"/>
                  </a:lnTo>
                  <a:lnTo>
                    <a:pt x="972643" y="3769413"/>
                  </a:lnTo>
                  <a:lnTo>
                    <a:pt x="701533" y="3499001"/>
                  </a:lnTo>
                  <a:lnTo>
                    <a:pt x="971945" y="3228588"/>
                  </a:lnTo>
                  <a:close/>
                  <a:moveTo>
                    <a:pt x="1256332" y="3227890"/>
                  </a:moveTo>
                  <a:lnTo>
                    <a:pt x="985920" y="3499001"/>
                  </a:lnTo>
                  <a:lnTo>
                    <a:pt x="1257031" y="3769413"/>
                  </a:lnTo>
                  <a:lnTo>
                    <a:pt x="1521154" y="3768713"/>
                  </a:lnTo>
                  <a:lnTo>
                    <a:pt x="1250043" y="3498302"/>
                  </a:lnTo>
                  <a:lnTo>
                    <a:pt x="1434510" y="3313835"/>
                  </a:lnTo>
                  <a:lnTo>
                    <a:pt x="1520455" y="3227890"/>
                  </a:lnTo>
                  <a:close/>
                  <a:moveTo>
                    <a:pt x="1804143" y="3227192"/>
                  </a:moveTo>
                  <a:lnTo>
                    <a:pt x="1623869" y="3408165"/>
                  </a:lnTo>
                  <a:lnTo>
                    <a:pt x="1534430" y="3498302"/>
                  </a:lnTo>
                  <a:lnTo>
                    <a:pt x="1668588" y="3631761"/>
                  </a:lnTo>
                  <a:lnTo>
                    <a:pt x="1805541" y="3768713"/>
                  </a:lnTo>
                  <a:lnTo>
                    <a:pt x="2069664" y="3768015"/>
                  </a:lnTo>
                  <a:lnTo>
                    <a:pt x="1798553" y="3497603"/>
                  </a:lnTo>
                  <a:lnTo>
                    <a:pt x="1799951" y="3496206"/>
                  </a:lnTo>
                  <a:lnTo>
                    <a:pt x="2068266" y="3227192"/>
                  </a:lnTo>
                  <a:close/>
                  <a:moveTo>
                    <a:pt x="2353352" y="3226492"/>
                  </a:moveTo>
                  <a:lnTo>
                    <a:pt x="2082940" y="3497603"/>
                  </a:lnTo>
                  <a:lnTo>
                    <a:pt x="2354051" y="3768015"/>
                  </a:lnTo>
                  <a:lnTo>
                    <a:pt x="2618174" y="3768015"/>
                  </a:lnTo>
                  <a:lnTo>
                    <a:pt x="2347064" y="3497603"/>
                  </a:lnTo>
                  <a:lnTo>
                    <a:pt x="2617476" y="3226492"/>
                  </a:lnTo>
                  <a:close/>
                  <a:moveTo>
                    <a:pt x="3449674" y="3225095"/>
                  </a:moveTo>
                  <a:lnTo>
                    <a:pt x="3179262" y="3496206"/>
                  </a:lnTo>
                  <a:lnTo>
                    <a:pt x="3450373" y="3766618"/>
                  </a:lnTo>
                  <a:lnTo>
                    <a:pt x="3714496" y="3766618"/>
                  </a:lnTo>
                  <a:lnTo>
                    <a:pt x="3443385" y="3496206"/>
                  </a:lnTo>
                  <a:lnTo>
                    <a:pt x="3713797" y="3225095"/>
                  </a:lnTo>
                  <a:close/>
                  <a:moveTo>
                    <a:pt x="3998184" y="3224396"/>
                  </a:moveTo>
                  <a:lnTo>
                    <a:pt x="3727772" y="3495507"/>
                  </a:lnTo>
                  <a:lnTo>
                    <a:pt x="3998883" y="3765919"/>
                  </a:lnTo>
                  <a:lnTo>
                    <a:pt x="4263007" y="3765220"/>
                  </a:lnTo>
                  <a:lnTo>
                    <a:pt x="3991896" y="3494808"/>
                  </a:lnTo>
                  <a:lnTo>
                    <a:pt x="4176362" y="3310341"/>
                  </a:lnTo>
                  <a:lnTo>
                    <a:pt x="4177062" y="3310341"/>
                  </a:lnTo>
                  <a:lnTo>
                    <a:pt x="4262309" y="3224396"/>
                  </a:lnTo>
                  <a:close/>
                  <a:moveTo>
                    <a:pt x="5367927" y="3223826"/>
                  </a:moveTo>
                  <a:lnTo>
                    <a:pt x="5097515" y="3494937"/>
                  </a:lnTo>
                  <a:lnTo>
                    <a:pt x="5230276" y="3626999"/>
                  </a:lnTo>
                  <a:lnTo>
                    <a:pt x="5368626" y="3764651"/>
                  </a:lnTo>
                  <a:lnTo>
                    <a:pt x="5632749" y="3764651"/>
                  </a:lnTo>
                  <a:lnTo>
                    <a:pt x="5361639" y="3494239"/>
                  </a:lnTo>
                  <a:lnTo>
                    <a:pt x="5632051" y="3223826"/>
                  </a:lnTo>
                  <a:close/>
                  <a:moveTo>
                    <a:pt x="4546696" y="3223697"/>
                  </a:moveTo>
                  <a:lnTo>
                    <a:pt x="4366420" y="3404671"/>
                  </a:lnTo>
                  <a:lnTo>
                    <a:pt x="4365722" y="3404671"/>
                  </a:lnTo>
                  <a:lnTo>
                    <a:pt x="4276283" y="3494808"/>
                  </a:lnTo>
                  <a:lnTo>
                    <a:pt x="4410440" y="3628267"/>
                  </a:lnTo>
                  <a:lnTo>
                    <a:pt x="4547394" y="3765220"/>
                  </a:lnTo>
                  <a:lnTo>
                    <a:pt x="4809493" y="3765220"/>
                  </a:lnTo>
                  <a:lnTo>
                    <a:pt x="4660106" y="3616519"/>
                  </a:lnTo>
                  <a:lnTo>
                    <a:pt x="4660106" y="3614199"/>
                  </a:lnTo>
                  <a:lnTo>
                    <a:pt x="4540406" y="3494808"/>
                  </a:lnTo>
                  <a:lnTo>
                    <a:pt x="4542503" y="3493410"/>
                  </a:lnTo>
                  <a:lnTo>
                    <a:pt x="4660106" y="3374886"/>
                  </a:lnTo>
                  <a:lnTo>
                    <a:pt x="4660106" y="3371259"/>
                  </a:lnTo>
                  <a:lnTo>
                    <a:pt x="4808350" y="3223697"/>
                  </a:lnTo>
                  <a:close/>
                  <a:moveTo>
                    <a:pt x="5916438" y="3223128"/>
                  </a:moveTo>
                  <a:lnTo>
                    <a:pt x="5646026" y="3494239"/>
                  </a:lnTo>
                  <a:lnTo>
                    <a:pt x="5917138" y="3764651"/>
                  </a:lnTo>
                  <a:lnTo>
                    <a:pt x="6181261" y="3763951"/>
                  </a:lnTo>
                  <a:lnTo>
                    <a:pt x="5910149" y="3493540"/>
                  </a:lnTo>
                  <a:lnTo>
                    <a:pt x="6094616" y="3309073"/>
                  </a:lnTo>
                  <a:lnTo>
                    <a:pt x="6180561" y="3223128"/>
                  </a:lnTo>
                  <a:close/>
                  <a:moveTo>
                    <a:pt x="4821874" y="3223128"/>
                  </a:moveTo>
                  <a:lnTo>
                    <a:pt x="4554381" y="3491315"/>
                  </a:lnTo>
                  <a:lnTo>
                    <a:pt x="4815332" y="3491315"/>
                  </a:lnTo>
                  <a:lnTo>
                    <a:pt x="4996199" y="3309073"/>
                  </a:lnTo>
                  <a:lnTo>
                    <a:pt x="5082144" y="3223128"/>
                  </a:lnTo>
                  <a:close/>
                  <a:moveTo>
                    <a:pt x="6464250" y="3222430"/>
                  </a:moveTo>
                  <a:lnTo>
                    <a:pt x="6283976" y="3403403"/>
                  </a:lnTo>
                  <a:lnTo>
                    <a:pt x="6194536" y="3493540"/>
                  </a:lnTo>
                  <a:lnTo>
                    <a:pt x="6328695" y="3626999"/>
                  </a:lnTo>
                  <a:lnTo>
                    <a:pt x="6465647" y="3763951"/>
                  </a:lnTo>
                  <a:lnTo>
                    <a:pt x="6729770" y="3763253"/>
                  </a:lnTo>
                  <a:lnTo>
                    <a:pt x="6458659" y="3492841"/>
                  </a:lnTo>
                  <a:lnTo>
                    <a:pt x="6460057" y="3491444"/>
                  </a:lnTo>
                  <a:lnTo>
                    <a:pt x="6728373" y="3222430"/>
                  </a:lnTo>
                  <a:close/>
                  <a:moveTo>
                    <a:pt x="7013458" y="3221730"/>
                  </a:moveTo>
                  <a:lnTo>
                    <a:pt x="6743046" y="3492841"/>
                  </a:lnTo>
                  <a:lnTo>
                    <a:pt x="7014157" y="3763253"/>
                  </a:lnTo>
                  <a:lnTo>
                    <a:pt x="7278280" y="3763253"/>
                  </a:lnTo>
                  <a:lnTo>
                    <a:pt x="7007170" y="3492841"/>
                  </a:lnTo>
                  <a:lnTo>
                    <a:pt x="7277582" y="3221730"/>
                  </a:lnTo>
                  <a:close/>
                  <a:moveTo>
                    <a:pt x="10028344" y="3220651"/>
                  </a:moveTo>
                  <a:lnTo>
                    <a:pt x="9757932" y="3491762"/>
                  </a:lnTo>
                  <a:lnTo>
                    <a:pt x="9890693" y="3623824"/>
                  </a:lnTo>
                  <a:lnTo>
                    <a:pt x="10029043" y="3761476"/>
                  </a:lnTo>
                  <a:lnTo>
                    <a:pt x="10293166" y="3761476"/>
                  </a:lnTo>
                  <a:lnTo>
                    <a:pt x="10022056" y="3491064"/>
                  </a:lnTo>
                  <a:lnTo>
                    <a:pt x="10292468" y="3220651"/>
                  </a:lnTo>
                  <a:close/>
                  <a:moveTo>
                    <a:pt x="8109780" y="3220333"/>
                  </a:moveTo>
                  <a:lnTo>
                    <a:pt x="7839368" y="3491444"/>
                  </a:lnTo>
                  <a:lnTo>
                    <a:pt x="8110479" y="3761856"/>
                  </a:lnTo>
                  <a:lnTo>
                    <a:pt x="8374602" y="3761856"/>
                  </a:lnTo>
                  <a:lnTo>
                    <a:pt x="8103491" y="3491444"/>
                  </a:lnTo>
                  <a:lnTo>
                    <a:pt x="8373903" y="3220333"/>
                  </a:lnTo>
                  <a:close/>
                  <a:moveTo>
                    <a:pt x="10576855" y="3219953"/>
                  </a:moveTo>
                  <a:lnTo>
                    <a:pt x="10306443" y="3491064"/>
                  </a:lnTo>
                  <a:lnTo>
                    <a:pt x="10577554" y="3761476"/>
                  </a:lnTo>
                  <a:lnTo>
                    <a:pt x="10841677" y="3760776"/>
                  </a:lnTo>
                  <a:lnTo>
                    <a:pt x="10570566" y="3490365"/>
                  </a:lnTo>
                  <a:lnTo>
                    <a:pt x="10755033" y="3305898"/>
                  </a:lnTo>
                  <a:lnTo>
                    <a:pt x="10840978" y="3219953"/>
                  </a:lnTo>
                  <a:close/>
                  <a:moveTo>
                    <a:pt x="9480397" y="3219953"/>
                  </a:moveTo>
                  <a:lnTo>
                    <a:pt x="9214487" y="3486553"/>
                  </a:lnTo>
                  <a:lnTo>
                    <a:pt x="9477324" y="3486553"/>
                  </a:lnTo>
                  <a:lnTo>
                    <a:pt x="9656616" y="3305898"/>
                  </a:lnTo>
                  <a:lnTo>
                    <a:pt x="9742561" y="3219953"/>
                  </a:lnTo>
                  <a:close/>
                  <a:moveTo>
                    <a:pt x="8658290" y="3219635"/>
                  </a:moveTo>
                  <a:lnTo>
                    <a:pt x="8387878" y="3490745"/>
                  </a:lnTo>
                  <a:lnTo>
                    <a:pt x="8658989" y="3761157"/>
                  </a:lnTo>
                  <a:lnTo>
                    <a:pt x="8923113" y="3760458"/>
                  </a:lnTo>
                  <a:lnTo>
                    <a:pt x="8652002" y="3490046"/>
                  </a:lnTo>
                  <a:lnTo>
                    <a:pt x="8836468" y="3305579"/>
                  </a:lnTo>
                  <a:lnTo>
                    <a:pt x="8837168" y="3305579"/>
                  </a:lnTo>
                  <a:lnTo>
                    <a:pt x="8922414" y="3219635"/>
                  </a:lnTo>
                  <a:close/>
                  <a:moveTo>
                    <a:pt x="11124666" y="3219256"/>
                  </a:moveTo>
                  <a:lnTo>
                    <a:pt x="10944392" y="3400228"/>
                  </a:lnTo>
                  <a:lnTo>
                    <a:pt x="10854953" y="3490365"/>
                  </a:lnTo>
                  <a:lnTo>
                    <a:pt x="10989111" y="3623824"/>
                  </a:lnTo>
                  <a:lnTo>
                    <a:pt x="11126064" y="3760776"/>
                  </a:lnTo>
                  <a:lnTo>
                    <a:pt x="11390187" y="3760078"/>
                  </a:lnTo>
                  <a:lnTo>
                    <a:pt x="11119076" y="3489666"/>
                  </a:lnTo>
                  <a:lnTo>
                    <a:pt x="11120474" y="3488269"/>
                  </a:lnTo>
                  <a:lnTo>
                    <a:pt x="11388789" y="3219256"/>
                  </a:lnTo>
                  <a:close/>
                  <a:moveTo>
                    <a:pt x="9206801" y="3218935"/>
                  </a:moveTo>
                  <a:lnTo>
                    <a:pt x="9026526" y="3399909"/>
                  </a:lnTo>
                  <a:lnTo>
                    <a:pt x="9025828" y="3399909"/>
                  </a:lnTo>
                  <a:lnTo>
                    <a:pt x="8936388" y="3490046"/>
                  </a:lnTo>
                  <a:lnTo>
                    <a:pt x="9070546" y="3623505"/>
                  </a:lnTo>
                  <a:lnTo>
                    <a:pt x="9207500" y="3760458"/>
                  </a:lnTo>
                  <a:lnTo>
                    <a:pt x="9468315" y="3760458"/>
                  </a:lnTo>
                  <a:lnTo>
                    <a:pt x="9320523" y="3613344"/>
                  </a:lnTo>
                  <a:lnTo>
                    <a:pt x="9320523" y="3609748"/>
                  </a:lnTo>
                  <a:lnTo>
                    <a:pt x="9200512" y="3490046"/>
                  </a:lnTo>
                  <a:lnTo>
                    <a:pt x="9202609" y="3488648"/>
                  </a:lnTo>
                  <a:lnTo>
                    <a:pt x="9320523" y="3369810"/>
                  </a:lnTo>
                  <a:lnTo>
                    <a:pt x="9320523" y="3368084"/>
                  </a:lnTo>
                  <a:lnTo>
                    <a:pt x="9459449" y="3229795"/>
                  </a:lnTo>
                  <a:lnTo>
                    <a:pt x="9470225" y="3218935"/>
                  </a:lnTo>
                  <a:close/>
                  <a:moveTo>
                    <a:pt x="11673875" y="3218555"/>
                  </a:moveTo>
                  <a:lnTo>
                    <a:pt x="11403463" y="3489666"/>
                  </a:lnTo>
                  <a:lnTo>
                    <a:pt x="11674574" y="3760078"/>
                  </a:lnTo>
                  <a:lnTo>
                    <a:pt x="11938697" y="3760078"/>
                  </a:lnTo>
                  <a:lnTo>
                    <a:pt x="11667587" y="3489666"/>
                  </a:lnTo>
                  <a:lnTo>
                    <a:pt x="11937999" y="3218555"/>
                  </a:lnTo>
                  <a:close/>
                  <a:moveTo>
                    <a:pt x="1263319" y="2953984"/>
                  </a:moveTo>
                  <a:lnTo>
                    <a:pt x="1534430" y="3223697"/>
                  </a:lnTo>
                  <a:lnTo>
                    <a:pt x="1531636" y="3226492"/>
                  </a:lnTo>
                  <a:lnTo>
                    <a:pt x="1441498" y="3317328"/>
                  </a:lnTo>
                  <a:lnTo>
                    <a:pt x="1264018" y="3494808"/>
                  </a:lnTo>
                  <a:lnTo>
                    <a:pt x="1528141" y="3494808"/>
                  </a:lnTo>
                  <a:lnTo>
                    <a:pt x="1617580" y="3405369"/>
                  </a:lnTo>
                  <a:lnTo>
                    <a:pt x="1798553" y="3224396"/>
                  </a:lnTo>
                  <a:lnTo>
                    <a:pt x="1527442" y="2953984"/>
                  </a:lnTo>
                  <a:close/>
                  <a:moveTo>
                    <a:pt x="714809" y="2953984"/>
                  </a:moveTo>
                  <a:lnTo>
                    <a:pt x="843377" y="3082552"/>
                  </a:lnTo>
                  <a:lnTo>
                    <a:pt x="985221" y="3224396"/>
                  </a:lnTo>
                  <a:lnTo>
                    <a:pt x="714809" y="3495507"/>
                  </a:lnTo>
                  <a:lnTo>
                    <a:pt x="978932" y="3495507"/>
                  </a:lnTo>
                  <a:lnTo>
                    <a:pt x="1249344" y="3224396"/>
                  </a:lnTo>
                  <a:lnTo>
                    <a:pt x="1244453" y="3219505"/>
                  </a:lnTo>
                  <a:lnTo>
                    <a:pt x="978932" y="2953984"/>
                  </a:lnTo>
                  <a:close/>
                  <a:moveTo>
                    <a:pt x="164902" y="2953984"/>
                  </a:moveTo>
                  <a:lnTo>
                    <a:pt x="436013" y="3223697"/>
                  </a:lnTo>
                  <a:lnTo>
                    <a:pt x="433217" y="3226492"/>
                  </a:lnTo>
                  <a:lnTo>
                    <a:pt x="343079" y="3317328"/>
                  </a:lnTo>
                  <a:lnTo>
                    <a:pt x="165601" y="3494808"/>
                  </a:lnTo>
                  <a:lnTo>
                    <a:pt x="429724" y="3494808"/>
                  </a:lnTo>
                  <a:lnTo>
                    <a:pt x="519162" y="3405369"/>
                  </a:lnTo>
                  <a:lnTo>
                    <a:pt x="700136" y="3224396"/>
                  </a:lnTo>
                  <a:lnTo>
                    <a:pt x="429025" y="2953984"/>
                  </a:lnTo>
                  <a:close/>
                  <a:moveTo>
                    <a:pt x="2908151" y="2953285"/>
                  </a:moveTo>
                  <a:lnTo>
                    <a:pt x="3179262" y="3223697"/>
                  </a:lnTo>
                  <a:lnTo>
                    <a:pt x="2908850" y="3494808"/>
                  </a:lnTo>
                  <a:lnTo>
                    <a:pt x="3107292" y="3494808"/>
                  </a:lnTo>
                  <a:lnTo>
                    <a:pt x="3103798" y="3501795"/>
                  </a:lnTo>
                  <a:lnTo>
                    <a:pt x="2908850" y="3501795"/>
                  </a:lnTo>
                  <a:lnTo>
                    <a:pt x="3038815" y="3631761"/>
                  </a:lnTo>
                  <a:lnTo>
                    <a:pt x="3035322" y="3638748"/>
                  </a:lnTo>
                  <a:lnTo>
                    <a:pt x="2894875" y="3498302"/>
                  </a:lnTo>
                  <a:lnTo>
                    <a:pt x="3165287" y="3227192"/>
                  </a:lnTo>
                  <a:lnTo>
                    <a:pt x="2901164" y="3227192"/>
                  </a:lnTo>
                  <a:lnTo>
                    <a:pt x="2630752" y="3498302"/>
                  </a:lnTo>
                  <a:lnTo>
                    <a:pt x="2901863" y="3768713"/>
                  </a:lnTo>
                  <a:lnTo>
                    <a:pt x="2970339" y="3768713"/>
                  </a:lnTo>
                  <a:lnTo>
                    <a:pt x="2966846" y="3775701"/>
                  </a:lnTo>
                  <a:lnTo>
                    <a:pt x="2901863" y="3775701"/>
                  </a:lnTo>
                  <a:lnTo>
                    <a:pt x="2721588" y="3956675"/>
                  </a:lnTo>
                  <a:lnTo>
                    <a:pt x="2633317" y="4045637"/>
                  </a:lnTo>
                  <a:lnTo>
                    <a:pt x="2902751" y="4314377"/>
                  </a:lnTo>
                  <a:lnTo>
                    <a:pt x="3165477" y="4314377"/>
                  </a:lnTo>
                  <a:lnTo>
                    <a:pt x="3036210" y="4185111"/>
                  </a:lnTo>
                  <a:lnTo>
                    <a:pt x="3036909" y="4184412"/>
                  </a:lnTo>
                  <a:lnTo>
                    <a:pt x="2942163" y="4090134"/>
                  </a:lnTo>
                  <a:lnTo>
                    <a:pt x="2940992" y="4090134"/>
                  </a:lnTo>
                  <a:lnTo>
                    <a:pt x="2896273" y="4045415"/>
                  </a:lnTo>
                  <a:lnTo>
                    <a:pt x="2896745" y="4044942"/>
                  </a:lnTo>
                  <a:lnTo>
                    <a:pt x="2895764" y="4043965"/>
                  </a:lnTo>
                  <a:lnTo>
                    <a:pt x="3070448" y="3868581"/>
                  </a:lnTo>
                  <a:lnTo>
                    <a:pt x="3072651" y="3868581"/>
                  </a:lnTo>
                  <a:lnTo>
                    <a:pt x="3165986" y="3775003"/>
                  </a:lnTo>
                  <a:lnTo>
                    <a:pt x="2967543" y="3775003"/>
                  </a:lnTo>
                  <a:lnTo>
                    <a:pt x="2971038" y="3768015"/>
                  </a:lnTo>
                  <a:lnTo>
                    <a:pt x="3165986" y="3768015"/>
                  </a:lnTo>
                  <a:lnTo>
                    <a:pt x="3036021" y="3638050"/>
                  </a:lnTo>
                  <a:lnTo>
                    <a:pt x="3039514" y="3631063"/>
                  </a:lnTo>
                  <a:lnTo>
                    <a:pt x="3179961" y="3771509"/>
                  </a:lnTo>
                  <a:lnTo>
                    <a:pt x="2912388" y="4039773"/>
                  </a:lnTo>
                  <a:lnTo>
                    <a:pt x="3173163" y="4039773"/>
                  </a:lnTo>
                  <a:lnTo>
                    <a:pt x="3262601" y="3950334"/>
                  </a:lnTo>
                  <a:lnTo>
                    <a:pt x="3344354" y="3868581"/>
                  </a:lnTo>
                  <a:lnTo>
                    <a:pt x="3347262" y="3868581"/>
                  </a:lnTo>
                  <a:lnTo>
                    <a:pt x="3444084" y="3771509"/>
                  </a:lnTo>
                  <a:lnTo>
                    <a:pt x="3172973" y="3501795"/>
                  </a:lnTo>
                  <a:lnTo>
                    <a:pt x="3104497" y="3501795"/>
                  </a:lnTo>
                  <a:lnTo>
                    <a:pt x="3107990" y="3494808"/>
                  </a:lnTo>
                  <a:lnTo>
                    <a:pt x="3172973" y="3494808"/>
                  </a:lnTo>
                  <a:lnTo>
                    <a:pt x="3443385" y="3223697"/>
                  </a:lnTo>
                  <a:lnTo>
                    <a:pt x="3309227" y="3090238"/>
                  </a:lnTo>
                  <a:lnTo>
                    <a:pt x="3172275" y="2953285"/>
                  </a:lnTo>
                  <a:close/>
                  <a:moveTo>
                    <a:pt x="1811829" y="2952586"/>
                  </a:moveTo>
                  <a:lnTo>
                    <a:pt x="1941795" y="3082552"/>
                  </a:lnTo>
                  <a:lnTo>
                    <a:pt x="2082940" y="3222998"/>
                  </a:lnTo>
                  <a:lnTo>
                    <a:pt x="1812528" y="3494109"/>
                  </a:lnTo>
                  <a:lnTo>
                    <a:pt x="2076652" y="3494109"/>
                  </a:lnTo>
                  <a:lnTo>
                    <a:pt x="2347064" y="3222998"/>
                  </a:lnTo>
                  <a:lnTo>
                    <a:pt x="2075953" y="2952586"/>
                  </a:lnTo>
                  <a:close/>
                  <a:moveTo>
                    <a:pt x="2360340" y="2951889"/>
                  </a:moveTo>
                  <a:lnTo>
                    <a:pt x="2631451" y="3222301"/>
                  </a:lnTo>
                  <a:lnTo>
                    <a:pt x="2361039" y="3493410"/>
                  </a:lnTo>
                  <a:lnTo>
                    <a:pt x="2625162" y="3493410"/>
                  </a:lnTo>
                  <a:lnTo>
                    <a:pt x="2895574" y="3222301"/>
                  </a:lnTo>
                  <a:lnTo>
                    <a:pt x="2624463" y="2951889"/>
                  </a:lnTo>
                  <a:close/>
                  <a:moveTo>
                    <a:pt x="4005871" y="2951190"/>
                  </a:moveTo>
                  <a:lnTo>
                    <a:pt x="4275584" y="3220204"/>
                  </a:lnTo>
                  <a:lnTo>
                    <a:pt x="4272789" y="3222998"/>
                  </a:lnTo>
                  <a:lnTo>
                    <a:pt x="4182652" y="3313835"/>
                  </a:lnTo>
                  <a:lnTo>
                    <a:pt x="4181952" y="3313835"/>
                  </a:lnTo>
                  <a:lnTo>
                    <a:pt x="4005172" y="3491315"/>
                  </a:lnTo>
                  <a:lnTo>
                    <a:pt x="4269296" y="3491315"/>
                  </a:lnTo>
                  <a:lnTo>
                    <a:pt x="4358734" y="3401876"/>
                  </a:lnTo>
                  <a:lnTo>
                    <a:pt x="4359432" y="3401876"/>
                  </a:lnTo>
                  <a:lnTo>
                    <a:pt x="4541105" y="3221602"/>
                  </a:lnTo>
                  <a:lnTo>
                    <a:pt x="4269994" y="2951190"/>
                  </a:lnTo>
                  <a:close/>
                  <a:moveTo>
                    <a:pt x="3457360" y="2951190"/>
                  </a:moveTo>
                  <a:lnTo>
                    <a:pt x="3458059" y="2951889"/>
                  </a:lnTo>
                  <a:lnTo>
                    <a:pt x="3458758" y="2951889"/>
                  </a:lnTo>
                  <a:lnTo>
                    <a:pt x="3727772" y="3220903"/>
                  </a:lnTo>
                  <a:lnTo>
                    <a:pt x="3457360" y="3492014"/>
                  </a:lnTo>
                  <a:lnTo>
                    <a:pt x="3721484" y="3492014"/>
                  </a:lnTo>
                  <a:lnTo>
                    <a:pt x="3991896" y="3221602"/>
                  </a:lnTo>
                  <a:lnTo>
                    <a:pt x="3987005" y="3216011"/>
                  </a:lnTo>
                  <a:lnTo>
                    <a:pt x="3721484" y="2951190"/>
                  </a:lnTo>
                  <a:close/>
                  <a:moveTo>
                    <a:pt x="4554381" y="2949792"/>
                  </a:moveTo>
                  <a:lnTo>
                    <a:pt x="4684346" y="3079757"/>
                  </a:lnTo>
                  <a:lnTo>
                    <a:pt x="4820732" y="3216141"/>
                  </a:lnTo>
                  <a:lnTo>
                    <a:pt x="5082144" y="3216141"/>
                  </a:lnTo>
                  <a:lnTo>
                    <a:pt x="4815107" y="2949792"/>
                  </a:lnTo>
                  <a:close/>
                  <a:moveTo>
                    <a:pt x="5923425" y="2949222"/>
                  </a:moveTo>
                  <a:lnTo>
                    <a:pt x="6194536" y="3218935"/>
                  </a:lnTo>
                  <a:lnTo>
                    <a:pt x="6191742" y="3221730"/>
                  </a:lnTo>
                  <a:lnTo>
                    <a:pt x="6101604" y="3312566"/>
                  </a:lnTo>
                  <a:lnTo>
                    <a:pt x="5924124" y="3490046"/>
                  </a:lnTo>
                  <a:lnTo>
                    <a:pt x="6188247" y="3490046"/>
                  </a:lnTo>
                  <a:lnTo>
                    <a:pt x="6277687" y="3400607"/>
                  </a:lnTo>
                  <a:lnTo>
                    <a:pt x="6458659" y="3219635"/>
                  </a:lnTo>
                  <a:lnTo>
                    <a:pt x="6187548" y="2949222"/>
                  </a:lnTo>
                  <a:close/>
                  <a:moveTo>
                    <a:pt x="5374915" y="2949222"/>
                  </a:moveTo>
                  <a:lnTo>
                    <a:pt x="5503483" y="3077790"/>
                  </a:lnTo>
                  <a:lnTo>
                    <a:pt x="5645327" y="3219635"/>
                  </a:lnTo>
                  <a:lnTo>
                    <a:pt x="5374915" y="3490745"/>
                  </a:lnTo>
                  <a:lnTo>
                    <a:pt x="5639038" y="3490745"/>
                  </a:lnTo>
                  <a:lnTo>
                    <a:pt x="5909450" y="3219635"/>
                  </a:lnTo>
                  <a:lnTo>
                    <a:pt x="5904559" y="3214743"/>
                  </a:lnTo>
                  <a:lnTo>
                    <a:pt x="5639038" y="2949222"/>
                  </a:lnTo>
                  <a:close/>
                  <a:moveTo>
                    <a:pt x="4825009" y="2949222"/>
                  </a:moveTo>
                  <a:lnTo>
                    <a:pt x="5096119" y="3218935"/>
                  </a:lnTo>
                  <a:lnTo>
                    <a:pt x="5093323" y="3221730"/>
                  </a:lnTo>
                  <a:lnTo>
                    <a:pt x="5003186" y="3312566"/>
                  </a:lnTo>
                  <a:lnTo>
                    <a:pt x="4825707" y="3490046"/>
                  </a:lnTo>
                  <a:lnTo>
                    <a:pt x="5089830" y="3490046"/>
                  </a:lnTo>
                  <a:lnTo>
                    <a:pt x="5179268" y="3400607"/>
                  </a:lnTo>
                  <a:lnTo>
                    <a:pt x="5360242" y="3219635"/>
                  </a:lnTo>
                  <a:lnTo>
                    <a:pt x="5089132" y="2949222"/>
                  </a:lnTo>
                  <a:close/>
                  <a:moveTo>
                    <a:pt x="7568257" y="2948523"/>
                  </a:moveTo>
                  <a:lnTo>
                    <a:pt x="7839368" y="3218935"/>
                  </a:lnTo>
                  <a:lnTo>
                    <a:pt x="7568956" y="3490046"/>
                  </a:lnTo>
                  <a:lnTo>
                    <a:pt x="7767398" y="3490046"/>
                  </a:lnTo>
                  <a:lnTo>
                    <a:pt x="7763904" y="3497033"/>
                  </a:lnTo>
                  <a:lnTo>
                    <a:pt x="7568956" y="3497033"/>
                  </a:lnTo>
                  <a:lnTo>
                    <a:pt x="7698921" y="3626999"/>
                  </a:lnTo>
                  <a:lnTo>
                    <a:pt x="7695428" y="3633986"/>
                  </a:lnTo>
                  <a:lnTo>
                    <a:pt x="7554981" y="3493540"/>
                  </a:lnTo>
                  <a:lnTo>
                    <a:pt x="7825393" y="3222430"/>
                  </a:lnTo>
                  <a:lnTo>
                    <a:pt x="7561270" y="3222430"/>
                  </a:lnTo>
                  <a:lnTo>
                    <a:pt x="7290858" y="3493540"/>
                  </a:lnTo>
                  <a:lnTo>
                    <a:pt x="7561969" y="3763951"/>
                  </a:lnTo>
                  <a:lnTo>
                    <a:pt x="7630445" y="3763951"/>
                  </a:lnTo>
                  <a:lnTo>
                    <a:pt x="7626952" y="3770939"/>
                  </a:lnTo>
                  <a:lnTo>
                    <a:pt x="7561969" y="3770939"/>
                  </a:lnTo>
                  <a:lnTo>
                    <a:pt x="7381694" y="3951913"/>
                  </a:lnTo>
                  <a:lnTo>
                    <a:pt x="7293423" y="4040875"/>
                  </a:lnTo>
                  <a:lnTo>
                    <a:pt x="7562857" y="4309615"/>
                  </a:lnTo>
                  <a:lnTo>
                    <a:pt x="7825583" y="4309615"/>
                  </a:lnTo>
                  <a:lnTo>
                    <a:pt x="7696316" y="4180349"/>
                  </a:lnTo>
                  <a:lnTo>
                    <a:pt x="7697015" y="4179650"/>
                  </a:lnTo>
                  <a:lnTo>
                    <a:pt x="7602269" y="4085372"/>
                  </a:lnTo>
                  <a:lnTo>
                    <a:pt x="7601098" y="4085372"/>
                  </a:lnTo>
                  <a:lnTo>
                    <a:pt x="7556379" y="4040653"/>
                  </a:lnTo>
                  <a:lnTo>
                    <a:pt x="7556851" y="4040180"/>
                  </a:lnTo>
                  <a:lnTo>
                    <a:pt x="7555870" y="4039203"/>
                  </a:lnTo>
                  <a:lnTo>
                    <a:pt x="7730554" y="3863819"/>
                  </a:lnTo>
                  <a:lnTo>
                    <a:pt x="7732757" y="3863819"/>
                  </a:lnTo>
                  <a:lnTo>
                    <a:pt x="7826092" y="3770241"/>
                  </a:lnTo>
                  <a:lnTo>
                    <a:pt x="7627649" y="3770241"/>
                  </a:lnTo>
                  <a:lnTo>
                    <a:pt x="7631144" y="3763253"/>
                  </a:lnTo>
                  <a:lnTo>
                    <a:pt x="7826092" y="3763253"/>
                  </a:lnTo>
                  <a:lnTo>
                    <a:pt x="7696127" y="3633288"/>
                  </a:lnTo>
                  <a:lnTo>
                    <a:pt x="7699620" y="3626301"/>
                  </a:lnTo>
                  <a:lnTo>
                    <a:pt x="7840067" y="3766747"/>
                  </a:lnTo>
                  <a:lnTo>
                    <a:pt x="7572494" y="4035011"/>
                  </a:lnTo>
                  <a:lnTo>
                    <a:pt x="7833269" y="4035011"/>
                  </a:lnTo>
                  <a:lnTo>
                    <a:pt x="7922707" y="3945572"/>
                  </a:lnTo>
                  <a:lnTo>
                    <a:pt x="8004460" y="3863819"/>
                  </a:lnTo>
                  <a:lnTo>
                    <a:pt x="8007368" y="3863819"/>
                  </a:lnTo>
                  <a:lnTo>
                    <a:pt x="8104190" y="3766747"/>
                  </a:lnTo>
                  <a:lnTo>
                    <a:pt x="7833079" y="3497033"/>
                  </a:lnTo>
                  <a:lnTo>
                    <a:pt x="7764603" y="3497033"/>
                  </a:lnTo>
                  <a:lnTo>
                    <a:pt x="7768096" y="3490046"/>
                  </a:lnTo>
                  <a:lnTo>
                    <a:pt x="7833079" y="3490046"/>
                  </a:lnTo>
                  <a:lnTo>
                    <a:pt x="8103491" y="3218935"/>
                  </a:lnTo>
                  <a:lnTo>
                    <a:pt x="7969333" y="3085476"/>
                  </a:lnTo>
                  <a:lnTo>
                    <a:pt x="7832381" y="2948523"/>
                  </a:lnTo>
                  <a:close/>
                  <a:moveTo>
                    <a:pt x="6471935" y="2947824"/>
                  </a:moveTo>
                  <a:lnTo>
                    <a:pt x="6601902" y="3077790"/>
                  </a:lnTo>
                  <a:lnTo>
                    <a:pt x="6743046" y="3218236"/>
                  </a:lnTo>
                  <a:lnTo>
                    <a:pt x="6472634" y="3489347"/>
                  </a:lnTo>
                  <a:lnTo>
                    <a:pt x="6736759" y="3489347"/>
                  </a:lnTo>
                  <a:lnTo>
                    <a:pt x="7007170" y="3218236"/>
                  </a:lnTo>
                  <a:lnTo>
                    <a:pt x="6736059" y="2947824"/>
                  </a:lnTo>
                  <a:close/>
                  <a:moveTo>
                    <a:pt x="7020446" y="2947127"/>
                  </a:moveTo>
                  <a:lnTo>
                    <a:pt x="7291557" y="3217539"/>
                  </a:lnTo>
                  <a:lnTo>
                    <a:pt x="7021145" y="3488648"/>
                  </a:lnTo>
                  <a:lnTo>
                    <a:pt x="7285268" y="3488648"/>
                  </a:lnTo>
                  <a:lnTo>
                    <a:pt x="7555680" y="3217539"/>
                  </a:lnTo>
                  <a:lnTo>
                    <a:pt x="7284569" y="2947127"/>
                  </a:lnTo>
                  <a:close/>
                  <a:moveTo>
                    <a:pt x="8665977" y="2946428"/>
                  </a:moveTo>
                  <a:lnTo>
                    <a:pt x="8935690" y="3215442"/>
                  </a:lnTo>
                  <a:lnTo>
                    <a:pt x="8932895" y="3218236"/>
                  </a:lnTo>
                  <a:lnTo>
                    <a:pt x="8842758" y="3309073"/>
                  </a:lnTo>
                  <a:lnTo>
                    <a:pt x="8842058" y="3309073"/>
                  </a:lnTo>
                  <a:lnTo>
                    <a:pt x="8665278" y="3486553"/>
                  </a:lnTo>
                  <a:lnTo>
                    <a:pt x="8929401" y="3486553"/>
                  </a:lnTo>
                  <a:lnTo>
                    <a:pt x="9018840" y="3397114"/>
                  </a:lnTo>
                  <a:lnTo>
                    <a:pt x="9019538" y="3397114"/>
                  </a:lnTo>
                  <a:lnTo>
                    <a:pt x="9201211" y="3216840"/>
                  </a:lnTo>
                  <a:lnTo>
                    <a:pt x="8930100" y="2946428"/>
                  </a:lnTo>
                  <a:close/>
                  <a:moveTo>
                    <a:pt x="8117466" y="2946428"/>
                  </a:moveTo>
                  <a:lnTo>
                    <a:pt x="8118165" y="2947127"/>
                  </a:lnTo>
                  <a:lnTo>
                    <a:pt x="8118864" y="2947127"/>
                  </a:lnTo>
                  <a:lnTo>
                    <a:pt x="8387878" y="3216141"/>
                  </a:lnTo>
                  <a:lnTo>
                    <a:pt x="8117466" y="3487252"/>
                  </a:lnTo>
                  <a:lnTo>
                    <a:pt x="8381590" y="3487252"/>
                  </a:lnTo>
                  <a:lnTo>
                    <a:pt x="8652002" y="3216840"/>
                  </a:lnTo>
                  <a:lnTo>
                    <a:pt x="8647111" y="3211249"/>
                  </a:lnTo>
                  <a:lnTo>
                    <a:pt x="8381590" y="2946428"/>
                  </a:lnTo>
                  <a:close/>
                  <a:moveTo>
                    <a:pt x="10583842" y="2946047"/>
                  </a:moveTo>
                  <a:lnTo>
                    <a:pt x="10854953" y="3215760"/>
                  </a:lnTo>
                  <a:lnTo>
                    <a:pt x="10852159" y="3218555"/>
                  </a:lnTo>
                  <a:lnTo>
                    <a:pt x="10762021" y="3309391"/>
                  </a:lnTo>
                  <a:lnTo>
                    <a:pt x="10584541" y="3486871"/>
                  </a:lnTo>
                  <a:lnTo>
                    <a:pt x="10848664" y="3486871"/>
                  </a:lnTo>
                  <a:lnTo>
                    <a:pt x="10938103" y="3397432"/>
                  </a:lnTo>
                  <a:lnTo>
                    <a:pt x="11119076" y="3216459"/>
                  </a:lnTo>
                  <a:lnTo>
                    <a:pt x="10847965" y="2946047"/>
                  </a:lnTo>
                  <a:close/>
                  <a:moveTo>
                    <a:pt x="10035332" y="2946047"/>
                  </a:moveTo>
                  <a:lnTo>
                    <a:pt x="10163900" y="3074615"/>
                  </a:lnTo>
                  <a:lnTo>
                    <a:pt x="10305744" y="3216459"/>
                  </a:lnTo>
                  <a:lnTo>
                    <a:pt x="10035332" y="3487570"/>
                  </a:lnTo>
                  <a:lnTo>
                    <a:pt x="10299455" y="3487570"/>
                  </a:lnTo>
                  <a:lnTo>
                    <a:pt x="10569867" y="3216459"/>
                  </a:lnTo>
                  <a:lnTo>
                    <a:pt x="10564976" y="3211568"/>
                  </a:lnTo>
                  <a:lnTo>
                    <a:pt x="10299455" y="2946047"/>
                  </a:lnTo>
                  <a:close/>
                  <a:moveTo>
                    <a:pt x="9485425" y="2946047"/>
                  </a:moveTo>
                  <a:lnTo>
                    <a:pt x="9756536" y="3215760"/>
                  </a:lnTo>
                  <a:lnTo>
                    <a:pt x="9753740" y="3218555"/>
                  </a:lnTo>
                  <a:lnTo>
                    <a:pt x="9663602" y="3309391"/>
                  </a:lnTo>
                  <a:lnTo>
                    <a:pt x="9486124" y="3486871"/>
                  </a:lnTo>
                  <a:lnTo>
                    <a:pt x="9750247" y="3486871"/>
                  </a:lnTo>
                  <a:lnTo>
                    <a:pt x="9839685" y="3397432"/>
                  </a:lnTo>
                  <a:lnTo>
                    <a:pt x="10020659" y="3216459"/>
                  </a:lnTo>
                  <a:lnTo>
                    <a:pt x="9749548" y="2946047"/>
                  </a:lnTo>
                  <a:close/>
                  <a:moveTo>
                    <a:pt x="9214487" y="2945031"/>
                  </a:moveTo>
                  <a:lnTo>
                    <a:pt x="9344452" y="3074995"/>
                  </a:lnTo>
                  <a:lnTo>
                    <a:pt x="9482424" y="3212966"/>
                  </a:lnTo>
                  <a:lnTo>
                    <a:pt x="9742561" y="3212966"/>
                  </a:lnTo>
                  <a:lnTo>
                    <a:pt x="9473932" y="2945031"/>
                  </a:lnTo>
                  <a:close/>
                  <a:moveTo>
                    <a:pt x="11132352" y="2944649"/>
                  </a:moveTo>
                  <a:lnTo>
                    <a:pt x="11262318" y="3074615"/>
                  </a:lnTo>
                  <a:lnTo>
                    <a:pt x="11403463" y="3215061"/>
                  </a:lnTo>
                  <a:lnTo>
                    <a:pt x="11133051" y="3486172"/>
                  </a:lnTo>
                  <a:lnTo>
                    <a:pt x="11397175" y="3486172"/>
                  </a:lnTo>
                  <a:lnTo>
                    <a:pt x="11667587" y="3215061"/>
                  </a:lnTo>
                  <a:lnTo>
                    <a:pt x="11396476" y="2944649"/>
                  </a:lnTo>
                  <a:close/>
                  <a:moveTo>
                    <a:pt x="1255633" y="2679380"/>
                  </a:moveTo>
                  <a:lnTo>
                    <a:pt x="985221" y="2950491"/>
                  </a:lnTo>
                  <a:lnTo>
                    <a:pt x="1256332" y="3220903"/>
                  </a:lnTo>
                  <a:lnTo>
                    <a:pt x="1520455" y="3220903"/>
                  </a:lnTo>
                  <a:lnTo>
                    <a:pt x="1249344" y="2950491"/>
                  </a:lnTo>
                  <a:lnTo>
                    <a:pt x="1519757" y="2679380"/>
                  </a:lnTo>
                  <a:close/>
                  <a:moveTo>
                    <a:pt x="1804143" y="2678681"/>
                  </a:moveTo>
                  <a:lnTo>
                    <a:pt x="1533731" y="2949792"/>
                  </a:lnTo>
                  <a:lnTo>
                    <a:pt x="1805541" y="3220204"/>
                  </a:lnTo>
                  <a:lnTo>
                    <a:pt x="2068965" y="3220204"/>
                  </a:lnTo>
                  <a:lnTo>
                    <a:pt x="1938301" y="3090238"/>
                  </a:lnTo>
                  <a:lnTo>
                    <a:pt x="1797854" y="2949792"/>
                  </a:lnTo>
                  <a:lnTo>
                    <a:pt x="2068266" y="2678681"/>
                  </a:lnTo>
                  <a:close/>
                  <a:moveTo>
                    <a:pt x="705027" y="2678681"/>
                  </a:moveTo>
                  <a:lnTo>
                    <a:pt x="434615" y="2949792"/>
                  </a:lnTo>
                  <a:lnTo>
                    <a:pt x="705726" y="3220204"/>
                  </a:lnTo>
                  <a:lnTo>
                    <a:pt x="774202" y="3220204"/>
                  </a:lnTo>
                  <a:lnTo>
                    <a:pt x="773503" y="3221602"/>
                  </a:lnTo>
                  <a:lnTo>
                    <a:pt x="971247" y="3221602"/>
                  </a:lnTo>
                  <a:lnTo>
                    <a:pt x="839884" y="3090238"/>
                  </a:lnTo>
                  <a:lnTo>
                    <a:pt x="699437" y="2949792"/>
                  </a:lnTo>
                  <a:lnTo>
                    <a:pt x="968451" y="2680079"/>
                  </a:lnTo>
                  <a:lnTo>
                    <a:pt x="772105" y="2680079"/>
                  </a:lnTo>
                  <a:lnTo>
                    <a:pt x="772804" y="2678681"/>
                  </a:lnTo>
                  <a:close/>
                  <a:moveTo>
                    <a:pt x="2352653" y="2677982"/>
                  </a:moveTo>
                  <a:lnTo>
                    <a:pt x="2082241" y="2949093"/>
                  </a:lnTo>
                  <a:lnTo>
                    <a:pt x="2353352" y="3219505"/>
                  </a:lnTo>
                  <a:lnTo>
                    <a:pt x="2617476" y="3219505"/>
                  </a:lnTo>
                  <a:lnTo>
                    <a:pt x="2346365" y="2949093"/>
                  </a:lnTo>
                  <a:lnTo>
                    <a:pt x="2616777" y="2677982"/>
                  </a:lnTo>
                  <a:close/>
                  <a:moveTo>
                    <a:pt x="3998184" y="2675886"/>
                  </a:moveTo>
                  <a:lnTo>
                    <a:pt x="3727772" y="2946997"/>
                  </a:lnTo>
                  <a:lnTo>
                    <a:pt x="3998883" y="3217408"/>
                  </a:lnTo>
                  <a:lnTo>
                    <a:pt x="4263007" y="3217408"/>
                  </a:lnTo>
                  <a:lnTo>
                    <a:pt x="3991896" y="2946997"/>
                  </a:lnTo>
                  <a:lnTo>
                    <a:pt x="4262309" y="2675886"/>
                  </a:lnTo>
                  <a:close/>
                  <a:moveTo>
                    <a:pt x="4546696" y="2675187"/>
                  </a:moveTo>
                  <a:lnTo>
                    <a:pt x="4276283" y="2946297"/>
                  </a:lnTo>
                  <a:lnTo>
                    <a:pt x="4547394" y="3216709"/>
                  </a:lnTo>
                  <a:lnTo>
                    <a:pt x="4809087" y="3216709"/>
                  </a:lnTo>
                  <a:lnTo>
                    <a:pt x="4806841" y="3214743"/>
                  </a:lnTo>
                  <a:lnTo>
                    <a:pt x="4660106" y="3068707"/>
                  </a:lnTo>
                  <a:lnTo>
                    <a:pt x="4660106" y="3065999"/>
                  </a:lnTo>
                  <a:lnTo>
                    <a:pt x="4540406" y="2946297"/>
                  </a:lnTo>
                  <a:lnTo>
                    <a:pt x="4660106" y="2826288"/>
                  </a:lnTo>
                  <a:lnTo>
                    <a:pt x="4660106" y="2822050"/>
                  </a:lnTo>
                  <a:lnTo>
                    <a:pt x="4806970" y="2675187"/>
                  </a:lnTo>
                  <a:close/>
                  <a:moveTo>
                    <a:pt x="5915740" y="2674618"/>
                  </a:moveTo>
                  <a:lnTo>
                    <a:pt x="5645327" y="2945729"/>
                  </a:lnTo>
                  <a:lnTo>
                    <a:pt x="5916438" y="3216141"/>
                  </a:lnTo>
                  <a:lnTo>
                    <a:pt x="6180561" y="3216141"/>
                  </a:lnTo>
                  <a:lnTo>
                    <a:pt x="5909450" y="2945729"/>
                  </a:lnTo>
                  <a:lnTo>
                    <a:pt x="6179863" y="2674618"/>
                  </a:lnTo>
                  <a:close/>
                  <a:moveTo>
                    <a:pt x="4821179" y="2674618"/>
                  </a:moveTo>
                  <a:lnTo>
                    <a:pt x="4554381" y="2942106"/>
                  </a:lnTo>
                  <a:lnTo>
                    <a:pt x="4814648" y="2942106"/>
                  </a:lnTo>
                  <a:lnTo>
                    <a:pt x="5081446" y="2674618"/>
                  </a:lnTo>
                  <a:close/>
                  <a:moveTo>
                    <a:pt x="6464250" y="2673919"/>
                  </a:moveTo>
                  <a:lnTo>
                    <a:pt x="6193838" y="2945031"/>
                  </a:lnTo>
                  <a:lnTo>
                    <a:pt x="6465647" y="3215442"/>
                  </a:lnTo>
                  <a:lnTo>
                    <a:pt x="6729071" y="3215442"/>
                  </a:lnTo>
                  <a:lnTo>
                    <a:pt x="6598407" y="3085476"/>
                  </a:lnTo>
                  <a:lnTo>
                    <a:pt x="6457961" y="2945031"/>
                  </a:lnTo>
                  <a:lnTo>
                    <a:pt x="6728373" y="2673919"/>
                  </a:lnTo>
                  <a:close/>
                  <a:moveTo>
                    <a:pt x="5365133" y="2673919"/>
                  </a:moveTo>
                  <a:lnTo>
                    <a:pt x="5094721" y="2945031"/>
                  </a:lnTo>
                  <a:lnTo>
                    <a:pt x="5365832" y="3215442"/>
                  </a:lnTo>
                  <a:lnTo>
                    <a:pt x="5434309" y="3215442"/>
                  </a:lnTo>
                  <a:lnTo>
                    <a:pt x="5433609" y="3216840"/>
                  </a:lnTo>
                  <a:lnTo>
                    <a:pt x="5631353" y="3216840"/>
                  </a:lnTo>
                  <a:lnTo>
                    <a:pt x="5499990" y="3085476"/>
                  </a:lnTo>
                  <a:lnTo>
                    <a:pt x="5359544" y="2945031"/>
                  </a:lnTo>
                  <a:lnTo>
                    <a:pt x="5628558" y="2675317"/>
                  </a:lnTo>
                  <a:lnTo>
                    <a:pt x="5432211" y="2675317"/>
                  </a:lnTo>
                  <a:lnTo>
                    <a:pt x="5432910" y="2673919"/>
                  </a:lnTo>
                  <a:close/>
                  <a:moveTo>
                    <a:pt x="7012759" y="2673220"/>
                  </a:moveTo>
                  <a:lnTo>
                    <a:pt x="6742348" y="2944331"/>
                  </a:lnTo>
                  <a:lnTo>
                    <a:pt x="7013458" y="3214743"/>
                  </a:lnTo>
                  <a:lnTo>
                    <a:pt x="7277582" y="3214743"/>
                  </a:lnTo>
                  <a:lnTo>
                    <a:pt x="7006471" y="2944331"/>
                  </a:lnTo>
                  <a:lnTo>
                    <a:pt x="7276883" y="2673220"/>
                  </a:lnTo>
                  <a:close/>
                  <a:moveTo>
                    <a:pt x="10576156" y="2671443"/>
                  </a:moveTo>
                  <a:lnTo>
                    <a:pt x="10305744" y="2942554"/>
                  </a:lnTo>
                  <a:lnTo>
                    <a:pt x="10576855" y="3212966"/>
                  </a:lnTo>
                  <a:lnTo>
                    <a:pt x="10840978" y="3212966"/>
                  </a:lnTo>
                  <a:lnTo>
                    <a:pt x="10569867" y="2942554"/>
                  </a:lnTo>
                  <a:lnTo>
                    <a:pt x="10840280" y="2671443"/>
                  </a:lnTo>
                  <a:close/>
                  <a:moveTo>
                    <a:pt x="9479701" y="2671443"/>
                  </a:moveTo>
                  <a:lnTo>
                    <a:pt x="9214487" y="2937344"/>
                  </a:lnTo>
                  <a:lnTo>
                    <a:pt x="9476647" y="2937344"/>
                  </a:lnTo>
                  <a:lnTo>
                    <a:pt x="9741862" y="2671443"/>
                  </a:lnTo>
                  <a:close/>
                  <a:moveTo>
                    <a:pt x="8658290" y="2671124"/>
                  </a:moveTo>
                  <a:lnTo>
                    <a:pt x="8387878" y="2942235"/>
                  </a:lnTo>
                  <a:lnTo>
                    <a:pt x="8658989" y="3212646"/>
                  </a:lnTo>
                  <a:lnTo>
                    <a:pt x="8923113" y="3212646"/>
                  </a:lnTo>
                  <a:lnTo>
                    <a:pt x="8652002" y="2942235"/>
                  </a:lnTo>
                  <a:lnTo>
                    <a:pt x="8922414" y="2671124"/>
                  </a:lnTo>
                  <a:close/>
                  <a:moveTo>
                    <a:pt x="11124666" y="2670744"/>
                  </a:moveTo>
                  <a:lnTo>
                    <a:pt x="10854254" y="2941855"/>
                  </a:lnTo>
                  <a:lnTo>
                    <a:pt x="11126064" y="3212267"/>
                  </a:lnTo>
                  <a:lnTo>
                    <a:pt x="11389488" y="3212267"/>
                  </a:lnTo>
                  <a:lnTo>
                    <a:pt x="11258824" y="3082301"/>
                  </a:lnTo>
                  <a:lnTo>
                    <a:pt x="11118377" y="2941855"/>
                  </a:lnTo>
                  <a:lnTo>
                    <a:pt x="11388789" y="2670744"/>
                  </a:lnTo>
                  <a:close/>
                  <a:moveTo>
                    <a:pt x="10025550" y="2670744"/>
                  </a:moveTo>
                  <a:lnTo>
                    <a:pt x="9755138" y="2941855"/>
                  </a:lnTo>
                  <a:lnTo>
                    <a:pt x="10026249" y="3212267"/>
                  </a:lnTo>
                  <a:lnTo>
                    <a:pt x="10094725" y="3212267"/>
                  </a:lnTo>
                  <a:lnTo>
                    <a:pt x="10094026" y="3213665"/>
                  </a:lnTo>
                  <a:lnTo>
                    <a:pt x="10291770" y="3213665"/>
                  </a:lnTo>
                  <a:lnTo>
                    <a:pt x="10160407" y="3082301"/>
                  </a:lnTo>
                  <a:lnTo>
                    <a:pt x="10019960" y="2941855"/>
                  </a:lnTo>
                  <a:lnTo>
                    <a:pt x="10288974" y="2672142"/>
                  </a:lnTo>
                  <a:lnTo>
                    <a:pt x="10092628" y="2672142"/>
                  </a:lnTo>
                  <a:lnTo>
                    <a:pt x="10093327" y="2670744"/>
                  </a:lnTo>
                  <a:close/>
                  <a:moveTo>
                    <a:pt x="3517239" y="2670723"/>
                  </a:moveTo>
                  <a:lnTo>
                    <a:pt x="3513958" y="2677283"/>
                  </a:lnTo>
                  <a:lnTo>
                    <a:pt x="3448975" y="2677283"/>
                  </a:lnTo>
                  <a:lnTo>
                    <a:pt x="3268701" y="2858257"/>
                  </a:lnTo>
                  <a:lnTo>
                    <a:pt x="3179262" y="2947695"/>
                  </a:lnTo>
                  <a:lnTo>
                    <a:pt x="3312721" y="3081853"/>
                  </a:lnTo>
                  <a:lnTo>
                    <a:pt x="3451072" y="3215313"/>
                  </a:lnTo>
                  <a:lnTo>
                    <a:pt x="3715195" y="3215313"/>
                  </a:lnTo>
                  <a:lnTo>
                    <a:pt x="3444084" y="2944901"/>
                  </a:lnTo>
                  <a:lnTo>
                    <a:pt x="3445482" y="2943503"/>
                  </a:lnTo>
                  <a:lnTo>
                    <a:pt x="3713797" y="2674489"/>
                  </a:lnTo>
                  <a:lnTo>
                    <a:pt x="3515356" y="2674489"/>
                  </a:lnTo>
                  <a:close/>
                  <a:moveTo>
                    <a:pt x="9206801" y="2670425"/>
                  </a:moveTo>
                  <a:lnTo>
                    <a:pt x="8936388" y="2941535"/>
                  </a:lnTo>
                  <a:lnTo>
                    <a:pt x="9207500" y="3211947"/>
                  </a:lnTo>
                  <a:lnTo>
                    <a:pt x="9467691" y="3211947"/>
                  </a:lnTo>
                  <a:lnTo>
                    <a:pt x="9467258" y="3211568"/>
                  </a:lnTo>
                  <a:lnTo>
                    <a:pt x="9320523" y="3065532"/>
                  </a:lnTo>
                  <a:lnTo>
                    <a:pt x="9320523" y="3061548"/>
                  </a:lnTo>
                  <a:lnTo>
                    <a:pt x="9200512" y="2941535"/>
                  </a:lnTo>
                  <a:lnTo>
                    <a:pt x="9320523" y="2821214"/>
                  </a:lnTo>
                  <a:lnTo>
                    <a:pt x="9320523" y="2818876"/>
                  </a:lnTo>
                  <a:lnTo>
                    <a:pt x="9468974" y="2670425"/>
                  </a:lnTo>
                  <a:close/>
                  <a:moveTo>
                    <a:pt x="11673176" y="2670045"/>
                  </a:moveTo>
                  <a:lnTo>
                    <a:pt x="11402764" y="2941156"/>
                  </a:lnTo>
                  <a:lnTo>
                    <a:pt x="11673875" y="3211568"/>
                  </a:lnTo>
                  <a:lnTo>
                    <a:pt x="11937999" y="3211568"/>
                  </a:lnTo>
                  <a:lnTo>
                    <a:pt x="11666888" y="2941156"/>
                  </a:lnTo>
                  <a:lnTo>
                    <a:pt x="11937300" y="2670045"/>
                  </a:lnTo>
                  <a:close/>
                  <a:moveTo>
                    <a:pt x="8177520" y="2665610"/>
                  </a:moveTo>
                  <a:lnTo>
                    <a:pt x="8174064" y="2672521"/>
                  </a:lnTo>
                  <a:lnTo>
                    <a:pt x="8109081" y="2672521"/>
                  </a:lnTo>
                  <a:lnTo>
                    <a:pt x="7928807" y="2853496"/>
                  </a:lnTo>
                  <a:lnTo>
                    <a:pt x="7839368" y="2942933"/>
                  </a:lnTo>
                  <a:lnTo>
                    <a:pt x="7972827" y="3077091"/>
                  </a:lnTo>
                  <a:lnTo>
                    <a:pt x="8111178" y="3210551"/>
                  </a:lnTo>
                  <a:lnTo>
                    <a:pt x="8375301" y="3210551"/>
                  </a:lnTo>
                  <a:lnTo>
                    <a:pt x="8104190" y="2940139"/>
                  </a:lnTo>
                  <a:lnTo>
                    <a:pt x="8105588" y="2938741"/>
                  </a:lnTo>
                  <a:lnTo>
                    <a:pt x="8373903" y="2669727"/>
                  </a:lnTo>
                  <a:lnTo>
                    <a:pt x="8175462" y="2669727"/>
                  </a:lnTo>
                  <a:close/>
                  <a:moveTo>
                    <a:pt x="164203" y="2405474"/>
                  </a:moveTo>
                  <a:lnTo>
                    <a:pt x="435314" y="2675886"/>
                  </a:lnTo>
                  <a:lnTo>
                    <a:pt x="164902" y="2946997"/>
                  </a:lnTo>
                  <a:lnTo>
                    <a:pt x="429025" y="2946997"/>
                  </a:lnTo>
                  <a:lnTo>
                    <a:pt x="699437" y="2675886"/>
                  </a:lnTo>
                  <a:lnTo>
                    <a:pt x="428326" y="2405474"/>
                  </a:lnTo>
                  <a:close/>
                  <a:moveTo>
                    <a:pt x="1811131" y="2404775"/>
                  </a:moveTo>
                  <a:lnTo>
                    <a:pt x="2082940" y="2675187"/>
                  </a:lnTo>
                  <a:lnTo>
                    <a:pt x="1812528" y="2946297"/>
                  </a:lnTo>
                  <a:lnTo>
                    <a:pt x="2075953" y="2946297"/>
                  </a:lnTo>
                  <a:lnTo>
                    <a:pt x="2346365" y="2675187"/>
                  </a:lnTo>
                  <a:lnTo>
                    <a:pt x="2212208" y="2541728"/>
                  </a:lnTo>
                  <a:lnTo>
                    <a:pt x="2075254" y="2404775"/>
                  </a:lnTo>
                  <a:close/>
                  <a:moveTo>
                    <a:pt x="1262620" y="2404775"/>
                  </a:moveTo>
                  <a:lnTo>
                    <a:pt x="1533731" y="2675187"/>
                  </a:lnTo>
                  <a:lnTo>
                    <a:pt x="1263319" y="2946297"/>
                  </a:lnTo>
                  <a:lnTo>
                    <a:pt x="1527442" y="2946297"/>
                  </a:lnTo>
                  <a:lnTo>
                    <a:pt x="1797854" y="2675187"/>
                  </a:lnTo>
                  <a:lnTo>
                    <a:pt x="1526744" y="2404775"/>
                  </a:lnTo>
                  <a:close/>
                  <a:moveTo>
                    <a:pt x="2359641" y="2404076"/>
                  </a:moveTo>
                  <a:lnTo>
                    <a:pt x="2361039" y="2405474"/>
                  </a:lnTo>
                  <a:lnTo>
                    <a:pt x="2629354" y="2673790"/>
                  </a:lnTo>
                  <a:lnTo>
                    <a:pt x="2358942" y="2944901"/>
                  </a:lnTo>
                  <a:lnTo>
                    <a:pt x="2623065" y="2944901"/>
                  </a:lnTo>
                  <a:lnTo>
                    <a:pt x="2893477" y="2673790"/>
                  </a:lnTo>
                  <a:lnTo>
                    <a:pt x="2888586" y="2668899"/>
                  </a:lnTo>
                  <a:lnTo>
                    <a:pt x="2906055" y="2677283"/>
                  </a:lnTo>
                  <a:lnTo>
                    <a:pt x="2900465" y="2677283"/>
                  </a:lnTo>
                  <a:lnTo>
                    <a:pt x="2630053" y="2948394"/>
                  </a:lnTo>
                  <a:lnTo>
                    <a:pt x="2901164" y="3218806"/>
                  </a:lnTo>
                  <a:lnTo>
                    <a:pt x="3165287" y="3218806"/>
                  </a:lnTo>
                  <a:lnTo>
                    <a:pt x="2894875" y="2947695"/>
                  </a:lnTo>
                  <a:lnTo>
                    <a:pt x="3079343" y="2763229"/>
                  </a:lnTo>
                  <a:lnTo>
                    <a:pt x="3165287" y="2677283"/>
                  </a:lnTo>
                  <a:lnTo>
                    <a:pt x="2906754" y="2677283"/>
                  </a:lnTo>
                  <a:lnTo>
                    <a:pt x="2889285" y="2668899"/>
                  </a:lnTo>
                  <a:lnTo>
                    <a:pt x="2623764" y="2404076"/>
                  </a:lnTo>
                  <a:close/>
                  <a:moveTo>
                    <a:pt x="713412" y="2404076"/>
                  </a:moveTo>
                  <a:lnTo>
                    <a:pt x="844775" y="2535440"/>
                  </a:lnTo>
                  <a:lnTo>
                    <a:pt x="985221" y="2675886"/>
                  </a:lnTo>
                  <a:lnTo>
                    <a:pt x="716206" y="2945599"/>
                  </a:lnTo>
                  <a:lnTo>
                    <a:pt x="912552" y="2945599"/>
                  </a:lnTo>
                  <a:lnTo>
                    <a:pt x="911853" y="2946997"/>
                  </a:lnTo>
                  <a:lnTo>
                    <a:pt x="978932" y="2946997"/>
                  </a:lnTo>
                  <a:lnTo>
                    <a:pt x="1248646" y="2675886"/>
                  </a:lnTo>
                  <a:lnTo>
                    <a:pt x="1113090" y="2541029"/>
                  </a:lnTo>
                  <a:lnTo>
                    <a:pt x="1094923" y="2522863"/>
                  </a:lnTo>
                  <a:lnTo>
                    <a:pt x="977535" y="2406173"/>
                  </a:lnTo>
                  <a:lnTo>
                    <a:pt x="909058" y="2406173"/>
                  </a:lnTo>
                  <a:lnTo>
                    <a:pt x="909757" y="2404775"/>
                  </a:lnTo>
                  <a:close/>
                  <a:moveTo>
                    <a:pt x="2907452" y="2402679"/>
                  </a:moveTo>
                  <a:lnTo>
                    <a:pt x="3178563" y="2673091"/>
                  </a:lnTo>
                  <a:lnTo>
                    <a:pt x="3175769" y="2675886"/>
                  </a:lnTo>
                  <a:lnTo>
                    <a:pt x="3085631" y="2766722"/>
                  </a:lnTo>
                  <a:lnTo>
                    <a:pt x="2908151" y="2944202"/>
                  </a:lnTo>
                  <a:lnTo>
                    <a:pt x="3172275" y="2944202"/>
                  </a:lnTo>
                  <a:lnTo>
                    <a:pt x="3262412" y="2854763"/>
                  </a:lnTo>
                  <a:lnTo>
                    <a:pt x="3442687" y="2673091"/>
                  </a:lnTo>
                  <a:lnTo>
                    <a:pt x="3171576" y="2402679"/>
                  </a:lnTo>
                  <a:close/>
                  <a:moveTo>
                    <a:pt x="4004473" y="2401981"/>
                  </a:moveTo>
                  <a:lnTo>
                    <a:pt x="4275584" y="2671694"/>
                  </a:lnTo>
                  <a:lnTo>
                    <a:pt x="4005172" y="2942805"/>
                  </a:lnTo>
                  <a:lnTo>
                    <a:pt x="4269296" y="2942805"/>
                  </a:lnTo>
                  <a:lnTo>
                    <a:pt x="4539707" y="2672393"/>
                  </a:lnTo>
                  <a:lnTo>
                    <a:pt x="4268598" y="2401981"/>
                  </a:lnTo>
                  <a:close/>
                  <a:moveTo>
                    <a:pt x="4824309" y="2400713"/>
                  </a:moveTo>
                  <a:lnTo>
                    <a:pt x="5095421" y="2671124"/>
                  </a:lnTo>
                  <a:lnTo>
                    <a:pt x="4825009" y="2942235"/>
                  </a:lnTo>
                  <a:lnTo>
                    <a:pt x="5089132" y="2942235"/>
                  </a:lnTo>
                  <a:lnTo>
                    <a:pt x="5359544" y="2671124"/>
                  </a:lnTo>
                  <a:lnTo>
                    <a:pt x="5088432" y="2400713"/>
                  </a:lnTo>
                  <a:close/>
                  <a:moveTo>
                    <a:pt x="4553683" y="2400583"/>
                  </a:moveTo>
                  <a:lnTo>
                    <a:pt x="4821422" y="2667631"/>
                  </a:lnTo>
                  <a:lnTo>
                    <a:pt x="5082144" y="2667631"/>
                  </a:lnTo>
                  <a:lnTo>
                    <a:pt x="4814405" y="2400583"/>
                  </a:lnTo>
                  <a:close/>
                  <a:moveTo>
                    <a:pt x="6471238" y="2400013"/>
                  </a:moveTo>
                  <a:lnTo>
                    <a:pt x="6743046" y="2670425"/>
                  </a:lnTo>
                  <a:lnTo>
                    <a:pt x="6472634" y="2941535"/>
                  </a:lnTo>
                  <a:lnTo>
                    <a:pt x="6736059" y="2941535"/>
                  </a:lnTo>
                  <a:lnTo>
                    <a:pt x="7006471" y="2670425"/>
                  </a:lnTo>
                  <a:lnTo>
                    <a:pt x="6872314" y="2536966"/>
                  </a:lnTo>
                  <a:lnTo>
                    <a:pt x="6735361" y="2400013"/>
                  </a:lnTo>
                  <a:close/>
                  <a:moveTo>
                    <a:pt x="5922727" y="2400013"/>
                  </a:moveTo>
                  <a:lnTo>
                    <a:pt x="6193838" y="2670425"/>
                  </a:lnTo>
                  <a:lnTo>
                    <a:pt x="5923425" y="2941535"/>
                  </a:lnTo>
                  <a:lnTo>
                    <a:pt x="6187548" y="2941535"/>
                  </a:lnTo>
                  <a:lnTo>
                    <a:pt x="6457961" y="2670425"/>
                  </a:lnTo>
                  <a:lnTo>
                    <a:pt x="6186850" y="2400013"/>
                  </a:lnTo>
                  <a:close/>
                  <a:moveTo>
                    <a:pt x="7019748" y="2399314"/>
                  </a:moveTo>
                  <a:lnTo>
                    <a:pt x="7021145" y="2400713"/>
                  </a:lnTo>
                  <a:lnTo>
                    <a:pt x="7289460" y="2669028"/>
                  </a:lnTo>
                  <a:lnTo>
                    <a:pt x="7019048" y="2940139"/>
                  </a:lnTo>
                  <a:lnTo>
                    <a:pt x="7283171" y="2940139"/>
                  </a:lnTo>
                  <a:lnTo>
                    <a:pt x="7553583" y="2669028"/>
                  </a:lnTo>
                  <a:lnTo>
                    <a:pt x="7548692" y="2664137"/>
                  </a:lnTo>
                  <a:lnTo>
                    <a:pt x="7566161" y="2672521"/>
                  </a:lnTo>
                  <a:lnTo>
                    <a:pt x="7560571" y="2672521"/>
                  </a:lnTo>
                  <a:lnTo>
                    <a:pt x="7290159" y="2943632"/>
                  </a:lnTo>
                  <a:lnTo>
                    <a:pt x="7561270" y="3214044"/>
                  </a:lnTo>
                  <a:lnTo>
                    <a:pt x="7825393" y="3214044"/>
                  </a:lnTo>
                  <a:lnTo>
                    <a:pt x="7554981" y="2942933"/>
                  </a:lnTo>
                  <a:lnTo>
                    <a:pt x="7739449" y="2758467"/>
                  </a:lnTo>
                  <a:lnTo>
                    <a:pt x="7825393" y="2672521"/>
                  </a:lnTo>
                  <a:lnTo>
                    <a:pt x="7566860" y="2672521"/>
                  </a:lnTo>
                  <a:lnTo>
                    <a:pt x="7549391" y="2664137"/>
                  </a:lnTo>
                  <a:lnTo>
                    <a:pt x="7283870" y="2399314"/>
                  </a:lnTo>
                  <a:close/>
                  <a:moveTo>
                    <a:pt x="5373519" y="2399314"/>
                  </a:moveTo>
                  <a:lnTo>
                    <a:pt x="5504881" y="2530678"/>
                  </a:lnTo>
                  <a:lnTo>
                    <a:pt x="5645327" y="2671124"/>
                  </a:lnTo>
                  <a:lnTo>
                    <a:pt x="5376313" y="2940837"/>
                  </a:lnTo>
                  <a:lnTo>
                    <a:pt x="5572659" y="2940837"/>
                  </a:lnTo>
                  <a:lnTo>
                    <a:pt x="5571959" y="2942235"/>
                  </a:lnTo>
                  <a:lnTo>
                    <a:pt x="5639038" y="2942235"/>
                  </a:lnTo>
                  <a:lnTo>
                    <a:pt x="5908752" y="2671124"/>
                  </a:lnTo>
                  <a:lnTo>
                    <a:pt x="5773197" y="2536267"/>
                  </a:lnTo>
                  <a:lnTo>
                    <a:pt x="5755029" y="2518101"/>
                  </a:lnTo>
                  <a:lnTo>
                    <a:pt x="5637642" y="2401411"/>
                  </a:lnTo>
                  <a:lnTo>
                    <a:pt x="5569164" y="2401411"/>
                  </a:lnTo>
                  <a:lnTo>
                    <a:pt x="5569864" y="2400013"/>
                  </a:lnTo>
                  <a:close/>
                  <a:moveTo>
                    <a:pt x="7567558" y="2397917"/>
                  </a:moveTo>
                  <a:lnTo>
                    <a:pt x="7838669" y="2668329"/>
                  </a:lnTo>
                  <a:lnTo>
                    <a:pt x="7835875" y="2671124"/>
                  </a:lnTo>
                  <a:lnTo>
                    <a:pt x="7745737" y="2761960"/>
                  </a:lnTo>
                  <a:lnTo>
                    <a:pt x="7568257" y="2939440"/>
                  </a:lnTo>
                  <a:lnTo>
                    <a:pt x="7832381" y="2939440"/>
                  </a:lnTo>
                  <a:lnTo>
                    <a:pt x="7922518" y="2850001"/>
                  </a:lnTo>
                  <a:lnTo>
                    <a:pt x="8102793" y="2668329"/>
                  </a:lnTo>
                  <a:lnTo>
                    <a:pt x="7831682" y="2397917"/>
                  </a:lnTo>
                  <a:close/>
                  <a:moveTo>
                    <a:pt x="9484726" y="2397537"/>
                  </a:moveTo>
                  <a:lnTo>
                    <a:pt x="9755837" y="2667949"/>
                  </a:lnTo>
                  <a:lnTo>
                    <a:pt x="9485425" y="2939060"/>
                  </a:lnTo>
                  <a:lnTo>
                    <a:pt x="9749548" y="2939060"/>
                  </a:lnTo>
                  <a:lnTo>
                    <a:pt x="10019960" y="2667949"/>
                  </a:lnTo>
                  <a:lnTo>
                    <a:pt x="9748849" y="2397537"/>
                  </a:lnTo>
                  <a:close/>
                  <a:moveTo>
                    <a:pt x="8664579" y="2397219"/>
                  </a:moveTo>
                  <a:lnTo>
                    <a:pt x="8935690" y="2666932"/>
                  </a:lnTo>
                  <a:lnTo>
                    <a:pt x="8665278" y="2938043"/>
                  </a:lnTo>
                  <a:lnTo>
                    <a:pt x="8929401" y="2938043"/>
                  </a:lnTo>
                  <a:lnTo>
                    <a:pt x="9199813" y="2667631"/>
                  </a:lnTo>
                  <a:lnTo>
                    <a:pt x="8928703" y="2397219"/>
                  </a:lnTo>
                  <a:close/>
                  <a:moveTo>
                    <a:pt x="11131654" y="2396838"/>
                  </a:moveTo>
                  <a:lnTo>
                    <a:pt x="11403463" y="2667250"/>
                  </a:lnTo>
                  <a:lnTo>
                    <a:pt x="11133051" y="2938360"/>
                  </a:lnTo>
                  <a:lnTo>
                    <a:pt x="11396476" y="2938360"/>
                  </a:lnTo>
                  <a:lnTo>
                    <a:pt x="11666888" y="2667250"/>
                  </a:lnTo>
                  <a:lnTo>
                    <a:pt x="11532731" y="2533791"/>
                  </a:lnTo>
                  <a:lnTo>
                    <a:pt x="11395777" y="2396838"/>
                  </a:lnTo>
                  <a:close/>
                  <a:moveTo>
                    <a:pt x="10583143" y="2396838"/>
                  </a:moveTo>
                  <a:lnTo>
                    <a:pt x="10854254" y="2667250"/>
                  </a:lnTo>
                  <a:lnTo>
                    <a:pt x="10583842" y="2938360"/>
                  </a:lnTo>
                  <a:lnTo>
                    <a:pt x="10847965" y="2938360"/>
                  </a:lnTo>
                  <a:lnTo>
                    <a:pt x="11118377" y="2667250"/>
                  </a:lnTo>
                  <a:lnTo>
                    <a:pt x="10847267" y="2396838"/>
                  </a:lnTo>
                  <a:close/>
                  <a:moveTo>
                    <a:pt x="10033935" y="2396139"/>
                  </a:moveTo>
                  <a:lnTo>
                    <a:pt x="10165298" y="2527503"/>
                  </a:lnTo>
                  <a:lnTo>
                    <a:pt x="10305744" y="2667949"/>
                  </a:lnTo>
                  <a:lnTo>
                    <a:pt x="10036729" y="2937662"/>
                  </a:lnTo>
                  <a:lnTo>
                    <a:pt x="10233075" y="2937662"/>
                  </a:lnTo>
                  <a:lnTo>
                    <a:pt x="10232376" y="2939060"/>
                  </a:lnTo>
                  <a:lnTo>
                    <a:pt x="10299455" y="2939060"/>
                  </a:lnTo>
                  <a:lnTo>
                    <a:pt x="10569169" y="2667949"/>
                  </a:lnTo>
                  <a:lnTo>
                    <a:pt x="10433613" y="2533092"/>
                  </a:lnTo>
                  <a:lnTo>
                    <a:pt x="10415446" y="2514926"/>
                  </a:lnTo>
                  <a:lnTo>
                    <a:pt x="10298058" y="2398236"/>
                  </a:lnTo>
                  <a:lnTo>
                    <a:pt x="10229581" y="2398236"/>
                  </a:lnTo>
                  <a:lnTo>
                    <a:pt x="10230280" y="2396838"/>
                  </a:lnTo>
                  <a:close/>
                  <a:moveTo>
                    <a:pt x="9213788" y="2395821"/>
                  </a:moveTo>
                  <a:lnTo>
                    <a:pt x="9483119" y="2664456"/>
                  </a:lnTo>
                  <a:lnTo>
                    <a:pt x="9742561" y="2664456"/>
                  </a:lnTo>
                  <a:lnTo>
                    <a:pt x="9473232" y="2395821"/>
                  </a:lnTo>
                  <a:close/>
                  <a:moveTo>
                    <a:pt x="1255633" y="2130870"/>
                  </a:moveTo>
                  <a:lnTo>
                    <a:pt x="985221" y="2401981"/>
                  </a:lnTo>
                  <a:lnTo>
                    <a:pt x="1117282" y="2534042"/>
                  </a:lnTo>
                  <a:lnTo>
                    <a:pt x="1255633" y="2672393"/>
                  </a:lnTo>
                  <a:lnTo>
                    <a:pt x="1519757" y="2672393"/>
                  </a:lnTo>
                  <a:lnTo>
                    <a:pt x="1248646" y="2401981"/>
                  </a:lnTo>
                  <a:lnTo>
                    <a:pt x="1519757" y="2130870"/>
                  </a:lnTo>
                  <a:close/>
                  <a:moveTo>
                    <a:pt x="2351955" y="2130171"/>
                  </a:moveTo>
                  <a:lnTo>
                    <a:pt x="2171680" y="2311144"/>
                  </a:lnTo>
                  <a:lnTo>
                    <a:pt x="2170981" y="2311144"/>
                  </a:lnTo>
                  <a:lnTo>
                    <a:pt x="2081543" y="2400583"/>
                  </a:lnTo>
                  <a:lnTo>
                    <a:pt x="2215701" y="2534741"/>
                  </a:lnTo>
                  <a:lnTo>
                    <a:pt x="2352653" y="2670995"/>
                  </a:lnTo>
                  <a:lnTo>
                    <a:pt x="2616078" y="2670995"/>
                  </a:lnTo>
                  <a:lnTo>
                    <a:pt x="2344968" y="2400583"/>
                  </a:lnTo>
                  <a:lnTo>
                    <a:pt x="2346365" y="2399185"/>
                  </a:lnTo>
                  <a:lnTo>
                    <a:pt x="2347064" y="2399185"/>
                  </a:lnTo>
                  <a:lnTo>
                    <a:pt x="2615379" y="2130171"/>
                  </a:lnTo>
                  <a:close/>
                  <a:moveTo>
                    <a:pt x="1803445" y="2130171"/>
                  </a:moveTo>
                  <a:lnTo>
                    <a:pt x="1533032" y="2401282"/>
                  </a:lnTo>
                  <a:lnTo>
                    <a:pt x="1803445" y="2670995"/>
                  </a:lnTo>
                  <a:lnTo>
                    <a:pt x="2067568" y="2670995"/>
                  </a:lnTo>
                  <a:lnTo>
                    <a:pt x="1796458" y="2400583"/>
                  </a:lnTo>
                  <a:lnTo>
                    <a:pt x="1980924" y="2216115"/>
                  </a:lnTo>
                  <a:lnTo>
                    <a:pt x="1981623" y="2216115"/>
                  </a:lnTo>
                  <a:lnTo>
                    <a:pt x="2067568" y="2130171"/>
                  </a:lnTo>
                  <a:close/>
                  <a:moveTo>
                    <a:pt x="2900465" y="2129472"/>
                  </a:moveTo>
                  <a:lnTo>
                    <a:pt x="2630053" y="2400583"/>
                  </a:lnTo>
                  <a:lnTo>
                    <a:pt x="2901164" y="2670995"/>
                  </a:lnTo>
                  <a:lnTo>
                    <a:pt x="3165287" y="2670995"/>
                  </a:lnTo>
                  <a:lnTo>
                    <a:pt x="2894176" y="2400583"/>
                  </a:lnTo>
                  <a:lnTo>
                    <a:pt x="3164588" y="2129472"/>
                  </a:lnTo>
                  <a:close/>
                  <a:moveTo>
                    <a:pt x="3997486" y="2128074"/>
                  </a:moveTo>
                  <a:lnTo>
                    <a:pt x="3727074" y="2399185"/>
                  </a:lnTo>
                  <a:lnTo>
                    <a:pt x="3998184" y="2669597"/>
                  </a:lnTo>
                  <a:lnTo>
                    <a:pt x="4262309" y="2669597"/>
                  </a:lnTo>
                  <a:lnTo>
                    <a:pt x="3991197" y="2399185"/>
                  </a:lnTo>
                  <a:lnTo>
                    <a:pt x="4261609" y="2128074"/>
                  </a:lnTo>
                  <a:close/>
                  <a:moveTo>
                    <a:pt x="4545996" y="2127376"/>
                  </a:moveTo>
                  <a:lnTo>
                    <a:pt x="4275584" y="2398486"/>
                  </a:lnTo>
                  <a:lnTo>
                    <a:pt x="4545996" y="2668200"/>
                  </a:lnTo>
                  <a:lnTo>
                    <a:pt x="4808096" y="2668200"/>
                  </a:lnTo>
                  <a:lnTo>
                    <a:pt x="4660106" y="2520896"/>
                  </a:lnTo>
                  <a:lnTo>
                    <a:pt x="4660106" y="2518573"/>
                  </a:lnTo>
                  <a:lnTo>
                    <a:pt x="4539009" y="2397788"/>
                  </a:lnTo>
                  <a:lnTo>
                    <a:pt x="4660106" y="2276691"/>
                  </a:lnTo>
                  <a:lnTo>
                    <a:pt x="4660106" y="2272842"/>
                  </a:lnTo>
                  <a:lnTo>
                    <a:pt x="4805573" y="2127376"/>
                  </a:lnTo>
                  <a:close/>
                  <a:moveTo>
                    <a:pt x="5915740" y="2126108"/>
                  </a:moveTo>
                  <a:lnTo>
                    <a:pt x="5645327" y="2397219"/>
                  </a:lnTo>
                  <a:lnTo>
                    <a:pt x="5777388" y="2529280"/>
                  </a:lnTo>
                  <a:lnTo>
                    <a:pt x="5915740" y="2667631"/>
                  </a:lnTo>
                  <a:lnTo>
                    <a:pt x="6179863" y="2667631"/>
                  </a:lnTo>
                  <a:lnTo>
                    <a:pt x="5908752" y="2397219"/>
                  </a:lnTo>
                  <a:lnTo>
                    <a:pt x="6179863" y="2126108"/>
                  </a:lnTo>
                  <a:close/>
                  <a:moveTo>
                    <a:pt x="4821171" y="2126108"/>
                  </a:moveTo>
                  <a:lnTo>
                    <a:pt x="4731163" y="2216814"/>
                  </a:lnTo>
                  <a:lnTo>
                    <a:pt x="4553683" y="2394294"/>
                  </a:lnTo>
                  <a:lnTo>
                    <a:pt x="4813944" y="2394294"/>
                  </a:lnTo>
                  <a:lnTo>
                    <a:pt x="5080746" y="2126108"/>
                  </a:lnTo>
                  <a:close/>
                  <a:moveTo>
                    <a:pt x="7012061" y="2125409"/>
                  </a:moveTo>
                  <a:lnTo>
                    <a:pt x="6831786" y="2306383"/>
                  </a:lnTo>
                  <a:lnTo>
                    <a:pt x="6831088" y="2306383"/>
                  </a:lnTo>
                  <a:lnTo>
                    <a:pt x="6741650" y="2395821"/>
                  </a:lnTo>
                  <a:lnTo>
                    <a:pt x="6875807" y="2529979"/>
                  </a:lnTo>
                  <a:lnTo>
                    <a:pt x="7012759" y="2666233"/>
                  </a:lnTo>
                  <a:lnTo>
                    <a:pt x="7276184" y="2666233"/>
                  </a:lnTo>
                  <a:lnTo>
                    <a:pt x="7005075" y="2395821"/>
                  </a:lnTo>
                  <a:lnTo>
                    <a:pt x="7006471" y="2394423"/>
                  </a:lnTo>
                  <a:lnTo>
                    <a:pt x="7007170" y="2394423"/>
                  </a:lnTo>
                  <a:lnTo>
                    <a:pt x="7275485" y="2125409"/>
                  </a:lnTo>
                  <a:close/>
                  <a:moveTo>
                    <a:pt x="6463552" y="2125409"/>
                  </a:moveTo>
                  <a:lnTo>
                    <a:pt x="6193138" y="2396520"/>
                  </a:lnTo>
                  <a:lnTo>
                    <a:pt x="6463552" y="2666233"/>
                  </a:lnTo>
                  <a:lnTo>
                    <a:pt x="6727675" y="2666233"/>
                  </a:lnTo>
                  <a:lnTo>
                    <a:pt x="6456565" y="2395821"/>
                  </a:lnTo>
                  <a:lnTo>
                    <a:pt x="6641030" y="2211353"/>
                  </a:lnTo>
                  <a:lnTo>
                    <a:pt x="6641730" y="2211353"/>
                  </a:lnTo>
                  <a:lnTo>
                    <a:pt x="6727675" y="2125409"/>
                  </a:lnTo>
                  <a:close/>
                  <a:moveTo>
                    <a:pt x="7560571" y="2124710"/>
                  </a:moveTo>
                  <a:lnTo>
                    <a:pt x="7290159" y="2395821"/>
                  </a:lnTo>
                  <a:lnTo>
                    <a:pt x="7561270" y="2666233"/>
                  </a:lnTo>
                  <a:lnTo>
                    <a:pt x="7825393" y="2666233"/>
                  </a:lnTo>
                  <a:lnTo>
                    <a:pt x="7554282" y="2395821"/>
                  </a:lnTo>
                  <a:lnTo>
                    <a:pt x="7824694" y="2124710"/>
                  </a:lnTo>
                  <a:close/>
                  <a:moveTo>
                    <a:pt x="8657592" y="2123312"/>
                  </a:moveTo>
                  <a:lnTo>
                    <a:pt x="8387180" y="2394423"/>
                  </a:lnTo>
                  <a:lnTo>
                    <a:pt x="8658290" y="2664835"/>
                  </a:lnTo>
                  <a:lnTo>
                    <a:pt x="8922414" y="2664835"/>
                  </a:lnTo>
                  <a:lnTo>
                    <a:pt x="8651303" y="2394423"/>
                  </a:lnTo>
                  <a:lnTo>
                    <a:pt x="8921715" y="2123312"/>
                  </a:lnTo>
                  <a:close/>
                  <a:moveTo>
                    <a:pt x="10576156" y="2122933"/>
                  </a:moveTo>
                  <a:lnTo>
                    <a:pt x="10305744" y="2394044"/>
                  </a:lnTo>
                  <a:lnTo>
                    <a:pt x="10437805" y="2526105"/>
                  </a:lnTo>
                  <a:lnTo>
                    <a:pt x="10576156" y="2664456"/>
                  </a:lnTo>
                  <a:lnTo>
                    <a:pt x="10840280" y="2664456"/>
                  </a:lnTo>
                  <a:lnTo>
                    <a:pt x="10569169" y="2394044"/>
                  </a:lnTo>
                  <a:lnTo>
                    <a:pt x="10840280" y="2122933"/>
                  </a:lnTo>
                  <a:close/>
                  <a:moveTo>
                    <a:pt x="9479702" y="2122933"/>
                  </a:moveTo>
                  <a:lnTo>
                    <a:pt x="9391268" y="2212052"/>
                  </a:lnTo>
                  <a:lnTo>
                    <a:pt x="9213788" y="2389532"/>
                  </a:lnTo>
                  <a:lnTo>
                    <a:pt x="9475939" y="2389532"/>
                  </a:lnTo>
                  <a:lnTo>
                    <a:pt x="9741163" y="2122933"/>
                  </a:lnTo>
                  <a:close/>
                  <a:moveTo>
                    <a:pt x="9206102" y="2122614"/>
                  </a:moveTo>
                  <a:lnTo>
                    <a:pt x="8935690" y="2393724"/>
                  </a:lnTo>
                  <a:lnTo>
                    <a:pt x="9206102" y="2663438"/>
                  </a:lnTo>
                  <a:lnTo>
                    <a:pt x="9466918" y="2663438"/>
                  </a:lnTo>
                  <a:lnTo>
                    <a:pt x="9320523" y="2517721"/>
                  </a:lnTo>
                  <a:lnTo>
                    <a:pt x="9320523" y="2514122"/>
                  </a:lnTo>
                  <a:lnTo>
                    <a:pt x="9199115" y="2393026"/>
                  </a:lnTo>
                  <a:lnTo>
                    <a:pt x="9320523" y="2271618"/>
                  </a:lnTo>
                  <a:lnTo>
                    <a:pt x="9320523" y="2269668"/>
                  </a:lnTo>
                  <a:lnTo>
                    <a:pt x="9467576" y="2122614"/>
                  </a:lnTo>
                  <a:close/>
                  <a:moveTo>
                    <a:pt x="11672478" y="2122234"/>
                  </a:moveTo>
                  <a:lnTo>
                    <a:pt x="11492203" y="2303207"/>
                  </a:lnTo>
                  <a:lnTo>
                    <a:pt x="11491504" y="2303207"/>
                  </a:lnTo>
                  <a:lnTo>
                    <a:pt x="11402066" y="2392646"/>
                  </a:lnTo>
                  <a:lnTo>
                    <a:pt x="11536224" y="2526804"/>
                  </a:lnTo>
                  <a:lnTo>
                    <a:pt x="11673176" y="2663058"/>
                  </a:lnTo>
                  <a:lnTo>
                    <a:pt x="11936601" y="2663058"/>
                  </a:lnTo>
                  <a:lnTo>
                    <a:pt x="11665491" y="2392646"/>
                  </a:lnTo>
                  <a:lnTo>
                    <a:pt x="11666888" y="2391248"/>
                  </a:lnTo>
                  <a:lnTo>
                    <a:pt x="11667587" y="2391248"/>
                  </a:lnTo>
                  <a:lnTo>
                    <a:pt x="11935902" y="2122234"/>
                  </a:lnTo>
                  <a:close/>
                  <a:moveTo>
                    <a:pt x="11123968" y="2122234"/>
                  </a:moveTo>
                  <a:lnTo>
                    <a:pt x="10853555" y="2393345"/>
                  </a:lnTo>
                  <a:lnTo>
                    <a:pt x="11123968" y="2663058"/>
                  </a:lnTo>
                  <a:lnTo>
                    <a:pt x="11388091" y="2663058"/>
                  </a:lnTo>
                  <a:lnTo>
                    <a:pt x="11116981" y="2392646"/>
                  </a:lnTo>
                  <a:lnTo>
                    <a:pt x="11301447" y="2208178"/>
                  </a:lnTo>
                  <a:lnTo>
                    <a:pt x="11302146" y="2208178"/>
                  </a:lnTo>
                  <a:lnTo>
                    <a:pt x="11388091" y="2122234"/>
                  </a:lnTo>
                  <a:close/>
                  <a:moveTo>
                    <a:pt x="1261921" y="1856964"/>
                  </a:moveTo>
                  <a:lnTo>
                    <a:pt x="1262620" y="1857662"/>
                  </a:lnTo>
                  <a:lnTo>
                    <a:pt x="1263319" y="1857662"/>
                  </a:lnTo>
                  <a:lnTo>
                    <a:pt x="1532333" y="2126677"/>
                  </a:lnTo>
                  <a:lnTo>
                    <a:pt x="1261921" y="2397788"/>
                  </a:lnTo>
                  <a:lnTo>
                    <a:pt x="1526046" y="2397788"/>
                  </a:lnTo>
                  <a:lnTo>
                    <a:pt x="1796458" y="2126677"/>
                  </a:lnTo>
                  <a:lnTo>
                    <a:pt x="1791566" y="2121786"/>
                  </a:lnTo>
                  <a:lnTo>
                    <a:pt x="1526046" y="1856964"/>
                  </a:lnTo>
                  <a:close/>
                  <a:moveTo>
                    <a:pt x="164203" y="1856964"/>
                  </a:moveTo>
                  <a:lnTo>
                    <a:pt x="165601" y="1858361"/>
                  </a:lnTo>
                  <a:lnTo>
                    <a:pt x="434615" y="2127376"/>
                  </a:lnTo>
                  <a:lnTo>
                    <a:pt x="164203" y="2397089"/>
                  </a:lnTo>
                  <a:lnTo>
                    <a:pt x="428326" y="2397089"/>
                  </a:lnTo>
                  <a:lnTo>
                    <a:pt x="698738" y="2125979"/>
                  </a:lnTo>
                  <a:lnTo>
                    <a:pt x="695191" y="2122430"/>
                  </a:lnTo>
                  <a:lnTo>
                    <a:pt x="709860" y="2129472"/>
                  </a:lnTo>
                  <a:lnTo>
                    <a:pt x="705726" y="2129472"/>
                  </a:lnTo>
                  <a:lnTo>
                    <a:pt x="435314" y="2400583"/>
                  </a:lnTo>
                  <a:lnTo>
                    <a:pt x="706425" y="2670995"/>
                  </a:lnTo>
                  <a:lnTo>
                    <a:pt x="970548" y="2670995"/>
                  </a:lnTo>
                  <a:lnTo>
                    <a:pt x="699437" y="2400583"/>
                  </a:lnTo>
                  <a:lnTo>
                    <a:pt x="883903" y="2216115"/>
                  </a:lnTo>
                  <a:lnTo>
                    <a:pt x="969849" y="2130171"/>
                  </a:lnTo>
                  <a:lnTo>
                    <a:pt x="711316" y="2130171"/>
                  </a:lnTo>
                  <a:lnTo>
                    <a:pt x="709860" y="2129472"/>
                  </a:lnTo>
                  <a:lnTo>
                    <a:pt x="711316" y="2129472"/>
                  </a:lnTo>
                  <a:lnTo>
                    <a:pt x="693847" y="2121087"/>
                  </a:lnTo>
                  <a:lnTo>
                    <a:pt x="695191" y="2122430"/>
                  </a:lnTo>
                  <a:lnTo>
                    <a:pt x="693847" y="2121786"/>
                  </a:lnTo>
                  <a:lnTo>
                    <a:pt x="428326" y="1856964"/>
                  </a:lnTo>
                  <a:close/>
                  <a:moveTo>
                    <a:pt x="712014" y="1856265"/>
                  </a:moveTo>
                  <a:lnTo>
                    <a:pt x="983125" y="2125979"/>
                  </a:lnTo>
                  <a:lnTo>
                    <a:pt x="980330" y="2128773"/>
                  </a:lnTo>
                  <a:lnTo>
                    <a:pt x="890192" y="2219610"/>
                  </a:lnTo>
                  <a:lnTo>
                    <a:pt x="712713" y="2397089"/>
                  </a:lnTo>
                  <a:lnTo>
                    <a:pt x="976837" y="2397089"/>
                  </a:lnTo>
                  <a:lnTo>
                    <a:pt x="1066275" y="2307651"/>
                  </a:lnTo>
                  <a:lnTo>
                    <a:pt x="1247249" y="2126677"/>
                  </a:lnTo>
                  <a:lnTo>
                    <a:pt x="1114488" y="1994616"/>
                  </a:lnTo>
                  <a:lnTo>
                    <a:pt x="976138" y="1856265"/>
                  </a:lnTo>
                  <a:close/>
                  <a:moveTo>
                    <a:pt x="2359641" y="1855567"/>
                  </a:moveTo>
                  <a:lnTo>
                    <a:pt x="2489606" y="1985532"/>
                  </a:lnTo>
                  <a:lnTo>
                    <a:pt x="2630053" y="2125979"/>
                  </a:lnTo>
                  <a:lnTo>
                    <a:pt x="2359641" y="2397089"/>
                  </a:lnTo>
                  <a:lnTo>
                    <a:pt x="2623764" y="2397089"/>
                  </a:lnTo>
                  <a:lnTo>
                    <a:pt x="2894176" y="2125979"/>
                  </a:lnTo>
                  <a:lnTo>
                    <a:pt x="2623065" y="1855567"/>
                  </a:lnTo>
                  <a:close/>
                  <a:moveTo>
                    <a:pt x="1810432" y="1855567"/>
                  </a:moveTo>
                  <a:lnTo>
                    <a:pt x="2081543" y="2125979"/>
                  </a:lnTo>
                  <a:lnTo>
                    <a:pt x="2078748" y="2128773"/>
                  </a:lnTo>
                  <a:lnTo>
                    <a:pt x="1988611" y="2219610"/>
                  </a:lnTo>
                  <a:lnTo>
                    <a:pt x="1987912" y="2219610"/>
                  </a:lnTo>
                  <a:lnTo>
                    <a:pt x="1811131" y="2397089"/>
                  </a:lnTo>
                  <a:lnTo>
                    <a:pt x="2074555" y="2396391"/>
                  </a:lnTo>
                  <a:lnTo>
                    <a:pt x="2163994" y="2306952"/>
                  </a:lnTo>
                  <a:lnTo>
                    <a:pt x="2164693" y="2306952"/>
                  </a:lnTo>
                  <a:lnTo>
                    <a:pt x="2345666" y="2125979"/>
                  </a:lnTo>
                  <a:lnTo>
                    <a:pt x="2074555" y="1855567"/>
                  </a:lnTo>
                  <a:close/>
                  <a:moveTo>
                    <a:pt x="2907452" y="1854868"/>
                  </a:moveTo>
                  <a:lnTo>
                    <a:pt x="3178563" y="2125280"/>
                  </a:lnTo>
                  <a:lnTo>
                    <a:pt x="2908151" y="2396391"/>
                  </a:lnTo>
                  <a:lnTo>
                    <a:pt x="3172275" y="2396391"/>
                  </a:lnTo>
                  <a:lnTo>
                    <a:pt x="3442687" y="2125280"/>
                  </a:lnTo>
                  <a:lnTo>
                    <a:pt x="3171576" y="1854868"/>
                  </a:lnTo>
                  <a:close/>
                  <a:moveTo>
                    <a:pt x="4552984" y="1852771"/>
                  </a:moveTo>
                  <a:lnTo>
                    <a:pt x="4820022" y="2119120"/>
                  </a:lnTo>
                  <a:lnTo>
                    <a:pt x="5080746" y="2119120"/>
                  </a:lnTo>
                  <a:lnTo>
                    <a:pt x="4813709" y="1852771"/>
                  </a:lnTo>
                  <a:close/>
                  <a:moveTo>
                    <a:pt x="4004473" y="1852771"/>
                  </a:moveTo>
                  <a:lnTo>
                    <a:pt x="4005871" y="1854169"/>
                  </a:lnTo>
                  <a:lnTo>
                    <a:pt x="4274885" y="2123183"/>
                  </a:lnTo>
                  <a:lnTo>
                    <a:pt x="4004473" y="2394294"/>
                  </a:lnTo>
                  <a:lnTo>
                    <a:pt x="4268598" y="2394294"/>
                  </a:lnTo>
                  <a:lnTo>
                    <a:pt x="4539009" y="2123183"/>
                  </a:lnTo>
                  <a:lnTo>
                    <a:pt x="4534118" y="2118292"/>
                  </a:lnTo>
                  <a:lnTo>
                    <a:pt x="4268598" y="1852771"/>
                  </a:lnTo>
                  <a:close/>
                  <a:moveTo>
                    <a:pt x="5922027" y="1852202"/>
                  </a:moveTo>
                  <a:lnTo>
                    <a:pt x="5922727" y="1852900"/>
                  </a:lnTo>
                  <a:lnTo>
                    <a:pt x="5923425" y="1852900"/>
                  </a:lnTo>
                  <a:lnTo>
                    <a:pt x="6192439" y="2121915"/>
                  </a:lnTo>
                  <a:lnTo>
                    <a:pt x="5922027" y="2393026"/>
                  </a:lnTo>
                  <a:lnTo>
                    <a:pt x="6186152" y="2393026"/>
                  </a:lnTo>
                  <a:lnTo>
                    <a:pt x="6456565" y="2121915"/>
                  </a:lnTo>
                  <a:lnTo>
                    <a:pt x="6451672" y="2117024"/>
                  </a:lnTo>
                  <a:lnTo>
                    <a:pt x="6186152" y="1852202"/>
                  </a:lnTo>
                  <a:close/>
                  <a:moveTo>
                    <a:pt x="4824309" y="1852202"/>
                  </a:moveTo>
                  <a:lnTo>
                    <a:pt x="4825707" y="1853599"/>
                  </a:lnTo>
                  <a:lnTo>
                    <a:pt x="5094721" y="2122614"/>
                  </a:lnTo>
                  <a:lnTo>
                    <a:pt x="4824309" y="2392327"/>
                  </a:lnTo>
                  <a:lnTo>
                    <a:pt x="5088432" y="2392327"/>
                  </a:lnTo>
                  <a:lnTo>
                    <a:pt x="5358844" y="2121217"/>
                  </a:lnTo>
                  <a:lnTo>
                    <a:pt x="5355297" y="2117668"/>
                  </a:lnTo>
                  <a:lnTo>
                    <a:pt x="5369967" y="2124710"/>
                  </a:lnTo>
                  <a:lnTo>
                    <a:pt x="5365832" y="2124710"/>
                  </a:lnTo>
                  <a:lnTo>
                    <a:pt x="5095421" y="2395821"/>
                  </a:lnTo>
                  <a:lnTo>
                    <a:pt x="5366532" y="2666233"/>
                  </a:lnTo>
                  <a:lnTo>
                    <a:pt x="5630655" y="2666233"/>
                  </a:lnTo>
                  <a:lnTo>
                    <a:pt x="5359544" y="2395821"/>
                  </a:lnTo>
                  <a:lnTo>
                    <a:pt x="5544009" y="2211353"/>
                  </a:lnTo>
                  <a:lnTo>
                    <a:pt x="5629955" y="2125409"/>
                  </a:lnTo>
                  <a:lnTo>
                    <a:pt x="5371422" y="2125409"/>
                  </a:lnTo>
                  <a:lnTo>
                    <a:pt x="5369967" y="2124710"/>
                  </a:lnTo>
                  <a:lnTo>
                    <a:pt x="5371422" y="2124710"/>
                  </a:lnTo>
                  <a:lnTo>
                    <a:pt x="5353953" y="2116325"/>
                  </a:lnTo>
                  <a:lnTo>
                    <a:pt x="5355297" y="2117668"/>
                  </a:lnTo>
                  <a:lnTo>
                    <a:pt x="5353953" y="2117024"/>
                  </a:lnTo>
                  <a:lnTo>
                    <a:pt x="5088432" y="1852202"/>
                  </a:lnTo>
                  <a:close/>
                  <a:moveTo>
                    <a:pt x="5372120" y="1851503"/>
                  </a:moveTo>
                  <a:lnTo>
                    <a:pt x="5643231" y="2121217"/>
                  </a:lnTo>
                  <a:lnTo>
                    <a:pt x="5640436" y="2124011"/>
                  </a:lnTo>
                  <a:lnTo>
                    <a:pt x="5550298" y="2214848"/>
                  </a:lnTo>
                  <a:lnTo>
                    <a:pt x="5372819" y="2392327"/>
                  </a:lnTo>
                  <a:lnTo>
                    <a:pt x="5636944" y="2392327"/>
                  </a:lnTo>
                  <a:lnTo>
                    <a:pt x="5726382" y="2302889"/>
                  </a:lnTo>
                  <a:lnTo>
                    <a:pt x="5907355" y="2121915"/>
                  </a:lnTo>
                  <a:lnTo>
                    <a:pt x="5774594" y="1989854"/>
                  </a:lnTo>
                  <a:lnTo>
                    <a:pt x="5636244" y="1851503"/>
                  </a:lnTo>
                  <a:close/>
                  <a:moveTo>
                    <a:pt x="7019748" y="1850805"/>
                  </a:moveTo>
                  <a:lnTo>
                    <a:pt x="7149712" y="1980770"/>
                  </a:lnTo>
                  <a:lnTo>
                    <a:pt x="7290159" y="2121217"/>
                  </a:lnTo>
                  <a:lnTo>
                    <a:pt x="7019748" y="2392327"/>
                  </a:lnTo>
                  <a:lnTo>
                    <a:pt x="7283870" y="2392327"/>
                  </a:lnTo>
                  <a:lnTo>
                    <a:pt x="7554282" y="2121217"/>
                  </a:lnTo>
                  <a:lnTo>
                    <a:pt x="7283171" y="1850805"/>
                  </a:lnTo>
                  <a:close/>
                  <a:moveTo>
                    <a:pt x="6470538" y="1850805"/>
                  </a:moveTo>
                  <a:lnTo>
                    <a:pt x="6741650" y="2121217"/>
                  </a:lnTo>
                  <a:lnTo>
                    <a:pt x="6738854" y="2124011"/>
                  </a:lnTo>
                  <a:lnTo>
                    <a:pt x="6648717" y="2214848"/>
                  </a:lnTo>
                  <a:lnTo>
                    <a:pt x="6648019" y="2214848"/>
                  </a:lnTo>
                  <a:lnTo>
                    <a:pt x="6471238" y="2392327"/>
                  </a:lnTo>
                  <a:lnTo>
                    <a:pt x="6734661" y="2391629"/>
                  </a:lnTo>
                  <a:lnTo>
                    <a:pt x="6824100" y="2302190"/>
                  </a:lnTo>
                  <a:lnTo>
                    <a:pt x="6824799" y="2302190"/>
                  </a:lnTo>
                  <a:lnTo>
                    <a:pt x="7005773" y="2121217"/>
                  </a:lnTo>
                  <a:lnTo>
                    <a:pt x="6734661" y="1850805"/>
                  </a:lnTo>
                  <a:close/>
                  <a:moveTo>
                    <a:pt x="7567558" y="1850106"/>
                  </a:moveTo>
                  <a:lnTo>
                    <a:pt x="7838669" y="2120518"/>
                  </a:lnTo>
                  <a:lnTo>
                    <a:pt x="7568257" y="2391629"/>
                  </a:lnTo>
                  <a:lnTo>
                    <a:pt x="7832381" y="2391629"/>
                  </a:lnTo>
                  <a:lnTo>
                    <a:pt x="8102793" y="2120518"/>
                  </a:lnTo>
                  <a:lnTo>
                    <a:pt x="7831682" y="1850106"/>
                  </a:lnTo>
                  <a:close/>
                  <a:moveTo>
                    <a:pt x="10582444" y="1849027"/>
                  </a:moveTo>
                  <a:lnTo>
                    <a:pt x="10583143" y="1849725"/>
                  </a:lnTo>
                  <a:lnTo>
                    <a:pt x="10583842" y="1849725"/>
                  </a:lnTo>
                  <a:lnTo>
                    <a:pt x="10852856" y="2118740"/>
                  </a:lnTo>
                  <a:lnTo>
                    <a:pt x="10582444" y="2389851"/>
                  </a:lnTo>
                  <a:lnTo>
                    <a:pt x="10846569" y="2389851"/>
                  </a:lnTo>
                  <a:lnTo>
                    <a:pt x="11116981" y="2118740"/>
                  </a:lnTo>
                  <a:lnTo>
                    <a:pt x="11112089" y="2113849"/>
                  </a:lnTo>
                  <a:lnTo>
                    <a:pt x="10846569" y="1849027"/>
                  </a:lnTo>
                  <a:close/>
                  <a:moveTo>
                    <a:pt x="9484726" y="1849027"/>
                  </a:moveTo>
                  <a:lnTo>
                    <a:pt x="9486124" y="1850424"/>
                  </a:lnTo>
                  <a:lnTo>
                    <a:pt x="9755138" y="2119439"/>
                  </a:lnTo>
                  <a:lnTo>
                    <a:pt x="9484726" y="2389152"/>
                  </a:lnTo>
                  <a:lnTo>
                    <a:pt x="9748849" y="2389152"/>
                  </a:lnTo>
                  <a:lnTo>
                    <a:pt x="10019261" y="2118042"/>
                  </a:lnTo>
                  <a:lnTo>
                    <a:pt x="10015714" y="2114494"/>
                  </a:lnTo>
                  <a:lnTo>
                    <a:pt x="10030383" y="2121535"/>
                  </a:lnTo>
                  <a:lnTo>
                    <a:pt x="10026249" y="2121535"/>
                  </a:lnTo>
                  <a:lnTo>
                    <a:pt x="9755837" y="2392646"/>
                  </a:lnTo>
                  <a:lnTo>
                    <a:pt x="10026948" y="2663058"/>
                  </a:lnTo>
                  <a:lnTo>
                    <a:pt x="10291071" y="2663058"/>
                  </a:lnTo>
                  <a:lnTo>
                    <a:pt x="10019960" y="2392646"/>
                  </a:lnTo>
                  <a:lnTo>
                    <a:pt x="10204426" y="2208178"/>
                  </a:lnTo>
                  <a:lnTo>
                    <a:pt x="10290372" y="2122234"/>
                  </a:lnTo>
                  <a:lnTo>
                    <a:pt x="10031839" y="2122234"/>
                  </a:lnTo>
                  <a:lnTo>
                    <a:pt x="10030383" y="2121535"/>
                  </a:lnTo>
                  <a:lnTo>
                    <a:pt x="10031839" y="2121535"/>
                  </a:lnTo>
                  <a:lnTo>
                    <a:pt x="10014370" y="2113150"/>
                  </a:lnTo>
                  <a:lnTo>
                    <a:pt x="10015714" y="2114494"/>
                  </a:lnTo>
                  <a:lnTo>
                    <a:pt x="10014370" y="2113849"/>
                  </a:lnTo>
                  <a:lnTo>
                    <a:pt x="9748849" y="1849027"/>
                  </a:lnTo>
                  <a:close/>
                  <a:moveTo>
                    <a:pt x="10032537" y="1848328"/>
                  </a:moveTo>
                  <a:lnTo>
                    <a:pt x="10303648" y="2118042"/>
                  </a:lnTo>
                  <a:lnTo>
                    <a:pt x="10300853" y="2120836"/>
                  </a:lnTo>
                  <a:lnTo>
                    <a:pt x="10210715" y="2211673"/>
                  </a:lnTo>
                  <a:lnTo>
                    <a:pt x="10033236" y="2389152"/>
                  </a:lnTo>
                  <a:lnTo>
                    <a:pt x="10297360" y="2389152"/>
                  </a:lnTo>
                  <a:lnTo>
                    <a:pt x="10386798" y="2299714"/>
                  </a:lnTo>
                  <a:lnTo>
                    <a:pt x="10567772" y="2118740"/>
                  </a:lnTo>
                  <a:lnTo>
                    <a:pt x="10435011" y="1986679"/>
                  </a:lnTo>
                  <a:lnTo>
                    <a:pt x="10296661" y="1848328"/>
                  </a:lnTo>
                  <a:close/>
                  <a:moveTo>
                    <a:pt x="9213090" y="1848009"/>
                  </a:moveTo>
                  <a:lnTo>
                    <a:pt x="9481718" y="2115945"/>
                  </a:lnTo>
                  <a:lnTo>
                    <a:pt x="9741163" y="2115945"/>
                  </a:lnTo>
                  <a:lnTo>
                    <a:pt x="9472534" y="1848009"/>
                  </a:lnTo>
                  <a:close/>
                  <a:moveTo>
                    <a:pt x="8664579" y="1848009"/>
                  </a:moveTo>
                  <a:lnTo>
                    <a:pt x="8665977" y="1849407"/>
                  </a:lnTo>
                  <a:lnTo>
                    <a:pt x="8934991" y="2118421"/>
                  </a:lnTo>
                  <a:lnTo>
                    <a:pt x="8664579" y="2389532"/>
                  </a:lnTo>
                  <a:lnTo>
                    <a:pt x="8928703" y="2389532"/>
                  </a:lnTo>
                  <a:lnTo>
                    <a:pt x="9199115" y="2118421"/>
                  </a:lnTo>
                  <a:lnTo>
                    <a:pt x="9194224" y="2113530"/>
                  </a:lnTo>
                  <a:lnTo>
                    <a:pt x="8928703" y="1848009"/>
                  </a:lnTo>
                  <a:close/>
                  <a:moveTo>
                    <a:pt x="11130955" y="1847630"/>
                  </a:moveTo>
                  <a:lnTo>
                    <a:pt x="11402066" y="2118042"/>
                  </a:lnTo>
                  <a:lnTo>
                    <a:pt x="11399271" y="2120836"/>
                  </a:lnTo>
                  <a:lnTo>
                    <a:pt x="11309134" y="2211673"/>
                  </a:lnTo>
                  <a:lnTo>
                    <a:pt x="11308435" y="2211673"/>
                  </a:lnTo>
                  <a:lnTo>
                    <a:pt x="11131654" y="2389152"/>
                  </a:lnTo>
                  <a:lnTo>
                    <a:pt x="11395078" y="2388455"/>
                  </a:lnTo>
                  <a:lnTo>
                    <a:pt x="11484517" y="2299015"/>
                  </a:lnTo>
                  <a:lnTo>
                    <a:pt x="11485216" y="2299015"/>
                  </a:lnTo>
                  <a:lnTo>
                    <a:pt x="11666189" y="2118042"/>
                  </a:lnTo>
                  <a:lnTo>
                    <a:pt x="11395078" y="1847630"/>
                  </a:lnTo>
                  <a:close/>
                  <a:moveTo>
                    <a:pt x="705027" y="1582359"/>
                  </a:moveTo>
                  <a:lnTo>
                    <a:pt x="434615" y="1853470"/>
                  </a:lnTo>
                  <a:lnTo>
                    <a:pt x="705726" y="2123882"/>
                  </a:lnTo>
                  <a:lnTo>
                    <a:pt x="969849" y="2123882"/>
                  </a:lnTo>
                  <a:lnTo>
                    <a:pt x="698738" y="1853470"/>
                  </a:lnTo>
                  <a:lnTo>
                    <a:pt x="969150" y="1582359"/>
                  </a:lnTo>
                  <a:close/>
                  <a:moveTo>
                    <a:pt x="1802746" y="1581660"/>
                  </a:moveTo>
                  <a:lnTo>
                    <a:pt x="1532333" y="1852771"/>
                  </a:lnTo>
                  <a:lnTo>
                    <a:pt x="1803445" y="2123183"/>
                  </a:lnTo>
                  <a:lnTo>
                    <a:pt x="2067568" y="2123183"/>
                  </a:lnTo>
                  <a:lnTo>
                    <a:pt x="1796458" y="1852771"/>
                  </a:lnTo>
                  <a:lnTo>
                    <a:pt x="2066870" y="1581660"/>
                  </a:lnTo>
                  <a:close/>
                  <a:moveTo>
                    <a:pt x="1252838" y="1581660"/>
                  </a:moveTo>
                  <a:lnTo>
                    <a:pt x="983125" y="1852771"/>
                  </a:lnTo>
                  <a:lnTo>
                    <a:pt x="1183663" y="2053309"/>
                  </a:lnTo>
                  <a:lnTo>
                    <a:pt x="1254236" y="2123183"/>
                  </a:lnTo>
                  <a:lnTo>
                    <a:pt x="1322712" y="2123183"/>
                  </a:lnTo>
                  <a:lnTo>
                    <a:pt x="1322014" y="2124581"/>
                  </a:lnTo>
                  <a:lnTo>
                    <a:pt x="1519058" y="2124581"/>
                  </a:lnTo>
                  <a:lnTo>
                    <a:pt x="1247947" y="1854169"/>
                  </a:lnTo>
                  <a:lnTo>
                    <a:pt x="1248646" y="1853470"/>
                  </a:lnTo>
                  <a:lnTo>
                    <a:pt x="1246550" y="1852771"/>
                  </a:lnTo>
                  <a:lnTo>
                    <a:pt x="1516962" y="1581660"/>
                  </a:lnTo>
                  <a:close/>
                  <a:moveTo>
                    <a:pt x="2899766" y="1580961"/>
                  </a:moveTo>
                  <a:lnTo>
                    <a:pt x="2629354" y="1852072"/>
                  </a:lnTo>
                  <a:lnTo>
                    <a:pt x="2900465" y="2122484"/>
                  </a:lnTo>
                  <a:lnTo>
                    <a:pt x="3164588" y="2122484"/>
                  </a:lnTo>
                  <a:lnTo>
                    <a:pt x="2893477" y="1852072"/>
                  </a:lnTo>
                  <a:lnTo>
                    <a:pt x="3163889" y="1580961"/>
                  </a:lnTo>
                  <a:close/>
                  <a:moveTo>
                    <a:pt x="2351257" y="1580961"/>
                  </a:moveTo>
                  <a:lnTo>
                    <a:pt x="2080844" y="1852072"/>
                  </a:lnTo>
                  <a:lnTo>
                    <a:pt x="2351955" y="2122484"/>
                  </a:lnTo>
                  <a:lnTo>
                    <a:pt x="2615379" y="2122484"/>
                  </a:lnTo>
                  <a:lnTo>
                    <a:pt x="2485414" y="1992519"/>
                  </a:lnTo>
                  <a:lnTo>
                    <a:pt x="2344968" y="1852072"/>
                  </a:lnTo>
                  <a:lnTo>
                    <a:pt x="2615379" y="1580961"/>
                  </a:lnTo>
                  <a:close/>
                  <a:moveTo>
                    <a:pt x="3448276" y="1580263"/>
                  </a:moveTo>
                  <a:lnTo>
                    <a:pt x="3177864" y="1851373"/>
                  </a:lnTo>
                  <a:lnTo>
                    <a:pt x="3448975" y="2121087"/>
                  </a:lnTo>
                  <a:lnTo>
                    <a:pt x="3713099" y="2121087"/>
                  </a:lnTo>
                  <a:lnTo>
                    <a:pt x="3441988" y="1850676"/>
                  </a:lnTo>
                  <a:lnTo>
                    <a:pt x="3626455" y="1666208"/>
                  </a:lnTo>
                  <a:lnTo>
                    <a:pt x="3712400" y="1580263"/>
                  </a:lnTo>
                  <a:close/>
                  <a:moveTo>
                    <a:pt x="4545297" y="1578866"/>
                  </a:moveTo>
                  <a:lnTo>
                    <a:pt x="4274885" y="1849977"/>
                  </a:lnTo>
                  <a:lnTo>
                    <a:pt x="4545996" y="2119690"/>
                  </a:lnTo>
                  <a:lnTo>
                    <a:pt x="4807395" y="2119690"/>
                  </a:lnTo>
                  <a:lnTo>
                    <a:pt x="4676176" y="1989155"/>
                  </a:lnTo>
                  <a:lnTo>
                    <a:pt x="4660106" y="1973084"/>
                  </a:lnTo>
                  <a:lnTo>
                    <a:pt x="4660106" y="1970063"/>
                  </a:lnTo>
                  <a:lnTo>
                    <a:pt x="4539009" y="1849278"/>
                  </a:lnTo>
                  <a:lnTo>
                    <a:pt x="4660106" y="1728181"/>
                  </a:lnTo>
                  <a:lnTo>
                    <a:pt x="4660106" y="1724332"/>
                  </a:lnTo>
                  <a:lnTo>
                    <a:pt x="4805571" y="1578866"/>
                  </a:lnTo>
                  <a:close/>
                  <a:moveTo>
                    <a:pt x="4819782" y="1578296"/>
                  </a:moveTo>
                  <a:lnTo>
                    <a:pt x="4552984" y="1845784"/>
                  </a:lnTo>
                  <a:lnTo>
                    <a:pt x="4813254" y="1845784"/>
                  </a:lnTo>
                  <a:lnTo>
                    <a:pt x="5080048" y="1578296"/>
                  </a:lnTo>
                  <a:close/>
                  <a:moveTo>
                    <a:pt x="5365133" y="1577597"/>
                  </a:moveTo>
                  <a:lnTo>
                    <a:pt x="5094721" y="1848708"/>
                  </a:lnTo>
                  <a:lnTo>
                    <a:pt x="5365832" y="2119120"/>
                  </a:lnTo>
                  <a:lnTo>
                    <a:pt x="5629955" y="2119120"/>
                  </a:lnTo>
                  <a:lnTo>
                    <a:pt x="5358844" y="1848708"/>
                  </a:lnTo>
                  <a:lnTo>
                    <a:pt x="5629256" y="1577597"/>
                  </a:lnTo>
                  <a:close/>
                  <a:moveTo>
                    <a:pt x="6462852" y="1576898"/>
                  </a:moveTo>
                  <a:lnTo>
                    <a:pt x="6192439" y="1848009"/>
                  </a:lnTo>
                  <a:lnTo>
                    <a:pt x="6463552" y="2118421"/>
                  </a:lnTo>
                  <a:lnTo>
                    <a:pt x="6727675" y="2118421"/>
                  </a:lnTo>
                  <a:lnTo>
                    <a:pt x="6456565" y="1848009"/>
                  </a:lnTo>
                  <a:lnTo>
                    <a:pt x="6726977" y="1576898"/>
                  </a:lnTo>
                  <a:close/>
                  <a:moveTo>
                    <a:pt x="5912945" y="1576898"/>
                  </a:moveTo>
                  <a:lnTo>
                    <a:pt x="5643231" y="1848009"/>
                  </a:lnTo>
                  <a:lnTo>
                    <a:pt x="5843769" y="2048547"/>
                  </a:lnTo>
                  <a:lnTo>
                    <a:pt x="5914342" y="2118421"/>
                  </a:lnTo>
                  <a:lnTo>
                    <a:pt x="5982819" y="2118421"/>
                  </a:lnTo>
                  <a:lnTo>
                    <a:pt x="5982120" y="2119819"/>
                  </a:lnTo>
                  <a:lnTo>
                    <a:pt x="6179165" y="2119819"/>
                  </a:lnTo>
                  <a:lnTo>
                    <a:pt x="5908054" y="1849407"/>
                  </a:lnTo>
                  <a:lnTo>
                    <a:pt x="5908752" y="1848708"/>
                  </a:lnTo>
                  <a:lnTo>
                    <a:pt x="5906656" y="1848009"/>
                  </a:lnTo>
                  <a:lnTo>
                    <a:pt x="6177068" y="1576898"/>
                  </a:lnTo>
                  <a:close/>
                  <a:moveTo>
                    <a:pt x="7559872" y="1576199"/>
                  </a:moveTo>
                  <a:lnTo>
                    <a:pt x="7289460" y="1847310"/>
                  </a:lnTo>
                  <a:lnTo>
                    <a:pt x="7560571" y="2117722"/>
                  </a:lnTo>
                  <a:lnTo>
                    <a:pt x="7824694" y="2117722"/>
                  </a:lnTo>
                  <a:lnTo>
                    <a:pt x="7553583" y="1847310"/>
                  </a:lnTo>
                  <a:lnTo>
                    <a:pt x="7823995" y="1576199"/>
                  </a:lnTo>
                  <a:close/>
                  <a:moveTo>
                    <a:pt x="7011363" y="1576199"/>
                  </a:moveTo>
                  <a:lnTo>
                    <a:pt x="6740950" y="1847310"/>
                  </a:lnTo>
                  <a:lnTo>
                    <a:pt x="7012061" y="2117722"/>
                  </a:lnTo>
                  <a:lnTo>
                    <a:pt x="7275485" y="2117722"/>
                  </a:lnTo>
                  <a:lnTo>
                    <a:pt x="7145521" y="1987757"/>
                  </a:lnTo>
                  <a:lnTo>
                    <a:pt x="7005075" y="1847310"/>
                  </a:lnTo>
                  <a:lnTo>
                    <a:pt x="7275485" y="1576199"/>
                  </a:lnTo>
                  <a:close/>
                  <a:moveTo>
                    <a:pt x="8108382" y="1575501"/>
                  </a:moveTo>
                  <a:lnTo>
                    <a:pt x="7837970" y="1846611"/>
                  </a:lnTo>
                  <a:lnTo>
                    <a:pt x="8109081" y="2116325"/>
                  </a:lnTo>
                  <a:lnTo>
                    <a:pt x="8373205" y="2116325"/>
                  </a:lnTo>
                  <a:lnTo>
                    <a:pt x="8102094" y="1845914"/>
                  </a:lnTo>
                  <a:lnTo>
                    <a:pt x="8286561" y="1661446"/>
                  </a:lnTo>
                  <a:lnTo>
                    <a:pt x="8372506" y="1575501"/>
                  </a:lnTo>
                  <a:close/>
                  <a:moveTo>
                    <a:pt x="9478306" y="1575121"/>
                  </a:moveTo>
                  <a:lnTo>
                    <a:pt x="9213090" y="1841022"/>
                  </a:lnTo>
                  <a:lnTo>
                    <a:pt x="9475254" y="1841022"/>
                  </a:lnTo>
                  <a:lnTo>
                    <a:pt x="9740464" y="1575121"/>
                  </a:lnTo>
                  <a:close/>
                  <a:moveTo>
                    <a:pt x="10025550" y="1574422"/>
                  </a:moveTo>
                  <a:lnTo>
                    <a:pt x="9755138" y="1845533"/>
                  </a:lnTo>
                  <a:lnTo>
                    <a:pt x="10026249" y="2115945"/>
                  </a:lnTo>
                  <a:lnTo>
                    <a:pt x="10290372" y="2115945"/>
                  </a:lnTo>
                  <a:lnTo>
                    <a:pt x="10019261" y="1845533"/>
                  </a:lnTo>
                  <a:lnTo>
                    <a:pt x="10289673" y="1574422"/>
                  </a:lnTo>
                  <a:close/>
                  <a:moveTo>
                    <a:pt x="9205403" y="1574104"/>
                  </a:moveTo>
                  <a:lnTo>
                    <a:pt x="8934991" y="1845215"/>
                  </a:lnTo>
                  <a:lnTo>
                    <a:pt x="9206102" y="2114928"/>
                  </a:lnTo>
                  <a:lnTo>
                    <a:pt x="9466216" y="2114928"/>
                  </a:lnTo>
                  <a:lnTo>
                    <a:pt x="9336593" y="1985980"/>
                  </a:lnTo>
                  <a:lnTo>
                    <a:pt x="9320523" y="1969909"/>
                  </a:lnTo>
                  <a:lnTo>
                    <a:pt x="9320523" y="1965612"/>
                  </a:lnTo>
                  <a:lnTo>
                    <a:pt x="9199115" y="1844516"/>
                  </a:lnTo>
                  <a:lnTo>
                    <a:pt x="9320523" y="1723108"/>
                  </a:lnTo>
                  <a:lnTo>
                    <a:pt x="9320523" y="1721157"/>
                  </a:lnTo>
                  <a:lnTo>
                    <a:pt x="9467575" y="1574104"/>
                  </a:lnTo>
                  <a:close/>
                  <a:moveTo>
                    <a:pt x="11123269" y="1573723"/>
                  </a:moveTo>
                  <a:lnTo>
                    <a:pt x="10852856" y="1844834"/>
                  </a:lnTo>
                  <a:lnTo>
                    <a:pt x="11123968" y="2115246"/>
                  </a:lnTo>
                  <a:lnTo>
                    <a:pt x="11388091" y="2115246"/>
                  </a:lnTo>
                  <a:lnTo>
                    <a:pt x="11116981" y="1844834"/>
                  </a:lnTo>
                  <a:lnTo>
                    <a:pt x="11387393" y="1573723"/>
                  </a:lnTo>
                  <a:close/>
                  <a:moveTo>
                    <a:pt x="10573361" y="1573723"/>
                  </a:moveTo>
                  <a:lnTo>
                    <a:pt x="10303648" y="1844834"/>
                  </a:lnTo>
                  <a:lnTo>
                    <a:pt x="10504186" y="2045372"/>
                  </a:lnTo>
                  <a:lnTo>
                    <a:pt x="10574759" y="2115246"/>
                  </a:lnTo>
                  <a:lnTo>
                    <a:pt x="10643235" y="2115246"/>
                  </a:lnTo>
                  <a:lnTo>
                    <a:pt x="10642537" y="2116644"/>
                  </a:lnTo>
                  <a:lnTo>
                    <a:pt x="10839581" y="2116644"/>
                  </a:lnTo>
                  <a:lnTo>
                    <a:pt x="10568470" y="1846232"/>
                  </a:lnTo>
                  <a:lnTo>
                    <a:pt x="10569169" y="1845533"/>
                  </a:lnTo>
                  <a:lnTo>
                    <a:pt x="10567073" y="1844834"/>
                  </a:lnTo>
                  <a:lnTo>
                    <a:pt x="10837485" y="1573723"/>
                  </a:lnTo>
                  <a:close/>
                  <a:moveTo>
                    <a:pt x="11671780" y="1573024"/>
                  </a:moveTo>
                  <a:lnTo>
                    <a:pt x="11401367" y="1844135"/>
                  </a:lnTo>
                  <a:lnTo>
                    <a:pt x="11672478" y="2114547"/>
                  </a:lnTo>
                  <a:lnTo>
                    <a:pt x="11935902" y="2114547"/>
                  </a:lnTo>
                  <a:lnTo>
                    <a:pt x="11805937" y="1984582"/>
                  </a:lnTo>
                  <a:lnTo>
                    <a:pt x="11665491" y="1844135"/>
                  </a:lnTo>
                  <a:lnTo>
                    <a:pt x="11935902" y="1573024"/>
                  </a:lnTo>
                  <a:close/>
                  <a:moveTo>
                    <a:pt x="164203" y="1308454"/>
                  </a:moveTo>
                  <a:lnTo>
                    <a:pt x="294168" y="1438419"/>
                  </a:lnTo>
                  <a:lnTo>
                    <a:pt x="434615" y="1578866"/>
                  </a:lnTo>
                  <a:lnTo>
                    <a:pt x="164203" y="1849977"/>
                  </a:lnTo>
                  <a:lnTo>
                    <a:pt x="428326" y="1849977"/>
                  </a:lnTo>
                  <a:lnTo>
                    <a:pt x="698738" y="1578866"/>
                  </a:lnTo>
                  <a:lnTo>
                    <a:pt x="427627" y="1308454"/>
                  </a:lnTo>
                  <a:close/>
                  <a:moveTo>
                    <a:pt x="1809733" y="1307755"/>
                  </a:moveTo>
                  <a:lnTo>
                    <a:pt x="2080844" y="1578167"/>
                  </a:lnTo>
                  <a:lnTo>
                    <a:pt x="1810432" y="1848579"/>
                  </a:lnTo>
                  <a:lnTo>
                    <a:pt x="2074555" y="1848579"/>
                  </a:lnTo>
                  <a:lnTo>
                    <a:pt x="2344968" y="1578167"/>
                  </a:lnTo>
                  <a:lnTo>
                    <a:pt x="2073856" y="1307755"/>
                  </a:lnTo>
                  <a:close/>
                  <a:moveTo>
                    <a:pt x="712014" y="1307755"/>
                  </a:moveTo>
                  <a:lnTo>
                    <a:pt x="983125" y="1578167"/>
                  </a:lnTo>
                  <a:lnTo>
                    <a:pt x="712713" y="1849278"/>
                  </a:lnTo>
                  <a:lnTo>
                    <a:pt x="976837" y="1849278"/>
                  </a:lnTo>
                  <a:lnTo>
                    <a:pt x="1247249" y="1578167"/>
                  </a:lnTo>
                  <a:lnTo>
                    <a:pt x="976138" y="1307755"/>
                  </a:lnTo>
                  <a:close/>
                  <a:moveTo>
                    <a:pt x="2358243" y="1307056"/>
                  </a:moveTo>
                  <a:lnTo>
                    <a:pt x="2629354" y="1577468"/>
                  </a:lnTo>
                  <a:lnTo>
                    <a:pt x="2359641" y="1848579"/>
                  </a:lnTo>
                  <a:lnTo>
                    <a:pt x="2623065" y="1848579"/>
                  </a:lnTo>
                  <a:lnTo>
                    <a:pt x="2893477" y="1577468"/>
                  </a:lnTo>
                  <a:lnTo>
                    <a:pt x="2759320" y="1444009"/>
                  </a:lnTo>
                  <a:lnTo>
                    <a:pt x="2622367" y="1307056"/>
                  </a:lnTo>
                  <a:close/>
                  <a:moveTo>
                    <a:pt x="2906754" y="1306358"/>
                  </a:moveTo>
                  <a:lnTo>
                    <a:pt x="2908151" y="1307755"/>
                  </a:lnTo>
                  <a:lnTo>
                    <a:pt x="3177864" y="1576769"/>
                  </a:lnTo>
                  <a:lnTo>
                    <a:pt x="2907452" y="1847181"/>
                  </a:lnTo>
                  <a:lnTo>
                    <a:pt x="3171576" y="1847181"/>
                  </a:lnTo>
                  <a:lnTo>
                    <a:pt x="3441988" y="1576769"/>
                  </a:lnTo>
                  <a:lnTo>
                    <a:pt x="3436398" y="1571878"/>
                  </a:lnTo>
                  <a:lnTo>
                    <a:pt x="3170877" y="1306358"/>
                  </a:lnTo>
                  <a:close/>
                  <a:moveTo>
                    <a:pt x="1525347" y="1306358"/>
                  </a:moveTo>
                  <a:lnTo>
                    <a:pt x="1523949" y="1307056"/>
                  </a:lnTo>
                  <a:lnTo>
                    <a:pt x="1259826" y="1307056"/>
                  </a:lnTo>
                  <a:lnTo>
                    <a:pt x="1530937" y="1577468"/>
                  </a:lnTo>
                  <a:lnTo>
                    <a:pt x="1526744" y="1581660"/>
                  </a:lnTo>
                  <a:lnTo>
                    <a:pt x="1532333" y="1578866"/>
                  </a:lnTo>
                  <a:lnTo>
                    <a:pt x="1261921" y="1849977"/>
                  </a:lnTo>
                  <a:lnTo>
                    <a:pt x="1526046" y="1849977"/>
                  </a:lnTo>
                  <a:lnTo>
                    <a:pt x="1796458" y="1578866"/>
                  </a:lnTo>
                  <a:lnTo>
                    <a:pt x="1525347" y="1308454"/>
                  </a:lnTo>
                  <a:close/>
                  <a:moveTo>
                    <a:pt x="3454565" y="1305659"/>
                  </a:moveTo>
                  <a:lnTo>
                    <a:pt x="3725676" y="1576071"/>
                  </a:lnTo>
                  <a:lnTo>
                    <a:pt x="3722882" y="1578866"/>
                  </a:lnTo>
                  <a:lnTo>
                    <a:pt x="3632744" y="1669701"/>
                  </a:lnTo>
                  <a:lnTo>
                    <a:pt x="3455264" y="1846482"/>
                  </a:lnTo>
                  <a:lnTo>
                    <a:pt x="3719387" y="1846482"/>
                  </a:lnTo>
                  <a:lnTo>
                    <a:pt x="3808826" y="1757044"/>
                  </a:lnTo>
                  <a:lnTo>
                    <a:pt x="3989799" y="1576071"/>
                  </a:lnTo>
                  <a:lnTo>
                    <a:pt x="3718688" y="1305659"/>
                  </a:lnTo>
                  <a:close/>
                  <a:moveTo>
                    <a:pt x="4813703" y="1304267"/>
                  </a:moveTo>
                  <a:lnTo>
                    <a:pt x="4551587" y="1304960"/>
                  </a:lnTo>
                  <a:lnTo>
                    <a:pt x="4819301" y="1570610"/>
                  </a:lnTo>
                  <a:lnTo>
                    <a:pt x="5080048" y="1570610"/>
                  </a:lnTo>
                  <a:lnTo>
                    <a:pt x="4950082" y="1440645"/>
                  </a:lnTo>
                  <a:close/>
                  <a:moveTo>
                    <a:pt x="4824309" y="1303692"/>
                  </a:moveTo>
                  <a:lnTo>
                    <a:pt x="4954274" y="1433657"/>
                  </a:lnTo>
                  <a:lnTo>
                    <a:pt x="5094721" y="1574104"/>
                  </a:lnTo>
                  <a:lnTo>
                    <a:pt x="4824309" y="1845215"/>
                  </a:lnTo>
                  <a:lnTo>
                    <a:pt x="5088432" y="1845215"/>
                  </a:lnTo>
                  <a:lnTo>
                    <a:pt x="5358844" y="1574104"/>
                  </a:lnTo>
                  <a:lnTo>
                    <a:pt x="5087733" y="1303692"/>
                  </a:lnTo>
                  <a:close/>
                  <a:moveTo>
                    <a:pt x="6469839" y="1302993"/>
                  </a:moveTo>
                  <a:lnTo>
                    <a:pt x="6740950" y="1573405"/>
                  </a:lnTo>
                  <a:lnTo>
                    <a:pt x="6470538" y="1843817"/>
                  </a:lnTo>
                  <a:lnTo>
                    <a:pt x="6734661" y="1843817"/>
                  </a:lnTo>
                  <a:lnTo>
                    <a:pt x="7005075" y="1573405"/>
                  </a:lnTo>
                  <a:lnTo>
                    <a:pt x="6733962" y="1302993"/>
                  </a:lnTo>
                  <a:close/>
                  <a:moveTo>
                    <a:pt x="5372120" y="1302993"/>
                  </a:moveTo>
                  <a:lnTo>
                    <a:pt x="5643231" y="1573405"/>
                  </a:lnTo>
                  <a:lnTo>
                    <a:pt x="5372819" y="1844516"/>
                  </a:lnTo>
                  <a:lnTo>
                    <a:pt x="5636944" y="1844516"/>
                  </a:lnTo>
                  <a:lnTo>
                    <a:pt x="5907355" y="1573405"/>
                  </a:lnTo>
                  <a:lnTo>
                    <a:pt x="5636244" y="1302993"/>
                  </a:lnTo>
                  <a:close/>
                  <a:moveTo>
                    <a:pt x="7018349" y="1302294"/>
                  </a:moveTo>
                  <a:lnTo>
                    <a:pt x="7289460" y="1572706"/>
                  </a:lnTo>
                  <a:lnTo>
                    <a:pt x="7019748" y="1843817"/>
                  </a:lnTo>
                  <a:lnTo>
                    <a:pt x="7283171" y="1843817"/>
                  </a:lnTo>
                  <a:lnTo>
                    <a:pt x="7553583" y="1572706"/>
                  </a:lnTo>
                  <a:lnTo>
                    <a:pt x="7419426" y="1439247"/>
                  </a:lnTo>
                  <a:lnTo>
                    <a:pt x="7282473" y="1302294"/>
                  </a:lnTo>
                  <a:close/>
                  <a:moveTo>
                    <a:pt x="7566860" y="1301596"/>
                  </a:moveTo>
                  <a:lnTo>
                    <a:pt x="7568257" y="1302993"/>
                  </a:lnTo>
                  <a:lnTo>
                    <a:pt x="7837970" y="1572007"/>
                  </a:lnTo>
                  <a:lnTo>
                    <a:pt x="7567558" y="1842419"/>
                  </a:lnTo>
                  <a:lnTo>
                    <a:pt x="7831682" y="1842419"/>
                  </a:lnTo>
                  <a:lnTo>
                    <a:pt x="8102094" y="1572007"/>
                  </a:lnTo>
                  <a:lnTo>
                    <a:pt x="8096504" y="1567116"/>
                  </a:lnTo>
                  <a:lnTo>
                    <a:pt x="7830983" y="1301596"/>
                  </a:lnTo>
                  <a:close/>
                  <a:moveTo>
                    <a:pt x="6185454" y="1301596"/>
                  </a:moveTo>
                  <a:lnTo>
                    <a:pt x="6184056" y="1302294"/>
                  </a:lnTo>
                  <a:lnTo>
                    <a:pt x="5919933" y="1302294"/>
                  </a:lnTo>
                  <a:lnTo>
                    <a:pt x="6191043" y="1572706"/>
                  </a:lnTo>
                  <a:lnTo>
                    <a:pt x="6186850" y="1576898"/>
                  </a:lnTo>
                  <a:lnTo>
                    <a:pt x="6192439" y="1574104"/>
                  </a:lnTo>
                  <a:lnTo>
                    <a:pt x="5922027" y="1845215"/>
                  </a:lnTo>
                  <a:lnTo>
                    <a:pt x="6186152" y="1845215"/>
                  </a:lnTo>
                  <a:lnTo>
                    <a:pt x="6456565" y="1574104"/>
                  </a:lnTo>
                  <a:lnTo>
                    <a:pt x="6185454" y="1303692"/>
                  </a:lnTo>
                  <a:close/>
                  <a:moveTo>
                    <a:pt x="8114671" y="1300897"/>
                  </a:moveTo>
                  <a:lnTo>
                    <a:pt x="8385782" y="1571309"/>
                  </a:lnTo>
                  <a:lnTo>
                    <a:pt x="8382988" y="1574104"/>
                  </a:lnTo>
                  <a:lnTo>
                    <a:pt x="8292850" y="1664939"/>
                  </a:lnTo>
                  <a:lnTo>
                    <a:pt x="8115370" y="1841720"/>
                  </a:lnTo>
                  <a:lnTo>
                    <a:pt x="8379493" y="1841720"/>
                  </a:lnTo>
                  <a:lnTo>
                    <a:pt x="8468932" y="1752282"/>
                  </a:lnTo>
                  <a:lnTo>
                    <a:pt x="8649905" y="1571309"/>
                  </a:lnTo>
                  <a:lnTo>
                    <a:pt x="8378794" y="1300897"/>
                  </a:lnTo>
                  <a:close/>
                  <a:moveTo>
                    <a:pt x="9484726" y="1300517"/>
                  </a:moveTo>
                  <a:lnTo>
                    <a:pt x="9614691" y="1430482"/>
                  </a:lnTo>
                  <a:lnTo>
                    <a:pt x="9755138" y="1570929"/>
                  </a:lnTo>
                  <a:lnTo>
                    <a:pt x="9484726" y="1842040"/>
                  </a:lnTo>
                  <a:lnTo>
                    <a:pt x="9748849" y="1842040"/>
                  </a:lnTo>
                  <a:lnTo>
                    <a:pt x="10019261" y="1570929"/>
                  </a:lnTo>
                  <a:lnTo>
                    <a:pt x="9748150" y="1300517"/>
                  </a:lnTo>
                  <a:close/>
                  <a:moveTo>
                    <a:pt x="11130256" y="1299818"/>
                  </a:moveTo>
                  <a:lnTo>
                    <a:pt x="11401367" y="1570230"/>
                  </a:lnTo>
                  <a:lnTo>
                    <a:pt x="11130955" y="1840642"/>
                  </a:lnTo>
                  <a:lnTo>
                    <a:pt x="11395078" y="1840642"/>
                  </a:lnTo>
                  <a:lnTo>
                    <a:pt x="11665491" y="1570230"/>
                  </a:lnTo>
                  <a:lnTo>
                    <a:pt x="11394379" y="1299818"/>
                  </a:lnTo>
                  <a:close/>
                  <a:moveTo>
                    <a:pt x="10032537" y="1299818"/>
                  </a:moveTo>
                  <a:lnTo>
                    <a:pt x="10303648" y="1570230"/>
                  </a:lnTo>
                  <a:lnTo>
                    <a:pt x="10033236" y="1841341"/>
                  </a:lnTo>
                  <a:lnTo>
                    <a:pt x="10297360" y="1841341"/>
                  </a:lnTo>
                  <a:lnTo>
                    <a:pt x="10567772" y="1570230"/>
                  </a:lnTo>
                  <a:lnTo>
                    <a:pt x="10296661" y="1299818"/>
                  </a:lnTo>
                  <a:close/>
                  <a:moveTo>
                    <a:pt x="9472537" y="1299508"/>
                  </a:moveTo>
                  <a:lnTo>
                    <a:pt x="9211692" y="1300198"/>
                  </a:lnTo>
                  <a:lnTo>
                    <a:pt x="9481007" y="1567435"/>
                  </a:lnTo>
                  <a:lnTo>
                    <a:pt x="9740464" y="1567435"/>
                  </a:lnTo>
                  <a:lnTo>
                    <a:pt x="9610499" y="1437470"/>
                  </a:lnTo>
                  <a:close/>
                  <a:moveTo>
                    <a:pt x="10845870" y="1298421"/>
                  </a:moveTo>
                  <a:lnTo>
                    <a:pt x="10844472" y="1299119"/>
                  </a:lnTo>
                  <a:lnTo>
                    <a:pt x="10580349" y="1299119"/>
                  </a:lnTo>
                  <a:lnTo>
                    <a:pt x="10851460" y="1569531"/>
                  </a:lnTo>
                  <a:lnTo>
                    <a:pt x="10847267" y="1573723"/>
                  </a:lnTo>
                  <a:lnTo>
                    <a:pt x="10852856" y="1570929"/>
                  </a:lnTo>
                  <a:lnTo>
                    <a:pt x="10582444" y="1842040"/>
                  </a:lnTo>
                  <a:lnTo>
                    <a:pt x="10846569" y="1842040"/>
                  </a:lnTo>
                  <a:lnTo>
                    <a:pt x="11116981" y="1570929"/>
                  </a:lnTo>
                  <a:lnTo>
                    <a:pt x="10845870" y="1300517"/>
                  </a:lnTo>
                  <a:close/>
                  <a:moveTo>
                    <a:pt x="1802048" y="1033150"/>
                  </a:moveTo>
                  <a:lnTo>
                    <a:pt x="1531636" y="1304261"/>
                  </a:lnTo>
                  <a:lnTo>
                    <a:pt x="1802746" y="1574673"/>
                  </a:lnTo>
                  <a:lnTo>
                    <a:pt x="2066870" y="1574673"/>
                  </a:lnTo>
                  <a:lnTo>
                    <a:pt x="1795759" y="1304261"/>
                  </a:lnTo>
                  <a:lnTo>
                    <a:pt x="2066171" y="1033150"/>
                  </a:lnTo>
                  <a:close/>
                  <a:moveTo>
                    <a:pt x="704328" y="1033150"/>
                  </a:moveTo>
                  <a:lnTo>
                    <a:pt x="433916" y="1304261"/>
                  </a:lnTo>
                  <a:lnTo>
                    <a:pt x="705027" y="1574673"/>
                  </a:lnTo>
                  <a:lnTo>
                    <a:pt x="969150" y="1574673"/>
                  </a:lnTo>
                  <a:lnTo>
                    <a:pt x="698039" y="1304261"/>
                  </a:lnTo>
                  <a:lnTo>
                    <a:pt x="967752" y="1033150"/>
                  </a:lnTo>
                  <a:close/>
                  <a:moveTo>
                    <a:pt x="2899067" y="1032451"/>
                  </a:moveTo>
                  <a:lnTo>
                    <a:pt x="2718793" y="1212727"/>
                  </a:lnTo>
                  <a:lnTo>
                    <a:pt x="2629354" y="1302864"/>
                  </a:lnTo>
                  <a:lnTo>
                    <a:pt x="2763512" y="1436323"/>
                  </a:lnTo>
                  <a:lnTo>
                    <a:pt x="2900465" y="1573275"/>
                  </a:lnTo>
                  <a:lnTo>
                    <a:pt x="3164588" y="1573275"/>
                  </a:lnTo>
                  <a:lnTo>
                    <a:pt x="2893477" y="1302864"/>
                  </a:lnTo>
                  <a:lnTo>
                    <a:pt x="2894875" y="1301467"/>
                  </a:lnTo>
                  <a:lnTo>
                    <a:pt x="3163191" y="1032451"/>
                  </a:lnTo>
                  <a:close/>
                  <a:moveTo>
                    <a:pt x="2350558" y="1032451"/>
                  </a:moveTo>
                  <a:lnTo>
                    <a:pt x="2080145" y="1303562"/>
                  </a:lnTo>
                  <a:lnTo>
                    <a:pt x="2351257" y="1573974"/>
                  </a:lnTo>
                  <a:lnTo>
                    <a:pt x="2615379" y="1573974"/>
                  </a:lnTo>
                  <a:lnTo>
                    <a:pt x="2344269" y="1303562"/>
                  </a:lnTo>
                  <a:lnTo>
                    <a:pt x="2528736" y="1119096"/>
                  </a:lnTo>
                  <a:lnTo>
                    <a:pt x="2614681" y="1033150"/>
                  </a:lnTo>
                  <a:lnTo>
                    <a:pt x="2356148" y="1033150"/>
                  </a:lnTo>
                  <a:close/>
                  <a:moveTo>
                    <a:pt x="1252838" y="1032451"/>
                  </a:moveTo>
                  <a:lnTo>
                    <a:pt x="982426" y="1303562"/>
                  </a:lnTo>
                  <a:lnTo>
                    <a:pt x="1253537" y="1573974"/>
                  </a:lnTo>
                  <a:lnTo>
                    <a:pt x="1517660" y="1573974"/>
                  </a:lnTo>
                  <a:lnTo>
                    <a:pt x="1246550" y="1303562"/>
                  </a:lnTo>
                  <a:lnTo>
                    <a:pt x="1431017" y="1119096"/>
                  </a:lnTo>
                  <a:lnTo>
                    <a:pt x="1516962" y="1032451"/>
                  </a:lnTo>
                  <a:close/>
                  <a:moveTo>
                    <a:pt x="3447578" y="1031753"/>
                  </a:moveTo>
                  <a:lnTo>
                    <a:pt x="3177166" y="1302864"/>
                  </a:lnTo>
                  <a:lnTo>
                    <a:pt x="3448276" y="1573275"/>
                  </a:lnTo>
                  <a:lnTo>
                    <a:pt x="3712400" y="1573275"/>
                  </a:lnTo>
                  <a:lnTo>
                    <a:pt x="3441289" y="1302864"/>
                  </a:lnTo>
                  <a:lnTo>
                    <a:pt x="3711701" y="1031753"/>
                  </a:lnTo>
                  <a:close/>
                  <a:moveTo>
                    <a:pt x="4544599" y="1030356"/>
                  </a:moveTo>
                  <a:lnTo>
                    <a:pt x="4274187" y="1301467"/>
                  </a:lnTo>
                  <a:lnTo>
                    <a:pt x="4545297" y="1571878"/>
                  </a:lnTo>
                  <a:lnTo>
                    <a:pt x="4806712" y="1571878"/>
                  </a:lnTo>
                  <a:lnTo>
                    <a:pt x="4660106" y="1425273"/>
                  </a:lnTo>
                  <a:lnTo>
                    <a:pt x="4660106" y="1422949"/>
                  </a:lnTo>
                  <a:lnTo>
                    <a:pt x="4538310" y="1301467"/>
                  </a:lnTo>
                  <a:lnTo>
                    <a:pt x="4660106" y="1179209"/>
                  </a:lnTo>
                  <a:lnTo>
                    <a:pt x="4660106" y="1175123"/>
                  </a:lnTo>
                  <a:lnTo>
                    <a:pt x="4804873" y="1030356"/>
                  </a:lnTo>
                  <a:close/>
                  <a:moveTo>
                    <a:pt x="3995389" y="1030356"/>
                  </a:moveTo>
                  <a:lnTo>
                    <a:pt x="3724977" y="1301467"/>
                  </a:lnTo>
                  <a:lnTo>
                    <a:pt x="3996088" y="1571878"/>
                  </a:lnTo>
                  <a:lnTo>
                    <a:pt x="4064564" y="1571878"/>
                  </a:lnTo>
                  <a:lnTo>
                    <a:pt x="4061071" y="1578866"/>
                  </a:lnTo>
                  <a:lnTo>
                    <a:pt x="3996088" y="1578866"/>
                  </a:lnTo>
                  <a:lnTo>
                    <a:pt x="3815814" y="1759839"/>
                  </a:lnTo>
                  <a:lnTo>
                    <a:pt x="3726375" y="1849977"/>
                  </a:lnTo>
                  <a:lnTo>
                    <a:pt x="3859834" y="1983435"/>
                  </a:lnTo>
                  <a:lnTo>
                    <a:pt x="3857039" y="1989025"/>
                  </a:lnTo>
                  <a:lnTo>
                    <a:pt x="3857739" y="1989722"/>
                  </a:lnTo>
                  <a:lnTo>
                    <a:pt x="3857039" y="1991122"/>
                  </a:lnTo>
                  <a:lnTo>
                    <a:pt x="3720086" y="1854169"/>
                  </a:lnTo>
                  <a:lnTo>
                    <a:pt x="3455963" y="1854169"/>
                  </a:lnTo>
                  <a:lnTo>
                    <a:pt x="3727074" y="2124581"/>
                  </a:lnTo>
                  <a:lnTo>
                    <a:pt x="3456662" y="2395692"/>
                  </a:lnTo>
                  <a:lnTo>
                    <a:pt x="3654754" y="2395692"/>
                  </a:lnTo>
                  <a:lnTo>
                    <a:pt x="3652309" y="2400583"/>
                  </a:lnTo>
                  <a:lnTo>
                    <a:pt x="3652658" y="2400583"/>
                  </a:lnTo>
                  <a:lnTo>
                    <a:pt x="3651610" y="2402679"/>
                  </a:lnTo>
                  <a:lnTo>
                    <a:pt x="3456662" y="2402679"/>
                  </a:lnTo>
                  <a:lnTo>
                    <a:pt x="3586394" y="2532412"/>
                  </a:lnTo>
                  <a:lnTo>
                    <a:pt x="3583832" y="2537535"/>
                  </a:lnTo>
                  <a:lnTo>
                    <a:pt x="3584065" y="2537768"/>
                  </a:lnTo>
                  <a:lnTo>
                    <a:pt x="3583133" y="2539632"/>
                  </a:lnTo>
                  <a:lnTo>
                    <a:pt x="3442687" y="2399185"/>
                  </a:lnTo>
                  <a:lnTo>
                    <a:pt x="3713099" y="2128074"/>
                  </a:lnTo>
                  <a:lnTo>
                    <a:pt x="3448975" y="2128074"/>
                  </a:lnTo>
                  <a:lnTo>
                    <a:pt x="3178563" y="2399185"/>
                  </a:lnTo>
                  <a:lnTo>
                    <a:pt x="3448975" y="2670296"/>
                  </a:lnTo>
                  <a:lnTo>
                    <a:pt x="3517452" y="2670296"/>
                  </a:lnTo>
                  <a:lnTo>
                    <a:pt x="3518849" y="2667501"/>
                  </a:lnTo>
                  <a:lnTo>
                    <a:pt x="3713797" y="2667501"/>
                  </a:lnTo>
                  <a:lnTo>
                    <a:pt x="3584065" y="2537768"/>
                  </a:lnTo>
                  <a:lnTo>
                    <a:pt x="3586627" y="2532645"/>
                  </a:lnTo>
                  <a:lnTo>
                    <a:pt x="3586394" y="2532412"/>
                  </a:lnTo>
                  <a:lnTo>
                    <a:pt x="3587326" y="2530548"/>
                  </a:lnTo>
                  <a:lnTo>
                    <a:pt x="3727772" y="2670995"/>
                  </a:lnTo>
                  <a:lnTo>
                    <a:pt x="3457360" y="2942106"/>
                  </a:lnTo>
                  <a:lnTo>
                    <a:pt x="3721484" y="2942106"/>
                  </a:lnTo>
                  <a:lnTo>
                    <a:pt x="3991896" y="2670995"/>
                  </a:lnTo>
                  <a:lnTo>
                    <a:pt x="3720785" y="2400583"/>
                  </a:lnTo>
                  <a:lnTo>
                    <a:pt x="3652658" y="2400583"/>
                  </a:lnTo>
                  <a:lnTo>
                    <a:pt x="3655103" y="2395692"/>
                  </a:lnTo>
                  <a:lnTo>
                    <a:pt x="3654754" y="2395692"/>
                  </a:lnTo>
                  <a:lnTo>
                    <a:pt x="3655802" y="2393595"/>
                  </a:lnTo>
                  <a:lnTo>
                    <a:pt x="3720785" y="2393595"/>
                  </a:lnTo>
                  <a:lnTo>
                    <a:pt x="3991197" y="2122484"/>
                  </a:lnTo>
                  <a:lnTo>
                    <a:pt x="3857739" y="1989722"/>
                  </a:lnTo>
                  <a:lnTo>
                    <a:pt x="3860533" y="1984134"/>
                  </a:lnTo>
                  <a:lnTo>
                    <a:pt x="3859834" y="1983435"/>
                  </a:lnTo>
                  <a:lnTo>
                    <a:pt x="3860533" y="1982038"/>
                  </a:lnTo>
                  <a:lnTo>
                    <a:pt x="3997486" y="2118991"/>
                  </a:lnTo>
                  <a:lnTo>
                    <a:pt x="4261609" y="2118991"/>
                  </a:lnTo>
                  <a:lnTo>
                    <a:pt x="3990498" y="1848579"/>
                  </a:lnTo>
                  <a:lnTo>
                    <a:pt x="3991896" y="1847181"/>
                  </a:lnTo>
                  <a:lnTo>
                    <a:pt x="4260212" y="1578167"/>
                  </a:lnTo>
                  <a:lnTo>
                    <a:pt x="4061770" y="1578167"/>
                  </a:lnTo>
                  <a:lnTo>
                    <a:pt x="4065263" y="1571180"/>
                  </a:lnTo>
                  <a:lnTo>
                    <a:pt x="4260212" y="1571180"/>
                  </a:lnTo>
                  <a:lnTo>
                    <a:pt x="4130246" y="1441215"/>
                  </a:lnTo>
                  <a:lnTo>
                    <a:pt x="4133739" y="1434227"/>
                  </a:lnTo>
                  <a:lnTo>
                    <a:pt x="4274187" y="1574673"/>
                  </a:lnTo>
                  <a:lnTo>
                    <a:pt x="4003774" y="1845784"/>
                  </a:lnTo>
                  <a:lnTo>
                    <a:pt x="4267898" y="1845784"/>
                  </a:lnTo>
                  <a:lnTo>
                    <a:pt x="4538310" y="1574673"/>
                  </a:lnTo>
                  <a:lnTo>
                    <a:pt x="4267200" y="1304960"/>
                  </a:lnTo>
                  <a:lnTo>
                    <a:pt x="4198724" y="1304960"/>
                  </a:lnTo>
                  <a:lnTo>
                    <a:pt x="4003774" y="1304960"/>
                  </a:lnTo>
                  <a:lnTo>
                    <a:pt x="4133040" y="1434926"/>
                  </a:lnTo>
                  <a:lnTo>
                    <a:pt x="4129547" y="1441912"/>
                  </a:lnTo>
                  <a:lnTo>
                    <a:pt x="3989100" y="1301467"/>
                  </a:lnTo>
                  <a:lnTo>
                    <a:pt x="4259512" y="1030356"/>
                  </a:lnTo>
                  <a:close/>
                  <a:moveTo>
                    <a:pt x="4819080" y="1029786"/>
                  </a:moveTo>
                  <a:lnTo>
                    <a:pt x="4551587" y="1297972"/>
                  </a:lnTo>
                  <a:lnTo>
                    <a:pt x="4811861" y="1297972"/>
                  </a:lnTo>
                  <a:lnTo>
                    <a:pt x="5080048" y="1029786"/>
                  </a:lnTo>
                  <a:close/>
                  <a:moveTo>
                    <a:pt x="6462154" y="1028388"/>
                  </a:moveTo>
                  <a:lnTo>
                    <a:pt x="6191742" y="1299499"/>
                  </a:lnTo>
                  <a:lnTo>
                    <a:pt x="6462852" y="1569911"/>
                  </a:lnTo>
                  <a:lnTo>
                    <a:pt x="6726977" y="1569911"/>
                  </a:lnTo>
                  <a:lnTo>
                    <a:pt x="6455865" y="1299499"/>
                  </a:lnTo>
                  <a:lnTo>
                    <a:pt x="6726277" y="1028388"/>
                  </a:lnTo>
                  <a:close/>
                  <a:moveTo>
                    <a:pt x="5364435" y="1028388"/>
                  </a:moveTo>
                  <a:lnTo>
                    <a:pt x="5094022" y="1299499"/>
                  </a:lnTo>
                  <a:lnTo>
                    <a:pt x="5365133" y="1569911"/>
                  </a:lnTo>
                  <a:lnTo>
                    <a:pt x="5629256" y="1569911"/>
                  </a:lnTo>
                  <a:lnTo>
                    <a:pt x="5358145" y="1299499"/>
                  </a:lnTo>
                  <a:lnTo>
                    <a:pt x="5627858" y="1028388"/>
                  </a:lnTo>
                  <a:close/>
                  <a:moveTo>
                    <a:pt x="7559173" y="1027689"/>
                  </a:moveTo>
                  <a:lnTo>
                    <a:pt x="7378899" y="1207965"/>
                  </a:lnTo>
                  <a:lnTo>
                    <a:pt x="7289460" y="1298102"/>
                  </a:lnTo>
                  <a:lnTo>
                    <a:pt x="7423618" y="1431561"/>
                  </a:lnTo>
                  <a:lnTo>
                    <a:pt x="7560571" y="1568513"/>
                  </a:lnTo>
                  <a:lnTo>
                    <a:pt x="7824694" y="1568513"/>
                  </a:lnTo>
                  <a:lnTo>
                    <a:pt x="7553583" y="1298102"/>
                  </a:lnTo>
                  <a:lnTo>
                    <a:pt x="7554981" y="1296705"/>
                  </a:lnTo>
                  <a:lnTo>
                    <a:pt x="7823297" y="1027689"/>
                  </a:lnTo>
                  <a:close/>
                  <a:moveTo>
                    <a:pt x="7010664" y="1027689"/>
                  </a:moveTo>
                  <a:lnTo>
                    <a:pt x="6740251" y="1298800"/>
                  </a:lnTo>
                  <a:lnTo>
                    <a:pt x="7011363" y="1569212"/>
                  </a:lnTo>
                  <a:lnTo>
                    <a:pt x="7275485" y="1569212"/>
                  </a:lnTo>
                  <a:lnTo>
                    <a:pt x="7004375" y="1298800"/>
                  </a:lnTo>
                  <a:lnTo>
                    <a:pt x="7188842" y="1114334"/>
                  </a:lnTo>
                  <a:lnTo>
                    <a:pt x="7274787" y="1028388"/>
                  </a:lnTo>
                  <a:lnTo>
                    <a:pt x="7016254" y="1028388"/>
                  </a:lnTo>
                  <a:close/>
                  <a:moveTo>
                    <a:pt x="5912945" y="1027689"/>
                  </a:moveTo>
                  <a:lnTo>
                    <a:pt x="5642533" y="1298800"/>
                  </a:lnTo>
                  <a:lnTo>
                    <a:pt x="5913643" y="1569212"/>
                  </a:lnTo>
                  <a:lnTo>
                    <a:pt x="6177766" y="1569212"/>
                  </a:lnTo>
                  <a:lnTo>
                    <a:pt x="5906656" y="1298800"/>
                  </a:lnTo>
                  <a:lnTo>
                    <a:pt x="6091123" y="1114334"/>
                  </a:lnTo>
                  <a:lnTo>
                    <a:pt x="6177068" y="1027689"/>
                  </a:lnTo>
                  <a:close/>
                  <a:moveTo>
                    <a:pt x="8107684" y="1026991"/>
                  </a:moveTo>
                  <a:lnTo>
                    <a:pt x="7837272" y="1298102"/>
                  </a:lnTo>
                  <a:lnTo>
                    <a:pt x="8108382" y="1568513"/>
                  </a:lnTo>
                  <a:lnTo>
                    <a:pt x="8372506" y="1568513"/>
                  </a:lnTo>
                  <a:lnTo>
                    <a:pt x="8101395" y="1298102"/>
                  </a:lnTo>
                  <a:lnTo>
                    <a:pt x="8371807" y="1026991"/>
                  </a:lnTo>
                  <a:close/>
                  <a:moveTo>
                    <a:pt x="9477604" y="1026611"/>
                  </a:moveTo>
                  <a:lnTo>
                    <a:pt x="9211692" y="1293210"/>
                  </a:lnTo>
                  <a:lnTo>
                    <a:pt x="9473865" y="1293210"/>
                  </a:lnTo>
                  <a:lnTo>
                    <a:pt x="9740464" y="1026611"/>
                  </a:lnTo>
                  <a:close/>
                  <a:moveTo>
                    <a:pt x="9204704" y="1025594"/>
                  </a:moveTo>
                  <a:lnTo>
                    <a:pt x="8934292" y="1296705"/>
                  </a:lnTo>
                  <a:lnTo>
                    <a:pt x="9205403" y="1567116"/>
                  </a:lnTo>
                  <a:lnTo>
                    <a:pt x="9465541" y="1567116"/>
                  </a:lnTo>
                  <a:lnTo>
                    <a:pt x="9320523" y="1422098"/>
                  </a:lnTo>
                  <a:lnTo>
                    <a:pt x="9320523" y="1418497"/>
                  </a:lnTo>
                  <a:lnTo>
                    <a:pt x="9198416" y="1296705"/>
                  </a:lnTo>
                  <a:lnTo>
                    <a:pt x="9320523" y="1174135"/>
                  </a:lnTo>
                  <a:lnTo>
                    <a:pt x="9320523" y="1171948"/>
                  </a:lnTo>
                  <a:lnTo>
                    <a:pt x="9466877" y="1025594"/>
                  </a:lnTo>
                  <a:close/>
                  <a:moveTo>
                    <a:pt x="8655495" y="1025594"/>
                  </a:moveTo>
                  <a:lnTo>
                    <a:pt x="8385083" y="1296705"/>
                  </a:lnTo>
                  <a:lnTo>
                    <a:pt x="8656194" y="1567116"/>
                  </a:lnTo>
                  <a:lnTo>
                    <a:pt x="8724670" y="1567116"/>
                  </a:lnTo>
                  <a:lnTo>
                    <a:pt x="8721177" y="1574104"/>
                  </a:lnTo>
                  <a:lnTo>
                    <a:pt x="8656194" y="1574104"/>
                  </a:lnTo>
                  <a:lnTo>
                    <a:pt x="8475920" y="1755077"/>
                  </a:lnTo>
                  <a:lnTo>
                    <a:pt x="8386481" y="1845215"/>
                  </a:lnTo>
                  <a:lnTo>
                    <a:pt x="8519940" y="1978673"/>
                  </a:lnTo>
                  <a:lnTo>
                    <a:pt x="8517145" y="1984263"/>
                  </a:lnTo>
                  <a:lnTo>
                    <a:pt x="8517845" y="1984960"/>
                  </a:lnTo>
                  <a:lnTo>
                    <a:pt x="8517145" y="1986360"/>
                  </a:lnTo>
                  <a:lnTo>
                    <a:pt x="8380192" y="1849407"/>
                  </a:lnTo>
                  <a:lnTo>
                    <a:pt x="8116069" y="1849407"/>
                  </a:lnTo>
                  <a:lnTo>
                    <a:pt x="8387180" y="2119819"/>
                  </a:lnTo>
                  <a:lnTo>
                    <a:pt x="8116768" y="2390930"/>
                  </a:lnTo>
                  <a:lnTo>
                    <a:pt x="8314860" y="2390930"/>
                  </a:lnTo>
                  <a:lnTo>
                    <a:pt x="8312415" y="2395821"/>
                  </a:lnTo>
                  <a:lnTo>
                    <a:pt x="8312764" y="2395821"/>
                  </a:lnTo>
                  <a:lnTo>
                    <a:pt x="8311716" y="2397917"/>
                  </a:lnTo>
                  <a:lnTo>
                    <a:pt x="8116768" y="2397917"/>
                  </a:lnTo>
                  <a:lnTo>
                    <a:pt x="8246500" y="2527650"/>
                  </a:lnTo>
                  <a:lnTo>
                    <a:pt x="8243938" y="2532773"/>
                  </a:lnTo>
                  <a:lnTo>
                    <a:pt x="8244171" y="2533006"/>
                  </a:lnTo>
                  <a:lnTo>
                    <a:pt x="8243239" y="2534870"/>
                  </a:lnTo>
                  <a:lnTo>
                    <a:pt x="8102793" y="2394423"/>
                  </a:lnTo>
                  <a:lnTo>
                    <a:pt x="8373205" y="2123312"/>
                  </a:lnTo>
                  <a:lnTo>
                    <a:pt x="8109081" y="2123312"/>
                  </a:lnTo>
                  <a:lnTo>
                    <a:pt x="7838669" y="2394423"/>
                  </a:lnTo>
                  <a:lnTo>
                    <a:pt x="8109081" y="2665534"/>
                  </a:lnTo>
                  <a:lnTo>
                    <a:pt x="8177558" y="2665534"/>
                  </a:lnTo>
                  <a:lnTo>
                    <a:pt x="8178955" y="2662739"/>
                  </a:lnTo>
                  <a:lnTo>
                    <a:pt x="8373903" y="2662739"/>
                  </a:lnTo>
                  <a:lnTo>
                    <a:pt x="8244171" y="2533006"/>
                  </a:lnTo>
                  <a:lnTo>
                    <a:pt x="8246733" y="2527883"/>
                  </a:lnTo>
                  <a:lnTo>
                    <a:pt x="8246500" y="2527650"/>
                  </a:lnTo>
                  <a:lnTo>
                    <a:pt x="8247432" y="2525786"/>
                  </a:lnTo>
                  <a:lnTo>
                    <a:pt x="8387878" y="2666233"/>
                  </a:lnTo>
                  <a:lnTo>
                    <a:pt x="8117466" y="2937344"/>
                  </a:lnTo>
                  <a:lnTo>
                    <a:pt x="8381590" y="2937344"/>
                  </a:lnTo>
                  <a:lnTo>
                    <a:pt x="8652002" y="2666233"/>
                  </a:lnTo>
                  <a:lnTo>
                    <a:pt x="8380891" y="2395821"/>
                  </a:lnTo>
                  <a:lnTo>
                    <a:pt x="8312764" y="2395821"/>
                  </a:lnTo>
                  <a:lnTo>
                    <a:pt x="8315209" y="2390930"/>
                  </a:lnTo>
                  <a:lnTo>
                    <a:pt x="8314860" y="2390930"/>
                  </a:lnTo>
                  <a:lnTo>
                    <a:pt x="8315908" y="2388833"/>
                  </a:lnTo>
                  <a:lnTo>
                    <a:pt x="8380891" y="2388833"/>
                  </a:lnTo>
                  <a:lnTo>
                    <a:pt x="8651303" y="2117722"/>
                  </a:lnTo>
                  <a:lnTo>
                    <a:pt x="8517845" y="1984960"/>
                  </a:lnTo>
                  <a:lnTo>
                    <a:pt x="8520639" y="1979372"/>
                  </a:lnTo>
                  <a:lnTo>
                    <a:pt x="8519940" y="1978673"/>
                  </a:lnTo>
                  <a:lnTo>
                    <a:pt x="8520639" y="1977276"/>
                  </a:lnTo>
                  <a:lnTo>
                    <a:pt x="8657592" y="2114230"/>
                  </a:lnTo>
                  <a:lnTo>
                    <a:pt x="8921715" y="2114230"/>
                  </a:lnTo>
                  <a:lnTo>
                    <a:pt x="8650604" y="1843817"/>
                  </a:lnTo>
                  <a:lnTo>
                    <a:pt x="8652002" y="1842419"/>
                  </a:lnTo>
                  <a:lnTo>
                    <a:pt x="8920317" y="1573405"/>
                  </a:lnTo>
                  <a:lnTo>
                    <a:pt x="8721876" y="1573405"/>
                  </a:lnTo>
                  <a:lnTo>
                    <a:pt x="8725369" y="1566418"/>
                  </a:lnTo>
                  <a:lnTo>
                    <a:pt x="8920317" y="1566418"/>
                  </a:lnTo>
                  <a:lnTo>
                    <a:pt x="8790352" y="1436453"/>
                  </a:lnTo>
                  <a:lnTo>
                    <a:pt x="8793845" y="1429465"/>
                  </a:lnTo>
                  <a:lnTo>
                    <a:pt x="8934292" y="1569911"/>
                  </a:lnTo>
                  <a:lnTo>
                    <a:pt x="8663880" y="1841022"/>
                  </a:lnTo>
                  <a:lnTo>
                    <a:pt x="8928004" y="1841022"/>
                  </a:lnTo>
                  <a:lnTo>
                    <a:pt x="9198416" y="1569911"/>
                  </a:lnTo>
                  <a:lnTo>
                    <a:pt x="8927305" y="1300198"/>
                  </a:lnTo>
                  <a:lnTo>
                    <a:pt x="8858829" y="1300198"/>
                  </a:lnTo>
                  <a:lnTo>
                    <a:pt x="8663880" y="1300198"/>
                  </a:lnTo>
                  <a:lnTo>
                    <a:pt x="8793146" y="1430164"/>
                  </a:lnTo>
                  <a:lnTo>
                    <a:pt x="8789653" y="1437150"/>
                  </a:lnTo>
                  <a:lnTo>
                    <a:pt x="8649206" y="1296705"/>
                  </a:lnTo>
                  <a:lnTo>
                    <a:pt x="8919618" y="1025594"/>
                  </a:lnTo>
                  <a:close/>
                  <a:moveTo>
                    <a:pt x="11122571" y="1025213"/>
                  </a:moveTo>
                  <a:lnTo>
                    <a:pt x="10852159" y="1296324"/>
                  </a:lnTo>
                  <a:lnTo>
                    <a:pt x="11123269" y="1566736"/>
                  </a:lnTo>
                  <a:lnTo>
                    <a:pt x="11387393" y="1566736"/>
                  </a:lnTo>
                  <a:lnTo>
                    <a:pt x="11116282" y="1296324"/>
                  </a:lnTo>
                  <a:lnTo>
                    <a:pt x="11386694" y="1025213"/>
                  </a:lnTo>
                  <a:close/>
                  <a:moveTo>
                    <a:pt x="10024851" y="1025213"/>
                  </a:moveTo>
                  <a:lnTo>
                    <a:pt x="9754439" y="1296324"/>
                  </a:lnTo>
                  <a:lnTo>
                    <a:pt x="10025550" y="1566736"/>
                  </a:lnTo>
                  <a:lnTo>
                    <a:pt x="10289673" y="1566736"/>
                  </a:lnTo>
                  <a:lnTo>
                    <a:pt x="10018562" y="1296324"/>
                  </a:lnTo>
                  <a:lnTo>
                    <a:pt x="10288275" y="1025213"/>
                  </a:lnTo>
                  <a:close/>
                  <a:moveTo>
                    <a:pt x="11671081" y="1024514"/>
                  </a:moveTo>
                  <a:lnTo>
                    <a:pt x="11400668" y="1295625"/>
                  </a:lnTo>
                  <a:lnTo>
                    <a:pt x="11671780" y="1566037"/>
                  </a:lnTo>
                  <a:lnTo>
                    <a:pt x="11935902" y="1566037"/>
                  </a:lnTo>
                  <a:lnTo>
                    <a:pt x="11664792" y="1295625"/>
                  </a:lnTo>
                  <a:lnTo>
                    <a:pt x="11849259" y="1111159"/>
                  </a:lnTo>
                  <a:lnTo>
                    <a:pt x="11935204" y="1025213"/>
                  </a:lnTo>
                  <a:lnTo>
                    <a:pt x="11676671" y="1025213"/>
                  </a:lnTo>
                  <a:close/>
                  <a:moveTo>
                    <a:pt x="10573361" y="1024514"/>
                  </a:moveTo>
                  <a:lnTo>
                    <a:pt x="10302949" y="1295625"/>
                  </a:lnTo>
                  <a:lnTo>
                    <a:pt x="10574060" y="1566037"/>
                  </a:lnTo>
                  <a:lnTo>
                    <a:pt x="10838183" y="1566037"/>
                  </a:lnTo>
                  <a:lnTo>
                    <a:pt x="10567073" y="1295625"/>
                  </a:lnTo>
                  <a:lnTo>
                    <a:pt x="10751540" y="1111159"/>
                  </a:lnTo>
                  <a:lnTo>
                    <a:pt x="10837485" y="1024514"/>
                  </a:lnTo>
                  <a:close/>
                  <a:moveTo>
                    <a:pt x="162805" y="759944"/>
                  </a:moveTo>
                  <a:lnTo>
                    <a:pt x="433916" y="1030356"/>
                  </a:lnTo>
                  <a:lnTo>
                    <a:pt x="164203" y="1301467"/>
                  </a:lnTo>
                  <a:lnTo>
                    <a:pt x="427627" y="1301467"/>
                  </a:lnTo>
                  <a:lnTo>
                    <a:pt x="698039" y="1030356"/>
                  </a:lnTo>
                  <a:lnTo>
                    <a:pt x="563881" y="896896"/>
                  </a:lnTo>
                  <a:lnTo>
                    <a:pt x="426928" y="759944"/>
                  </a:lnTo>
                  <a:close/>
                  <a:moveTo>
                    <a:pt x="1809035" y="759245"/>
                  </a:moveTo>
                  <a:lnTo>
                    <a:pt x="1937603" y="887813"/>
                  </a:lnTo>
                  <a:lnTo>
                    <a:pt x="2079447" y="1029657"/>
                  </a:lnTo>
                  <a:lnTo>
                    <a:pt x="1809035" y="1300768"/>
                  </a:lnTo>
                  <a:lnTo>
                    <a:pt x="2073158" y="1300768"/>
                  </a:lnTo>
                  <a:lnTo>
                    <a:pt x="2343570" y="1029657"/>
                  </a:lnTo>
                  <a:lnTo>
                    <a:pt x="2338678" y="1024766"/>
                  </a:lnTo>
                  <a:lnTo>
                    <a:pt x="2073158" y="759245"/>
                  </a:lnTo>
                  <a:close/>
                  <a:moveTo>
                    <a:pt x="2357544" y="758546"/>
                  </a:moveTo>
                  <a:lnTo>
                    <a:pt x="2628655" y="1028259"/>
                  </a:lnTo>
                  <a:lnTo>
                    <a:pt x="2625861" y="1031055"/>
                  </a:lnTo>
                  <a:lnTo>
                    <a:pt x="2535723" y="1121890"/>
                  </a:lnTo>
                  <a:lnTo>
                    <a:pt x="2358243" y="1299370"/>
                  </a:lnTo>
                  <a:lnTo>
                    <a:pt x="2622367" y="1299370"/>
                  </a:lnTo>
                  <a:lnTo>
                    <a:pt x="2711805" y="1209931"/>
                  </a:lnTo>
                  <a:lnTo>
                    <a:pt x="2892779" y="1028958"/>
                  </a:lnTo>
                  <a:lnTo>
                    <a:pt x="2621668" y="758546"/>
                  </a:lnTo>
                  <a:close/>
                  <a:moveTo>
                    <a:pt x="1259127" y="758546"/>
                  </a:moveTo>
                  <a:lnTo>
                    <a:pt x="1530238" y="1028259"/>
                  </a:lnTo>
                  <a:lnTo>
                    <a:pt x="1527442" y="1031055"/>
                  </a:lnTo>
                  <a:lnTo>
                    <a:pt x="1437306" y="1121890"/>
                  </a:lnTo>
                  <a:lnTo>
                    <a:pt x="1259826" y="1299370"/>
                  </a:lnTo>
                  <a:lnTo>
                    <a:pt x="1523949" y="1299370"/>
                  </a:lnTo>
                  <a:lnTo>
                    <a:pt x="1613388" y="1209931"/>
                  </a:lnTo>
                  <a:lnTo>
                    <a:pt x="1794361" y="1028958"/>
                  </a:lnTo>
                  <a:lnTo>
                    <a:pt x="1523250" y="758546"/>
                  </a:lnTo>
                  <a:close/>
                  <a:moveTo>
                    <a:pt x="710617" y="758546"/>
                  </a:moveTo>
                  <a:lnTo>
                    <a:pt x="712014" y="759944"/>
                  </a:lnTo>
                  <a:lnTo>
                    <a:pt x="981727" y="1028958"/>
                  </a:lnTo>
                  <a:lnTo>
                    <a:pt x="711316" y="1300069"/>
                  </a:lnTo>
                  <a:lnTo>
                    <a:pt x="975439" y="1300069"/>
                  </a:lnTo>
                  <a:lnTo>
                    <a:pt x="1245851" y="1028958"/>
                  </a:lnTo>
                  <a:lnTo>
                    <a:pt x="1240261" y="1024067"/>
                  </a:lnTo>
                  <a:lnTo>
                    <a:pt x="974740" y="758546"/>
                  </a:lnTo>
                  <a:close/>
                  <a:moveTo>
                    <a:pt x="2906055" y="757847"/>
                  </a:moveTo>
                  <a:lnTo>
                    <a:pt x="3036720" y="887114"/>
                  </a:lnTo>
                  <a:lnTo>
                    <a:pt x="3177166" y="1027560"/>
                  </a:lnTo>
                  <a:lnTo>
                    <a:pt x="2906754" y="1298671"/>
                  </a:lnTo>
                  <a:lnTo>
                    <a:pt x="3170877" y="1298671"/>
                  </a:lnTo>
                  <a:lnTo>
                    <a:pt x="3441289" y="1028259"/>
                  </a:lnTo>
                  <a:lnTo>
                    <a:pt x="3170178" y="757847"/>
                  </a:lnTo>
                  <a:close/>
                  <a:moveTo>
                    <a:pt x="3454565" y="757148"/>
                  </a:moveTo>
                  <a:lnTo>
                    <a:pt x="3725676" y="1027560"/>
                  </a:lnTo>
                  <a:lnTo>
                    <a:pt x="3455264" y="1298671"/>
                  </a:lnTo>
                  <a:lnTo>
                    <a:pt x="3719387" y="1298671"/>
                  </a:lnTo>
                  <a:lnTo>
                    <a:pt x="3989799" y="1027560"/>
                  </a:lnTo>
                  <a:lnTo>
                    <a:pt x="3718688" y="757148"/>
                  </a:lnTo>
                  <a:close/>
                  <a:moveTo>
                    <a:pt x="4003075" y="756449"/>
                  </a:moveTo>
                  <a:lnTo>
                    <a:pt x="4274187" y="1026861"/>
                  </a:lnTo>
                  <a:lnTo>
                    <a:pt x="4003774" y="1297972"/>
                  </a:lnTo>
                  <a:lnTo>
                    <a:pt x="4202216" y="1297972"/>
                  </a:lnTo>
                  <a:lnTo>
                    <a:pt x="4267200" y="1297972"/>
                  </a:lnTo>
                  <a:lnTo>
                    <a:pt x="4538310" y="1026861"/>
                  </a:lnTo>
                  <a:lnTo>
                    <a:pt x="4404151" y="893403"/>
                  </a:lnTo>
                  <a:lnTo>
                    <a:pt x="4267200" y="756449"/>
                  </a:lnTo>
                  <a:close/>
                  <a:moveTo>
                    <a:pt x="4550188" y="755751"/>
                  </a:moveTo>
                  <a:lnTo>
                    <a:pt x="4817225" y="1022099"/>
                  </a:lnTo>
                  <a:lnTo>
                    <a:pt x="5080048" y="1022099"/>
                  </a:lnTo>
                  <a:lnTo>
                    <a:pt x="4813011" y="755751"/>
                  </a:lnTo>
                  <a:close/>
                  <a:moveTo>
                    <a:pt x="4823396" y="755182"/>
                  </a:moveTo>
                  <a:lnTo>
                    <a:pt x="4823396" y="755666"/>
                  </a:lnTo>
                  <a:lnTo>
                    <a:pt x="5094022" y="1025594"/>
                  </a:lnTo>
                  <a:lnTo>
                    <a:pt x="4824309" y="1296705"/>
                  </a:lnTo>
                  <a:lnTo>
                    <a:pt x="5087733" y="1296705"/>
                  </a:lnTo>
                  <a:lnTo>
                    <a:pt x="5358145" y="1025594"/>
                  </a:lnTo>
                  <a:lnTo>
                    <a:pt x="5223987" y="892134"/>
                  </a:lnTo>
                  <a:lnTo>
                    <a:pt x="5087035" y="755182"/>
                  </a:lnTo>
                  <a:close/>
                  <a:moveTo>
                    <a:pt x="6469141" y="754483"/>
                  </a:moveTo>
                  <a:lnTo>
                    <a:pt x="6597709" y="883051"/>
                  </a:lnTo>
                  <a:lnTo>
                    <a:pt x="6739554" y="1024895"/>
                  </a:lnTo>
                  <a:lnTo>
                    <a:pt x="6469141" y="1296006"/>
                  </a:lnTo>
                  <a:lnTo>
                    <a:pt x="6733264" y="1296006"/>
                  </a:lnTo>
                  <a:lnTo>
                    <a:pt x="7003677" y="1024895"/>
                  </a:lnTo>
                  <a:lnTo>
                    <a:pt x="6998784" y="1020004"/>
                  </a:lnTo>
                  <a:lnTo>
                    <a:pt x="6733264" y="754483"/>
                  </a:lnTo>
                  <a:close/>
                  <a:moveTo>
                    <a:pt x="7017651" y="753784"/>
                  </a:moveTo>
                  <a:lnTo>
                    <a:pt x="7288761" y="1023497"/>
                  </a:lnTo>
                  <a:lnTo>
                    <a:pt x="7285967" y="1026293"/>
                  </a:lnTo>
                  <a:lnTo>
                    <a:pt x="7195829" y="1117128"/>
                  </a:lnTo>
                  <a:lnTo>
                    <a:pt x="7018349" y="1294608"/>
                  </a:lnTo>
                  <a:lnTo>
                    <a:pt x="7282473" y="1294608"/>
                  </a:lnTo>
                  <a:lnTo>
                    <a:pt x="7371911" y="1205169"/>
                  </a:lnTo>
                  <a:lnTo>
                    <a:pt x="7552885" y="1024196"/>
                  </a:lnTo>
                  <a:lnTo>
                    <a:pt x="7281774" y="753784"/>
                  </a:lnTo>
                  <a:close/>
                  <a:moveTo>
                    <a:pt x="5919233" y="753784"/>
                  </a:moveTo>
                  <a:lnTo>
                    <a:pt x="6190345" y="1023497"/>
                  </a:lnTo>
                  <a:lnTo>
                    <a:pt x="6187548" y="1026293"/>
                  </a:lnTo>
                  <a:lnTo>
                    <a:pt x="6097412" y="1117128"/>
                  </a:lnTo>
                  <a:lnTo>
                    <a:pt x="5919933" y="1294608"/>
                  </a:lnTo>
                  <a:lnTo>
                    <a:pt x="6184056" y="1294608"/>
                  </a:lnTo>
                  <a:lnTo>
                    <a:pt x="6273494" y="1205169"/>
                  </a:lnTo>
                  <a:lnTo>
                    <a:pt x="6454468" y="1024196"/>
                  </a:lnTo>
                  <a:lnTo>
                    <a:pt x="6183356" y="753784"/>
                  </a:lnTo>
                  <a:close/>
                  <a:moveTo>
                    <a:pt x="5370723" y="753784"/>
                  </a:moveTo>
                  <a:lnTo>
                    <a:pt x="5372120" y="755182"/>
                  </a:lnTo>
                  <a:lnTo>
                    <a:pt x="5641833" y="1024196"/>
                  </a:lnTo>
                  <a:lnTo>
                    <a:pt x="5371422" y="1295307"/>
                  </a:lnTo>
                  <a:lnTo>
                    <a:pt x="5635545" y="1295307"/>
                  </a:lnTo>
                  <a:lnTo>
                    <a:pt x="5905958" y="1024196"/>
                  </a:lnTo>
                  <a:lnTo>
                    <a:pt x="5900367" y="1019305"/>
                  </a:lnTo>
                  <a:lnTo>
                    <a:pt x="5634846" y="753784"/>
                  </a:lnTo>
                  <a:close/>
                  <a:moveTo>
                    <a:pt x="7566161" y="753085"/>
                  </a:moveTo>
                  <a:lnTo>
                    <a:pt x="7696826" y="882352"/>
                  </a:lnTo>
                  <a:lnTo>
                    <a:pt x="7837272" y="1022798"/>
                  </a:lnTo>
                  <a:lnTo>
                    <a:pt x="7566860" y="1293909"/>
                  </a:lnTo>
                  <a:lnTo>
                    <a:pt x="7830983" y="1293909"/>
                  </a:lnTo>
                  <a:lnTo>
                    <a:pt x="8101395" y="1023497"/>
                  </a:lnTo>
                  <a:lnTo>
                    <a:pt x="7830284" y="753085"/>
                  </a:lnTo>
                  <a:close/>
                  <a:moveTo>
                    <a:pt x="8114671" y="752386"/>
                  </a:moveTo>
                  <a:lnTo>
                    <a:pt x="8385782" y="1022798"/>
                  </a:lnTo>
                  <a:lnTo>
                    <a:pt x="8115370" y="1293909"/>
                  </a:lnTo>
                  <a:lnTo>
                    <a:pt x="8379493" y="1293909"/>
                  </a:lnTo>
                  <a:lnTo>
                    <a:pt x="8649905" y="1022798"/>
                  </a:lnTo>
                  <a:lnTo>
                    <a:pt x="8378794" y="752386"/>
                  </a:lnTo>
                  <a:close/>
                  <a:moveTo>
                    <a:pt x="9483502" y="752007"/>
                  </a:moveTo>
                  <a:lnTo>
                    <a:pt x="9483502" y="752181"/>
                  </a:lnTo>
                  <a:lnTo>
                    <a:pt x="9754439" y="1022419"/>
                  </a:lnTo>
                  <a:lnTo>
                    <a:pt x="9484726" y="1293530"/>
                  </a:lnTo>
                  <a:lnTo>
                    <a:pt x="9748150" y="1293530"/>
                  </a:lnTo>
                  <a:lnTo>
                    <a:pt x="10018562" y="1022419"/>
                  </a:lnTo>
                  <a:lnTo>
                    <a:pt x="9884404" y="888959"/>
                  </a:lnTo>
                  <a:lnTo>
                    <a:pt x="9747451" y="752007"/>
                  </a:lnTo>
                  <a:close/>
                  <a:moveTo>
                    <a:pt x="8663181" y="751687"/>
                  </a:moveTo>
                  <a:lnTo>
                    <a:pt x="8934292" y="1022099"/>
                  </a:lnTo>
                  <a:lnTo>
                    <a:pt x="8663880" y="1293210"/>
                  </a:lnTo>
                  <a:lnTo>
                    <a:pt x="8862322" y="1293210"/>
                  </a:lnTo>
                  <a:lnTo>
                    <a:pt x="8927305" y="1293210"/>
                  </a:lnTo>
                  <a:lnTo>
                    <a:pt x="9198416" y="1022099"/>
                  </a:lnTo>
                  <a:lnTo>
                    <a:pt x="9064257" y="888641"/>
                  </a:lnTo>
                  <a:lnTo>
                    <a:pt x="8927305" y="751687"/>
                  </a:lnTo>
                  <a:close/>
                  <a:moveTo>
                    <a:pt x="11129558" y="751308"/>
                  </a:moveTo>
                  <a:lnTo>
                    <a:pt x="11258126" y="879876"/>
                  </a:lnTo>
                  <a:lnTo>
                    <a:pt x="11399970" y="1021720"/>
                  </a:lnTo>
                  <a:lnTo>
                    <a:pt x="11129558" y="1292831"/>
                  </a:lnTo>
                  <a:lnTo>
                    <a:pt x="11393681" y="1292831"/>
                  </a:lnTo>
                  <a:lnTo>
                    <a:pt x="11664093" y="1021720"/>
                  </a:lnTo>
                  <a:lnTo>
                    <a:pt x="11659201" y="1016829"/>
                  </a:lnTo>
                  <a:lnTo>
                    <a:pt x="11393681" y="751308"/>
                  </a:lnTo>
                  <a:close/>
                  <a:moveTo>
                    <a:pt x="9210294" y="750989"/>
                  </a:moveTo>
                  <a:lnTo>
                    <a:pt x="9478921" y="1018924"/>
                  </a:lnTo>
                  <a:lnTo>
                    <a:pt x="9740464" y="1018924"/>
                  </a:lnTo>
                  <a:lnTo>
                    <a:pt x="9471836" y="750989"/>
                  </a:lnTo>
                  <a:close/>
                  <a:moveTo>
                    <a:pt x="10579650" y="750609"/>
                  </a:moveTo>
                  <a:lnTo>
                    <a:pt x="10850761" y="1020322"/>
                  </a:lnTo>
                  <a:lnTo>
                    <a:pt x="10847965" y="1023118"/>
                  </a:lnTo>
                  <a:lnTo>
                    <a:pt x="10757829" y="1113953"/>
                  </a:lnTo>
                  <a:lnTo>
                    <a:pt x="10580349" y="1291433"/>
                  </a:lnTo>
                  <a:lnTo>
                    <a:pt x="10844472" y="1291433"/>
                  </a:lnTo>
                  <a:lnTo>
                    <a:pt x="10933911" y="1201994"/>
                  </a:lnTo>
                  <a:lnTo>
                    <a:pt x="11114884" y="1021021"/>
                  </a:lnTo>
                  <a:lnTo>
                    <a:pt x="10843773" y="750609"/>
                  </a:lnTo>
                  <a:close/>
                  <a:moveTo>
                    <a:pt x="10031140" y="750609"/>
                  </a:moveTo>
                  <a:lnTo>
                    <a:pt x="10032537" y="752007"/>
                  </a:lnTo>
                  <a:lnTo>
                    <a:pt x="10302250" y="1021021"/>
                  </a:lnTo>
                  <a:lnTo>
                    <a:pt x="10031839" y="1292132"/>
                  </a:lnTo>
                  <a:lnTo>
                    <a:pt x="10295962" y="1292132"/>
                  </a:lnTo>
                  <a:lnTo>
                    <a:pt x="10566374" y="1021021"/>
                  </a:lnTo>
                  <a:lnTo>
                    <a:pt x="10560784" y="1016130"/>
                  </a:lnTo>
                  <a:lnTo>
                    <a:pt x="10295263" y="750609"/>
                  </a:lnTo>
                  <a:close/>
                  <a:moveTo>
                    <a:pt x="702930" y="484641"/>
                  </a:moveTo>
                  <a:lnTo>
                    <a:pt x="522656" y="665614"/>
                  </a:lnTo>
                  <a:lnTo>
                    <a:pt x="433217" y="755751"/>
                  </a:lnTo>
                  <a:lnTo>
                    <a:pt x="567375" y="889210"/>
                  </a:lnTo>
                  <a:lnTo>
                    <a:pt x="704328" y="1026164"/>
                  </a:lnTo>
                  <a:lnTo>
                    <a:pt x="968451" y="1026164"/>
                  </a:lnTo>
                  <a:lnTo>
                    <a:pt x="697340" y="755751"/>
                  </a:lnTo>
                  <a:lnTo>
                    <a:pt x="698738" y="754354"/>
                  </a:lnTo>
                  <a:lnTo>
                    <a:pt x="967054" y="484641"/>
                  </a:lnTo>
                  <a:close/>
                  <a:moveTo>
                    <a:pt x="1252140" y="483942"/>
                  </a:moveTo>
                  <a:lnTo>
                    <a:pt x="981727" y="755053"/>
                  </a:lnTo>
                  <a:lnTo>
                    <a:pt x="1252838" y="1025465"/>
                  </a:lnTo>
                  <a:lnTo>
                    <a:pt x="1516962" y="1025465"/>
                  </a:lnTo>
                  <a:lnTo>
                    <a:pt x="1245851" y="755053"/>
                  </a:lnTo>
                  <a:lnTo>
                    <a:pt x="1516263" y="483942"/>
                  </a:lnTo>
                  <a:close/>
                  <a:moveTo>
                    <a:pt x="2899067" y="483243"/>
                  </a:moveTo>
                  <a:lnTo>
                    <a:pt x="2628655" y="754354"/>
                  </a:lnTo>
                  <a:lnTo>
                    <a:pt x="2899766" y="1024766"/>
                  </a:lnTo>
                  <a:lnTo>
                    <a:pt x="3163191" y="1024766"/>
                  </a:lnTo>
                  <a:lnTo>
                    <a:pt x="3032527" y="894800"/>
                  </a:lnTo>
                  <a:lnTo>
                    <a:pt x="2892081" y="754354"/>
                  </a:lnTo>
                  <a:lnTo>
                    <a:pt x="3163191" y="483243"/>
                  </a:lnTo>
                  <a:close/>
                  <a:moveTo>
                    <a:pt x="1799951" y="483243"/>
                  </a:moveTo>
                  <a:lnTo>
                    <a:pt x="1529539" y="754354"/>
                  </a:lnTo>
                  <a:lnTo>
                    <a:pt x="1800650" y="1024766"/>
                  </a:lnTo>
                  <a:lnTo>
                    <a:pt x="1802048" y="1026164"/>
                  </a:lnTo>
                  <a:lnTo>
                    <a:pt x="2066171" y="1026164"/>
                  </a:lnTo>
                  <a:lnTo>
                    <a:pt x="1934808" y="894800"/>
                  </a:lnTo>
                  <a:lnTo>
                    <a:pt x="1797155" y="757148"/>
                  </a:lnTo>
                  <a:lnTo>
                    <a:pt x="2066171" y="483243"/>
                  </a:lnTo>
                  <a:close/>
                  <a:moveTo>
                    <a:pt x="3446879" y="482544"/>
                  </a:moveTo>
                  <a:lnTo>
                    <a:pt x="3176467" y="753655"/>
                  </a:lnTo>
                  <a:lnTo>
                    <a:pt x="3447578" y="1024067"/>
                  </a:lnTo>
                  <a:lnTo>
                    <a:pt x="3711701" y="1024067"/>
                  </a:lnTo>
                  <a:lnTo>
                    <a:pt x="3440590" y="753655"/>
                  </a:lnTo>
                  <a:lnTo>
                    <a:pt x="3625057" y="569188"/>
                  </a:lnTo>
                  <a:lnTo>
                    <a:pt x="3709605" y="482544"/>
                  </a:lnTo>
                  <a:close/>
                  <a:moveTo>
                    <a:pt x="3995389" y="481845"/>
                  </a:moveTo>
                  <a:lnTo>
                    <a:pt x="3724977" y="752956"/>
                  </a:lnTo>
                  <a:lnTo>
                    <a:pt x="3996088" y="1023368"/>
                  </a:lnTo>
                  <a:lnTo>
                    <a:pt x="4260212" y="1023368"/>
                  </a:lnTo>
                  <a:lnTo>
                    <a:pt x="3989100" y="752956"/>
                  </a:lnTo>
                  <a:lnTo>
                    <a:pt x="3990498" y="751558"/>
                  </a:lnTo>
                  <a:lnTo>
                    <a:pt x="3989799" y="751558"/>
                  </a:lnTo>
                  <a:lnTo>
                    <a:pt x="4258116" y="482544"/>
                  </a:lnTo>
                  <a:lnTo>
                    <a:pt x="3999582" y="482544"/>
                  </a:lnTo>
                  <a:lnTo>
                    <a:pt x="4000979" y="481845"/>
                  </a:lnTo>
                  <a:close/>
                  <a:moveTo>
                    <a:pt x="4818383" y="481275"/>
                  </a:moveTo>
                  <a:lnTo>
                    <a:pt x="4550887" y="749462"/>
                  </a:lnTo>
                  <a:lnTo>
                    <a:pt x="4811162" y="749462"/>
                  </a:lnTo>
                  <a:lnTo>
                    <a:pt x="4993404" y="567221"/>
                  </a:lnTo>
                  <a:lnTo>
                    <a:pt x="5079348" y="481275"/>
                  </a:lnTo>
                  <a:close/>
                  <a:moveTo>
                    <a:pt x="4543201" y="481146"/>
                  </a:moveTo>
                  <a:lnTo>
                    <a:pt x="4362227" y="662120"/>
                  </a:lnTo>
                  <a:lnTo>
                    <a:pt x="4362927" y="662819"/>
                  </a:lnTo>
                  <a:lnTo>
                    <a:pt x="4273487" y="752956"/>
                  </a:lnTo>
                  <a:lnTo>
                    <a:pt x="4407646" y="886416"/>
                  </a:lnTo>
                  <a:lnTo>
                    <a:pt x="4543899" y="1022669"/>
                  </a:lnTo>
                  <a:lnTo>
                    <a:pt x="4805312" y="1022669"/>
                  </a:lnTo>
                  <a:lnTo>
                    <a:pt x="4660106" y="877461"/>
                  </a:lnTo>
                  <a:lnTo>
                    <a:pt x="4660106" y="875133"/>
                  </a:lnTo>
                  <a:lnTo>
                    <a:pt x="4536912" y="752257"/>
                  </a:lnTo>
                  <a:lnTo>
                    <a:pt x="4660106" y="628745"/>
                  </a:lnTo>
                  <a:lnTo>
                    <a:pt x="4660106" y="625913"/>
                  </a:lnTo>
                  <a:lnTo>
                    <a:pt x="4804193" y="481146"/>
                  </a:lnTo>
                  <a:close/>
                  <a:moveTo>
                    <a:pt x="2616078" y="481146"/>
                  </a:moveTo>
                  <a:lnTo>
                    <a:pt x="2349859" y="483942"/>
                  </a:lnTo>
                  <a:lnTo>
                    <a:pt x="2079447" y="755053"/>
                  </a:lnTo>
                  <a:lnTo>
                    <a:pt x="2350558" y="1025465"/>
                  </a:lnTo>
                  <a:lnTo>
                    <a:pt x="2614681" y="1025465"/>
                  </a:lnTo>
                  <a:lnTo>
                    <a:pt x="2343570" y="755053"/>
                  </a:lnTo>
                  <a:close/>
                  <a:moveTo>
                    <a:pt x="5363036" y="479879"/>
                  </a:moveTo>
                  <a:lnTo>
                    <a:pt x="5182762" y="660852"/>
                  </a:lnTo>
                  <a:lnTo>
                    <a:pt x="5093323" y="750989"/>
                  </a:lnTo>
                  <a:lnTo>
                    <a:pt x="5227481" y="884448"/>
                  </a:lnTo>
                  <a:lnTo>
                    <a:pt x="5364435" y="1021402"/>
                  </a:lnTo>
                  <a:lnTo>
                    <a:pt x="5628558" y="1021402"/>
                  </a:lnTo>
                  <a:lnTo>
                    <a:pt x="5357446" y="750989"/>
                  </a:lnTo>
                  <a:lnTo>
                    <a:pt x="5358844" y="749592"/>
                  </a:lnTo>
                  <a:lnTo>
                    <a:pt x="5627160" y="479879"/>
                  </a:lnTo>
                  <a:close/>
                  <a:moveTo>
                    <a:pt x="5912246" y="479180"/>
                  </a:moveTo>
                  <a:lnTo>
                    <a:pt x="5641833" y="750291"/>
                  </a:lnTo>
                  <a:lnTo>
                    <a:pt x="5912945" y="1020703"/>
                  </a:lnTo>
                  <a:lnTo>
                    <a:pt x="6177068" y="1020703"/>
                  </a:lnTo>
                  <a:lnTo>
                    <a:pt x="5905958" y="750291"/>
                  </a:lnTo>
                  <a:lnTo>
                    <a:pt x="6176369" y="479180"/>
                  </a:lnTo>
                  <a:close/>
                  <a:moveTo>
                    <a:pt x="7559173" y="478481"/>
                  </a:moveTo>
                  <a:lnTo>
                    <a:pt x="7288761" y="749592"/>
                  </a:lnTo>
                  <a:lnTo>
                    <a:pt x="7559872" y="1020004"/>
                  </a:lnTo>
                  <a:lnTo>
                    <a:pt x="7823297" y="1020004"/>
                  </a:lnTo>
                  <a:lnTo>
                    <a:pt x="7692633" y="890038"/>
                  </a:lnTo>
                  <a:lnTo>
                    <a:pt x="7552187" y="749592"/>
                  </a:lnTo>
                  <a:lnTo>
                    <a:pt x="7823297" y="478481"/>
                  </a:lnTo>
                  <a:close/>
                  <a:moveTo>
                    <a:pt x="6460057" y="478481"/>
                  </a:moveTo>
                  <a:lnTo>
                    <a:pt x="6189645" y="749592"/>
                  </a:lnTo>
                  <a:lnTo>
                    <a:pt x="6460756" y="1020004"/>
                  </a:lnTo>
                  <a:lnTo>
                    <a:pt x="6462154" y="1021402"/>
                  </a:lnTo>
                  <a:lnTo>
                    <a:pt x="6726277" y="1021402"/>
                  </a:lnTo>
                  <a:lnTo>
                    <a:pt x="6594914" y="890038"/>
                  </a:lnTo>
                  <a:lnTo>
                    <a:pt x="6457261" y="752386"/>
                  </a:lnTo>
                  <a:lnTo>
                    <a:pt x="6726277" y="478481"/>
                  </a:lnTo>
                  <a:close/>
                  <a:moveTo>
                    <a:pt x="9476907" y="478100"/>
                  </a:moveTo>
                  <a:lnTo>
                    <a:pt x="9210993" y="744700"/>
                  </a:lnTo>
                  <a:lnTo>
                    <a:pt x="9473165" y="744700"/>
                  </a:lnTo>
                  <a:lnTo>
                    <a:pt x="9653821" y="564046"/>
                  </a:lnTo>
                  <a:lnTo>
                    <a:pt x="9739765" y="478100"/>
                  </a:lnTo>
                  <a:close/>
                  <a:moveTo>
                    <a:pt x="8106985" y="477782"/>
                  </a:moveTo>
                  <a:lnTo>
                    <a:pt x="7836573" y="748893"/>
                  </a:lnTo>
                  <a:lnTo>
                    <a:pt x="8107684" y="1019305"/>
                  </a:lnTo>
                  <a:lnTo>
                    <a:pt x="8371807" y="1019305"/>
                  </a:lnTo>
                  <a:lnTo>
                    <a:pt x="8100696" y="748893"/>
                  </a:lnTo>
                  <a:lnTo>
                    <a:pt x="8285163" y="564426"/>
                  </a:lnTo>
                  <a:lnTo>
                    <a:pt x="8369711" y="477782"/>
                  </a:lnTo>
                  <a:close/>
                  <a:moveTo>
                    <a:pt x="8655495" y="477083"/>
                  </a:moveTo>
                  <a:lnTo>
                    <a:pt x="8385083" y="748194"/>
                  </a:lnTo>
                  <a:lnTo>
                    <a:pt x="8656194" y="1018606"/>
                  </a:lnTo>
                  <a:lnTo>
                    <a:pt x="8920317" y="1018606"/>
                  </a:lnTo>
                  <a:lnTo>
                    <a:pt x="8649206" y="748194"/>
                  </a:lnTo>
                  <a:lnTo>
                    <a:pt x="8650604" y="746796"/>
                  </a:lnTo>
                  <a:lnTo>
                    <a:pt x="8649905" y="746796"/>
                  </a:lnTo>
                  <a:lnTo>
                    <a:pt x="8918222" y="477782"/>
                  </a:lnTo>
                  <a:lnTo>
                    <a:pt x="8659688" y="477782"/>
                  </a:lnTo>
                  <a:lnTo>
                    <a:pt x="8661085" y="477083"/>
                  </a:lnTo>
                  <a:close/>
                  <a:moveTo>
                    <a:pt x="10023453" y="476704"/>
                  </a:moveTo>
                  <a:lnTo>
                    <a:pt x="9843179" y="657677"/>
                  </a:lnTo>
                  <a:lnTo>
                    <a:pt x="9753740" y="747814"/>
                  </a:lnTo>
                  <a:lnTo>
                    <a:pt x="9887898" y="881273"/>
                  </a:lnTo>
                  <a:lnTo>
                    <a:pt x="10024851" y="1018227"/>
                  </a:lnTo>
                  <a:lnTo>
                    <a:pt x="10288974" y="1018227"/>
                  </a:lnTo>
                  <a:lnTo>
                    <a:pt x="10017863" y="747814"/>
                  </a:lnTo>
                  <a:lnTo>
                    <a:pt x="10019261" y="746417"/>
                  </a:lnTo>
                  <a:lnTo>
                    <a:pt x="10287577" y="476704"/>
                  </a:lnTo>
                  <a:close/>
                  <a:moveTo>
                    <a:pt x="9203307" y="476384"/>
                  </a:moveTo>
                  <a:lnTo>
                    <a:pt x="9022333" y="657358"/>
                  </a:lnTo>
                  <a:lnTo>
                    <a:pt x="9023032" y="658057"/>
                  </a:lnTo>
                  <a:lnTo>
                    <a:pt x="8933593" y="748194"/>
                  </a:lnTo>
                  <a:lnTo>
                    <a:pt x="9067752" y="881654"/>
                  </a:lnTo>
                  <a:lnTo>
                    <a:pt x="9204005" y="1017907"/>
                  </a:lnTo>
                  <a:lnTo>
                    <a:pt x="9464142" y="1017907"/>
                  </a:lnTo>
                  <a:lnTo>
                    <a:pt x="9320523" y="874286"/>
                  </a:lnTo>
                  <a:lnTo>
                    <a:pt x="9320523" y="870682"/>
                  </a:lnTo>
                  <a:lnTo>
                    <a:pt x="9197018" y="747495"/>
                  </a:lnTo>
                  <a:lnTo>
                    <a:pt x="9320523" y="623671"/>
                  </a:lnTo>
                  <a:lnTo>
                    <a:pt x="9320523" y="622738"/>
                  </a:lnTo>
                  <a:lnTo>
                    <a:pt x="9466190" y="476384"/>
                  </a:lnTo>
                  <a:close/>
                  <a:moveTo>
                    <a:pt x="7276184" y="476384"/>
                  </a:moveTo>
                  <a:lnTo>
                    <a:pt x="7009966" y="479180"/>
                  </a:lnTo>
                  <a:lnTo>
                    <a:pt x="6739554" y="750291"/>
                  </a:lnTo>
                  <a:lnTo>
                    <a:pt x="7010664" y="1020703"/>
                  </a:lnTo>
                  <a:lnTo>
                    <a:pt x="7274787" y="1020703"/>
                  </a:lnTo>
                  <a:lnTo>
                    <a:pt x="7003677" y="750291"/>
                  </a:lnTo>
                  <a:close/>
                  <a:moveTo>
                    <a:pt x="10572663" y="476005"/>
                  </a:moveTo>
                  <a:lnTo>
                    <a:pt x="10302250" y="747116"/>
                  </a:lnTo>
                  <a:lnTo>
                    <a:pt x="10573361" y="1017528"/>
                  </a:lnTo>
                  <a:lnTo>
                    <a:pt x="10837485" y="1017528"/>
                  </a:lnTo>
                  <a:lnTo>
                    <a:pt x="10566374" y="747116"/>
                  </a:lnTo>
                  <a:lnTo>
                    <a:pt x="10836786" y="476005"/>
                  </a:lnTo>
                  <a:close/>
                  <a:moveTo>
                    <a:pt x="11120474" y="475306"/>
                  </a:moveTo>
                  <a:lnTo>
                    <a:pt x="10850062" y="746417"/>
                  </a:lnTo>
                  <a:lnTo>
                    <a:pt x="11121173" y="1016829"/>
                  </a:lnTo>
                  <a:lnTo>
                    <a:pt x="11122571" y="1018227"/>
                  </a:lnTo>
                  <a:lnTo>
                    <a:pt x="11386694" y="1018227"/>
                  </a:lnTo>
                  <a:lnTo>
                    <a:pt x="11255331" y="886863"/>
                  </a:lnTo>
                  <a:lnTo>
                    <a:pt x="11117678" y="749211"/>
                  </a:lnTo>
                  <a:lnTo>
                    <a:pt x="11386694" y="475306"/>
                  </a:lnTo>
                  <a:close/>
                  <a:moveTo>
                    <a:pt x="11936601" y="473209"/>
                  </a:moveTo>
                  <a:lnTo>
                    <a:pt x="11670382" y="476005"/>
                  </a:lnTo>
                  <a:lnTo>
                    <a:pt x="11399970" y="747116"/>
                  </a:lnTo>
                  <a:lnTo>
                    <a:pt x="11671081" y="1017528"/>
                  </a:lnTo>
                  <a:lnTo>
                    <a:pt x="11935204" y="1017528"/>
                  </a:lnTo>
                  <a:lnTo>
                    <a:pt x="11664093" y="747116"/>
                  </a:lnTo>
                  <a:close/>
                  <a:moveTo>
                    <a:pt x="161407" y="211433"/>
                  </a:moveTo>
                  <a:lnTo>
                    <a:pt x="432518" y="481845"/>
                  </a:lnTo>
                  <a:lnTo>
                    <a:pt x="429724" y="484641"/>
                  </a:lnTo>
                  <a:lnTo>
                    <a:pt x="339586" y="575476"/>
                  </a:lnTo>
                  <a:lnTo>
                    <a:pt x="162106" y="752257"/>
                  </a:lnTo>
                  <a:lnTo>
                    <a:pt x="426230" y="752257"/>
                  </a:lnTo>
                  <a:lnTo>
                    <a:pt x="515668" y="662819"/>
                  </a:lnTo>
                  <a:lnTo>
                    <a:pt x="696642" y="481845"/>
                  </a:lnTo>
                  <a:lnTo>
                    <a:pt x="425531" y="211433"/>
                  </a:lnTo>
                  <a:close/>
                  <a:moveTo>
                    <a:pt x="710617" y="210735"/>
                  </a:moveTo>
                  <a:lnTo>
                    <a:pt x="840582" y="340700"/>
                  </a:lnTo>
                  <a:lnTo>
                    <a:pt x="981029" y="480448"/>
                  </a:lnTo>
                  <a:lnTo>
                    <a:pt x="710617" y="751558"/>
                  </a:lnTo>
                  <a:lnTo>
                    <a:pt x="974740" y="751558"/>
                  </a:lnTo>
                  <a:lnTo>
                    <a:pt x="1245851" y="481146"/>
                  </a:lnTo>
                  <a:lnTo>
                    <a:pt x="974740" y="210735"/>
                  </a:lnTo>
                  <a:close/>
                  <a:moveTo>
                    <a:pt x="2906055" y="210036"/>
                  </a:moveTo>
                  <a:lnTo>
                    <a:pt x="3035322" y="337905"/>
                  </a:lnTo>
                  <a:lnTo>
                    <a:pt x="3035322" y="338604"/>
                  </a:lnTo>
                  <a:lnTo>
                    <a:pt x="3177166" y="480448"/>
                  </a:lnTo>
                  <a:lnTo>
                    <a:pt x="2906754" y="751558"/>
                  </a:lnTo>
                  <a:lnTo>
                    <a:pt x="3170178" y="751558"/>
                  </a:lnTo>
                  <a:lnTo>
                    <a:pt x="3440590" y="480448"/>
                  </a:lnTo>
                  <a:lnTo>
                    <a:pt x="3435000" y="474858"/>
                  </a:lnTo>
                  <a:lnTo>
                    <a:pt x="3434301" y="474858"/>
                  </a:lnTo>
                  <a:lnTo>
                    <a:pt x="3168781" y="210036"/>
                  </a:lnTo>
                  <a:close/>
                  <a:moveTo>
                    <a:pt x="1808336" y="210036"/>
                  </a:moveTo>
                  <a:lnTo>
                    <a:pt x="1810426" y="212824"/>
                  </a:lnTo>
                  <a:lnTo>
                    <a:pt x="1809733" y="212132"/>
                  </a:lnTo>
                  <a:lnTo>
                    <a:pt x="1810432" y="212831"/>
                  </a:lnTo>
                  <a:lnTo>
                    <a:pt x="1810426" y="212824"/>
                  </a:lnTo>
                  <a:lnTo>
                    <a:pt x="2068965" y="470666"/>
                  </a:lnTo>
                  <a:lnTo>
                    <a:pt x="2078748" y="479749"/>
                  </a:lnTo>
                  <a:lnTo>
                    <a:pt x="2080844" y="481845"/>
                  </a:lnTo>
                  <a:lnTo>
                    <a:pt x="1816022" y="751558"/>
                  </a:lnTo>
                  <a:lnTo>
                    <a:pt x="2075254" y="752257"/>
                  </a:lnTo>
                  <a:lnTo>
                    <a:pt x="2344968" y="481845"/>
                  </a:lnTo>
                  <a:lnTo>
                    <a:pt x="2209412" y="346988"/>
                  </a:lnTo>
                  <a:lnTo>
                    <a:pt x="2192643" y="330219"/>
                  </a:lnTo>
                  <a:lnTo>
                    <a:pt x="2073158" y="211433"/>
                  </a:lnTo>
                  <a:lnTo>
                    <a:pt x="2068965" y="210036"/>
                  </a:lnTo>
                  <a:close/>
                  <a:moveTo>
                    <a:pt x="1258428" y="210036"/>
                  </a:moveTo>
                  <a:lnTo>
                    <a:pt x="1529539" y="480448"/>
                  </a:lnTo>
                  <a:lnTo>
                    <a:pt x="1259127" y="751558"/>
                  </a:lnTo>
                  <a:lnTo>
                    <a:pt x="1523250" y="751558"/>
                  </a:lnTo>
                  <a:lnTo>
                    <a:pt x="1793662" y="480448"/>
                  </a:lnTo>
                  <a:lnTo>
                    <a:pt x="1522551" y="210036"/>
                  </a:lnTo>
                  <a:close/>
                  <a:moveTo>
                    <a:pt x="2621668" y="208638"/>
                  </a:moveTo>
                  <a:lnTo>
                    <a:pt x="2358243" y="209337"/>
                  </a:lnTo>
                  <a:lnTo>
                    <a:pt x="2627259" y="477653"/>
                  </a:lnTo>
                  <a:lnTo>
                    <a:pt x="2626560" y="478352"/>
                  </a:lnTo>
                  <a:lnTo>
                    <a:pt x="2627957" y="479749"/>
                  </a:lnTo>
                  <a:lnTo>
                    <a:pt x="2357544" y="750860"/>
                  </a:lnTo>
                  <a:lnTo>
                    <a:pt x="2621668" y="750860"/>
                  </a:lnTo>
                  <a:lnTo>
                    <a:pt x="2711805" y="660723"/>
                  </a:lnTo>
                  <a:lnTo>
                    <a:pt x="2891382" y="477653"/>
                  </a:lnTo>
                  <a:close/>
                  <a:moveTo>
                    <a:pt x="4550188" y="207940"/>
                  </a:moveTo>
                  <a:lnTo>
                    <a:pt x="4817219" y="474283"/>
                  </a:lnTo>
                  <a:lnTo>
                    <a:pt x="5079348" y="473590"/>
                  </a:lnTo>
                  <a:lnTo>
                    <a:pt x="4813011" y="207940"/>
                  </a:lnTo>
                  <a:close/>
                  <a:moveTo>
                    <a:pt x="4001678" y="207940"/>
                  </a:moveTo>
                  <a:lnTo>
                    <a:pt x="4131644" y="337206"/>
                  </a:lnTo>
                  <a:lnTo>
                    <a:pt x="4272090" y="477653"/>
                  </a:lnTo>
                  <a:lnTo>
                    <a:pt x="4179158" y="571284"/>
                  </a:lnTo>
                  <a:lnTo>
                    <a:pt x="4179856" y="571983"/>
                  </a:lnTo>
                  <a:lnTo>
                    <a:pt x="4003075" y="749462"/>
                  </a:lnTo>
                  <a:lnTo>
                    <a:pt x="4265801" y="749462"/>
                  </a:lnTo>
                  <a:lnTo>
                    <a:pt x="4536213" y="478352"/>
                  </a:lnTo>
                  <a:lnTo>
                    <a:pt x="4265103" y="207940"/>
                  </a:lnTo>
                  <a:close/>
                  <a:moveTo>
                    <a:pt x="3453167" y="207940"/>
                  </a:moveTo>
                  <a:lnTo>
                    <a:pt x="3724278" y="478352"/>
                  </a:lnTo>
                  <a:lnTo>
                    <a:pt x="3724977" y="479050"/>
                  </a:lnTo>
                  <a:lnTo>
                    <a:pt x="3454565" y="750161"/>
                  </a:lnTo>
                  <a:lnTo>
                    <a:pt x="3718688" y="750161"/>
                  </a:lnTo>
                  <a:lnTo>
                    <a:pt x="3808127" y="660024"/>
                  </a:lnTo>
                  <a:lnTo>
                    <a:pt x="3807428" y="660024"/>
                  </a:lnTo>
                  <a:lnTo>
                    <a:pt x="3988403" y="479050"/>
                  </a:lnTo>
                  <a:lnTo>
                    <a:pt x="3983511" y="473460"/>
                  </a:lnTo>
                  <a:lnTo>
                    <a:pt x="3717291" y="207940"/>
                  </a:lnTo>
                  <a:close/>
                  <a:moveTo>
                    <a:pt x="4823396" y="206671"/>
                  </a:moveTo>
                  <a:lnTo>
                    <a:pt x="4823396" y="208549"/>
                  </a:lnTo>
                  <a:lnTo>
                    <a:pt x="5092624" y="477083"/>
                  </a:lnTo>
                  <a:lnTo>
                    <a:pt x="5089830" y="479879"/>
                  </a:lnTo>
                  <a:lnTo>
                    <a:pt x="4999692" y="570714"/>
                  </a:lnTo>
                  <a:lnTo>
                    <a:pt x="4823396" y="746316"/>
                  </a:lnTo>
                  <a:lnTo>
                    <a:pt x="4823396" y="747495"/>
                  </a:lnTo>
                  <a:lnTo>
                    <a:pt x="5086337" y="747495"/>
                  </a:lnTo>
                  <a:lnTo>
                    <a:pt x="5175775" y="658057"/>
                  </a:lnTo>
                  <a:lnTo>
                    <a:pt x="5356748" y="477083"/>
                  </a:lnTo>
                  <a:lnTo>
                    <a:pt x="5085637" y="206671"/>
                  </a:lnTo>
                  <a:close/>
                  <a:moveTo>
                    <a:pt x="5370723" y="205973"/>
                  </a:moveTo>
                  <a:lnTo>
                    <a:pt x="5500688" y="335938"/>
                  </a:lnTo>
                  <a:lnTo>
                    <a:pt x="5641135" y="475686"/>
                  </a:lnTo>
                  <a:lnTo>
                    <a:pt x="5370723" y="746796"/>
                  </a:lnTo>
                  <a:lnTo>
                    <a:pt x="5634846" y="746796"/>
                  </a:lnTo>
                  <a:lnTo>
                    <a:pt x="5905958" y="476384"/>
                  </a:lnTo>
                  <a:lnTo>
                    <a:pt x="5634846" y="205973"/>
                  </a:lnTo>
                  <a:close/>
                  <a:moveTo>
                    <a:pt x="7566161" y="205274"/>
                  </a:moveTo>
                  <a:lnTo>
                    <a:pt x="7695428" y="333143"/>
                  </a:lnTo>
                  <a:lnTo>
                    <a:pt x="7695428" y="333842"/>
                  </a:lnTo>
                  <a:lnTo>
                    <a:pt x="7837272" y="475686"/>
                  </a:lnTo>
                  <a:lnTo>
                    <a:pt x="7566860" y="746796"/>
                  </a:lnTo>
                  <a:lnTo>
                    <a:pt x="7830284" y="746796"/>
                  </a:lnTo>
                  <a:lnTo>
                    <a:pt x="8100696" y="475686"/>
                  </a:lnTo>
                  <a:lnTo>
                    <a:pt x="8095106" y="470096"/>
                  </a:lnTo>
                  <a:lnTo>
                    <a:pt x="8094407" y="470096"/>
                  </a:lnTo>
                  <a:lnTo>
                    <a:pt x="7828887" y="205274"/>
                  </a:lnTo>
                  <a:close/>
                  <a:moveTo>
                    <a:pt x="6468443" y="205274"/>
                  </a:moveTo>
                  <a:lnTo>
                    <a:pt x="6470532" y="208062"/>
                  </a:lnTo>
                  <a:lnTo>
                    <a:pt x="6469839" y="207370"/>
                  </a:lnTo>
                  <a:lnTo>
                    <a:pt x="6470538" y="208069"/>
                  </a:lnTo>
                  <a:lnTo>
                    <a:pt x="6470532" y="208062"/>
                  </a:lnTo>
                  <a:lnTo>
                    <a:pt x="6729071" y="465904"/>
                  </a:lnTo>
                  <a:lnTo>
                    <a:pt x="6738854" y="474987"/>
                  </a:lnTo>
                  <a:lnTo>
                    <a:pt x="6740950" y="477083"/>
                  </a:lnTo>
                  <a:lnTo>
                    <a:pt x="6476128" y="746796"/>
                  </a:lnTo>
                  <a:lnTo>
                    <a:pt x="6735361" y="747495"/>
                  </a:lnTo>
                  <a:lnTo>
                    <a:pt x="7005075" y="477083"/>
                  </a:lnTo>
                  <a:lnTo>
                    <a:pt x="6869518" y="342226"/>
                  </a:lnTo>
                  <a:lnTo>
                    <a:pt x="6852749" y="325457"/>
                  </a:lnTo>
                  <a:lnTo>
                    <a:pt x="6733264" y="206671"/>
                  </a:lnTo>
                  <a:lnTo>
                    <a:pt x="6729071" y="205274"/>
                  </a:lnTo>
                  <a:close/>
                  <a:moveTo>
                    <a:pt x="5918534" y="205274"/>
                  </a:moveTo>
                  <a:lnTo>
                    <a:pt x="6189645" y="475686"/>
                  </a:lnTo>
                  <a:lnTo>
                    <a:pt x="5919233" y="746796"/>
                  </a:lnTo>
                  <a:lnTo>
                    <a:pt x="6183356" y="746796"/>
                  </a:lnTo>
                  <a:lnTo>
                    <a:pt x="6453768" y="475686"/>
                  </a:lnTo>
                  <a:lnTo>
                    <a:pt x="6182657" y="205274"/>
                  </a:lnTo>
                  <a:close/>
                  <a:moveTo>
                    <a:pt x="7281774" y="203876"/>
                  </a:moveTo>
                  <a:lnTo>
                    <a:pt x="7018349" y="204575"/>
                  </a:lnTo>
                  <a:lnTo>
                    <a:pt x="7287365" y="472891"/>
                  </a:lnTo>
                  <a:lnTo>
                    <a:pt x="7286666" y="473590"/>
                  </a:lnTo>
                  <a:lnTo>
                    <a:pt x="7288063" y="474987"/>
                  </a:lnTo>
                  <a:lnTo>
                    <a:pt x="7017651" y="746098"/>
                  </a:lnTo>
                  <a:lnTo>
                    <a:pt x="7281774" y="746098"/>
                  </a:lnTo>
                  <a:lnTo>
                    <a:pt x="7371911" y="655961"/>
                  </a:lnTo>
                  <a:lnTo>
                    <a:pt x="7551488" y="472891"/>
                  </a:lnTo>
                  <a:close/>
                  <a:moveTo>
                    <a:pt x="9483502" y="203496"/>
                  </a:moveTo>
                  <a:lnTo>
                    <a:pt x="9483502" y="205064"/>
                  </a:lnTo>
                  <a:lnTo>
                    <a:pt x="9753041" y="473908"/>
                  </a:lnTo>
                  <a:lnTo>
                    <a:pt x="9750247" y="476704"/>
                  </a:lnTo>
                  <a:lnTo>
                    <a:pt x="9660109" y="567539"/>
                  </a:lnTo>
                  <a:lnTo>
                    <a:pt x="9483502" y="743451"/>
                  </a:lnTo>
                  <a:lnTo>
                    <a:pt x="9483502" y="744320"/>
                  </a:lnTo>
                  <a:lnTo>
                    <a:pt x="9746753" y="744320"/>
                  </a:lnTo>
                  <a:lnTo>
                    <a:pt x="9836191" y="654882"/>
                  </a:lnTo>
                  <a:lnTo>
                    <a:pt x="10017165" y="473908"/>
                  </a:lnTo>
                  <a:lnTo>
                    <a:pt x="9746054" y="203496"/>
                  </a:lnTo>
                  <a:close/>
                  <a:moveTo>
                    <a:pt x="9210294" y="203178"/>
                  </a:moveTo>
                  <a:lnTo>
                    <a:pt x="9478913" y="471105"/>
                  </a:lnTo>
                  <a:lnTo>
                    <a:pt x="9739765" y="470415"/>
                  </a:lnTo>
                  <a:lnTo>
                    <a:pt x="9471837" y="203178"/>
                  </a:lnTo>
                  <a:close/>
                  <a:moveTo>
                    <a:pt x="8661784" y="203178"/>
                  </a:moveTo>
                  <a:lnTo>
                    <a:pt x="8791750" y="332444"/>
                  </a:lnTo>
                  <a:lnTo>
                    <a:pt x="8932196" y="472891"/>
                  </a:lnTo>
                  <a:lnTo>
                    <a:pt x="8839264" y="566522"/>
                  </a:lnTo>
                  <a:lnTo>
                    <a:pt x="8839962" y="567221"/>
                  </a:lnTo>
                  <a:lnTo>
                    <a:pt x="8663181" y="744700"/>
                  </a:lnTo>
                  <a:lnTo>
                    <a:pt x="8925907" y="744700"/>
                  </a:lnTo>
                  <a:lnTo>
                    <a:pt x="9196319" y="473590"/>
                  </a:lnTo>
                  <a:lnTo>
                    <a:pt x="8925208" y="203178"/>
                  </a:lnTo>
                  <a:close/>
                  <a:moveTo>
                    <a:pt x="8113273" y="203178"/>
                  </a:moveTo>
                  <a:lnTo>
                    <a:pt x="8384384" y="473590"/>
                  </a:lnTo>
                  <a:lnTo>
                    <a:pt x="8385083" y="474288"/>
                  </a:lnTo>
                  <a:lnTo>
                    <a:pt x="8114671" y="745399"/>
                  </a:lnTo>
                  <a:lnTo>
                    <a:pt x="8378794" y="745399"/>
                  </a:lnTo>
                  <a:lnTo>
                    <a:pt x="8468233" y="655262"/>
                  </a:lnTo>
                  <a:lnTo>
                    <a:pt x="8467534" y="655262"/>
                  </a:lnTo>
                  <a:lnTo>
                    <a:pt x="8648509" y="474288"/>
                  </a:lnTo>
                  <a:lnTo>
                    <a:pt x="8643617" y="468698"/>
                  </a:lnTo>
                  <a:lnTo>
                    <a:pt x="8377397" y="203178"/>
                  </a:lnTo>
                  <a:close/>
                  <a:moveTo>
                    <a:pt x="10031140" y="202798"/>
                  </a:moveTo>
                  <a:lnTo>
                    <a:pt x="10161105" y="332763"/>
                  </a:lnTo>
                  <a:lnTo>
                    <a:pt x="10301552" y="472511"/>
                  </a:lnTo>
                  <a:lnTo>
                    <a:pt x="10031140" y="743621"/>
                  </a:lnTo>
                  <a:lnTo>
                    <a:pt x="10295263" y="743621"/>
                  </a:lnTo>
                  <a:lnTo>
                    <a:pt x="10566374" y="473209"/>
                  </a:lnTo>
                  <a:lnTo>
                    <a:pt x="10295263" y="202798"/>
                  </a:lnTo>
                  <a:close/>
                  <a:moveTo>
                    <a:pt x="11128859" y="202099"/>
                  </a:moveTo>
                  <a:lnTo>
                    <a:pt x="11130949" y="204887"/>
                  </a:lnTo>
                  <a:lnTo>
                    <a:pt x="11130256" y="204195"/>
                  </a:lnTo>
                  <a:lnTo>
                    <a:pt x="11130955" y="204894"/>
                  </a:lnTo>
                  <a:lnTo>
                    <a:pt x="11130949" y="204887"/>
                  </a:lnTo>
                  <a:lnTo>
                    <a:pt x="11389488" y="462729"/>
                  </a:lnTo>
                  <a:lnTo>
                    <a:pt x="11399271" y="471812"/>
                  </a:lnTo>
                  <a:lnTo>
                    <a:pt x="11401367" y="473908"/>
                  </a:lnTo>
                  <a:lnTo>
                    <a:pt x="11136545" y="743621"/>
                  </a:lnTo>
                  <a:lnTo>
                    <a:pt x="11395777" y="744320"/>
                  </a:lnTo>
                  <a:lnTo>
                    <a:pt x="11665491" y="473908"/>
                  </a:lnTo>
                  <a:lnTo>
                    <a:pt x="11529935" y="339051"/>
                  </a:lnTo>
                  <a:lnTo>
                    <a:pt x="11513166" y="322282"/>
                  </a:lnTo>
                  <a:lnTo>
                    <a:pt x="11393681" y="203496"/>
                  </a:lnTo>
                  <a:lnTo>
                    <a:pt x="11389488" y="202099"/>
                  </a:lnTo>
                  <a:close/>
                  <a:moveTo>
                    <a:pt x="10578951" y="202099"/>
                  </a:moveTo>
                  <a:lnTo>
                    <a:pt x="10850062" y="472511"/>
                  </a:lnTo>
                  <a:lnTo>
                    <a:pt x="10579650" y="743621"/>
                  </a:lnTo>
                  <a:lnTo>
                    <a:pt x="10843773" y="743621"/>
                  </a:lnTo>
                  <a:lnTo>
                    <a:pt x="11114185" y="472511"/>
                  </a:lnTo>
                  <a:lnTo>
                    <a:pt x="10843074" y="202099"/>
                  </a:lnTo>
                  <a:close/>
                  <a:moveTo>
                    <a:pt x="73183" y="7937"/>
                  </a:moveTo>
                  <a:lnTo>
                    <a:pt x="84011" y="7937"/>
                  </a:lnTo>
                  <a:lnTo>
                    <a:pt x="0" y="91948"/>
                  </a:lnTo>
                  <a:lnTo>
                    <a:pt x="0" y="81467"/>
                  </a:lnTo>
                  <a:close/>
                  <a:moveTo>
                    <a:pt x="9393706" y="0"/>
                  </a:moveTo>
                  <a:lnTo>
                    <a:pt x="9404534" y="0"/>
                  </a:lnTo>
                  <a:lnTo>
                    <a:pt x="9401359" y="3175"/>
                  </a:lnTo>
                  <a:lnTo>
                    <a:pt x="9401912" y="3175"/>
                  </a:lnTo>
                  <a:lnTo>
                    <a:pt x="9209595" y="195492"/>
                  </a:lnTo>
                  <a:lnTo>
                    <a:pt x="9473165" y="195492"/>
                  </a:lnTo>
                  <a:lnTo>
                    <a:pt x="9668657" y="0"/>
                  </a:lnTo>
                  <a:lnTo>
                    <a:pt x="9679138" y="0"/>
                  </a:lnTo>
                  <a:lnTo>
                    <a:pt x="9483502" y="195636"/>
                  </a:lnTo>
                  <a:lnTo>
                    <a:pt x="9483502" y="196191"/>
                  </a:lnTo>
                  <a:lnTo>
                    <a:pt x="9483184" y="196509"/>
                  </a:lnTo>
                  <a:lnTo>
                    <a:pt x="9746753" y="196509"/>
                  </a:lnTo>
                  <a:lnTo>
                    <a:pt x="9942755" y="0"/>
                  </a:lnTo>
                  <a:lnTo>
                    <a:pt x="9952529" y="0"/>
                  </a:lnTo>
                  <a:lnTo>
                    <a:pt x="9753041" y="200003"/>
                  </a:lnTo>
                  <a:lnTo>
                    <a:pt x="10024851" y="470415"/>
                  </a:lnTo>
                  <a:lnTo>
                    <a:pt x="10288275" y="470415"/>
                  </a:lnTo>
                  <a:lnTo>
                    <a:pt x="10157612" y="340449"/>
                  </a:lnTo>
                  <a:lnTo>
                    <a:pt x="10017165" y="200003"/>
                  </a:lnTo>
                  <a:lnTo>
                    <a:pt x="10216652" y="0"/>
                  </a:lnTo>
                  <a:lnTo>
                    <a:pt x="10227841" y="0"/>
                  </a:lnTo>
                  <a:lnTo>
                    <a:pt x="10031839" y="196509"/>
                  </a:lnTo>
                  <a:lnTo>
                    <a:pt x="10295263" y="196509"/>
                  </a:lnTo>
                  <a:lnTo>
                    <a:pt x="10491265" y="0"/>
                  </a:lnTo>
                  <a:lnTo>
                    <a:pt x="10500342" y="0"/>
                  </a:lnTo>
                  <a:lnTo>
                    <a:pt x="10301552" y="199304"/>
                  </a:lnTo>
                  <a:lnTo>
                    <a:pt x="10572663" y="469716"/>
                  </a:lnTo>
                  <a:lnTo>
                    <a:pt x="10836786" y="469716"/>
                  </a:lnTo>
                  <a:lnTo>
                    <a:pt x="10565675" y="199304"/>
                  </a:lnTo>
                  <a:lnTo>
                    <a:pt x="10764465" y="0"/>
                  </a:lnTo>
                  <a:lnTo>
                    <a:pt x="10773933" y="0"/>
                  </a:lnTo>
                  <a:lnTo>
                    <a:pt x="10757130" y="16933"/>
                  </a:lnTo>
                  <a:lnTo>
                    <a:pt x="10756431" y="16933"/>
                  </a:lnTo>
                  <a:lnTo>
                    <a:pt x="10578951" y="195111"/>
                  </a:lnTo>
                  <a:lnTo>
                    <a:pt x="10843074" y="195111"/>
                  </a:lnTo>
                  <a:lnTo>
                    <a:pt x="11038186" y="0"/>
                  </a:lnTo>
                  <a:lnTo>
                    <a:pt x="11048947" y="0"/>
                  </a:lnTo>
                  <a:lnTo>
                    <a:pt x="10940899" y="108468"/>
                  </a:lnTo>
                  <a:lnTo>
                    <a:pt x="10940200" y="108468"/>
                  </a:lnTo>
                  <a:lnTo>
                    <a:pt x="10850062" y="198605"/>
                  </a:lnTo>
                  <a:lnTo>
                    <a:pt x="11120474" y="469716"/>
                  </a:lnTo>
                  <a:lnTo>
                    <a:pt x="11384597" y="469716"/>
                  </a:lnTo>
                  <a:lnTo>
                    <a:pt x="11113487" y="199304"/>
                  </a:lnTo>
                  <a:lnTo>
                    <a:pt x="11297954" y="14837"/>
                  </a:lnTo>
                  <a:lnTo>
                    <a:pt x="11298653" y="14837"/>
                  </a:lnTo>
                  <a:lnTo>
                    <a:pt x="11313370" y="0"/>
                  </a:lnTo>
                  <a:lnTo>
                    <a:pt x="11322770" y="0"/>
                  </a:lnTo>
                  <a:lnTo>
                    <a:pt x="11128859" y="194412"/>
                  </a:lnTo>
                  <a:lnTo>
                    <a:pt x="11392284" y="194412"/>
                  </a:lnTo>
                  <a:lnTo>
                    <a:pt x="11586696" y="0"/>
                  </a:lnTo>
                  <a:lnTo>
                    <a:pt x="11598062" y="0"/>
                  </a:lnTo>
                  <a:lnTo>
                    <a:pt x="11399271" y="199304"/>
                  </a:lnTo>
                  <a:lnTo>
                    <a:pt x="11668984" y="468319"/>
                  </a:lnTo>
                  <a:lnTo>
                    <a:pt x="11932409" y="468319"/>
                  </a:lnTo>
                  <a:lnTo>
                    <a:pt x="11663395" y="199304"/>
                  </a:lnTo>
                  <a:lnTo>
                    <a:pt x="11664093" y="198605"/>
                  </a:lnTo>
                  <a:lnTo>
                    <a:pt x="11662696" y="197208"/>
                  </a:lnTo>
                  <a:lnTo>
                    <a:pt x="11859391" y="0"/>
                  </a:lnTo>
                  <a:lnTo>
                    <a:pt x="11872675" y="0"/>
                  </a:lnTo>
                  <a:lnTo>
                    <a:pt x="11678766" y="194412"/>
                  </a:lnTo>
                  <a:lnTo>
                    <a:pt x="11940794" y="194412"/>
                  </a:lnTo>
                  <a:lnTo>
                    <a:pt x="12134704" y="0"/>
                  </a:lnTo>
                  <a:lnTo>
                    <a:pt x="12146063" y="0"/>
                  </a:lnTo>
                  <a:lnTo>
                    <a:pt x="11949178" y="197906"/>
                  </a:lnTo>
                  <a:lnTo>
                    <a:pt x="12192001" y="440101"/>
                  </a:lnTo>
                  <a:lnTo>
                    <a:pt x="12192001" y="449864"/>
                  </a:lnTo>
                  <a:lnTo>
                    <a:pt x="11942191" y="200701"/>
                  </a:lnTo>
                  <a:lnTo>
                    <a:pt x="11678766" y="201400"/>
                  </a:lnTo>
                  <a:lnTo>
                    <a:pt x="11947782" y="469716"/>
                  </a:lnTo>
                  <a:lnTo>
                    <a:pt x="11947083" y="470415"/>
                  </a:lnTo>
                  <a:lnTo>
                    <a:pt x="11948480" y="471812"/>
                  </a:lnTo>
                  <a:lnTo>
                    <a:pt x="11678067" y="742923"/>
                  </a:lnTo>
                  <a:lnTo>
                    <a:pt x="11942191" y="742923"/>
                  </a:lnTo>
                  <a:lnTo>
                    <a:pt x="12032328" y="652786"/>
                  </a:lnTo>
                  <a:lnTo>
                    <a:pt x="12192001" y="490007"/>
                  </a:lnTo>
                  <a:lnTo>
                    <a:pt x="12192001" y="502966"/>
                  </a:lnTo>
                  <a:lnTo>
                    <a:pt x="11949178" y="746417"/>
                  </a:lnTo>
                  <a:lnTo>
                    <a:pt x="12192001" y="988614"/>
                  </a:lnTo>
                  <a:lnTo>
                    <a:pt x="12192001" y="999775"/>
                  </a:lnTo>
                  <a:lnTo>
                    <a:pt x="11942191" y="750609"/>
                  </a:lnTo>
                  <a:lnTo>
                    <a:pt x="11678067" y="750609"/>
                  </a:lnTo>
                  <a:lnTo>
                    <a:pt x="11949178" y="1020322"/>
                  </a:lnTo>
                  <a:lnTo>
                    <a:pt x="11946384" y="1023118"/>
                  </a:lnTo>
                  <a:lnTo>
                    <a:pt x="11856246" y="1113953"/>
                  </a:lnTo>
                  <a:lnTo>
                    <a:pt x="11678766" y="1291433"/>
                  </a:lnTo>
                  <a:lnTo>
                    <a:pt x="11942890" y="1291433"/>
                  </a:lnTo>
                  <a:lnTo>
                    <a:pt x="12032328" y="1201994"/>
                  </a:lnTo>
                  <a:lnTo>
                    <a:pt x="12192001" y="1042322"/>
                  </a:lnTo>
                  <a:lnTo>
                    <a:pt x="12192001" y="1052103"/>
                  </a:lnTo>
                  <a:lnTo>
                    <a:pt x="12039316" y="1204790"/>
                  </a:lnTo>
                  <a:lnTo>
                    <a:pt x="11949877" y="1294927"/>
                  </a:lnTo>
                  <a:lnTo>
                    <a:pt x="12084035" y="1428386"/>
                  </a:lnTo>
                  <a:lnTo>
                    <a:pt x="12192001" y="1536351"/>
                  </a:lnTo>
                  <a:lnTo>
                    <a:pt x="12192001" y="1547647"/>
                  </a:lnTo>
                  <a:lnTo>
                    <a:pt x="12079843" y="1436072"/>
                  </a:lnTo>
                  <a:lnTo>
                    <a:pt x="11942890" y="1299119"/>
                  </a:lnTo>
                  <a:lnTo>
                    <a:pt x="11678766" y="1299119"/>
                  </a:lnTo>
                  <a:lnTo>
                    <a:pt x="11949877" y="1569531"/>
                  </a:lnTo>
                  <a:lnTo>
                    <a:pt x="11680164" y="1840642"/>
                  </a:lnTo>
                  <a:lnTo>
                    <a:pt x="11943588" y="1840642"/>
                  </a:lnTo>
                  <a:lnTo>
                    <a:pt x="12192001" y="1591587"/>
                  </a:lnTo>
                  <a:lnTo>
                    <a:pt x="12192001" y="1601385"/>
                  </a:lnTo>
                  <a:lnTo>
                    <a:pt x="11949877" y="1844135"/>
                  </a:lnTo>
                  <a:lnTo>
                    <a:pt x="12192001" y="2085635"/>
                  </a:lnTo>
                  <a:lnTo>
                    <a:pt x="12192001" y="2095403"/>
                  </a:lnTo>
                  <a:lnTo>
                    <a:pt x="11943588" y="1847630"/>
                  </a:lnTo>
                  <a:lnTo>
                    <a:pt x="11680164" y="1847630"/>
                  </a:lnTo>
                  <a:lnTo>
                    <a:pt x="11810129" y="1977595"/>
                  </a:lnTo>
                  <a:lnTo>
                    <a:pt x="11950576" y="2118042"/>
                  </a:lnTo>
                  <a:lnTo>
                    <a:pt x="11680164" y="2389152"/>
                  </a:lnTo>
                  <a:lnTo>
                    <a:pt x="11944287" y="2389152"/>
                  </a:lnTo>
                  <a:lnTo>
                    <a:pt x="12192001" y="2140799"/>
                  </a:lnTo>
                  <a:lnTo>
                    <a:pt x="12192001" y="2150597"/>
                  </a:lnTo>
                  <a:lnTo>
                    <a:pt x="11950576" y="2392646"/>
                  </a:lnTo>
                  <a:lnTo>
                    <a:pt x="12192001" y="2633449"/>
                  </a:lnTo>
                  <a:lnTo>
                    <a:pt x="12192001" y="2643202"/>
                  </a:lnTo>
                  <a:lnTo>
                    <a:pt x="11944287" y="2396139"/>
                  </a:lnTo>
                  <a:lnTo>
                    <a:pt x="11680164" y="2396139"/>
                  </a:lnTo>
                  <a:lnTo>
                    <a:pt x="11681562" y="2397537"/>
                  </a:lnTo>
                  <a:lnTo>
                    <a:pt x="11949877" y="2665853"/>
                  </a:lnTo>
                  <a:lnTo>
                    <a:pt x="11679465" y="2936964"/>
                  </a:lnTo>
                  <a:lnTo>
                    <a:pt x="11943588" y="2936964"/>
                  </a:lnTo>
                  <a:lnTo>
                    <a:pt x="12192001" y="2687909"/>
                  </a:lnTo>
                  <a:lnTo>
                    <a:pt x="12192001" y="2698409"/>
                  </a:lnTo>
                  <a:lnTo>
                    <a:pt x="11950576" y="2940457"/>
                  </a:lnTo>
                  <a:lnTo>
                    <a:pt x="12192001" y="3181261"/>
                  </a:lnTo>
                  <a:lnTo>
                    <a:pt x="12192001" y="3190330"/>
                  </a:lnTo>
                  <a:lnTo>
                    <a:pt x="11944986" y="2943952"/>
                  </a:lnTo>
                  <a:lnTo>
                    <a:pt x="11680863" y="2943952"/>
                  </a:lnTo>
                  <a:lnTo>
                    <a:pt x="11951974" y="3214364"/>
                  </a:lnTo>
                  <a:lnTo>
                    <a:pt x="11681562" y="3485473"/>
                  </a:lnTo>
                  <a:lnTo>
                    <a:pt x="11945685" y="3485473"/>
                  </a:lnTo>
                  <a:lnTo>
                    <a:pt x="12192001" y="3238522"/>
                  </a:lnTo>
                  <a:lnTo>
                    <a:pt x="12192001" y="3249019"/>
                  </a:lnTo>
                  <a:lnTo>
                    <a:pt x="11951275" y="3490365"/>
                  </a:lnTo>
                  <a:lnTo>
                    <a:pt x="12192001" y="3730470"/>
                  </a:lnTo>
                  <a:lnTo>
                    <a:pt x="12192001" y="3738839"/>
                  </a:lnTo>
                  <a:lnTo>
                    <a:pt x="11945685" y="3493160"/>
                  </a:lnTo>
                  <a:lnTo>
                    <a:pt x="11681562" y="3493160"/>
                  </a:lnTo>
                  <a:lnTo>
                    <a:pt x="11951974" y="3762174"/>
                  </a:lnTo>
                  <a:lnTo>
                    <a:pt x="11949178" y="3764969"/>
                  </a:lnTo>
                  <a:lnTo>
                    <a:pt x="11859042" y="3855806"/>
                  </a:lnTo>
                  <a:lnTo>
                    <a:pt x="11682312" y="4032535"/>
                  </a:lnTo>
                  <a:lnTo>
                    <a:pt x="11945176" y="4032535"/>
                  </a:lnTo>
                  <a:lnTo>
                    <a:pt x="12116367" y="3860644"/>
                  </a:lnTo>
                  <a:lnTo>
                    <a:pt x="12118325" y="3860644"/>
                  </a:lnTo>
                  <a:lnTo>
                    <a:pt x="12192001" y="3786969"/>
                  </a:lnTo>
                  <a:lnTo>
                    <a:pt x="12192001" y="3798267"/>
                  </a:lnTo>
                  <a:lnTo>
                    <a:pt x="12042111" y="3948738"/>
                  </a:lnTo>
                  <a:lnTo>
                    <a:pt x="11953840" y="4037700"/>
                  </a:lnTo>
                  <a:lnTo>
                    <a:pt x="12192001" y="4275248"/>
                  </a:lnTo>
                  <a:lnTo>
                    <a:pt x="12192001" y="4286404"/>
                  </a:lnTo>
                  <a:lnTo>
                    <a:pt x="11988663" y="4083594"/>
                  </a:lnTo>
                  <a:lnTo>
                    <a:pt x="11986910" y="4083594"/>
                  </a:lnTo>
                  <a:lnTo>
                    <a:pt x="11946384" y="4043068"/>
                  </a:lnTo>
                  <a:lnTo>
                    <a:pt x="11683900" y="4043068"/>
                  </a:lnTo>
                  <a:lnTo>
                    <a:pt x="11951465" y="4310632"/>
                  </a:lnTo>
                  <a:lnTo>
                    <a:pt x="11952862" y="4312030"/>
                  </a:lnTo>
                  <a:lnTo>
                    <a:pt x="11683847" y="4581743"/>
                  </a:lnTo>
                  <a:lnTo>
                    <a:pt x="11945875" y="4581743"/>
                  </a:lnTo>
                  <a:lnTo>
                    <a:pt x="12192001" y="4334979"/>
                  </a:lnTo>
                  <a:lnTo>
                    <a:pt x="12192001" y="4346260"/>
                  </a:lnTo>
                  <a:lnTo>
                    <a:pt x="11954259" y="4585237"/>
                  </a:lnTo>
                  <a:lnTo>
                    <a:pt x="12192001" y="4822363"/>
                  </a:lnTo>
                  <a:lnTo>
                    <a:pt x="12192001" y="4832127"/>
                  </a:lnTo>
                  <a:lnTo>
                    <a:pt x="11947272" y="4588031"/>
                  </a:lnTo>
                  <a:lnTo>
                    <a:pt x="11683847" y="4588730"/>
                  </a:lnTo>
                  <a:lnTo>
                    <a:pt x="11952862" y="4857047"/>
                  </a:lnTo>
                  <a:lnTo>
                    <a:pt x="11952164" y="4857746"/>
                  </a:lnTo>
                  <a:lnTo>
                    <a:pt x="11953561" y="4859142"/>
                  </a:lnTo>
                  <a:lnTo>
                    <a:pt x="11683148" y="5130253"/>
                  </a:lnTo>
                  <a:lnTo>
                    <a:pt x="11947272" y="5130253"/>
                  </a:lnTo>
                  <a:lnTo>
                    <a:pt x="12037409" y="5040116"/>
                  </a:lnTo>
                  <a:lnTo>
                    <a:pt x="12192001" y="4882518"/>
                  </a:lnTo>
                  <a:lnTo>
                    <a:pt x="12192001" y="4895391"/>
                  </a:lnTo>
                  <a:lnTo>
                    <a:pt x="11954259" y="5133747"/>
                  </a:lnTo>
                  <a:lnTo>
                    <a:pt x="12192001" y="5370876"/>
                  </a:lnTo>
                  <a:lnTo>
                    <a:pt x="12192001" y="5382038"/>
                  </a:lnTo>
                  <a:lnTo>
                    <a:pt x="11947272" y="5137939"/>
                  </a:lnTo>
                  <a:lnTo>
                    <a:pt x="11683148" y="5137939"/>
                  </a:lnTo>
                  <a:lnTo>
                    <a:pt x="11954259" y="5407653"/>
                  </a:lnTo>
                  <a:lnTo>
                    <a:pt x="11951465" y="5410448"/>
                  </a:lnTo>
                  <a:lnTo>
                    <a:pt x="11861327" y="5501283"/>
                  </a:lnTo>
                  <a:lnTo>
                    <a:pt x="11683847" y="5678763"/>
                  </a:lnTo>
                  <a:lnTo>
                    <a:pt x="11947970" y="5678763"/>
                  </a:lnTo>
                  <a:lnTo>
                    <a:pt x="12037409" y="5589325"/>
                  </a:lnTo>
                  <a:lnTo>
                    <a:pt x="12192001" y="5434732"/>
                  </a:lnTo>
                  <a:lnTo>
                    <a:pt x="12192001" y="5444515"/>
                  </a:lnTo>
                  <a:lnTo>
                    <a:pt x="12044397" y="5592120"/>
                  </a:lnTo>
                  <a:lnTo>
                    <a:pt x="11954958" y="5682258"/>
                  </a:lnTo>
                  <a:lnTo>
                    <a:pt x="12089116" y="5815716"/>
                  </a:lnTo>
                  <a:lnTo>
                    <a:pt x="12192001" y="5918601"/>
                  </a:lnTo>
                  <a:lnTo>
                    <a:pt x="12192001" y="5929923"/>
                  </a:lnTo>
                  <a:lnTo>
                    <a:pt x="12084924" y="5823402"/>
                  </a:lnTo>
                  <a:lnTo>
                    <a:pt x="11947970" y="5686450"/>
                  </a:lnTo>
                  <a:lnTo>
                    <a:pt x="11683847" y="5686450"/>
                  </a:lnTo>
                  <a:lnTo>
                    <a:pt x="11954958" y="5956862"/>
                  </a:lnTo>
                  <a:lnTo>
                    <a:pt x="11685245" y="6227973"/>
                  </a:lnTo>
                  <a:lnTo>
                    <a:pt x="11948669" y="6227973"/>
                  </a:lnTo>
                  <a:lnTo>
                    <a:pt x="12192001" y="5984012"/>
                  </a:lnTo>
                  <a:lnTo>
                    <a:pt x="12192001" y="5993810"/>
                  </a:lnTo>
                  <a:lnTo>
                    <a:pt x="11954958" y="6231466"/>
                  </a:lnTo>
                  <a:lnTo>
                    <a:pt x="12192001" y="6467898"/>
                  </a:lnTo>
                  <a:lnTo>
                    <a:pt x="12192001" y="6477665"/>
                  </a:lnTo>
                  <a:lnTo>
                    <a:pt x="11948669" y="6234960"/>
                  </a:lnTo>
                  <a:lnTo>
                    <a:pt x="11685245" y="6234960"/>
                  </a:lnTo>
                  <a:lnTo>
                    <a:pt x="11815210" y="6364925"/>
                  </a:lnTo>
                  <a:lnTo>
                    <a:pt x="11955657" y="6505372"/>
                  </a:lnTo>
                  <a:lnTo>
                    <a:pt x="11945954" y="6515100"/>
                  </a:lnTo>
                  <a:lnTo>
                    <a:pt x="11935461" y="6515100"/>
                  </a:lnTo>
                  <a:lnTo>
                    <a:pt x="11940983" y="6509564"/>
                  </a:lnTo>
                  <a:lnTo>
                    <a:pt x="11677558" y="6509564"/>
                  </a:lnTo>
                  <a:lnTo>
                    <a:pt x="11672044" y="6515100"/>
                  </a:lnTo>
                  <a:lnTo>
                    <a:pt x="11661542" y="6515100"/>
                  </a:lnTo>
                  <a:lnTo>
                    <a:pt x="11671270" y="6505372"/>
                  </a:lnTo>
                  <a:lnTo>
                    <a:pt x="11400159" y="6234960"/>
                  </a:lnTo>
                  <a:lnTo>
                    <a:pt x="11136036" y="6234960"/>
                  </a:lnTo>
                  <a:lnTo>
                    <a:pt x="11407146" y="6505372"/>
                  </a:lnTo>
                  <a:lnTo>
                    <a:pt x="11404352" y="6508166"/>
                  </a:lnTo>
                  <a:lnTo>
                    <a:pt x="11397471" y="6515100"/>
                  </a:lnTo>
                  <a:lnTo>
                    <a:pt x="11387635" y="6515100"/>
                  </a:lnTo>
                  <a:lnTo>
                    <a:pt x="11393171" y="6509564"/>
                  </a:lnTo>
                  <a:lnTo>
                    <a:pt x="11129049" y="6509564"/>
                  </a:lnTo>
                  <a:lnTo>
                    <a:pt x="11123527" y="6515100"/>
                  </a:lnTo>
                  <a:lnTo>
                    <a:pt x="11113055" y="6515100"/>
                  </a:lnTo>
                  <a:lnTo>
                    <a:pt x="11122062" y="6506071"/>
                  </a:lnTo>
                  <a:lnTo>
                    <a:pt x="11117170" y="6501179"/>
                  </a:lnTo>
                  <a:lnTo>
                    <a:pt x="10851650" y="6236358"/>
                  </a:lnTo>
                  <a:lnTo>
                    <a:pt x="10587525" y="6236358"/>
                  </a:lnTo>
                  <a:lnTo>
                    <a:pt x="10588224" y="6237056"/>
                  </a:lnTo>
                  <a:lnTo>
                    <a:pt x="10588923" y="6237056"/>
                  </a:lnTo>
                  <a:lnTo>
                    <a:pt x="10857937" y="6506071"/>
                  </a:lnTo>
                  <a:lnTo>
                    <a:pt x="10848931" y="6515100"/>
                  </a:lnTo>
                  <a:lnTo>
                    <a:pt x="10840523" y="6515100"/>
                  </a:lnTo>
                  <a:lnTo>
                    <a:pt x="10845361" y="6510263"/>
                  </a:lnTo>
                  <a:lnTo>
                    <a:pt x="10581237" y="6510263"/>
                  </a:lnTo>
                  <a:lnTo>
                    <a:pt x="10576412" y="6515100"/>
                  </a:lnTo>
                  <a:lnTo>
                    <a:pt x="10563823" y="6515100"/>
                  </a:lnTo>
                  <a:lnTo>
                    <a:pt x="10572852" y="6506071"/>
                  </a:lnTo>
                  <a:lnTo>
                    <a:pt x="10440092" y="6374009"/>
                  </a:lnTo>
                  <a:lnTo>
                    <a:pt x="10301742" y="6235659"/>
                  </a:lnTo>
                  <a:lnTo>
                    <a:pt x="10037618" y="6235659"/>
                  </a:lnTo>
                  <a:lnTo>
                    <a:pt x="10308729" y="6505372"/>
                  </a:lnTo>
                  <a:lnTo>
                    <a:pt x="10305934" y="6508166"/>
                  </a:lnTo>
                  <a:lnTo>
                    <a:pt x="10299053" y="6515100"/>
                  </a:lnTo>
                  <a:lnTo>
                    <a:pt x="10289917" y="6515100"/>
                  </a:lnTo>
                  <a:lnTo>
                    <a:pt x="10295453" y="6509564"/>
                  </a:lnTo>
                  <a:lnTo>
                    <a:pt x="10036919" y="6509564"/>
                  </a:lnTo>
                  <a:lnTo>
                    <a:pt x="10035464" y="6508865"/>
                  </a:lnTo>
                  <a:lnTo>
                    <a:pt x="10036919" y="6508865"/>
                  </a:lnTo>
                  <a:lnTo>
                    <a:pt x="10019451" y="6500480"/>
                  </a:lnTo>
                  <a:lnTo>
                    <a:pt x="10020794" y="6501824"/>
                  </a:lnTo>
                  <a:lnTo>
                    <a:pt x="10019451" y="6501179"/>
                  </a:lnTo>
                  <a:lnTo>
                    <a:pt x="9753930" y="6236358"/>
                  </a:lnTo>
                  <a:lnTo>
                    <a:pt x="9489807" y="6236358"/>
                  </a:lnTo>
                  <a:lnTo>
                    <a:pt x="9491204" y="6237754"/>
                  </a:lnTo>
                  <a:lnTo>
                    <a:pt x="9760219" y="6506770"/>
                  </a:lnTo>
                  <a:lnTo>
                    <a:pt x="9751867" y="6515100"/>
                  </a:lnTo>
                  <a:lnTo>
                    <a:pt x="9741431" y="6515100"/>
                  </a:lnTo>
                  <a:lnTo>
                    <a:pt x="9746244" y="6510263"/>
                  </a:lnTo>
                  <a:lnTo>
                    <a:pt x="9484783" y="6510263"/>
                  </a:lnTo>
                  <a:lnTo>
                    <a:pt x="9476833" y="6518275"/>
                  </a:lnTo>
                  <a:lnTo>
                    <a:pt x="9466908" y="6518275"/>
                  </a:lnTo>
                  <a:lnTo>
                    <a:pt x="9470109" y="6515100"/>
                  </a:lnTo>
                  <a:lnTo>
                    <a:pt x="9467501" y="6515100"/>
                  </a:lnTo>
                  <a:lnTo>
                    <a:pt x="9472657" y="6509945"/>
                  </a:lnTo>
                  <a:lnTo>
                    <a:pt x="9211183" y="6509945"/>
                  </a:lnTo>
                  <a:lnTo>
                    <a:pt x="9202874" y="6518275"/>
                  </a:lnTo>
                  <a:lnTo>
                    <a:pt x="9191704" y="6518275"/>
                  </a:lnTo>
                  <a:lnTo>
                    <a:pt x="9204195" y="6505752"/>
                  </a:lnTo>
                  <a:lnTo>
                    <a:pt x="9199304" y="6500861"/>
                  </a:lnTo>
                  <a:lnTo>
                    <a:pt x="8933783" y="6235340"/>
                  </a:lnTo>
                  <a:lnTo>
                    <a:pt x="8669660" y="6235340"/>
                  </a:lnTo>
                  <a:lnTo>
                    <a:pt x="8671058" y="6236737"/>
                  </a:lnTo>
                  <a:lnTo>
                    <a:pt x="8940072" y="6505752"/>
                  </a:lnTo>
                  <a:lnTo>
                    <a:pt x="8927581" y="6518275"/>
                  </a:lnTo>
                  <a:lnTo>
                    <a:pt x="8919183" y="6518275"/>
                  </a:lnTo>
                  <a:lnTo>
                    <a:pt x="8926796" y="6510643"/>
                  </a:lnTo>
                  <a:lnTo>
                    <a:pt x="8662672" y="6510643"/>
                  </a:lnTo>
                  <a:lnTo>
                    <a:pt x="8655060" y="6518275"/>
                  </a:lnTo>
                  <a:lnTo>
                    <a:pt x="8643195" y="6518275"/>
                  </a:lnTo>
                  <a:lnTo>
                    <a:pt x="8656384" y="6505053"/>
                  </a:lnTo>
                  <a:lnTo>
                    <a:pt x="8522925" y="6372290"/>
                  </a:lnTo>
                  <a:lnTo>
                    <a:pt x="8525720" y="6366702"/>
                  </a:lnTo>
                  <a:lnTo>
                    <a:pt x="8525021" y="6366004"/>
                  </a:lnTo>
                  <a:lnTo>
                    <a:pt x="8525720" y="6364607"/>
                  </a:lnTo>
                  <a:lnTo>
                    <a:pt x="8662672" y="6501560"/>
                  </a:lnTo>
                  <a:lnTo>
                    <a:pt x="8926796" y="6501560"/>
                  </a:lnTo>
                  <a:lnTo>
                    <a:pt x="8655685" y="6231148"/>
                  </a:lnTo>
                  <a:lnTo>
                    <a:pt x="8657083" y="6229750"/>
                  </a:lnTo>
                  <a:lnTo>
                    <a:pt x="8925398" y="5960736"/>
                  </a:lnTo>
                  <a:lnTo>
                    <a:pt x="8726957" y="5960736"/>
                  </a:lnTo>
                  <a:lnTo>
                    <a:pt x="8730450" y="5953748"/>
                  </a:lnTo>
                  <a:lnTo>
                    <a:pt x="8925398" y="5953748"/>
                  </a:lnTo>
                  <a:lnTo>
                    <a:pt x="8795433" y="5823783"/>
                  </a:lnTo>
                  <a:lnTo>
                    <a:pt x="8798926" y="5816795"/>
                  </a:lnTo>
                  <a:lnTo>
                    <a:pt x="8939373" y="5957241"/>
                  </a:lnTo>
                  <a:lnTo>
                    <a:pt x="8668961" y="6228352"/>
                  </a:lnTo>
                  <a:lnTo>
                    <a:pt x="8933085" y="6228352"/>
                  </a:lnTo>
                  <a:lnTo>
                    <a:pt x="9203497" y="5957241"/>
                  </a:lnTo>
                  <a:lnTo>
                    <a:pt x="8932386" y="5687528"/>
                  </a:lnTo>
                  <a:lnTo>
                    <a:pt x="8863909" y="5687528"/>
                  </a:lnTo>
                  <a:lnTo>
                    <a:pt x="8668961" y="5687528"/>
                  </a:lnTo>
                  <a:lnTo>
                    <a:pt x="8798227" y="5817494"/>
                  </a:lnTo>
                  <a:lnTo>
                    <a:pt x="8794734" y="5824481"/>
                  </a:lnTo>
                  <a:lnTo>
                    <a:pt x="8654287" y="5684035"/>
                  </a:lnTo>
                  <a:lnTo>
                    <a:pt x="8924699" y="5412924"/>
                  </a:lnTo>
                  <a:lnTo>
                    <a:pt x="8660576" y="5412924"/>
                  </a:lnTo>
                  <a:lnTo>
                    <a:pt x="8390164" y="5684035"/>
                  </a:lnTo>
                  <a:lnTo>
                    <a:pt x="8661275" y="5954447"/>
                  </a:lnTo>
                  <a:lnTo>
                    <a:pt x="8729751" y="5954447"/>
                  </a:lnTo>
                  <a:lnTo>
                    <a:pt x="8726258" y="5961434"/>
                  </a:lnTo>
                  <a:lnTo>
                    <a:pt x="8661275" y="5961434"/>
                  </a:lnTo>
                  <a:lnTo>
                    <a:pt x="8481000" y="6142408"/>
                  </a:lnTo>
                  <a:lnTo>
                    <a:pt x="8391562" y="6232545"/>
                  </a:lnTo>
                  <a:lnTo>
                    <a:pt x="8525021" y="6366004"/>
                  </a:lnTo>
                  <a:lnTo>
                    <a:pt x="8522226" y="6371593"/>
                  </a:lnTo>
                  <a:lnTo>
                    <a:pt x="8522925" y="6372290"/>
                  </a:lnTo>
                  <a:lnTo>
                    <a:pt x="8522226" y="6373690"/>
                  </a:lnTo>
                  <a:lnTo>
                    <a:pt x="8385273" y="6236737"/>
                  </a:lnTo>
                  <a:lnTo>
                    <a:pt x="8121150" y="6236737"/>
                  </a:lnTo>
                  <a:lnTo>
                    <a:pt x="8392260" y="6507149"/>
                  </a:lnTo>
                  <a:lnTo>
                    <a:pt x="8381163" y="6518275"/>
                  </a:lnTo>
                  <a:lnTo>
                    <a:pt x="8370672" y="6518275"/>
                  </a:lnTo>
                  <a:lnTo>
                    <a:pt x="8378285" y="6510643"/>
                  </a:lnTo>
                  <a:lnTo>
                    <a:pt x="8114162" y="6510643"/>
                  </a:lnTo>
                  <a:lnTo>
                    <a:pt x="8106549" y="6518275"/>
                  </a:lnTo>
                  <a:lnTo>
                    <a:pt x="8097473" y="6518275"/>
                  </a:lnTo>
                  <a:lnTo>
                    <a:pt x="8107873" y="6507848"/>
                  </a:lnTo>
                  <a:lnTo>
                    <a:pt x="7836763" y="6237436"/>
                  </a:lnTo>
                  <a:lnTo>
                    <a:pt x="7572639" y="6237436"/>
                  </a:lnTo>
                  <a:lnTo>
                    <a:pt x="7843750" y="6507848"/>
                  </a:lnTo>
                  <a:lnTo>
                    <a:pt x="7833350" y="6518275"/>
                  </a:lnTo>
                  <a:lnTo>
                    <a:pt x="7823556" y="6518275"/>
                  </a:lnTo>
                  <a:lnTo>
                    <a:pt x="7829775" y="6512040"/>
                  </a:lnTo>
                  <a:lnTo>
                    <a:pt x="7565652" y="6512040"/>
                  </a:lnTo>
                  <a:lnTo>
                    <a:pt x="7559433" y="6518275"/>
                  </a:lnTo>
                  <a:lnTo>
                    <a:pt x="7549660" y="6518275"/>
                  </a:lnTo>
                  <a:lnTo>
                    <a:pt x="7559363" y="6508547"/>
                  </a:lnTo>
                  <a:lnTo>
                    <a:pt x="7288252" y="6238135"/>
                  </a:lnTo>
                  <a:lnTo>
                    <a:pt x="7024828" y="6238135"/>
                  </a:lnTo>
                  <a:lnTo>
                    <a:pt x="7154793" y="6368100"/>
                  </a:lnTo>
                  <a:lnTo>
                    <a:pt x="7295240" y="6508547"/>
                  </a:lnTo>
                  <a:lnTo>
                    <a:pt x="7285537" y="6518275"/>
                  </a:lnTo>
                  <a:lnTo>
                    <a:pt x="7275044" y="6518275"/>
                  </a:lnTo>
                  <a:lnTo>
                    <a:pt x="7280566" y="6512739"/>
                  </a:lnTo>
                  <a:lnTo>
                    <a:pt x="7017141" y="6512739"/>
                  </a:lnTo>
                  <a:lnTo>
                    <a:pt x="7011627" y="6518275"/>
                  </a:lnTo>
                  <a:lnTo>
                    <a:pt x="7001125" y="6518275"/>
                  </a:lnTo>
                  <a:lnTo>
                    <a:pt x="7010853" y="6508547"/>
                  </a:lnTo>
                  <a:lnTo>
                    <a:pt x="6739742" y="6238135"/>
                  </a:lnTo>
                  <a:lnTo>
                    <a:pt x="6475619" y="6238135"/>
                  </a:lnTo>
                  <a:lnTo>
                    <a:pt x="6746729" y="6508547"/>
                  </a:lnTo>
                  <a:lnTo>
                    <a:pt x="6743935" y="6511341"/>
                  </a:lnTo>
                  <a:lnTo>
                    <a:pt x="6737054" y="6518275"/>
                  </a:lnTo>
                  <a:lnTo>
                    <a:pt x="6727219" y="6518275"/>
                  </a:lnTo>
                  <a:lnTo>
                    <a:pt x="6732754" y="6512739"/>
                  </a:lnTo>
                  <a:lnTo>
                    <a:pt x="6468632" y="6512739"/>
                  </a:lnTo>
                  <a:lnTo>
                    <a:pt x="6463111" y="6518275"/>
                  </a:lnTo>
                  <a:lnTo>
                    <a:pt x="6452638" y="6518275"/>
                  </a:lnTo>
                  <a:lnTo>
                    <a:pt x="6461645" y="6509246"/>
                  </a:lnTo>
                  <a:lnTo>
                    <a:pt x="6456753" y="6504354"/>
                  </a:lnTo>
                  <a:lnTo>
                    <a:pt x="6191234" y="6239533"/>
                  </a:lnTo>
                  <a:lnTo>
                    <a:pt x="5927108" y="6239533"/>
                  </a:lnTo>
                  <a:lnTo>
                    <a:pt x="5927807" y="6240231"/>
                  </a:lnTo>
                  <a:lnTo>
                    <a:pt x="5928507" y="6240231"/>
                  </a:lnTo>
                  <a:lnTo>
                    <a:pt x="6197521" y="6509246"/>
                  </a:lnTo>
                  <a:lnTo>
                    <a:pt x="6188514" y="6518275"/>
                  </a:lnTo>
                  <a:lnTo>
                    <a:pt x="6180107" y="6518275"/>
                  </a:lnTo>
                  <a:lnTo>
                    <a:pt x="6184944" y="6513438"/>
                  </a:lnTo>
                  <a:lnTo>
                    <a:pt x="5920821" y="6513438"/>
                  </a:lnTo>
                  <a:lnTo>
                    <a:pt x="5915996" y="6518275"/>
                  </a:lnTo>
                  <a:lnTo>
                    <a:pt x="5903406" y="6518275"/>
                  </a:lnTo>
                  <a:lnTo>
                    <a:pt x="5912435" y="6509246"/>
                  </a:lnTo>
                  <a:lnTo>
                    <a:pt x="5779675" y="6377184"/>
                  </a:lnTo>
                  <a:lnTo>
                    <a:pt x="5641325" y="6238834"/>
                  </a:lnTo>
                  <a:lnTo>
                    <a:pt x="5377202" y="6238834"/>
                  </a:lnTo>
                  <a:lnTo>
                    <a:pt x="5648312" y="6508547"/>
                  </a:lnTo>
                  <a:lnTo>
                    <a:pt x="5645518" y="6511341"/>
                  </a:lnTo>
                  <a:lnTo>
                    <a:pt x="5638636" y="6518275"/>
                  </a:lnTo>
                  <a:lnTo>
                    <a:pt x="5629500" y="6518275"/>
                  </a:lnTo>
                  <a:lnTo>
                    <a:pt x="5635036" y="6512739"/>
                  </a:lnTo>
                  <a:lnTo>
                    <a:pt x="5376502" y="6512739"/>
                  </a:lnTo>
                  <a:lnTo>
                    <a:pt x="5375047" y="6512040"/>
                  </a:lnTo>
                  <a:lnTo>
                    <a:pt x="5376502" y="6512040"/>
                  </a:lnTo>
                  <a:lnTo>
                    <a:pt x="5359034" y="6503655"/>
                  </a:lnTo>
                  <a:lnTo>
                    <a:pt x="5360377" y="6504999"/>
                  </a:lnTo>
                  <a:lnTo>
                    <a:pt x="5359034" y="6504354"/>
                  </a:lnTo>
                  <a:lnTo>
                    <a:pt x="5093513" y="6239533"/>
                  </a:lnTo>
                  <a:lnTo>
                    <a:pt x="4829390" y="6239533"/>
                  </a:lnTo>
                  <a:lnTo>
                    <a:pt x="4830788" y="6240929"/>
                  </a:lnTo>
                  <a:lnTo>
                    <a:pt x="5099802" y="6509945"/>
                  </a:lnTo>
                  <a:lnTo>
                    <a:pt x="5091450" y="6518275"/>
                  </a:lnTo>
                  <a:lnTo>
                    <a:pt x="5081014" y="6518275"/>
                  </a:lnTo>
                  <a:lnTo>
                    <a:pt x="5085827" y="6513438"/>
                  </a:lnTo>
                  <a:lnTo>
                    <a:pt x="4826252" y="6513438"/>
                  </a:lnTo>
                  <a:lnTo>
                    <a:pt x="4816727" y="6523037"/>
                  </a:lnTo>
                  <a:lnTo>
                    <a:pt x="4806802" y="6523037"/>
                  </a:lnTo>
                  <a:lnTo>
                    <a:pt x="4811603" y="6518275"/>
                  </a:lnTo>
                  <a:lnTo>
                    <a:pt x="4807085" y="6518275"/>
                  </a:lnTo>
                  <a:lnTo>
                    <a:pt x="4810652" y="6514707"/>
                  </a:lnTo>
                  <a:lnTo>
                    <a:pt x="4551077" y="6514707"/>
                  </a:lnTo>
                  <a:lnTo>
                    <a:pt x="4542768" y="6523037"/>
                  </a:lnTo>
                  <a:lnTo>
                    <a:pt x="4531598" y="6523037"/>
                  </a:lnTo>
                  <a:lnTo>
                    <a:pt x="4544090" y="6510514"/>
                  </a:lnTo>
                  <a:lnTo>
                    <a:pt x="4539199" y="6505623"/>
                  </a:lnTo>
                  <a:lnTo>
                    <a:pt x="4273677" y="6240102"/>
                  </a:lnTo>
                  <a:lnTo>
                    <a:pt x="4009554" y="6240102"/>
                  </a:lnTo>
                  <a:lnTo>
                    <a:pt x="4010952" y="6241499"/>
                  </a:lnTo>
                  <a:lnTo>
                    <a:pt x="4279967" y="6510514"/>
                  </a:lnTo>
                  <a:lnTo>
                    <a:pt x="4267475" y="6523037"/>
                  </a:lnTo>
                  <a:lnTo>
                    <a:pt x="4259077" y="6523037"/>
                  </a:lnTo>
                  <a:lnTo>
                    <a:pt x="4266690" y="6515405"/>
                  </a:lnTo>
                  <a:lnTo>
                    <a:pt x="4002566" y="6515405"/>
                  </a:lnTo>
                  <a:lnTo>
                    <a:pt x="3994954" y="6523037"/>
                  </a:lnTo>
                  <a:lnTo>
                    <a:pt x="3983089" y="6523037"/>
                  </a:lnTo>
                  <a:lnTo>
                    <a:pt x="3996278" y="6509815"/>
                  </a:lnTo>
                  <a:lnTo>
                    <a:pt x="3862819" y="6377052"/>
                  </a:lnTo>
                  <a:lnTo>
                    <a:pt x="3865614" y="6371464"/>
                  </a:lnTo>
                  <a:lnTo>
                    <a:pt x="3864915" y="6370766"/>
                  </a:lnTo>
                  <a:lnTo>
                    <a:pt x="3865614" y="6369369"/>
                  </a:lnTo>
                  <a:lnTo>
                    <a:pt x="4002566" y="6506322"/>
                  </a:lnTo>
                  <a:lnTo>
                    <a:pt x="4266690" y="6506322"/>
                  </a:lnTo>
                  <a:lnTo>
                    <a:pt x="3995579" y="6235910"/>
                  </a:lnTo>
                  <a:lnTo>
                    <a:pt x="3996977" y="6234512"/>
                  </a:lnTo>
                  <a:lnTo>
                    <a:pt x="4265292" y="5965498"/>
                  </a:lnTo>
                  <a:lnTo>
                    <a:pt x="4066851" y="5965498"/>
                  </a:lnTo>
                  <a:lnTo>
                    <a:pt x="4070344" y="5958510"/>
                  </a:lnTo>
                  <a:lnTo>
                    <a:pt x="4265292" y="5958510"/>
                  </a:lnTo>
                  <a:lnTo>
                    <a:pt x="4135327" y="5828545"/>
                  </a:lnTo>
                  <a:lnTo>
                    <a:pt x="4138820" y="5821557"/>
                  </a:lnTo>
                  <a:lnTo>
                    <a:pt x="4279267" y="5962003"/>
                  </a:lnTo>
                  <a:lnTo>
                    <a:pt x="4008855" y="6233114"/>
                  </a:lnTo>
                  <a:lnTo>
                    <a:pt x="4272979" y="6233114"/>
                  </a:lnTo>
                  <a:lnTo>
                    <a:pt x="4543392" y="5962003"/>
                  </a:lnTo>
                  <a:lnTo>
                    <a:pt x="4272281" y="5692290"/>
                  </a:lnTo>
                  <a:lnTo>
                    <a:pt x="4203803" y="5692290"/>
                  </a:lnTo>
                  <a:lnTo>
                    <a:pt x="4008855" y="5692290"/>
                  </a:lnTo>
                  <a:lnTo>
                    <a:pt x="4138121" y="5822256"/>
                  </a:lnTo>
                  <a:lnTo>
                    <a:pt x="4134628" y="5829243"/>
                  </a:lnTo>
                  <a:lnTo>
                    <a:pt x="3994181" y="5688797"/>
                  </a:lnTo>
                  <a:lnTo>
                    <a:pt x="4264593" y="5417686"/>
                  </a:lnTo>
                  <a:lnTo>
                    <a:pt x="4000470" y="5417686"/>
                  </a:lnTo>
                  <a:lnTo>
                    <a:pt x="3730058" y="5688797"/>
                  </a:lnTo>
                  <a:lnTo>
                    <a:pt x="4001169" y="5959209"/>
                  </a:lnTo>
                  <a:lnTo>
                    <a:pt x="4069645" y="5959209"/>
                  </a:lnTo>
                  <a:lnTo>
                    <a:pt x="4066152" y="5966196"/>
                  </a:lnTo>
                  <a:lnTo>
                    <a:pt x="4001169" y="5966196"/>
                  </a:lnTo>
                  <a:lnTo>
                    <a:pt x="3820894" y="6147170"/>
                  </a:lnTo>
                  <a:lnTo>
                    <a:pt x="3731456" y="6237307"/>
                  </a:lnTo>
                  <a:lnTo>
                    <a:pt x="3864915" y="6370766"/>
                  </a:lnTo>
                  <a:lnTo>
                    <a:pt x="3862120" y="6376355"/>
                  </a:lnTo>
                  <a:lnTo>
                    <a:pt x="3862819" y="6377052"/>
                  </a:lnTo>
                  <a:lnTo>
                    <a:pt x="3862120" y="6378452"/>
                  </a:lnTo>
                  <a:lnTo>
                    <a:pt x="3725167" y="6241499"/>
                  </a:lnTo>
                  <a:lnTo>
                    <a:pt x="3461044" y="6241499"/>
                  </a:lnTo>
                  <a:lnTo>
                    <a:pt x="3732154" y="6511911"/>
                  </a:lnTo>
                  <a:lnTo>
                    <a:pt x="3721057" y="6523037"/>
                  </a:lnTo>
                  <a:lnTo>
                    <a:pt x="3710566" y="6523037"/>
                  </a:lnTo>
                  <a:lnTo>
                    <a:pt x="3718179" y="6515405"/>
                  </a:lnTo>
                  <a:lnTo>
                    <a:pt x="3454056" y="6515405"/>
                  </a:lnTo>
                  <a:lnTo>
                    <a:pt x="3446443" y="6523037"/>
                  </a:lnTo>
                  <a:lnTo>
                    <a:pt x="3437367" y="6523037"/>
                  </a:lnTo>
                  <a:lnTo>
                    <a:pt x="3447767" y="6512610"/>
                  </a:lnTo>
                  <a:lnTo>
                    <a:pt x="3176657" y="6242198"/>
                  </a:lnTo>
                  <a:lnTo>
                    <a:pt x="2912533" y="6242198"/>
                  </a:lnTo>
                  <a:lnTo>
                    <a:pt x="3183644" y="6512610"/>
                  </a:lnTo>
                  <a:lnTo>
                    <a:pt x="3173244" y="6523037"/>
                  </a:lnTo>
                  <a:lnTo>
                    <a:pt x="3163450" y="6523037"/>
                  </a:lnTo>
                  <a:lnTo>
                    <a:pt x="3169669" y="6516802"/>
                  </a:lnTo>
                  <a:lnTo>
                    <a:pt x="2905546" y="6516802"/>
                  </a:lnTo>
                  <a:lnTo>
                    <a:pt x="2899327" y="6523037"/>
                  </a:lnTo>
                  <a:lnTo>
                    <a:pt x="2889554" y="6523037"/>
                  </a:lnTo>
                  <a:lnTo>
                    <a:pt x="2899257" y="6513309"/>
                  </a:lnTo>
                  <a:lnTo>
                    <a:pt x="2628146" y="6242897"/>
                  </a:lnTo>
                  <a:lnTo>
                    <a:pt x="2364722" y="6242897"/>
                  </a:lnTo>
                  <a:lnTo>
                    <a:pt x="2494687" y="6372862"/>
                  </a:lnTo>
                  <a:lnTo>
                    <a:pt x="2635134" y="6513309"/>
                  </a:lnTo>
                  <a:lnTo>
                    <a:pt x="2625431" y="6523037"/>
                  </a:lnTo>
                  <a:lnTo>
                    <a:pt x="2614938" y="6523037"/>
                  </a:lnTo>
                  <a:lnTo>
                    <a:pt x="2620460" y="6517501"/>
                  </a:lnTo>
                  <a:lnTo>
                    <a:pt x="2357035" y="6517501"/>
                  </a:lnTo>
                  <a:lnTo>
                    <a:pt x="2351521" y="6523037"/>
                  </a:lnTo>
                  <a:lnTo>
                    <a:pt x="2341019" y="6523037"/>
                  </a:lnTo>
                  <a:lnTo>
                    <a:pt x="2350747" y="6513309"/>
                  </a:lnTo>
                  <a:lnTo>
                    <a:pt x="2079636" y="6242897"/>
                  </a:lnTo>
                  <a:lnTo>
                    <a:pt x="1815513" y="6242897"/>
                  </a:lnTo>
                  <a:lnTo>
                    <a:pt x="2086623" y="6513309"/>
                  </a:lnTo>
                  <a:lnTo>
                    <a:pt x="2083829" y="6516103"/>
                  </a:lnTo>
                  <a:lnTo>
                    <a:pt x="2076948" y="6523037"/>
                  </a:lnTo>
                  <a:lnTo>
                    <a:pt x="2067112" y="6523037"/>
                  </a:lnTo>
                  <a:lnTo>
                    <a:pt x="2072648" y="6517501"/>
                  </a:lnTo>
                  <a:lnTo>
                    <a:pt x="1808526" y="6517501"/>
                  </a:lnTo>
                  <a:lnTo>
                    <a:pt x="1803004" y="6523037"/>
                  </a:lnTo>
                  <a:lnTo>
                    <a:pt x="1792532" y="6523037"/>
                  </a:lnTo>
                  <a:lnTo>
                    <a:pt x="1801539" y="6514008"/>
                  </a:lnTo>
                  <a:lnTo>
                    <a:pt x="1796647" y="6509116"/>
                  </a:lnTo>
                  <a:lnTo>
                    <a:pt x="1531127" y="6244295"/>
                  </a:lnTo>
                  <a:lnTo>
                    <a:pt x="1267002" y="6244295"/>
                  </a:lnTo>
                  <a:lnTo>
                    <a:pt x="1267701" y="6244993"/>
                  </a:lnTo>
                  <a:lnTo>
                    <a:pt x="1268400" y="6244993"/>
                  </a:lnTo>
                  <a:lnTo>
                    <a:pt x="1537414" y="6514008"/>
                  </a:lnTo>
                  <a:lnTo>
                    <a:pt x="1528408" y="6523037"/>
                  </a:lnTo>
                  <a:lnTo>
                    <a:pt x="1520000" y="6523037"/>
                  </a:lnTo>
                  <a:lnTo>
                    <a:pt x="1524838" y="6518200"/>
                  </a:lnTo>
                  <a:lnTo>
                    <a:pt x="1260714" y="6518200"/>
                  </a:lnTo>
                  <a:lnTo>
                    <a:pt x="1255889" y="6523037"/>
                  </a:lnTo>
                  <a:lnTo>
                    <a:pt x="1243300" y="6523037"/>
                  </a:lnTo>
                  <a:lnTo>
                    <a:pt x="1252329" y="6514008"/>
                  </a:lnTo>
                  <a:lnTo>
                    <a:pt x="1119569" y="6381946"/>
                  </a:lnTo>
                  <a:lnTo>
                    <a:pt x="981219" y="6243596"/>
                  </a:lnTo>
                  <a:lnTo>
                    <a:pt x="717095" y="6243596"/>
                  </a:lnTo>
                  <a:lnTo>
                    <a:pt x="988206" y="6513309"/>
                  </a:lnTo>
                  <a:lnTo>
                    <a:pt x="985411" y="6516103"/>
                  </a:lnTo>
                  <a:lnTo>
                    <a:pt x="978530" y="6523037"/>
                  </a:lnTo>
                  <a:lnTo>
                    <a:pt x="969394" y="6523037"/>
                  </a:lnTo>
                  <a:lnTo>
                    <a:pt x="974930" y="6517501"/>
                  </a:lnTo>
                  <a:lnTo>
                    <a:pt x="716396" y="6517501"/>
                  </a:lnTo>
                  <a:lnTo>
                    <a:pt x="714941" y="6516802"/>
                  </a:lnTo>
                  <a:lnTo>
                    <a:pt x="716396" y="6516802"/>
                  </a:lnTo>
                  <a:lnTo>
                    <a:pt x="698928" y="6508417"/>
                  </a:lnTo>
                  <a:lnTo>
                    <a:pt x="700271" y="6509761"/>
                  </a:lnTo>
                  <a:lnTo>
                    <a:pt x="698928" y="6509116"/>
                  </a:lnTo>
                  <a:lnTo>
                    <a:pt x="433407" y="6244295"/>
                  </a:lnTo>
                  <a:lnTo>
                    <a:pt x="169284" y="6244295"/>
                  </a:lnTo>
                  <a:lnTo>
                    <a:pt x="170681" y="6245691"/>
                  </a:lnTo>
                  <a:lnTo>
                    <a:pt x="439696" y="6514707"/>
                  </a:lnTo>
                  <a:lnTo>
                    <a:pt x="431344" y="6523037"/>
                  </a:lnTo>
                  <a:lnTo>
                    <a:pt x="420908" y="6523037"/>
                  </a:lnTo>
                  <a:lnTo>
                    <a:pt x="425721" y="6518200"/>
                  </a:lnTo>
                  <a:lnTo>
                    <a:pt x="161597" y="6518200"/>
                  </a:lnTo>
                  <a:lnTo>
                    <a:pt x="156781" y="6523037"/>
                  </a:lnTo>
                  <a:lnTo>
                    <a:pt x="146978" y="6523037"/>
                  </a:lnTo>
                  <a:lnTo>
                    <a:pt x="155309" y="6514707"/>
                  </a:lnTo>
                  <a:lnTo>
                    <a:pt x="21150" y="6381247"/>
                  </a:lnTo>
                  <a:lnTo>
                    <a:pt x="5080" y="6365176"/>
                  </a:lnTo>
                  <a:lnTo>
                    <a:pt x="5080" y="6355394"/>
                  </a:lnTo>
                  <a:lnTo>
                    <a:pt x="24645" y="6374959"/>
                  </a:lnTo>
                  <a:lnTo>
                    <a:pt x="161597" y="6511212"/>
                  </a:lnTo>
                  <a:lnTo>
                    <a:pt x="425721" y="6511212"/>
                  </a:lnTo>
                  <a:lnTo>
                    <a:pt x="154610" y="6240800"/>
                  </a:lnTo>
                  <a:lnTo>
                    <a:pt x="156008" y="6239403"/>
                  </a:lnTo>
                  <a:lnTo>
                    <a:pt x="156706" y="6239403"/>
                  </a:lnTo>
                  <a:lnTo>
                    <a:pt x="425022" y="5970389"/>
                  </a:lnTo>
                  <a:lnTo>
                    <a:pt x="161597" y="5970389"/>
                  </a:lnTo>
                  <a:lnTo>
                    <a:pt x="5080" y="6126906"/>
                  </a:lnTo>
                  <a:lnTo>
                    <a:pt x="5080" y="6116425"/>
                  </a:lnTo>
                  <a:lnTo>
                    <a:pt x="154610" y="5966894"/>
                  </a:lnTo>
                  <a:lnTo>
                    <a:pt x="5080" y="5817364"/>
                  </a:lnTo>
                  <a:lnTo>
                    <a:pt x="5080" y="5806884"/>
                  </a:lnTo>
                  <a:lnTo>
                    <a:pt x="161597" y="5962702"/>
                  </a:lnTo>
                  <a:lnTo>
                    <a:pt x="425022" y="5962702"/>
                  </a:lnTo>
                  <a:lnTo>
                    <a:pt x="295057" y="5832737"/>
                  </a:lnTo>
                  <a:lnTo>
                    <a:pt x="154610" y="5692290"/>
                  </a:lnTo>
                  <a:lnTo>
                    <a:pt x="425022" y="5421878"/>
                  </a:lnTo>
                  <a:lnTo>
                    <a:pt x="160898" y="5421878"/>
                  </a:lnTo>
                  <a:lnTo>
                    <a:pt x="5080" y="5577697"/>
                  </a:lnTo>
                  <a:lnTo>
                    <a:pt x="5080" y="5567216"/>
                  </a:lnTo>
                  <a:lnTo>
                    <a:pt x="153911" y="5418385"/>
                  </a:lnTo>
                  <a:lnTo>
                    <a:pt x="5080" y="5269553"/>
                  </a:lnTo>
                  <a:lnTo>
                    <a:pt x="5080" y="5259072"/>
                  </a:lnTo>
                  <a:lnTo>
                    <a:pt x="160898" y="5414192"/>
                  </a:lnTo>
                  <a:lnTo>
                    <a:pt x="425022" y="5414192"/>
                  </a:lnTo>
                  <a:lnTo>
                    <a:pt x="153911" y="5143780"/>
                  </a:lnTo>
                  <a:lnTo>
                    <a:pt x="338378" y="4959313"/>
                  </a:lnTo>
                  <a:lnTo>
                    <a:pt x="424323" y="4873368"/>
                  </a:lnTo>
                  <a:lnTo>
                    <a:pt x="160200" y="4873368"/>
                  </a:lnTo>
                  <a:lnTo>
                    <a:pt x="5080" y="5028489"/>
                  </a:lnTo>
                  <a:lnTo>
                    <a:pt x="5080" y="5018007"/>
                  </a:lnTo>
                  <a:lnTo>
                    <a:pt x="153212" y="4869176"/>
                  </a:lnTo>
                  <a:lnTo>
                    <a:pt x="148321" y="4864285"/>
                  </a:lnTo>
                  <a:lnTo>
                    <a:pt x="5080" y="4721741"/>
                  </a:lnTo>
                  <a:lnTo>
                    <a:pt x="5080" y="4711960"/>
                  </a:lnTo>
                  <a:lnTo>
                    <a:pt x="160200" y="4866380"/>
                  </a:lnTo>
                  <a:lnTo>
                    <a:pt x="424323" y="4865683"/>
                  </a:lnTo>
                  <a:lnTo>
                    <a:pt x="153212" y="4595271"/>
                  </a:lnTo>
                  <a:lnTo>
                    <a:pt x="423624" y="4324859"/>
                  </a:lnTo>
                  <a:lnTo>
                    <a:pt x="159501" y="4324859"/>
                  </a:lnTo>
                  <a:lnTo>
                    <a:pt x="5080" y="4479279"/>
                  </a:lnTo>
                  <a:lnTo>
                    <a:pt x="5080" y="4468799"/>
                  </a:lnTo>
                  <a:lnTo>
                    <a:pt x="152513" y="4320665"/>
                  </a:lnTo>
                  <a:lnTo>
                    <a:pt x="5080" y="4173930"/>
                  </a:lnTo>
                  <a:lnTo>
                    <a:pt x="5080" y="4163449"/>
                  </a:lnTo>
                  <a:lnTo>
                    <a:pt x="159501" y="4317172"/>
                  </a:lnTo>
                  <a:lnTo>
                    <a:pt x="423624" y="4317172"/>
                  </a:lnTo>
                  <a:lnTo>
                    <a:pt x="152513" y="4047459"/>
                  </a:lnTo>
                  <a:lnTo>
                    <a:pt x="331391" y="3868581"/>
                  </a:lnTo>
                  <a:lnTo>
                    <a:pt x="331489" y="3868581"/>
                  </a:lnTo>
                  <a:lnTo>
                    <a:pt x="422038" y="3777797"/>
                  </a:lnTo>
                  <a:lnTo>
                    <a:pt x="225692" y="3777797"/>
                  </a:lnTo>
                  <a:lnTo>
                    <a:pt x="226391" y="3776401"/>
                  </a:lnTo>
                  <a:lnTo>
                    <a:pt x="158613" y="3776401"/>
                  </a:lnTo>
                  <a:lnTo>
                    <a:pt x="0" y="3935012"/>
                  </a:lnTo>
                  <a:lnTo>
                    <a:pt x="0" y="3925231"/>
                  </a:lnTo>
                  <a:lnTo>
                    <a:pt x="152324" y="3772906"/>
                  </a:lnTo>
                  <a:lnTo>
                    <a:pt x="0" y="3621281"/>
                  </a:lnTo>
                  <a:lnTo>
                    <a:pt x="0" y="3610800"/>
                  </a:lnTo>
                  <a:lnTo>
                    <a:pt x="159312" y="3768713"/>
                  </a:lnTo>
                  <a:lnTo>
                    <a:pt x="423435" y="3768713"/>
                  </a:lnTo>
                  <a:lnTo>
                    <a:pt x="294168" y="3640146"/>
                  </a:lnTo>
                  <a:lnTo>
                    <a:pt x="152324" y="3499001"/>
                  </a:lnTo>
                  <a:lnTo>
                    <a:pt x="336093" y="3313835"/>
                  </a:lnTo>
                  <a:lnTo>
                    <a:pt x="422038" y="3227890"/>
                  </a:lnTo>
                  <a:lnTo>
                    <a:pt x="157914" y="3227890"/>
                  </a:lnTo>
                  <a:lnTo>
                    <a:pt x="0" y="3386503"/>
                  </a:lnTo>
                  <a:lnTo>
                    <a:pt x="0" y="3376021"/>
                  </a:lnTo>
                  <a:lnTo>
                    <a:pt x="152324" y="3224396"/>
                  </a:lnTo>
                  <a:lnTo>
                    <a:pt x="146735" y="3219505"/>
                  </a:lnTo>
                  <a:lnTo>
                    <a:pt x="0" y="3073469"/>
                  </a:lnTo>
                  <a:lnTo>
                    <a:pt x="0" y="3062989"/>
                  </a:lnTo>
                  <a:lnTo>
                    <a:pt x="157914" y="3220903"/>
                  </a:lnTo>
                  <a:lnTo>
                    <a:pt x="422038" y="3220903"/>
                  </a:lnTo>
                  <a:lnTo>
                    <a:pt x="150927" y="2950491"/>
                  </a:lnTo>
                  <a:lnTo>
                    <a:pt x="421339" y="2679380"/>
                  </a:lnTo>
                  <a:lnTo>
                    <a:pt x="157215" y="2679380"/>
                  </a:lnTo>
                  <a:lnTo>
                    <a:pt x="0" y="2837294"/>
                  </a:lnTo>
                  <a:lnTo>
                    <a:pt x="0" y="2826812"/>
                  </a:lnTo>
                  <a:lnTo>
                    <a:pt x="150927" y="2675886"/>
                  </a:lnTo>
                  <a:lnTo>
                    <a:pt x="0" y="2525658"/>
                  </a:lnTo>
                  <a:lnTo>
                    <a:pt x="0" y="2515876"/>
                  </a:lnTo>
                  <a:lnTo>
                    <a:pt x="157914" y="2672393"/>
                  </a:lnTo>
                  <a:lnTo>
                    <a:pt x="422038" y="2672393"/>
                  </a:lnTo>
                  <a:lnTo>
                    <a:pt x="150927" y="2401981"/>
                  </a:lnTo>
                  <a:lnTo>
                    <a:pt x="420640" y="2130870"/>
                  </a:lnTo>
                  <a:lnTo>
                    <a:pt x="156517" y="2130870"/>
                  </a:lnTo>
                  <a:lnTo>
                    <a:pt x="0" y="2288085"/>
                  </a:lnTo>
                  <a:lnTo>
                    <a:pt x="0" y="2277604"/>
                  </a:lnTo>
                  <a:lnTo>
                    <a:pt x="150228" y="2127376"/>
                  </a:lnTo>
                  <a:lnTo>
                    <a:pt x="16070" y="1993917"/>
                  </a:lnTo>
                  <a:lnTo>
                    <a:pt x="0" y="1977846"/>
                  </a:lnTo>
                  <a:lnTo>
                    <a:pt x="0" y="1968064"/>
                  </a:lnTo>
                  <a:lnTo>
                    <a:pt x="19564" y="1987628"/>
                  </a:lnTo>
                  <a:lnTo>
                    <a:pt x="156517" y="2123882"/>
                  </a:lnTo>
                  <a:lnTo>
                    <a:pt x="420640" y="2123882"/>
                  </a:lnTo>
                  <a:lnTo>
                    <a:pt x="149529" y="1853470"/>
                  </a:lnTo>
                  <a:lnTo>
                    <a:pt x="150927" y="1852072"/>
                  </a:lnTo>
                  <a:lnTo>
                    <a:pt x="151626" y="1852072"/>
                  </a:lnTo>
                  <a:lnTo>
                    <a:pt x="419941" y="1583058"/>
                  </a:lnTo>
                  <a:lnTo>
                    <a:pt x="156517" y="1583058"/>
                  </a:lnTo>
                  <a:lnTo>
                    <a:pt x="0" y="1739574"/>
                  </a:lnTo>
                  <a:lnTo>
                    <a:pt x="0" y="1729094"/>
                  </a:lnTo>
                  <a:lnTo>
                    <a:pt x="149529" y="1579564"/>
                  </a:lnTo>
                  <a:lnTo>
                    <a:pt x="0" y="1430035"/>
                  </a:lnTo>
                  <a:lnTo>
                    <a:pt x="0" y="1419554"/>
                  </a:lnTo>
                  <a:lnTo>
                    <a:pt x="156517" y="1575372"/>
                  </a:lnTo>
                  <a:lnTo>
                    <a:pt x="419941" y="1575372"/>
                  </a:lnTo>
                  <a:lnTo>
                    <a:pt x="289976" y="1445407"/>
                  </a:lnTo>
                  <a:lnTo>
                    <a:pt x="149529" y="1304960"/>
                  </a:lnTo>
                  <a:lnTo>
                    <a:pt x="419941" y="1034548"/>
                  </a:lnTo>
                  <a:lnTo>
                    <a:pt x="155818" y="1034548"/>
                  </a:lnTo>
                  <a:lnTo>
                    <a:pt x="0" y="1190365"/>
                  </a:lnTo>
                  <a:lnTo>
                    <a:pt x="0" y="1179885"/>
                  </a:lnTo>
                  <a:lnTo>
                    <a:pt x="148830" y="1031055"/>
                  </a:lnTo>
                  <a:lnTo>
                    <a:pt x="0" y="882223"/>
                  </a:lnTo>
                  <a:lnTo>
                    <a:pt x="0" y="871743"/>
                  </a:lnTo>
                  <a:lnTo>
                    <a:pt x="155818" y="1026861"/>
                  </a:lnTo>
                  <a:lnTo>
                    <a:pt x="419941" y="1026861"/>
                  </a:lnTo>
                  <a:lnTo>
                    <a:pt x="148830" y="756449"/>
                  </a:lnTo>
                  <a:lnTo>
                    <a:pt x="333298" y="571983"/>
                  </a:lnTo>
                  <a:lnTo>
                    <a:pt x="419242" y="486037"/>
                  </a:lnTo>
                  <a:lnTo>
                    <a:pt x="155119" y="486037"/>
                  </a:lnTo>
                  <a:lnTo>
                    <a:pt x="0" y="641157"/>
                  </a:lnTo>
                  <a:lnTo>
                    <a:pt x="0" y="630675"/>
                  </a:lnTo>
                  <a:lnTo>
                    <a:pt x="148131" y="481845"/>
                  </a:lnTo>
                  <a:lnTo>
                    <a:pt x="143240" y="476954"/>
                  </a:lnTo>
                  <a:lnTo>
                    <a:pt x="0" y="334412"/>
                  </a:lnTo>
                  <a:lnTo>
                    <a:pt x="0" y="324630"/>
                  </a:lnTo>
                  <a:lnTo>
                    <a:pt x="155119" y="479050"/>
                  </a:lnTo>
                  <a:lnTo>
                    <a:pt x="419242" y="478352"/>
                  </a:lnTo>
                  <a:lnTo>
                    <a:pt x="148131" y="207940"/>
                  </a:lnTo>
                  <a:lnTo>
                    <a:pt x="348134" y="7937"/>
                  </a:lnTo>
                  <a:lnTo>
                    <a:pt x="358615" y="7937"/>
                  </a:lnTo>
                  <a:lnTo>
                    <a:pt x="162106" y="204446"/>
                  </a:lnTo>
                  <a:lnTo>
                    <a:pt x="426230" y="204446"/>
                  </a:lnTo>
                  <a:lnTo>
                    <a:pt x="622232" y="7937"/>
                  </a:lnTo>
                  <a:lnTo>
                    <a:pt x="632006" y="7937"/>
                  </a:lnTo>
                  <a:lnTo>
                    <a:pt x="432518" y="207940"/>
                  </a:lnTo>
                  <a:lnTo>
                    <a:pt x="704328" y="478352"/>
                  </a:lnTo>
                  <a:lnTo>
                    <a:pt x="967752" y="478352"/>
                  </a:lnTo>
                  <a:lnTo>
                    <a:pt x="837089" y="348386"/>
                  </a:lnTo>
                  <a:lnTo>
                    <a:pt x="696642" y="207940"/>
                  </a:lnTo>
                  <a:lnTo>
                    <a:pt x="896129" y="7937"/>
                  </a:lnTo>
                  <a:lnTo>
                    <a:pt x="907318" y="7937"/>
                  </a:lnTo>
                  <a:lnTo>
                    <a:pt x="711316" y="204446"/>
                  </a:lnTo>
                  <a:lnTo>
                    <a:pt x="974740" y="204446"/>
                  </a:lnTo>
                  <a:lnTo>
                    <a:pt x="1170742" y="7937"/>
                  </a:lnTo>
                  <a:lnTo>
                    <a:pt x="1179819" y="7937"/>
                  </a:lnTo>
                  <a:lnTo>
                    <a:pt x="981029" y="207241"/>
                  </a:lnTo>
                  <a:lnTo>
                    <a:pt x="1252140" y="477653"/>
                  </a:lnTo>
                  <a:lnTo>
                    <a:pt x="1516263" y="477653"/>
                  </a:lnTo>
                  <a:lnTo>
                    <a:pt x="1245152" y="207241"/>
                  </a:lnTo>
                  <a:lnTo>
                    <a:pt x="1443942" y="7937"/>
                  </a:lnTo>
                  <a:lnTo>
                    <a:pt x="1453410" y="7937"/>
                  </a:lnTo>
                  <a:lnTo>
                    <a:pt x="1436607" y="24870"/>
                  </a:lnTo>
                  <a:lnTo>
                    <a:pt x="1435908" y="24870"/>
                  </a:lnTo>
                  <a:lnTo>
                    <a:pt x="1258428" y="203048"/>
                  </a:lnTo>
                  <a:lnTo>
                    <a:pt x="1522551" y="203048"/>
                  </a:lnTo>
                  <a:lnTo>
                    <a:pt x="1717663" y="7937"/>
                  </a:lnTo>
                  <a:lnTo>
                    <a:pt x="1728424" y="7937"/>
                  </a:lnTo>
                  <a:lnTo>
                    <a:pt x="1620376" y="116405"/>
                  </a:lnTo>
                  <a:lnTo>
                    <a:pt x="1619677" y="116405"/>
                  </a:lnTo>
                  <a:lnTo>
                    <a:pt x="1529539" y="206542"/>
                  </a:lnTo>
                  <a:lnTo>
                    <a:pt x="1799951" y="477653"/>
                  </a:lnTo>
                  <a:lnTo>
                    <a:pt x="2064074" y="477653"/>
                  </a:lnTo>
                  <a:lnTo>
                    <a:pt x="1792964" y="207241"/>
                  </a:lnTo>
                  <a:lnTo>
                    <a:pt x="1977431" y="22774"/>
                  </a:lnTo>
                  <a:lnTo>
                    <a:pt x="1978130" y="22774"/>
                  </a:lnTo>
                  <a:lnTo>
                    <a:pt x="1992847" y="7937"/>
                  </a:lnTo>
                  <a:lnTo>
                    <a:pt x="2002247" y="7937"/>
                  </a:lnTo>
                  <a:lnTo>
                    <a:pt x="1808336" y="202349"/>
                  </a:lnTo>
                  <a:lnTo>
                    <a:pt x="2071761" y="202349"/>
                  </a:lnTo>
                  <a:lnTo>
                    <a:pt x="2266173" y="7937"/>
                  </a:lnTo>
                  <a:lnTo>
                    <a:pt x="2277539" y="7937"/>
                  </a:lnTo>
                  <a:lnTo>
                    <a:pt x="2078748" y="207241"/>
                  </a:lnTo>
                  <a:lnTo>
                    <a:pt x="2348461" y="476256"/>
                  </a:lnTo>
                  <a:lnTo>
                    <a:pt x="2611886" y="476256"/>
                  </a:lnTo>
                  <a:lnTo>
                    <a:pt x="2342872" y="207241"/>
                  </a:lnTo>
                  <a:lnTo>
                    <a:pt x="2343570" y="206542"/>
                  </a:lnTo>
                  <a:lnTo>
                    <a:pt x="2342173" y="205145"/>
                  </a:lnTo>
                  <a:lnTo>
                    <a:pt x="2538868" y="7937"/>
                  </a:lnTo>
                  <a:lnTo>
                    <a:pt x="2552152" y="7937"/>
                  </a:lnTo>
                  <a:lnTo>
                    <a:pt x="2358243" y="202349"/>
                  </a:lnTo>
                  <a:lnTo>
                    <a:pt x="2620271" y="202349"/>
                  </a:lnTo>
                  <a:lnTo>
                    <a:pt x="2814181" y="7937"/>
                  </a:lnTo>
                  <a:lnTo>
                    <a:pt x="2825540" y="7937"/>
                  </a:lnTo>
                  <a:lnTo>
                    <a:pt x="2628655" y="205843"/>
                  </a:lnTo>
                  <a:lnTo>
                    <a:pt x="2898368" y="474858"/>
                  </a:lnTo>
                  <a:lnTo>
                    <a:pt x="3163191" y="476256"/>
                  </a:lnTo>
                  <a:lnTo>
                    <a:pt x="2892081" y="205843"/>
                  </a:lnTo>
                  <a:lnTo>
                    <a:pt x="2890683" y="204446"/>
                  </a:lnTo>
                  <a:lnTo>
                    <a:pt x="3086683" y="7937"/>
                  </a:lnTo>
                  <a:lnTo>
                    <a:pt x="3097556" y="7937"/>
                  </a:lnTo>
                  <a:lnTo>
                    <a:pt x="3082137" y="23473"/>
                  </a:lnTo>
                  <a:lnTo>
                    <a:pt x="3082836" y="24172"/>
                  </a:lnTo>
                  <a:lnTo>
                    <a:pt x="2906754" y="200254"/>
                  </a:lnTo>
                  <a:lnTo>
                    <a:pt x="3103099" y="200254"/>
                  </a:lnTo>
                  <a:lnTo>
                    <a:pt x="3102401" y="201651"/>
                  </a:lnTo>
                  <a:lnTo>
                    <a:pt x="3168083" y="201651"/>
                  </a:lnTo>
                  <a:lnTo>
                    <a:pt x="3361298" y="7937"/>
                  </a:lnTo>
                  <a:lnTo>
                    <a:pt x="3371863" y="7937"/>
                  </a:lnTo>
                  <a:lnTo>
                    <a:pt x="3264508" y="115706"/>
                  </a:lnTo>
                  <a:lnTo>
                    <a:pt x="3265906" y="116405"/>
                  </a:lnTo>
                  <a:lnTo>
                    <a:pt x="3176467" y="205843"/>
                  </a:lnTo>
                  <a:lnTo>
                    <a:pt x="3446879" y="475557"/>
                  </a:lnTo>
                  <a:lnTo>
                    <a:pt x="3710303" y="475557"/>
                  </a:lnTo>
                  <a:lnTo>
                    <a:pt x="3439891" y="205843"/>
                  </a:lnTo>
                  <a:lnTo>
                    <a:pt x="3439193" y="205145"/>
                  </a:lnTo>
                  <a:lnTo>
                    <a:pt x="3635893" y="7937"/>
                  </a:lnTo>
                  <a:lnTo>
                    <a:pt x="3646183" y="7937"/>
                  </a:lnTo>
                  <a:lnTo>
                    <a:pt x="3453167" y="200953"/>
                  </a:lnTo>
                  <a:lnTo>
                    <a:pt x="3717291" y="200953"/>
                  </a:lnTo>
                  <a:lnTo>
                    <a:pt x="3910306" y="7937"/>
                  </a:lnTo>
                  <a:lnTo>
                    <a:pt x="3919582" y="7937"/>
                  </a:lnTo>
                  <a:lnTo>
                    <a:pt x="3723579" y="204446"/>
                  </a:lnTo>
                  <a:lnTo>
                    <a:pt x="3994690" y="474858"/>
                  </a:lnTo>
                  <a:lnTo>
                    <a:pt x="4258116" y="474858"/>
                  </a:lnTo>
                  <a:lnTo>
                    <a:pt x="4128150" y="344893"/>
                  </a:lnTo>
                  <a:lnTo>
                    <a:pt x="3987703" y="204446"/>
                  </a:lnTo>
                  <a:lnTo>
                    <a:pt x="4183705" y="7937"/>
                  </a:lnTo>
                  <a:lnTo>
                    <a:pt x="4194197" y="7937"/>
                  </a:lnTo>
                  <a:lnTo>
                    <a:pt x="4002377" y="200254"/>
                  </a:lnTo>
                  <a:lnTo>
                    <a:pt x="4265801" y="200254"/>
                  </a:lnTo>
                  <a:lnTo>
                    <a:pt x="4457622" y="7937"/>
                  </a:lnTo>
                  <a:lnTo>
                    <a:pt x="4467396" y="7937"/>
                  </a:lnTo>
                  <a:lnTo>
                    <a:pt x="4272090" y="203747"/>
                  </a:lnTo>
                  <a:lnTo>
                    <a:pt x="4543201" y="474159"/>
                  </a:lnTo>
                  <a:lnTo>
                    <a:pt x="4805314" y="474159"/>
                  </a:lnTo>
                  <a:lnTo>
                    <a:pt x="4803346" y="472192"/>
                  </a:lnTo>
                  <a:lnTo>
                    <a:pt x="4660106" y="329650"/>
                  </a:lnTo>
                  <a:lnTo>
                    <a:pt x="4660106" y="327321"/>
                  </a:lnTo>
                  <a:lnTo>
                    <a:pt x="4536213" y="203747"/>
                  </a:lnTo>
                  <a:lnTo>
                    <a:pt x="4660106" y="79534"/>
                  </a:lnTo>
                  <a:lnTo>
                    <a:pt x="4660106" y="76705"/>
                  </a:lnTo>
                  <a:lnTo>
                    <a:pt x="4733289" y="3175"/>
                  </a:lnTo>
                  <a:lnTo>
                    <a:pt x="4744118" y="3175"/>
                  </a:lnTo>
                  <a:lnTo>
                    <a:pt x="4739355" y="7937"/>
                  </a:lnTo>
                  <a:lnTo>
                    <a:pt x="4741807" y="7937"/>
                  </a:lnTo>
                  <a:lnTo>
                    <a:pt x="4549490" y="200254"/>
                  </a:lnTo>
                  <a:lnTo>
                    <a:pt x="4811162" y="200254"/>
                  </a:lnTo>
                  <a:lnTo>
                    <a:pt x="5008241" y="3175"/>
                  </a:lnTo>
                  <a:lnTo>
                    <a:pt x="5018721" y="3175"/>
                  </a:lnTo>
                  <a:lnTo>
                    <a:pt x="4823396" y="198500"/>
                  </a:lnTo>
                  <a:lnTo>
                    <a:pt x="4823396" y="199684"/>
                  </a:lnTo>
                  <a:lnTo>
                    <a:pt x="5086337" y="199684"/>
                  </a:lnTo>
                  <a:lnTo>
                    <a:pt x="5282338" y="3175"/>
                  </a:lnTo>
                  <a:lnTo>
                    <a:pt x="5292112" y="3175"/>
                  </a:lnTo>
                  <a:lnTo>
                    <a:pt x="5092624" y="203178"/>
                  </a:lnTo>
                  <a:lnTo>
                    <a:pt x="5364435" y="473590"/>
                  </a:lnTo>
                  <a:lnTo>
                    <a:pt x="5627858" y="473590"/>
                  </a:lnTo>
                  <a:lnTo>
                    <a:pt x="5497196" y="343624"/>
                  </a:lnTo>
                  <a:lnTo>
                    <a:pt x="5356748" y="203178"/>
                  </a:lnTo>
                  <a:lnTo>
                    <a:pt x="5556235" y="3175"/>
                  </a:lnTo>
                  <a:lnTo>
                    <a:pt x="5567425" y="3175"/>
                  </a:lnTo>
                  <a:lnTo>
                    <a:pt x="5371422" y="199684"/>
                  </a:lnTo>
                  <a:lnTo>
                    <a:pt x="5634846" y="199684"/>
                  </a:lnTo>
                  <a:lnTo>
                    <a:pt x="5830848" y="3175"/>
                  </a:lnTo>
                  <a:lnTo>
                    <a:pt x="5839925" y="3175"/>
                  </a:lnTo>
                  <a:lnTo>
                    <a:pt x="5641135" y="202479"/>
                  </a:lnTo>
                  <a:lnTo>
                    <a:pt x="5912246" y="472891"/>
                  </a:lnTo>
                  <a:lnTo>
                    <a:pt x="6176369" y="472891"/>
                  </a:lnTo>
                  <a:lnTo>
                    <a:pt x="5905258" y="202479"/>
                  </a:lnTo>
                  <a:lnTo>
                    <a:pt x="6104048" y="3175"/>
                  </a:lnTo>
                  <a:lnTo>
                    <a:pt x="6113517" y="3175"/>
                  </a:lnTo>
                  <a:lnTo>
                    <a:pt x="6096713" y="20108"/>
                  </a:lnTo>
                  <a:lnTo>
                    <a:pt x="6096014" y="20108"/>
                  </a:lnTo>
                  <a:lnTo>
                    <a:pt x="5918534" y="198286"/>
                  </a:lnTo>
                  <a:lnTo>
                    <a:pt x="6182657" y="198286"/>
                  </a:lnTo>
                  <a:lnTo>
                    <a:pt x="6377769" y="3175"/>
                  </a:lnTo>
                  <a:lnTo>
                    <a:pt x="6388531" y="3175"/>
                  </a:lnTo>
                  <a:lnTo>
                    <a:pt x="6280482" y="111643"/>
                  </a:lnTo>
                  <a:lnTo>
                    <a:pt x="6279783" y="111643"/>
                  </a:lnTo>
                  <a:lnTo>
                    <a:pt x="6189645" y="201780"/>
                  </a:lnTo>
                  <a:lnTo>
                    <a:pt x="6460057" y="472891"/>
                  </a:lnTo>
                  <a:lnTo>
                    <a:pt x="6724180" y="472891"/>
                  </a:lnTo>
                  <a:lnTo>
                    <a:pt x="6453070" y="202479"/>
                  </a:lnTo>
                  <a:lnTo>
                    <a:pt x="6637537" y="18012"/>
                  </a:lnTo>
                  <a:lnTo>
                    <a:pt x="6638236" y="18012"/>
                  </a:lnTo>
                  <a:lnTo>
                    <a:pt x="6652953" y="3175"/>
                  </a:lnTo>
                  <a:lnTo>
                    <a:pt x="6662353" y="3175"/>
                  </a:lnTo>
                  <a:lnTo>
                    <a:pt x="6468443" y="197587"/>
                  </a:lnTo>
                  <a:lnTo>
                    <a:pt x="6731868" y="197587"/>
                  </a:lnTo>
                  <a:lnTo>
                    <a:pt x="6926279" y="3175"/>
                  </a:lnTo>
                  <a:lnTo>
                    <a:pt x="6937645" y="3175"/>
                  </a:lnTo>
                  <a:lnTo>
                    <a:pt x="6738854" y="202479"/>
                  </a:lnTo>
                  <a:lnTo>
                    <a:pt x="7008567" y="471494"/>
                  </a:lnTo>
                  <a:lnTo>
                    <a:pt x="7271992" y="471494"/>
                  </a:lnTo>
                  <a:lnTo>
                    <a:pt x="7002979" y="202479"/>
                  </a:lnTo>
                  <a:lnTo>
                    <a:pt x="7003677" y="201780"/>
                  </a:lnTo>
                  <a:lnTo>
                    <a:pt x="7002279" y="200383"/>
                  </a:lnTo>
                  <a:lnTo>
                    <a:pt x="7198974" y="3175"/>
                  </a:lnTo>
                  <a:lnTo>
                    <a:pt x="7212258" y="3175"/>
                  </a:lnTo>
                  <a:lnTo>
                    <a:pt x="7018349" y="197587"/>
                  </a:lnTo>
                  <a:lnTo>
                    <a:pt x="7280377" y="197587"/>
                  </a:lnTo>
                  <a:lnTo>
                    <a:pt x="7474287" y="3175"/>
                  </a:lnTo>
                  <a:lnTo>
                    <a:pt x="7485646" y="3175"/>
                  </a:lnTo>
                  <a:lnTo>
                    <a:pt x="7288761" y="201081"/>
                  </a:lnTo>
                  <a:lnTo>
                    <a:pt x="7558474" y="470096"/>
                  </a:lnTo>
                  <a:lnTo>
                    <a:pt x="7823297" y="471494"/>
                  </a:lnTo>
                  <a:lnTo>
                    <a:pt x="7552187" y="201081"/>
                  </a:lnTo>
                  <a:lnTo>
                    <a:pt x="7550789" y="199684"/>
                  </a:lnTo>
                  <a:lnTo>
                    <a:pt x="7746789" y="3175"/>
                  </a:lnTo>
                  <a:lnTo>
                    <a:pt x="7757662" y="3175"/>
                  </a:lnTo>
                  <a:lnTo>
                    <a:pt x="7742243" y="18711"/>
                  </a:lnTo>
                  <a:lnTo>
                    <a:pt x="7742942" y="19410"/>
                  </a:lnTo>
                  <a:lnTo>
                    <a:pt x="7566860" y="195492"/>
                  </a:lnTo>
                  <a:lnTo>
                    <a:pt x="7763205" y="195492"/>
                  </a:lnTo>
                  <a:lnTo>
                    <a:pt x="7762507" y="196889"/>
                  </a:lnTo>
                  <a:lnTo>
                    <a:pt x="7828189" y="196889"/>
                  </a:lnTo>
                  <a:lnTo>
                    <a:pt x="8021404" y="3175"/>
                  </a:lnTo>
                  <a:lnTo>
                    <a:pt x="8031969" y="3175"/>
                  </a:lnTo>
                  <a:lnTo>
                    <a:pt x="7924614" y="110944"/>
                  </a:lnTo>
                  <a:lnTo>
                    <a:pt x="7926012" y="111643"/>
                  </a:lnTo>
                  <a:lnTo>
                    <a:pt x="7836573" y="201081"/>
                  </a:lnTo>
                  <a:lnTo>
                    <a:pt x="8106985" y="470795"/>
                  </a:lnTo>
                  <a:lnTo>
                    <a:pt x="8370409" y="470795"/>
                  </a:lnTo>
                  <a:lnTo>
                    <a:pt x="8099997" y="201081"/>
                  </a:lnTo>
                  <a:lnTo>
                    <a:pt x="8099299" y="200383"/>
                  </a:lnTo>
                  <a:lnTo>
                    <a:pt x="8295999" y="3175"/>
                  </a:lnTo>
                  <a:lnTo>
                    <a:pt x="8306289" y="3175"/>
                  </a:lnTo>
                  <a:lnTo>
                    <a:pt x="8113273" y="196191"/>
                  </a:lnTo>
                  <a:lnTo>
                    <a:pt x="8377397" y="196191"/>
                  </a:lnTo>
                  <a:lnTo>
                    <a:pt x="8570412" y="3175"/>
                  </a:lnTo>
                  <a:lnTo>
                    <a:pt x="8579688" y="3175"/>
                  </a:lnTo>
                  <a:lnTo>
                    <a:pt x="8383685" y="199684"/>
                  </a:lnTo>
                  <a:lnTo>
                    <a:pt x="8654796" y="470096"/>
                  </a:lnTo>
                  <a:lnTo>
                    <a:pt x="8918222" y="470096"/>
                  </a:lnTo>
                  <a:lnTo>
                    <a:pt x="8788256" y="340131"/>
                  </a:lnTo>
                  <a:lnTo>
                    <a:pt x="8647809" y="199684"/>
                  </a:lnTo>
                  <a:lnTo>
                    <a:pt x="8843811" y="3175"/>
                  </a:lnTo>
                  <a:lnTo>
                    <a:pt x="8854303" y="3175"/>
                  </a:lnTo>
                  <a:lnTo>
                    <a:pt x="8662483" y="195492"/>
                  </a:lnTo>
                  <a:lnTo>
                    <a:pt x="8925907" y="195492"/>
                  </a:lnTo>
                  <a:lnTo>
                    <a:pt x="9117728" y="3175"/>
                  </a:lnTo>
                  <a:lnTo>
                    <a:pt x="9127502" y="3175"/>
                  </a:lnTo>
                  <a:lnTo>
                    <a:pt x="8932196" y="198985"/>
                  </a:lnTo>
                  <a:lnTo>
                    <a:pt x="9203307" y="469397"/>
                  </a:lnTo>
                  <a:lnTo>
                    <a:pt x="9464143" y="469397"/>
                  </a:lnTo>
                  <a:lnTo>
                    <a:pt x="9463763" y="469017"/>
                  </a:lnTo>
                  <a:lnTo>
                    <a:pt x="9320523" y="326475"/>
                  </a:lnTo>
                  <a:lnTo>
                    <a:pt x="9320523" y="322869"/>
                  </a:lnTo>
                  <a:lnTo>
                    <a:pt x="9196319" y="198985"/>
                  </a:lnTo>
                  <a:lnTo>
                    <a:pt x="9320523" y="74460"/>
                  </a:lnTo>
                  <a:lnTo>
                    <a:pt x="9320523" y="7353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7" name="Rectangle 6">
              <a:extLst>
                <a:ext uri="{FF2B5EF4-FFF2-40B4-BE49-F238E27FC236}">
                  <a16:creationId xmlns:a16="http://schemas.microsoft.com/office/drawing/2014/main" id="{8D653CCC-578F-40F7-A242-2D5A97A37580}"/>
                </a:ext>
              </a:extLst>
            </p:cNvPr>
            <p:cNvSpPr/>
            <p:nvPr userDrawn="1"/>
          </p:nvSpPr>
          <p:spPr>
            <a:xfrm rot="16200000">
              <a:off x="3248888" y="-3342392"/>
              <a:ext cx="5684747" cy="12201256"/>
            </a:xfrm>
            <a:prstGeom prst="rect">
              <a:avLst/>
            </a:prstGeom>
            <a:gradFill flip="none" rotWithShape="1">
              <a:gsLst>
                <a:gs pos="7000">
                  <a:schemeClr val="bg1"/>
                </a:gs>
                <a:gs pos="100000">
                  <a:schemeClr val="bg1">
                    <a:shade val="100000"/>
                    <a:satMod val="115000"/>
                    <a:alpha val="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rgbClr val="FF0000"/>
                  </a:solidFill>
                </a:rPr>
                <a:t> </a:t>
              </a:r>
            </a:p>
          </p:txBody>
        </p:sp>
      </p:grpSp>
      <p:sp>
        <p:nvSpPr>
          <p:cNvPr id="4" name="Rectangle 3">
            <a:extLst>
              <a:ext uri="{FF2B5EF4-FFF2-40B4-BE49-F238E27FC236}">
                <a16:creationId xmlns:a16="http://schemas.microsoft.com/office/drawing/2014/main" id="{8DACBDAA-15A3-4977-B139-56812E79E0C0}"/>
              </a:ext>
            </a:extLst>
          </p:cNvPr>
          <p:cNvSpPr/>
          <p:nvPr userDrawn="1"/>
        </p:nvSpPr>
        <p:spPr>
          <a:xfrm>
            <a:off x="-9366" y="-99378"/>
            <a:ext cx="12201367" cy="13815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Segoe UI" panose="020B0502040204020203" pitchFamily="34" charset="0"/>
            </a:endParaRPr>
          </a:p>
        </p:txBody>
      </p:sp>
    </p:spTree>
    <p:extLst>
      <p:ext uri="{BB962C8B-B14F-4D97-AF65-F5344CB8AC3E}">
        <p14:creationId xmlns:p14="http://schemas.microsoft.com/office/powerpoint/2010/main" val="1363850669"/>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43_Full Image without Header &amp; Foo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2DFF0D-FC81-4463-AAAE-13D9A1E97A5E}"/>
              </a:ext>
            </a:extLst>
          </p:cNvPr>
          <p:cNvGraphicFramePr>
            <a:graphicFrameLocks noChangeAspect="1"/>
          </p:cNvGraphicFramePr>
          <p:nvPr userDrawn="1">
            <p:custDataLst>
              <p:tags r:id="rId1"/>
            </p:custDataLst>
            <p:extLst>
              <p:ext uri="{D42A27DB-BD31-4B8C-83A1-F6EECF244321}">
                <p14:modId xmlns:p14="http://schemas.microsoft.com/office/powerpoint/2010/main" val="296007214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id="{D92DFF0D-FC81-4463-AAAE-13D9A1E97A5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AEF00E6-CA91-4E40-B6B1-3C0D935EA45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13" name="Picture Placeholder 6">
            <a:extLst>
              <a:ext uri="{FF2B5EF4-FFF2-40B4-BE49-F238E27FC236}">
                <a16:creationId xmlns:a16="http://schemas.microsoft.com/office/drawing/2014/main" id="{298511AF-1176-4912-B5A2-C55D39AB80CB}"/>
              </a:ext>
            </a:extLst>
          </p:cNvPr>
          <p:cNvSpPr>
            <a:spLocks noGrp="1"/>
          </p:cNvSpPr>
          <p:nvPr>
            <p:ph type="pic" sz="quarter" idx="21" hasCustomPrompt="1"/>
          </p:nvPr>
        </p:nvSpPr>
        <p:spPr>
          <a:xfrm>
            <a:off x="5837474" y="1873429"/>
            <a:ext cx="5386445" cy="2482951"/>
          </a:xfrm>
          <a:custGeom>
            <a:avLst/>
            <a:gdLst>
              <a:gd name="connsiteX0" fmla="*/ 0 w 4362450"/>
              <a:gd name="connsiteY0" fmla="*/ 0 h 2472571"/>
              <a:gd name="connsiteX1" fmla="*/ 4362450 w 4362450"/>
              <a:gd name="connsiteY1" fmla="*/ 0 h 2472571"/>
              <a:gd name="connsiteX2" fmla="*/ 4362450 w 4362450"/>
              <a:gd name="connsiteY2" fmla="*/ 2472571 h 2472571"/>
              <a:gd name="connsiteX3" fmla="*/ 0 w 4362450"/>
              <a:gd name="connsiteY3" fmla="*/ 2472571 h 2472571"/>
            </a:gdLst>
            <a:ahLst/>
            <a:cxnLst>
              <a:cxn ang="0">
                <a:pos x="connsiteX0" y="connsiteY0"/>
              </a:cxn>
              <a:cxn ang="0">
                <a:pos x="connsiteX1" y="connsiteY1"/>
              </a:cxn>
              <a:cxn ang="0">
                <a:pos x="connsiteX2" y="connsiteY2"/>
              </a:cxn>
              <a:cxn ang="0">
                <a:pos x="connsiteX3" y="connsiteY3"/>
              </a:cxn>
            </a:cxnLst>
            <a:rect l="l" t="t" r="r" b="b"/>
            <a:pathLst>
              <a:path w="4362450" h="2472571">
                <a:moveTo>
                  <a:pt x="0" y="0"/>
                </a:moveTo>
                <a:lnTo>
                  <a:pt x="4362450" y="0"/>
                </a:lnTo>
                <a:lnTo>
                  <a:pt x="4362450" y="2472571"/>
                </a:lnTo>
                <a:lnTo>
                  <a:pt x="0" y="2472571"/>
                </a:lnTo>
                <a:close/>
              </a:path>
            </a:pathLst>
          </a:custGeom>
          <a:solidFill>
            <a:schemeClr val="bg1"/>
          </a:solidFill>
        </p:spPr>
        <p:txBody>
          <a:bodyPr wrap="square" anchor="ctr">
            <a:noAutofit/>
          </a:bodyPr>
          <a:lstStyle>
            <a:lvl1pPr marL="0" indent="0" algn="ctr">
              <a:buFontTx/>
              <a:buNone/>
              <a:defRPr sz="1200">
                <a:latin typeface="+mj-lt"/>
                <a:cs typeface="Poppins" panose="00000500000000000000" pitchFamily="2" charset="0"/>
              </a:defRPr>
            </a:lvl1pPr>
          </a:lstStyle>
          <a:p>
            <a:r>
              <a:rPr lang="en-US" dirty="0"/>
              <a:t>Picture</a:t>
            </a:r>
          </a:p>
        </p:txBody>
      </p:sp>
      <p:sp>
        <p:nvSpPr>
          <p:cNvPr id="16" name="Picture Placeholder 12">
            <a:extLst>
              <a:ext uri="{FF2B5EF4-FFF2-40B4-BE49-F238E27FC236}">
                <a16:creationId xmlns:a16="http://schemas.microsoft.com/office/drawing/2014/main" id="{B1E24573-CCF3-4082-8EB6-9FC6D2593147}"/>
              </a:ext>
            </a:extLst>
          </p:cNvPr>
          <p:cNvSpPr>
            <a:spLocks noGrp="1"/>
          </p:cNvSpPr>
          <p:nvPr>
            <p:ph type="pic" sz="quarter" idx="24" hasCustomPrompt="1"/>
          </p:nvPr>
        </p:nvSpPr>
        <p:spPr>
          <a:xfrm>
            <a:off x="4805111" y="3723818"/>
            <a:ext cx="1846360" cy="1963119"/>
          </a:xfrm>
          <a:custGeom>
            <a:avLst/>
            <a:gdLst>
              <a:gd name="connsiteX0" fmla="*/ 0 w 1479368"/>
              <a:gd name="connsiteY0" fmla="*/ 0 h 1963119"/>
              <a:gd name="connsiteX1" fmla="*/ 1479368 w 1479368"/>
              <a:gd name="connsiteY1" fmla="*/ 0 h 1963119"/>
              <a:gd name="connsiteX2" fmla="*/ 1479368 w 1479368"/>
              <a:gd name="connsiteY2" fmla="*/ 1963119 h 1963119"/>
              <a:gd name="connsiteX3" fmla="*/ 0 w 1479368"/>
              <a:gd name="connsiteY3" fmla="*/ 1963119 h 1963119"/>
            </a:gdLst>
            <a:ahLst/>
            <a:cxnLst>
              <a:cxn ang="0">
                <a:pos x="connsiteX0" y="connsiteY0"/>
              </a:cxn>
              <a:cxn ang="0">
                <a:pos x="connsiteX1" y="connsiteY1"/>
              </a:cxn>
              <a:cxn ang="0">
                <a:pos x="connsiteX2" y="connsiteY2"/>
              </a:cxn>
              <a:cxn ang="0">
                <a:pos x="connsiteX3" y="connsiteY3"/>
              </a:cxn>
            </a:cxnLst>
            <a:rect l="l" t="t" r="r" b="b"/>
            <a:pathLst>
              <a:path w="1479368" h="1963119">
                <a:moveTo>
                  <a:pt x="0" y="0"/>
                </a:moveTo>
                <a:lnTo>
                  <a:pt x="1479368" y="0"/>
                </a:lnTo>
                <a:lnTo>
                  <a:pt x="1479368" y="1963119"/>
                </a:lnTo>
                <a:lnTo>
                  <a:pt x="0" y="1963119"/>
                </a:lnTo>
                <a:close/>
              </a:path>
            </a:pathLst>
          </a:custGeom>
          <a:solidFill>
            <a:schemeClr val="bg1"/>
          </a:solidFill>
        </p:spPr>
        <p:txBody>
          <a:bodyPr wrap="square" anchor="ctr">
            <a:noAutofit/>
          </a:bodyPr>
          <a:lstStyle>
            <a:lvl1pPr marL="0" indent="0" algn="ctr">
              <a:buFontTx/>
              <a:buNone/>
              <a:defRPr sz="1200">
                <a:latin typeface="+mj-lt"/>
                <a:cs typeface="Poppins" panose="00000500000000000000" pitchFamily="2" charset="0"/>
              </a:defRPr>
            </a:lvl1pPr>
          </a:lstStyle>
          <a:p>
            <a:r>
              <a:rPr lang="en-US" dirty="0"/>
              <a:t>Picture</a:t>
            </a:r>
          </a:p>
        </p:txBody>
      </p:sp>
      <p:sp>
        <p:nvSpPr>
          <p:cNvPr id="44" name="Title 6">
            <a:extLst>
              <a:ext uri="{FF2B5EF4-FFF2-40B4-BE49-F238E27FC236}">
                <a16:creationId xmlns:a16="http://schemas.microsoft.com/office/drawing/2014/main" id="{67A404EB-B058-4F1D-AE38-8A63F97D8533}"/>
              </a:ext>
            </a:extLst>
          </p:cNvPr>
          <p:cNvSpPr>
            <a:spLocks noGrp="1"/>
          </p:cNvSpPr>
          <p:nvPr>
            <p:ph type="title"/>
          </p:nvPr>
        </p:nvSpPr>
        <p:spPr>
          <a:xfrm>
            <a:off x="609600" y="0"/>
            <a:ext cx="9753600" cy="1143000"/>
          </a:xfrm>
        </p:spPr>
        <p:txBody>
          <a:bodyPr/>
          <a:lstStyle>
            <a:lvl1pPr algn="l">
              <a:defRPr sz="2400">
                <a:latin typeface="+mj-lt"/>
              </a:defRPr>
            </a:lvl1pPr>
          </a:lstStyle>
          <a:p>
            <a:r>
              <a:rPr lang="en-US" dirty="0"/>
              <a:t>Click to edit Master title style</a:t>
            </a:r>
          </a:p>
        </p:txBody>
      </p:sp>
      <p:sp>
        <p:nvSpPr>
          <p:cNvPr id="15" name="Picture Placeholder 10">
            <a:extLst>
              <a:ext uri="{FF2B5EF4-FFF2-40B4-BE49-F238E27FC236}">
                <a16:creationId xmlns:a16="http://schemas.microsoft.com/office/drawing/2014/main" id="{B2F2F68A-1775-4FDF-8463-3031D6325B3F}"/>
              </a:ext>
            </a:extLst>
          </p:cNvPr>
          <p:cNvSpPr>
            <a:spLocks noGrp="1"/>
          </p:cNvSpPr>
          <p:nvPr>
            <p:ph type="pic" sz="quarter" idx="23" hasCustomPrompt="1"/>
          </p:nvPr>
        </p:nvSpPr>
        <p:spPr>
          <a:xfrm>
            <a:off x="6461229" y="5273073"/>
            <a:ext cx="728672" cy="958658"/>
          </a:xfrm>
          <a:custGeom>
            <a:avLst/>
            <a:gdLst>
              <a:gd name="connsiteX0" fmla="*/ 0 w 588168"/>
              <a:gd name="connsiteY0" fmla="*/ 0 h 1027670"/>
              <a:gd name="connsiteX1" fmla="*/ 588168 w 588168"/>
              <a:gd name="connsiteY1" fmla="*/ 0 h 1027670"/>
              <a:gd name="connsiteX2" fmla="*/ 588168 w 588168"/>
              <a:gd name="connsiteY2" fmla="*/ 1027670 h 1027670"/>
              <a:gd name="connsiteX3" fmla="*/ 0 w 588168"/>
              <a:gd name="connsiteY3" fmla="*/ 1027670 h 1027670"/>
            </a:gdLst>
            <a:ahLst/>
            <a:cxnLst>
              <a:cxn ang="0">
                <a:pos x="connsiteX0" y="connsiteY0"/>
              </a:cxn>
              <a:cxn ang="0">
                <a:pos x="connsiteX1" y="connsiteY1"/>
              </a:cxn>
              <a:cxn ang="0">
                <a:pos x="connsiteX2" y="connsiteY2"/>
              </a:cxn>
              <a:cxn ang="0">
                <a:pos x="connsiteX3" y="connsiteY3"/>
              </a:cxn>
            </a:cxnLst>
            <a:rect l="l" t="t" r="r" b="b"/>
            <a:pathLst>
              <a:path w="588168" h="1027670">
                <a:moveTo>
                  <a:pt x="0" y="0"/>
                </a:moveTo>
                <a:lnTo>
                  <a:pt x="588168" y="0"/>
                </a:lnTo>
                <a:lnTo>
                  <a:pt x="588168" y="1027670"/>
                </a:lnTo>
                <a:lnTo>
                  <a:pt x="0" y="1027670"/>
                </a:lnTo>
                <a:close/>
              </a:path>
            </a:pathLst>
          </a:custGeom>
          <a:solidFill>
            <a:schemeClr val="bg1"/>
          </a:solidFill>
        </p:spPr>
        <p:txBody>
          <a:bodyPr wrap="square" anchor="ctr">
            <a:noAutofit/>
          </a:bodyPr>
          <a:lstStyle>
            <a:lvl1pPr marL="0" indent="0" algn="ctr">
              <a:buFontTx/>
              <a:buNone/>
              <a:defRPr sz="1200">
                <a:latin typeface="+mj-lt"/>
                <a:cs typeface="Poppins" panose="00000500000000000000" pitchFamily="2" charset="0"/>
              </a:defRPr>
            </a:lvl1pPr>
          </a:lstStyle>
          <a:p>
            <a:r>
              <a:rPr lang="en-US" dirty="0"/>
              <a:t>Picture</a:t>
            </a:r>
          </a:p>
        </p:txBody>
      </p:sp>
      <p:sp>
        <p:nvSpPr>
          <p:cNvPr id="93" name="Picture Placeholder 6">
            <a:extLst>
              <a:ext uri="{FF2B5EF4-FFF2-40B4-BE49-F238E27FC236}">
                <a16:creationId xmlns:a16="http://schemas.microsoft.com/office/drawing/2014/main" id="{E5BCB224-EEC3-4A8F-959A-99E6133BD37B}"/>
              </a:ext>
            </a:extLst>
          </p:cNvPr>
          <p:cNvSpPr>
            <a:spLocks noGrp="1"/>
          </p:cNvSpPr>
          <p:nvPr>
            <p:ph type="pic" sz="quarter" idx="25" hasCustomPrompt="1"/>
          </p:nvPr>
        </p:nvSpPr>
        <p:spPr>
          <a:xfrm>
            <a:off x="9317990" y="3712794"/>
            <a:ext cx="4668057" cy="2380502"/>
          </a:xfrm>
          <a:custGeom>
            <a:avLst/>
            <a:gdLst>
              <a:gd name="connsiteX0" fmla="*/ 0 w 4362450"/>
              <a:gd name="connsiteY0" fmla="*/ 0 h 2472571"/>
              <a:gd name="connsiteX1" fmla="*/ 4362450 w 4362450"/>
              <a:gd name="connsiteY1" fmla="*/ 0 h 2472571"/>
              <a:gd name="connsiteX2" fmla="*/ 4362450 w 4362450"/>
              <a:gd name="connsiteY2" fmla="*/ 2472571 h 2472571"/>
              <a:gd name="connsiteX3" fmla="*/ 0 w 4362450"/>
              <a:gd name="connsiteY3" fmla="*/ 2472571 h 2472571"/>
            </a:gdLst>
            <a:ahLst/>
            <a:cxnLst>
              <a:cxn ang="0">
                <a:pos x="connsiteX0" y="connsiteY0"/>
              </a:cxn>
              <a:cxn ang="0">
                <a:pos x="connsiteX1" y="connsiteY1"/>
              </a:cxn>
              <a:cxn ang="0">
                <a:pos x="connsiteX2" y="connsiteY2"/>
              </a:cxn>
              <a:cxn ang="0">
                <a:pos x="connsiteX3" y="connsiteY3"/>
              </a:cxn>
            </a:cxnLst>
            <a:rect l="l" t="t" r="r" b="b"/>
            <a:pathLst>
              <a:path w="4362450" h="2472571">
                <a:moveTo>
                  <a:pt x="0" y="0"/>
                </a:moveTo>
                <a:lnTo>
                  <a:pt x="4362450" y="0"/>
                </a:lnTo>
                <a:lnTo>
                  <a:pt x="4362450" y="2472571"/>
                </a:lnTo>
                <a:lnTo>
                  <a:pt x="0" y="2472571"/>
                </a:lnTo>
                <a:close/>
              </a:path>
            </a:pathLst>
          </a:custGeom>
          <a:solidFill>
            <a:schemeClr val="bg1"/>
          </a:solidFill>
        </p:spPr>
        <p:txBody>
          <a:bodyPr wrap="square" anchor="ctr">
            <a:noAutofit/>
          </a:bodyPr>
          <a:lstStyle>
            <a:lvl1pPr marL="0" indent="0" algn="ctr">
              <a:buFontTx/>
              <a:buNone/>
              <a:defRPr sz="1200">
                <a:latin typeface="+mj-lt"/>
                <a:cs typeface="Poppins" panose="00000500000000000000" pitchFamily="2" charset="0"/>
              </a:defRPr>
            </a:lvl1pPr>
          </a:lstStyle>
          <a:p>
            <a:r>
              <a:rPr lang="en-US" dirty="0"/>
              <a:t>Picture</a:t>
            </a:r>
          </a:p>
        </p:txBody>
      </p:sp>
    </p:spTree>
    <p:extLst>
      <p:ext uri="{BB962C8B-B14F-4D97-AF65-F5344CB8AC3E}">
        <p14:creationId xmlns:p14="http://schemas.microsoft.com/office/powerpoint/2010/main" val="20050162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Subtitle, No Bullet">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C7D5B472-F62B-4E17-8713-A5DF41239CA3}"/>
              </a:ext>
            </a:extLst>
          </p:cNvPr>
          <p:cNvSpPr>
            <a:spLocks noGrp="1"/>
          </p:cNvSpPr>
          <p:nvPr>
            <p:ph idx="1"/>
          </p:nvPr>
        </p:nvSpPr>
        <p:spPr>
          <a:xfrm>
            <a:off x="621101" y="1739900"/>
            <a:ext cx="11024659" cy="4617868"/>
          </a:xfrm>
        </p:spPr>
        <p:txBody>
          <a:bodyPr/>
          <a:lstStyle>
            <a:lvl1pPr marL="0" indent="0">
              <a:buNone/>
              <a:defRPr>
                <a:solidFill>
                  <a:schemeClr val="accent1"/>
                </a:solidFill>
                <a:latin typeface="+mj-lt"/>
              </a:defRPr>
            </a:lvl1pPr>
            <a:lvl2pPr marL="6350" indent="0">
              <a:lnSpc>
                <a:spcPct val="100000"/>
              </a:lnSpc>
              <a:spcBef>
                <a:spcPts val="0"/>
              </a:spcBef>
              <a:buNone/>
              <a:defRPr/>
            </a:lvl2pPr>
            <a:lvl3pPr marL="231775" indent="0">
              <a:buNone/>
              <a:defRPr/>
            </a:lvl3pPr>
            <a:lvl4pPr marL="457200" indent="0">
              <a:buNone/>
              <a:defRPr/>
            </a:lvl4pPr>
          </a:lstStyle>
          <a:p>
            <a:pPr lvl="0"/>
            <a:r>
              <a:rPr lang="en-US" dirty="0"/>
              <a:t>Edit Master text styles</a:t>
            </a:r>
          </a:p>
          <a:p>
            <a:pPr lvl="1"/>
            <a:r>
              <a:rPr lang="en-US" dirty="0"/>
              <a:t>Second level</a:t>
            </a:r>
          </a:p>
        </p:txBody>
      </p:sp>
      <p:sp>
        <p:nvSpPr>
          <p:cNvPr id="11" name="Title 1">
            <a:extLst>
              <a:ext uri="{FF2B5EF4-FFF2-40B4-BE49-F238E27FC236}">
                <a16:creationId xmlns:a16="http://schemas.microsoft.com/office/drawing/2014/main" id="{E4AC2A50-746A-4177-9725-738F31B73B41}"/>
              </a:ext>
            </a:extLst>
          </p:cNvPr>
          <p:cNvSpPr>
            <a:spLocks noGrp="1"/>
          </p:cNvSpPr>
          <p:nvPr>
            <p:ph type="title"/>
          </p:nvPr>
        </p:nvSpPr>
        <p:spPr>
          <a:xfrm>
            <a:off x="609604" y="0"/>
            <a:ext cx="8946033" cy="1143000"/>
          </a:xfrm>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2063408129"/>
      </p:ext>
    </p:extLst>
  </p:cSld>
  <p:clrMapOvr>
    <a:masterClrMapping/>
  </p:clrMapOvr>
  <p:extLst>
    <p:ext uri="{DCECCB84-F9BA-43D5-87BE-67443E8EF086}">
      <p15:sldGuideLst xmlns:p15="http://schemas.microsoft.com/office/powerpoint/2012/main">
        <p15:guide id="3" orient="horz" pos="2160">
          <p15:clr>
            <a:srgbClr val="FBAE40"/>
          </p15:clr>
        </p15:guide>
        <p15:guide id="4" pos="5496">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Device Mockup-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6DD9B4-ECCE-400B-B8BA-74651CF20982}"/>
              </a:ext>
            </a:extLst>
          </p:cNvPr>
          <p:cNvGraphicFramePr>
            <a:graphicFrameLocks noChangeAspect="1"/>
          </p:cNvGraphicFramePr>
          <p:nvPr userDrawn="1">
            <p:custDataLst>
              <p:tags r:id="rId1"/>
            </p:custDataLst>
            <p:extLst>
              <p:ext uri="{D42A27DB-BD31-4B8C-83A1-F6EECF244321}">
                <p14:modId xmlns:p14="http://schemas.microsoft.com/office/powerpoint/2010/main" val="385295317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D66DD9B4-ECCE-400B-B8BA-74651CF20982}"/>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2EDB674-D5AC-4709-80EA-B6C1DBB97F8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3" name="Picture Placeholder 2">
            <a:extLst>
              <a:ext uri="{FF2B5EF4-FFF2-40B4-BE49-F238E27FC236}">
                <a16:creationId xmlns:a16="http://schemas.microsoft.com/office/drawing/2014/main" id="{6FBC4E8F-52E7-47FC-A05D-1B21C3072148}"/>
              </a:ext>
            </a:extLst>
          </p:cNvPr>
          <p:cNvSpPr>
            <a:spLocks noGrp="1"/>
          </p:cNvSpPr>
          <p:nvPr>
            <p:ph type="pic" sz="quarter" idx="19"/>
          </p:nvPr>
        </p:nvSpPr>
        <p:spPr>
          <a:xfrm>
            <a:off x="5483759" y="2616325"/>
            <a:ext cx="5262835" cy="2474630"/>
          </a:xfrm>
          <a:prstGeom prst="rect">
            <a:avLst/>
          </a:prstGeom>
        </p:spPr>
        <p:txBody>
          <a:bodyPr anchor="ctr"/>
          <a:lstStyle>
            <a:lvl1pPr marL="0" indent="0" algn="ctr">
              <a:buNone/>
              <a:defRPr sz="1600"/>
            </a:lvl1pPr>
          </a:lstStyle>
          <a:p>
            <a:endParaRPr lang="en-US" dirty="0"/>
          </a:p>
        </p:txBody>
      </p:sp>
      <p:sp>
        <p:nvSpPr>
          <p:cNvPr id="44" name="Title 6">
            <a:extLst>
              <a:ext uri="{FF2B5EF4-FFF2-40B4-BE49-F238E27FC236}">
                <a16:creationId xmlns:a16="http://schemas.microsoft.com/office/drawing/2014/main" id="{67A404EB-B058-4F1D-AE38-8A63F97D8533}"/>
              </a:ext>
            </a:extLst>
          </p:cNvPr>
          <p:cNvSpPr>
            <a:spLocks noGrp="1"/>
          </p:cNvSpPr>
          <p:nvPr>
            <p:ph type="title"/>
          </p:nvPr>
        </p:nvSpPr>
        <p:spPr>
          <a:xfrm>
            <a:off x="609600" y="0"/>
            <a:ext cx="9753600" cy="1143000"/>
          </a:xfrm>
        </p:spPr>
        <p:txBody>
          <a:bodyPr/>
          <a:lstStyle>
            <a:lvl1pPr algn="l">
              <a:defRPr sz="2400">
                <a:latin typeface="+mj-lt"/>
              </a:defRPr>
            </a:lvl1pPr>
          </a:lstStyle>
          <a:p>
            <a:r>
              <a:rPr lang="en-US" dirty="0"/>
              <a:t>Click to edit Master title style</a:t>
            </a:r>
          </a:p>
        </p:txBody>
      </p:sp>
      <p:sp>
        <p:nvSpPr>
          <p:cNvPr id="6" name="Rectangle 5">
            <a:extLst>
              <a:ext uri="{FF2B5EF4-FFF2-40B4-BE49-F238E27FC236}">
                <a16:creationId xmlns:a16="http://schemas.microsoft.com/office/drawing/2014/main" id="{EA4015DB-6A33-46BD-A219-33CB41ED8372}"/>
              </a:ext>
            </a:extLst>
          </p:cNvPr>
          <p:cNvSpPr/>
          <p:nvPr userDrawn="1"/>
        </p:nvSpPr>
        <p:spPr>
          <a:xfrm>
            <a:off x="0" y="1182203"/>
            <a:ext cx="12192000" cy="128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335205147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7B1BC-0823-4F14-8B1C-E167944FF9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289753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Quote Ligh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C9AC73-1E4C-446C-8A8B-BAC04AE36F07}"/>
              </a:ext>
            </a:extLst>
          </p:cNvPr>
          <p:cNvGraphicFramePr>
            <a:graphicFrameLocks noChangeAspect="1"/>
          </p:cNvGraphicFramePr>
          <p:nvPr userDrawn="1">
            <p:custDataLst>
              <p:tags r:id="rId1"/>
            </p:custDataLst>
            <p:extLst>
              <p:ext uri="{D42A27DB-BD31-4B8C-83A1-F6EECF244321}">
                <p14:modId xmlns:p14="http://schemas.microsoft.com/office/powerpoint/2010/main" val="156483672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70C9AC73-1E4C-446C-8A8B-BAC04AE36F07}"/>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CD8301F-98AA-47A3-B4AD-50C97E6D35E7}"/>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200" b="1" i="0" baseline="0" dirty="0">
              <a:latin typeface="Segoe UI Semibold" panose="020B0702040204020203" pitchFamily="34" charset="0"/>
              <a:ea typeface="Verdana" panose="020B0604030504040204" pitchFamily="34" charset="0"/>
              <a:sym typeface="Segoe UI Semibold" panose="020B0702040204020203" pitchFamily="34" charset="0"/>
            </a:endParaRPr>
          </a:p>
        </p:txBody>
      </p:sp>
      <p:sp>
        <p:nvSpPr>
          <p:cNvPr id="2" name="Title 1"/>
          <p:cNvSpPr>
            <a:spLocks noGrp="1"/>
          </p:cNvSpPr>
          <p:nvPr>
            <p:ph type="title"/>
          </p:nvPr>
        </p:nvSpPr>
        <p:spPr>
          <a:xfrm>
            <a:off x="911508" y="1905001"/>
            <a:ext cx="10366800" cy="2225262"/>
          </a:xfrm>
        </p:spPr>
        <p:txBody>
          <a:bodyPr anchor="ctr"/>
          <a:lstStyle>
            <a:lvl1pPr algn="l">
              <a:lnSpc>
                <a:spcPct val="95000"/>
              </a:lnSpc>
              <a:defRPr sz="4200">
                <a:solidFill>
                  <a:schemeClr val="accent1"/>
                </a:solidFill>
                <a:latin typeface="+mn-lt"/>
              </a:defRPr>
            </a:lvl1pPr>
          </a:lstStyle>
          <a:p>
            <a:r>
              <a:rPr lang="en-US" dirty="0"/>
              <a:t>Click to edit Master title style</a:t>
            </a:r>
          </a:p>
        </p:txBody>
      </p:sp>
      <p:sp>
        <p:nvSpPr>
          <p:cNvPr id="10" name="Text Placeholder 9"/>
          <p:cNvSpPr>
            <a:spLocks noGrp="1"/>
          </p:cNvSpPr>
          <p:nvPr>
            <p:ph type="body" sz="quarter" idx="14" hasCustomPrompt="1"/>
          </p:nvPr>
        </p:nvSpPr>
        <p:spPr>
          <a:xfrm>
            <a:off x="6958641" y="4620890"/>
            <a:ext cx="4321851" cy="1415772"/>
          </a:xfrm>
        </p:spPr>
        <p:txBody>
          <a:bodyPr>
            <a:noAutofit/>
          </a:bodyPr>
          <a:lstStyle>
            <a:lvl1pPr marL="0" indent="0" algn="r">
              <a:lnSpc>
                <a:spcPct val="95000"/>
              </a:lnSpc>
              <a:spcAft>
                <a:spcPts val="0"/>
              </a:spcAft>
              <a:buFont typeface="Arial" panose="020B0604020202020204" pitchFamily="34" charset="0"/>
              <a:buChar char="​"/>
              <a:defRPr sz="1600">
                <a:solidFill>
                  <a:schemeClr val="accent1"/>
                </a:solidFill>
                <a:latin typeface="Segoe UI Semibold" panose="020B0702040204020203" pitchFamily="34" charset="0"/>
                <a:cs typeface="Segoe UI Semibold" panose="020B0702040204020203" pitchFamily="34" charset="0"/>
              </a:defRPr>
            </a:lvl1pPr>
            <a:lvl2pPr marL="0" indent="0" algn="r">
              <a:lnSpc>
                <a:spcPct val="95000"/>
              </a:lnSpc>
              <a:spcBef>
                <a:spcPts val="0"/>
              </a:spcBef>
              <a:spcAft>
                <a:spcPts val="200"/>
              </a:spcAft>
              <a:buFont typeface="Arial" panose="020B0604020202020204" pitchFamily="34" charset="0"/>
              <a:buChar char="​"/>
              <a:defRPr sz="1500">
                <a:solidFill>
                  <a:srgbClr val="5B5857"/>
                </a:solidFill>
                <a:latin typeface="+mn-lt"/>
              </a:defRPr>
            </a:lvl2pPr>
            <a:lvl3pPr marL="0" indent="0" algn="r">
              <a:lnSpc>
                <a:spcPct val="95000"/>
              </a:lnSpc>
              <a:spcBef>
                <a:spcPts val="0"/>
              </a:spcBef>
              <a:spcAft>
                <a:spcPts val="200"/>
              </a:spcAft>
              <a:buFont typeface="Arial" panose="020B0604020202020204" pitchFamily="34" charset="0"/>
              <a:buChar char="​"/>
              <a:defRPr sz="1500">
                <a:solidFill>
                  <a:srgbClr val="5B5857"/>
                </a:solidFill>
                <a:latin typeface="+mn-lt"/>
              </a:defRPr>
            </a:lvl3pPr>
            <a:lvl4pPr marL="0" indent="0" algn="r">
              <a:lnSpc>
                <a:spcPct val="95000"/>
              </a:lnSpc>
              <a:spcBef>
                <a:spcPts val="0"/>
              </a:spcBef>
              <a:spcAft>
                <a:spcPts val="200"/>
              </a:spcAft>
              <a:buFont typeface="Arial" panose="020B0604020202020204" pitchFamily="34" charset="0"/>
              <a:buChar char="​"/>
              <a:defRPr sz="1500">
                <a:solidFill>
                  <a:srgbClr val="5B5857"/>
                </a:solidFill>
                <a:latin typeface="+mn-lt"/>
              </a:defRPr>
            </a:lvl4pPr>
            <a:lvl5pPr marL="0" indent="0" algn="r">
              <a:lnSpc>
                <a:spcPct val="95000"/>
              </a:lnSpc>
              <a:spcBef>
                <a:spcPts val="0"/>
              </a:spcBef>
              <a:spcAft>
                <a:spcPts val="200"/>
              </a:spcAft>
              <a:buFont typeface="Arial" panose="020B0604020202020204" pitchFamily="34" charset="0"/>
              <a:buChar char="​"/>
              <a:defRPr sz="1500">
                <a:solidFill>
                  <a:srgbClr val="5B5857"/>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Freeform: Shape 13">
            <a:extLst>
              <a:ext uri="{FF2B5EF4-FFF2-40B4-BE49-F238E27FC236}">
                <a16:creationId xmlns:a16="http://schemas.microsoft.com/office/drawing/2014/main" id="{5CD1A213-4D08-47E2-8501-F04492BF7CFA}"/>
              </a:ext>
            </a:extLst>
          </p:cNvPr>
          <p:cNvSpPr/>
          <p:nvPr/>
        </p:nvSpPr>
        <p:spPr>
          <a:xfrm>
            <a:off x="-1" y="4280690"/>
            <a:ext cx="12192000" cy="189775"/>
          </a:xfrm>
          <a:custGeom>
            <a:avLst/>
            <a:gdLst>
              <a:gd name="connsiteX0" fmla="*/ 0 w 9144000"/>
              <a:gd name="connsiteY0" fmla="*/ 0 h 189775"/>
              <a:gd name="connsiteX1" fmla="*/ 7877264 w 9144000"/>
              <a:gd name="connsiteY1" fmla="*/ 0 h 189775"/>
              <a:gd name="connsiteX2" fmla="*/ 7980594 w 9144000"/>
              <a:gd name="connsiteY2" fmla="*/ 101723 h 189775"/>
              <a:gd name="connsiteX3" fmla="*/ 8082317 w 9144000"/>
              <a:gd name="connsiteY3" fmla="*/ 0 h 189775"/>
              <a:gd name="connsiteX4" fmla="*/ 8458200 w 9144000"/>
              <a:gd name="connsiteY4" fmla="*/ 0 h 189775"/>
              <a:gd name="connsiteX5" fmla="*/ 8508908 w 9144000"/>
              <a:gd name="connsiteY5" fmla="*/ 0 h 189775"/>
              <a:gd name="connsiteX6" fmla="*/ 9144000 w 9144000"/>
              <a:gd name="connsiteY6" fmla="*/ 0 h 189775"/>
              <a:gd name="connsiteX7" fmla="*/ 9144000 w 9144000"/>
              <a:gd name="connsiteY7" fmla="*/ 61912 h 189775"/>
              <a:gd name="connsiteX8" fmla="*/ 8508908 w 9144000"/>
              <a:gd name="connsiteY8" fmla="*/ 61912 h 189775"/>
              <a:gd name="connsiteX9" fmla="*/ 8508908 w 9144000"/>
              <a:gd name="connsiteY9" fmla="*/ 62454 h 189775"/>
              <a:gd name="connsiteX10" fmla="*/ 8108183 w 9144000"/>
              <a:gd name="connsiteY10" fmla="*/ 62454 h 189775"/>
              <a:gd name="connsiteX11" fmla="*/ 7980996 w 9144000"/>
              <a:gd name="connsiteY11" fmla="*/ 189775 h 189775"/>
              <a:gd name="connsiteX12" fmla="*/ 7851665 w 9144000"/>
              <a:gd name="connsiteY12" fmla="*/ 62454 h 189775"/>
              <a:gd name="connsiteX13" fmla="*/ 0 w 9144000"/>
              <a:gd name="connsiteY13" fmla="*/ 62454 h 18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189775">
                <a:moveTo>
                  <a:pt x="0" y="0"/>
                </a:moveTo>
                <a:lnTo>
                  <a:pt x="7877264" y="0"/>
                </a:lnTo>
                <a:lnTo>
                  <a:pt x="7980594" y="101723"/>
                </a:lnTo>
                <a:lnTo>
                  <a:pt x="8082317" y="0"/>
                </a:lnTo>
                <a:lnTo>
                  <a:pt x="8458200" y="0"/>
                </a:lnTo>
                <a:lnTo>
                  <a:pt x="8508908" y="0"/>
                </a:lnTo>
                <a:lnTo>
                  <a:pt x="9144000" y="0"/>
                </a:lnTo>
                <a:lnTo>
                  <a:pt x="9144000" y="61912"/>
                </a:lnTo>
                <a:lnTo>
                  <a:pt x="8508908" y="61912"/>
                </a:lnTo>
                <a:lnTo>
                  <a:pt x="8508908" y="62454"/>
                </a:lnTo>
                <a:lnTo>
                  <a:pt x="8108183" y="62454"/>
                </a:lnTo>
                <a:lnTo>
                  <a:pt x="7980996" y="189775"/>
                </a:lnTo>
                <a:lnTo>
                  <a:pt x="7851665" y="62454"/>
                </a:lnTo>
                <a:lnTo>
                  <a:pt x="0" y="62454"/>
                </a:lnTo>
                <a:close/>
              </a:path>
            </a:pathLst>
          </a:custGeom>
          <a:solidFill>
            <a:schemeClr val="accent2"/>
          </a:solidFill>
          <a:ln w="13395" cap="flat">
            <a:noFill/>
            <a:prstDash val="solid"/>
            <a:miter/>
          </a:ln>
        </p:spPr>
        <p:txBody>
          <a:bodyPr rtlCol="0" anchor="ctr"/>
          <a:lstStyle/>
          <a:p>
            <a:endParaRPr lang="en-US" sz="1800" dirty="0"/>
          </a:p>
        </p:txBody>
      </p:sp>
      <p:sp>
        <p:nvSpPr>
          <p:cNvPr id="7" name="Rectangle 6">
            <a:extLst>
              <a:ext uri="{FF2B5EF4-FFF2-40B4-BE49-F238E27FC236}">
                <a16:creationId xmlns:a16="http://schemas.microsoft.com/office/drawing/2014/main" id="{D09FE89D-848E-449F-9BB3-4790A42BF108}"/>
              </a:ext>
            </a:extLst>
          </p:cNvPr>
          <p:cNvSpPr/>
          <p:nvPr userDrawn="1"/>
        </p:nvSpPr>
        <p:spPr>
          <a:xfrm>
            <a:off x="0" y="1213755"/>
            <a:ext cx="12192000" cy="1099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27234636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Device Mockup-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2DFF0D-FC81-4463-AAAE-13D9A1E97A5E}"/>
              </a:ext>
            </a:extLst>
          </p:cNvPr>
          <p:cNvGraphicFramePr>
            <a:graphicFrameLocks noChangeAspect="1"/>
          </p:cNvGraphicFramePr>
          <p:nvPr userDrawn="1">
            <p:custDataLst>
              <p:tags r:id="rId1"/>
            </p:custDataLst>
            <p:extLst>
              <p:ext uri="{D42A27DB-BD31-4B8C-83A1-F6EECF244321}">
                <p14:modId xmlns:p14="http://schemas.microsoft.com/office/powerpoint/2010/main" val="113929281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id="{D92DFF0D-FC81-4463-AAAE-13D9A1E97A5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AEF00E6-CA91-4E40-B6B1-3C0D935EA45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13" name="Picture Placeholder 6">
            <a:extLst>
              <a:ext uri="{FF2B5EF4-FFF2-40B4-BE49-F238E27FC236}">
                <a16:creationId xmlns:a16="http://schemas.microsoft.com/office/drawing/2014/main" id="{298511AF-1176-4912-B5A2-C55D39AB80CB}"/>
              </a:ext>
            </a:extLst>
          </p:cNvPr>
          <p:cNvSpPr>
            <a:spLocks noGrp="1"/>
          </p:cNvSpPr>
          <p:nvPr>
            <p:ph type="pic" sz="quarter" idx="21" hasCustomPrompt="1"/>
          </p:nvPr>
        </p:nvSpPr>
        <p:spPr>
          <a:xfrm>
            <a:off x="5837474" y="1873429"/>
            <a:ext cx="5386445" cy="2482951"/>
          </a:xfrm>
          <a:custGeom>
            <a:avLst/>
            <a:gdLst>
              <a:gd name="connsiteX0" fmla="*/ 0 w 4362450"/>
              <a:gd name="connsiteY0" fmla="*/ 0 h 2472571"/>
              <a:gd name="connsiteX1" fmla="*/ 4362450 w 4362450"/>
              <a:gd name="connsiteY1" fmla="*/ 0 h 2472571"/>
              <a:gd name="connsiteX2" fmla="*/ 4362450 w 4362450"/>
              <a:gd name="connsiteY2" fmla="*/ 2472571 h 2472571"/>
              <a:gd name="connsiteX3" fmla="*/ 0 w 4362450"/>
              <a:gd name="connsiteY3" fmla="*/ 2472571 h 2472571"/>
            </a:gdLst>
            <a:ahLst/>
            <a:cxnLst>
              <a:cxn ang="0">
                <a:pos x="connsiteX0" y="connsiteY0"/>
              </a:cxn>
              <a:cxn ang="0">
                <a:pos x="connsiteX1" y="connsiteY1"/>
              </a:cxn>
              <a:cxn ang="0">
                <a:pos x="connsiteX2" y="connsiteY2"/>
              </a:cxn>
              <a:cxn ang="0">
                <a:pos x="connsiteX3" y="connsiteY3"/>
              </a:cxn>
            </a:cxnLst>
            <a:rect l="l" t="t" r="r" b="b"/>
            <a:pathLst>
              <a:path w="4362450" h="2472571">
                <a:moveTo>
                  <a:pt x="0" y="0"/>
                </a:moveTo>
                <a:lnTo>
                  <a:pt x="4362450" y="0"/>
                </a:lnTo>
                <a:lnTo>
                  <a:pt x="4362450" y="2472571"/>
                </a:lnTo>
                <a:lnTo>
                  <a:pt x="0" y="2472571"/>
                </a:lnTo>
                <a:close/>
              </a:path>
            </a:pathLst>
          </a:custGeom>
          <a:solidFill>
            <a:schemeClr val="bg1"/>
          </a:solidFill>
        </p:spPr>
        <p:txBody>
          <a:bodyPr wrap="square" anchor="ctr">
            <a:noAutofit/>
          </a:bodyPr>
          <a:lstStyle>
            <a:lvl1pPr marL="0" indent="0" algn="ctr">
              <a:buFontTx/>
              <a:buNone/>
              <a:defRPr sz="1200">
                <a:latin typeface="+mj-lt"/>
                <a:cs typeface="Poppins" panose="00000500000000000000" pitchFamily="2" charset="0"/>
              </a:defRPr>
            </a:lvl1pPr>
          </a:lstStyle>
          <a:p>
            <a:r>
              <a:rPr lang="en-US" dirty="0"/>
              <a:t>Picture</a:t>
            </a:r>
          </a:p>
        </p:txBody>
      </p:sp>
      <p:sp>
        <p:nvSpPr>
          <p:cNvPr id="16" name="Picture Placeholder 12">
            <a:extLst>
              <a:ext uri="{FF2B5EF4-FFF2-40B4-BE49-F238E27FC236}">
                <a16:creationId xmlns:a16="http://schemas.microsoft.com/office/drawing/2014/main" id="{B1E24573-CCF3-4082-8EB6-9FC6D2593147}"/>
              </a:ext>
            </a:extLst>
          </p:cNvPr>
          <p:cNvSpPr>
            <a:spLocks noGrp="1"/>
          </p:cNvSpPr>
          <p:nvPr>
            <p:ph type="pic" sz="quarter" idx="24" hasCustomPrompt="1"/>
          </p:nvPr>
        </p:nvSpPr>
        <p:spPr>
          <a:xfrm>
            <a:off x="4805111" y="3723818"/>
            <a:ext cx="1846360" cy="1963119"/>
          </a:xfrm>
          <a:custGeom>
            <a:avLst/>
            <a:gdLst>
              <a:gd name="connsiteX0" fmla="*/ 0 w 1479368"/>
              <a:gd name="connsiteY0" fmla="*/ 0 h 1963119"/>
              <a:gd name="connsiteX1" fmla="*/ 1479368 w 1479368"/>
              <a:gd name="connsiteY1" fmla="*/ 0 h 1963119"/>
              <a:gd name="connsiteX2" fmla="*/ 1479368 w 1479368"/>
              <a:gd name="connsiteY2" fmla="*/ 1963119 h 1963119"/>
              <a:gd name="connsiteX3" fmla="*/ 0 w 1479368"/>
              <a:gd name="connsiteY3" fmla="*/ 1963119 h 1963119"/>
            </a:gdLst>
            <a:ahLst/>
            <a:cxnLst>
              <a:cxn ang="0">
                <a:pos x="connsiteX0" y="connsiteY0"/>
              </a:cxn>
              <a:cxn ang="0">
                <a:pos x="connsiteX1" y="connsiteY1"/>
              </a:cxn>
              <a:cxn ang="0">
                <a:pos x="connsiteX2" y="connsiteY2"/>
              </a:cxn>
              <a:cxn ang="0">
                <a:pos x="connsiteX3" y="connsiteY3"/>
              </a:cxn>
            </a:cxnLst>
            <a:rect l="l" t="t" r="r" b="b"/>
            <a:pathLst>
              <a:path w="1479368" h="1963119">
                <a:moveTo>
                  <a:pt x="0" y="0"/>
                </a:moveTo>
                <a:lnTo>
                  <a:pt x="1479368" y="0"/>
                </a:lnTo>
                <a:lnTo>
                  <a:pt x="1479368" y="1963119"/>
                </a:lnTo>
                <a:lnTo>
                  <a:pt x="0" y="1963119"/>
                </a:lnTo>
                <a:close/>
              </a:path>
            </a:pathLst>
          </a:custGeom>
          <a:solidFill>
            <a:schemeClr val="bg1"/>
          </a:solidFill>
        </p:spPr>
        <p:txBody>
          <a:bodyPr wrap="square" anchor="ctr">
            <a:noAutofit/>
          </a:bodyPr>
          <a:lstStyle>
            <a:lvl1pPr marL="0" indent="0" algn="ctr">
              <a:buFontTx/>
              <a:buNone/>
              <a:defRPr sz="1200">
                <a:latin typeface="+mj-lt"/>
                <a:cs typeface="Poppins" panose="00000500000000000000" pitchFamily="2" charset="0"/>
              </a:defRPr>
            </a:lvl1pPr>
          </a:lstStyle>
          <a:p>
            <a:r>
              <a:rPr lang="en-US" dirty="0"/>
              <a:t>Picture</a:t>
            </a:r>
          </a:p>
        </p:txBody>
      </p:sp>
      <p:sp>
        <p:nvSpPr>
          <p:cNvPr id="44" name="Title 6">
            <a:extLst>
              <a:ext uri="{FF2B5EF4-FFF2-40B4-BE49-F238E27FC236}">
                <a16:creationId xmlns:a16="http://schemas.microsoft.com/office/drawing/2014/main" id="{67A404EB-B058-4F1D-AE38-8A63F97D8533}"/>
              </a:ext>
            </a:extLst>
          </p:cNvPr>
          <p:cNvSpPr>
            <a:spLocks noGrp="1"/>
          </p:cNvSpPr>
          <p:nvPr>
            <p:ph type="title"/>
          </p:nvPr>
        </p:nvSpPr>
        <p:spPr>
          <a:xfrm>
            <a:off x="609600" y="0"/>
            <a:ext cx="9753600" cy="1143000"/>
          </a:xfrm>
        </p:spPr>
        <p:txBody>
          <a:bodyPr/>
          <a:lstStyle>
            <a:lvl1pPr algn="l">
              <a:defRPr sz="2400">
                <a:latin typeface="+mj-lt"/>
              </a:defRPr>
            </a:lvl1pPr>
          </a:lstStyle>
          <a:p>
            <a:r>
              <a:rPr lang="en-US" dirty="0"/>
              <a:t>Click to edit Master title style</a:t>
            </a:r>
          </a:p>
        </p:txBody>
      </p:sp>
      <p:sp>
        <p:nvSpPr>
          <p:cNvPr id="15" name="Picture Placeholder 10">
            <a:extLst>
              <a:ext uri="{FF2B5EF4-FFF2-40B4-BE49-F238E27FC236}">
                <a16:creationId xmlns:a16="http://schemas.microsoft.com/office/drawing/2014/main" id="{B2F2F68A-1775-4FDF-8463-3031D6325B3F}"/>
              </a:ext>
            </a:extLst>
          </p:cNvPr>
          <p:cNvSpPr>
            <a:spLocks noGrp="1"/>
          </p:cNvSpPr>
          <p:nvPr>
            <p:ph type="pic" sz="quarter" idx="23" hasCustomPrompt="1"/>
          </p:nvPr>
        </p:nvSpPr>
        <p:spPr>
          <a:xfrm>
            <a:off x="6461229" y="5273073"/>
            <a:ext cx="728672" cy="958658"/>
          </a:xfrm>
          <a:custGeom>
            <a:avLst/>
            <a:gdLst>
              <a:gd name="connsiteX0" fmla="*/ 0 w 588168"/>
              <a:gd name="connsiteY0" fmla="*/ 0 h 1027670"/>
              <a:gd name="connsiteX1" fmla="*/ 588168 w 588168"/>
              <a:gd name="connsiteY1" fmla="*/ 0 h 1027670"/>
              <a:gd name="connsiteX2" fmla="*/ 588168 w 588168"/>
              <a:gd name="connsiteY2" fmla="*/ 1027670 h 1027670"/>
              <a:gd name="connsiteX3" fmla="*/ 0 w 588168"/>
              <a:gd name="connsiteY3" fmla="*/ 1027670 h 1027670"/>
            </a:gdLst>
            <a:ahLst/>
            <a:cxnLst>
              <a:cxn ang="0">
                <a:pos x="connsiteX0" y="connsiteY0"/>
              </a:cxn>
              <a:cxn ang="0">
                <a:pos x="connsiteX1" y="connsiteY1"/>
              </a:cxn>
              <a:cxn ang="0">
                <a:pos x="connsiteX2" y="connsiteY2"/>
              </a:cxn>
              <a:cxn ang="0">
                <a:pos x="connsiteX3" y="connsiteY3"/>
              </a:cxn>
            </a:cxnLst>
            <a:rect l="l" t="t" r="r" b="b"/>
            <a:pathLst>
              <a:path w="588168" h="1027670">
                <a:moveTo>
                  <a:pt x="0" y="0"/>
                </a:moveTo>
                <a:lnTo>
                  <a:pt x="588168" y="0"/>
                </a:lnTo>
                <a:lnTo>
                  <a:pt x="588168" y="1027670"/>
                </a:lnTo>
                <a:lnTo>
                  <a:pt x="0" y="1027670"/>
                </a:lnTo>
                <a:close/>
              </a:path>
            </a:pathLst>
          </a:custGeom>
          <a:solidFill>
            <a:schemeClr val="bg1"/>
          </a:solidFill>
        </p:spPr>
        <p:txBody>
          <a:bodyPr wrap="square" anchor="ctr">
            <a:noAutofit/>
          </a:bodyPr>
          <a:lstStyle>
            <a:lvl1pPr marL="0" indent="0" algn="ctr">
              <a:buFontTx/>
              <a:buNone/>
              <a:defRPr sz="1200">
                <a:latin typeface="+mj-lt"/>
                <a:cs typeface="Poppins" panose="00000500000000000000" pitchFamily="2" charset="0"/>
              </a:defRPr>
            </a:lvl1pPr>
          </a:lstStyle>
          <a:p>
            <a:r>
              <a:rPr lang="en-US" dirty="0"/>
              <a:t>Picture</a:t>
            </a:r>
          </a:p>
        </p:txBody>
      </p:sp>
      <p:sp>
        <p:nvSpPr>
          <p:cNvPr id="93" name="Picture Placeholder 6">
            <a:extLst>
              <a:ext uri="{FF2B5EF4-FFF2-40B4-BE49-F238E27FC236}">
                <a16:creationId xmlns:a16="http://schemas.microsoft.com/office/drawing/2014/main" id="{E5BCB224-EEC3-4A8F-959A-99E6133BD37B}"/>
              </a:ext>
            </a:extLst>
          </p:cNvPr>
          <p:cNvSpPr>
            <a:spLocks noGrp="1"/>
          </p:cNvSpPr>
          <p:nvPr>
            <p:ph type="pic" sz="quarter" idx="25" hasCustomPrompt="1"/>
          </p:nvPr>
        </p:nvSpPr>
        <p:spPr>
          <a:xfrm>
            <a:off x="9317990" y="3712794"/>
            <a:ext cx="4668057" cy="2380502"/>
          </a:xfrm>
          <a:custGeom>
            <a:avLst/>
            <a:gdLst>
              <a:gd name="connsiteX0" fmla="*/ 0 w 4362450"/>
              <a:gd name="connsiteY0" fmla="*/ 0 h 2472571"/>
              <a:gd name="connsiteX1" fmla="*/ 4362450 w 4362450"/>
              <a:gd name="connsiteY1" fmla="*/ 0 h 2472571"/>
              <a:gd name="connsiteX2" fmla="*/ 4362450 w 4362450"/>
              <a:gd name="connsiteY2" fmla="*/ 2472571 h 2472571"/>
              <a:gd name="connsiteX3" fmla="*/ 0 w 4362450"/>
              <a:gd name="connsiteY3" fmla="*/ 2472571 h 2472571"/>
            </a:gdLst>
            <a:ahLst/>
            <a:cxnLst>
              <a:cxn ang="0">
                <a:pos x="connsiteX0" y="connsiteY0"/>
              </a:cxn>
              <a:cxn ang="0">
                <a:pos x="connsiteX1" y="connsiteY1"/>
              </a:cxn>
              <a:cxn ang="0">
                <a:pos x="connsiteX2" y="connsiteY2"/>
              </a:cxn>
              <a:cxn ang="0">
                <a:pos x="connsiteX3" y="connsiteY3"/>
              </a:cxn>
            </a:cxnLst>
            <a:rect l="l" t="t" r="r" b="b"/>
            <a:pathLst>
              <a:path w="4362450" h="2472571">
                <a:moveTo>
                  <a:pt x="0" y="0"/>
                </a:moveTo>
                <a:lnTo>
                  <a:pt x="4362450" y="0"/>
                </a:lnTo>
                <a:lnTo>
                  <a:pt x="4362450" y="2472571"/>
                </a:lnTo>
                <a:lnTo>
                  <a:pt x="0" y="2472571"/>
                </a:lnTo>
                <a:close/>
              </a:path>
            </a:pathLst>
          </a:custGeom>
          <a:solidFill>
            <a:schemeClr val="bg1"/>
          </a:solidFill>
        </p:spPr>
        <p:txBody>
          <a:bodyPr wrap="square" anchor="ctr">
            <a:noAutofit/>
          </a:bodyPr>
          <a:lstStyle>
            <a:lvl1pPr marL="0" indent="0" algn="ctr">
              <a:buFontTx/>
              <a:buNone/>
              <a:defRPr sz="1200">
                <a:latin typeface="+mj-lt"/>
                <a:cs typeface="Poppins" panose="00000500000000000000" pitchFamily="2" charset="0"/>
              </a:defRPr>
            </a:lvl1pPr>
          </a:lstStyle>
          <a:p>
            <a:r>
              <a:rPr lang="en-US" dirty="0"/>
              <a:t>Picture</a:t>
            </a:r>
          </a:p>
        </p:txBody>
      </p:sp>
      <p:sp>
        <p:nvSpPr>
          <p:cNvPr id="9" name="Rectangle 8">
            <a:extLst>
              <a:ext uri="{FF2B5EF4-FFF2-40B4-BE49-F238E27FC236}">
                <a16:creationId xmlns:a16="http://schemas.microsoft.com/office/drawing/2014/main" id="{CA39585C-7E7D-4F01-93A3-9E9FDCB14682}"/>
              </a:ext>
            </a:extLst>
          </p:cNvPr>
          <p:cNvSpPr/>
          <p:nvPr userDrawn="1"/>
        </p:nvSpPr>
        <p:spPr>
          <a:xfrm>
            <a:off x="0" y="1182203"/>
            <a:ext cx="12192000" cy="128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4134919038"/>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Title and Content with Sextan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FE14A28-CB3C-4AF5-990A-6A45486FC068}"/>
              </a:ext>
            </a:extLst>
          </p:cNvPr>
          <p:cNvGrpSpPr/>
          <p:nvPr userDrawn="1"/>
        </p:nvGrpSpPr>
        <p:grpSpPr>
          <a:xfrm>
            <a:off x="9221396" y="1308760"/>
            <a:ext cx="2996005" cy="5125208"/>
            <a:chOff x="6380656" y="48055"/>
            <a:chExt cx="2770481" cy="6319212"/>
          </a:xfrm>
          <a:solidFill>
            <a:schemeClr val="accent6">
              <a:lumMod val="20000"/>
              <a:lumOff val="80000"/>
            </a:schemeClr>
          </a:solidFill>
        </p:grpSpPr>
        <p:sp>
          <p:nvSpPr>
            <p:cNvPr id="5" name="Freeform: Shape 4">
              <a:extLst>
                <a:ext uri="{FF2B5EF4-FFF2-40B4-BE49-F238E27FC236}">
                  <a16:creationId xmlns:a16="http://schemas.microsoft.com/office/drawing/2014/main" id="{75021C31-C885-47DF-BD6D-456CEF80460E}"/>
                </a:ext>
              </a:extLst>
            </p:cNvPr>
            <p:cNvSpPr/>
            <p:nvPr/>
          </p:nvSpPr>
          <p:spPr>
            <a:xfrm>
              <a:off x="8760208" y="48055"/>
              <a:ext cx="390929" cy="849860"/>
            </a:xfrm>
            <a:custGeom>
              <a:avLst/>
              <a:gdLst>
                <a:gd name="connsiteX0" fmla="*/ 390929 w 390929"/>
                <a:gd name="connsiteY0" fmla="*/ 0 h 849860"/>
                <a:gd name="connsiteX1" fmla="*/ 390929 w 390929"/>
                <a:gd name="connsiteY1" fmla="*/ 849860 h 849860"/>
                <a:gd name="connsiteX2" fmla="*/ 343063 w 390929"/>
                <a:gd name="connsiteY2" fmla="*/ 845055 h 849860"/>
                <a:gd name="connsiteX3" fmla="*/ 0 w 390929"/>
                <a:gd name="connsiteY3" fmla="*/ 425629 h 849860"/>
                <a:gd name="connsiteX4" fmla="*/ 343063 w 390929"/>
                <a:gd name="connsiteY4" fmla="*/ 4838 h 849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929" h="849860">
                  <a:moveTo>
                    <a:pt x="390929" y="0"/>
                  </a:moveTo>
                  <a:lnTo>
                    <a:pt x="390929" y="849860"/>
                  </a:lnTo>
                  <a:lnTo>
                    <a:pt x="343063" y="845055"/>
                  </a:lnTo>
                  <a:cubicBezTo>
                    <a:pt x="147495" y="805216"/>
                    <a:pt x="0" y="632903"/>
                    <a:pt x="0" y="425629"/>
                  </a:cubicBezTo>
                  <a:cubicBezTo>
                    <a:pt x="0" y="218355"/>
                    <a:pt x="147495" y="44951"/>
                    <a:pt x="343063" y="4838"/>
                  </a:cubicBezTo>
                  <a:close/>
                </a:path>
              </a:pathLst>
            </a:custGeom>
            <a:solidFill>
              <a:schemeClr val="accent6">
                <a:lumMod val="20000"/>
                <a:lumOff val="80000"/>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6" name="Freeform: Shape 5">
              <a:extLst>
                <a:ext uri="{FF2B5EF4-FFF2-40B4-BE49-F238E27FC236}">
                  <a16:creationId xmlns:a16="http://schemas.microsoft.com/office/drawing/2014/main" id="{EB3D83B9-8375-47D4-8631-19C2B2FE6DEA}"/>
                </a:ext>
              </a:extLst>
            </p:cNvPr>
            <p:cNvSpPr/>
            <p:nvPr/>
          </p:nvSpPr>
          <p:spPr>
            <a:xfrm>
              <a:off x="8536167" y="1093010"/>
              <a:ext cx="607834" cy="869804"/>
            </a:xfrm>
            <a:custGeom>
              <a:avLst/>
              <a:gdLst>
                <a:gd name="connsiteX0" fmla="*/ 409553 w 607834"/>
                <a:gd name="connsiteY0" fmla="*/ 0 h 869804"/>
                <a:gd name="connsiteX1" fmla="*/ 509802 w 607834"/>
                <a:gd name="connsiteY1" fmla="*/ 30859 h 869804"/>
                <a:gd name="connsiteX2" fmla="*/ 607834 w 607834"/>
                <a:gd name="connsiteY2" fmla="*/ 44466 h 869804"/>
                <a:gd name="connsiteX3" fmla="*/ 607834 w 607834"/>
                <a:gd name="connsiteY3" fmla="*/ 869804 h 869804"/>
                <a:gd name="connsiteX4" fmla="*/ 469176 w 607834"/>
                <a:gd name="connsiteY4" fmla="*/ 860937 h 869804"/>
                <a:gd name="connsiteX5" fmla="*/ 0 w 607834"/>
                <a:gd name="connsiteY5" fmla="*/ 709227 h 869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7834" h="869804">
                  <a:moveTo>
                    <a:pt x="409553" y="0"/>
                  </a:moveTo>
                  <a:cubicBezTo>
                    <a:pt x="441662" y="12843"/>
                    <a:pt x="475197" y="23189"/>
                    <a:pt x="509802" y="30859"/>
                  </a:cubicBezTo>
                  <a:lnTo>
                    <a:pt x="607834" y="44466"/>
                  </a:lnTo>
                  <a:lnTo>
                    <a:pt x="607834" y="869804"/>
                  </a:lnTo>
                  <a:lnTo>
                    <a:pt x="469176" y="860937"/>
                  </a:lnTo>
                  <a:cubicBezTo>
                    <a:pt x="300744" y="839264"/>
                    <a:pt x="142345" y="786286"/>
                    <a:pt x="0" y="709227"/>
                  </a:cubicBezTo>
                  <a:close/>
                </a:path>
              </a:pathLst>
            </a:custGeom>
            <a:solidFill>
              <a:schemeClr val="accent6">
                <a:lumMod val="20000"/>
                <a:lumOff val="80000"/>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8" name="Freeform: Shape 7">
              <a:extLst>
                <a:ext uri="{FF2B5EF4-FFF2-40B4-BE49-F238E27FC236}">
                  <a16:creationId xmlns:a16="http://schemas.microsoft.com/office/drawing/2014/main" id="{20B891B7-E8A0-46C3-ABF1-F7B8D59CA3FB}"/>
                </a:ext>
              </a:extLst>
            </p:cNvPr>
            <p:cNvSpPr/>
            <p:nvPr/>
          </p:nvSpPr>
          <p:spPr>
            <a:xfrm>
              <a:off x="7461623" y="1962063"/>
              <a:ext cx="1666042" cy="2244118"/>
            </a:xfrm>
            <a:custGeom>
              <a:avLst/>
              <a:gdLst>
                <a:gd name="connsiteX0" fmla="*/ 983214 w 1666042"/>
                <a:gd name="connsiteY0" fmla="*/ 0 h 2244118"/>
                <a:gd name="connsiteX1" fmla="*/ 1519015 w 1666042"/>
                <a:gd name="connsiteY1" fmla="*/ 170373 h 2244118"/>
                <a:gd name="connsiteX2" fmla="*/ 1666042 w 1666042"/>
                <a:gd name="connsiteY2" fmla="*/ 179510 h 2244118"/>
                <a:gd name="connsiteX3" fmla="*/ 1666042 w 1666042"/>
                <a:gd name="connsiteY3" fmla="*/ 2244118 h 2244118"/>
                <a:gd name="connsiteX4" fmla="*/ 1478350 w 1666042"/>
                <a:gd name="connsiteY4" fmla="*/ 2236682 h 2244118"/>
                <a:gd name="connsiteX5" fmla="*/ 0 w 1666042"/>
                <a:gd name="connsiteY5" fmla="*/ 1696723 h 2244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042" h="2244118">
                  <a:moveTo>
                    <a:pt x="983214" y="0"/>
                  </a:moveTo>
                  <a:cubicBezTo>
                    <a:pt x="1143753" y="86691"/>
                    <a:pt x="1325163" y="146091"/>
                    <a:pt x="1519015" y="170373"/>
                  </a:cubicBezTo>
                  <a:lnTo>
                    <a:pt x="1666042" y="179510"/>
                  </a:lnTo>
                  <a:lnTo>
                    <a:pt x="1666042" y="2244118"/>
                  </a:lnTo>
                  <a:lnTo>
                    <a:pt x="1478350" y="2236682"/>
                  </a:lnTo>
                  <a:cubicBezTo>
                    <a:pt x="928207" y="2192902"/>
                    <a:pt x="422040" y="1998894"/>
                    <a:pt x="0" y="1696723"/>
                  </a:cubicBezTo>
                  <a:close/>
                </a:path>
              </a:pathLst>
            </a:custGeom>
            <a:solidFill>
              <a:schemeClr val="accent6">
                <a:lumMod val="20000"/>
                <a:lumOff val="80000"/>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9" name="Freeform: Shape 8">
              <a:extLst>
                <a:ext uri="{FF2B5EF4-FFF2-40B4-BE49-F238E27FC236}">
                  <a16:creationId xmlns:a16="http://schemas.microsoft.com/office/drawing/2014/main" id="{5A43A1FB-F2EC-4333-8047-BB0680554E18}"/>
                </a:ext>
              </a:extLst>
            </p:cNvPr>
            <p:cNvSpPr/>
            <p:nvPr/>
          </p:nvSpPr>
          <p:spPr>
            <a:xfrm>
              <a:off x="6387792" y="163308"/>
              <a:ext cx="2397388" cy="3382030"/>
            </a:xfrm>
            <a:custGeom>
              <a:avLst/>
              <a:gdLst/>
              <a:ahLst/>
              <a:cxnLst/>
              <a:rect l="0" t="0" r="0" b="0"/>
              <a:pathLst>
                <a:path w="1600200" h="2257425">
                  <a:moveTo>
                    <a:pt x="205264" y="1789271"/>
                  </a:moveTo>
                  <a:cubicBezTo>
                    <a:pt x="314801" y="1965484"/>
                    <a:pt x="453866" y="2122646"/>
                    <a:pt x="614839" y="2254091"/>
                  </a:cubicBezTo>
                  <a:lnTo>
                    <a:pt x="1263491" y="1132046"/>
                  </a:lnTo>
                  <a:cubicBezTo>
                    <a:pt x="1155859" y="1052989"/>
                    <a:pt x="1067276" y="954881"/>
                    <a:pt x="1005364" y="841534"/>
                  </a:cubicBezTo>
                  <a:lnTo>
                    <a:pt x="1003459" y="842486"/>
                  </a:lnTo>
                  <a:lnTo>
                    <a:pt x="1005364" y="841534"/>
                  </a:lnTo>
                  <a:lnTo>
                    <a:pt x="1005364" y="841534"/>
                  </a:lnTo>
                  <a:lnTo>
                    <a:pt x="1110139" y="790099"/>
                  </a:lnTo>
                  <a:cubicBezTo>
                    <a:pt x="1166336" y="880586"/>
                    <a:pt x="1239679" y="960596"/>
                    <a:pt x="1325404" y="1024414"/>
                  </a:cubicBezTo>
                  <a:lnTo>
                    <a:pt x="1595914" y="556736"/>
                  </a:lnTo>
                  <a:cubicBezTo>
                    <a:pt x="1494949" y="476726"/>
                    <a:pt x="1430179" y="352901"/>
                    <a:pt x="1430179" y="213836"/>
                  </a:cubicBezTo>
                  <a:cubicBezTo>
                    <a:pt x="1430179" y="138589"/>
                    <a:pt x="1449229" y="69056"/>
                    <a:pt x="1482566" y="7144"/>
                  </a:cubicBezTo>
                  <a:cubicBezTo>
                    <a:pt x="671036" y="262414"/>
                    <a:pt x="69056" y="998696"/>
                    <a:pt x="7144" y="1885474"/>
                  </a:cubicBezTo>
                  <a:lnTo>
                    <a:pt x="205264" y="1789271"/>
                  </a:lnTo>
                  <a:close/>
                </a:path>
              </a:pathLst>
            </a:custGeom>
            <a:solidFill>
              <a:schemeClr val="accent6">
                <a:lumMod val="20000"/>
                <a:lumOff val="80000"/>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10" name="Freeform: Shape 9">
              <a:extLst>
                <a:ext uri="{FF2B5EF4-FFF2-40B4-BE49-F238E27FC236}">
                  <a16:creationId xmlns:a16="http://schemas.microsoft.com/office/drawing/2014/main" id="{49AD8340-9387-4867-BFC5-813CAD42D0AA}"/>
                </a:ext>
              </a:extLst>
            </p:cNvPr>
            <p:cNvSpPr/>
            <p:nvPr/>
          </p:nvSpPr>
          <p:spPr>
            <a:xfrm>
              <a:off x="6893670" y="4014115"/>
              <a:ext cx="2233995" cy="2353152"/>
            </a:xfrm>
            <a:custGeom>
              <a:avLst/>
              <a:gdLst>
                <a:gd name="connsiteX0" fmla="*/ 363889 w 2233995"/>
                <a:gd name="connsiteY0" fmla="*/ 0 h 2353152"/>
                <a:gd name="connsiteX1" fmla="*/ 2017595 w 2233995"/>
                <a:gd name="connsiteY1" fmla="*/ 579193 h 2353152"/>
                <a:gd name="connsiteX2" fmla="*/ 2233995 w 2233995"/>
                <a:gd name="connsiteY2" fmla="*/ 587386 h 2353152"/>
                <a:gd name="connsiteX3" fmla="*/ 2233995 w 2233995"/>
                <a:gd name="connsiteY3" fmla="*/ 2353152 h 2353152"/>
                <a:gd name="connsiteX4" fmla="*/ 2044801 w 2233995"/>
                <a:gd name="connsiteY4" fmla="*/ 2322027 h 2353152"/>
                <a:gd name="connsiteX5" fmla="*/ 0 w 2233995"/>
                <a:gd name="connsiteY5" fmla="*/ 917572 h 2353152"/>
                <a:gd name="connsiteX6" fmla="*/ 234031 w 2233995"/>
                <a:gd name="connsiteY6" fmla="*/ 729205 h 2353152"/>
                <a:gd name="connsiteX7" fmla="*/ 14270 w 2233995"/>
                <a:gd name="connsiteY7" fmla="*/ 603628 h 235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995" h="2353152">
                  <a:moveTo>
                    <a:pt x="363889" y="0"/>
                  </a:moveTo>
                  <a:cubicBezTo>
                    <a:pt x="829632" y="323397"/>
                    <a:pt x="1398075" y="532076"/>
                    <a:pt x="2017595" y="579193"/>
                  </a:cubicBezTo>
                  <a:lnTo>
                    <a:pt x="2233995" y="587386"/>
                  </a:lnTo>
                  <a:lnTo>
                    <a:pt x="2233995" y="2353152"/>
                  </a:lnTo>
                  <a:lnTo>
                    <a:pt x="2044801" y="2322027"/>
                  </a:lnTo>
                  <a:cubicBezTo>
                    <a:pt x="1188293" y="2152389"/>
                    <a:pt x="455664" y="1632954"/>
                    <a:pt x="0" y="917572"/>
                  </a:cubicBezTo>
                  <a:lnTo>
                    <a:pt x="234031" y="729205"/>
                  </a:lnTo>
                  <a:lnTo>
                    <a:pt x="14270" y="603628"/>
                  </a:lnTo>
                  <a:close/>
                </a:path>
              </a:pathLst>
            </a:custGeom>
            <a:solidFill>
              <a:schemeClr val="accent6">
                <a:lumMod val="20000"/>
                <a:lumOff val="80000"/>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11" name="Freeform: Shape 10">
              <a:extLst>
                <a:ext uri="{FF2B5EF4-FFF2-40B4-BE49-F238E27FC236}">
                  <a16:creationId xmlns:a16="http://schemas.microsoft.com/office/drawing/2014/main" id="{76A1CE7F-887E-4CE3-9EF8-3098E0718C7E}"/>
                </a:ext>
              </a:extLst>
            </p:cNvPr>
            <p:cNvSpPr/>
            <p:nvPr/>
          </p:nvSpPr>
          <p:spPr>
            <a:xfrm>
              <a:off x="6380656" y="3085839"/>
              <a:ext cx="727780" cy="1441288"/>
            </a:xfrm>
            <a:custGeom>
              <a:avLst/>
              <a:gdLst/>
              <a:ahLst/>
              <a:cxnLst/>
              <a:rect l="0" t="0" r="0" b="0"/>
              <a:pathLst>
                <a:path w="485775" h="962025">
                  <a:moveTo>
                    <a:pt x="239554" y="959644"/>
                  </a:moveTo>
                  <a:lnTo>
                    <a:pt x="480536" y="542449"/>
                  </a:lnTo>
                  <a:cubicBezTo>
                    <a:pt x="290036" y="391954"/>
                    <a:pt x="130016" y="210979"/>
                    <a:pt x="9049" y="7144"/>
                  </a:cubicBezTo>
                  <a:cubicBezTo>
                    <a:pt x="8096" y="33814"/>
                    <a:pt x="7144" y="59531"/>
                    <a:pt x="7144" y="85249"/>
                  </a:cubicBezTo>
                  <a:cubicBezTo>
                    <a:pt x="7144" y="383381"/>
                    <a:pt x="68104" y="666274"/>
                    <a:pt x="177641" y="923449"/>
                  </a:cubicBezTo>
                  <a:lnTo>
                    <a:pt x="239554" y="959644"/>
                  </a:lnTo>
                  <a:close/>
                </a:path>
              </a:pathLst>
            </a:custGeom>
            <a:solidFill>
              <a:schemeClr val="accent6">
                <a:lumMod val="20000"/>
                <a:lumOff val="80000"/>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lvl="0"/>
              <a:endParaRPr lang="en-US" sz="1800"/>
            </a:p>
          </p:txBody>
        </p:sp>
      </p:grpSp>
      <p:sp>
        <p:nvSpPr>
          <p:cNvPr id="2" name="Title 1"/>
          <p:cNvSpPr>
            <a:spLocks noGrp="1"/>
          </p:cNvSpPr>
          <p:nvPr>
            <p:ph type="title"/>
          </p:nvPr>
        </p:nvSpPr>
        <p:spPr/>
        <p:txBody>
          <a:bodyPr/>
          <a:lstStyle/>
          <a:p>
            <a:r>
              <a:rPr lang="en-US" dirty="0"/>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621101" y="1595892"/>
            <a:ext cx="10097699" cy="476188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96005545"/>
      </p:ext>
    </p:extLst>
  </p:cSld>
  <p:clrMapOvr>
    <a:masterClrMapping/>
  </p:clrMapOvr>
  <p:extLst>
    <p:ext uri="{DCECCB84-F9BA-43D5-87BE-67443E8EF086}">
      <p15:sldGuideLst xmlns:p15="http://schemas.microsoft.com/office/powerpoint/2012/main">
        <p15:guide id="3" orient="horz" pos="2160">
          <p15:clr>
            <a:srgbClr val="FBAE40"/>
          </p15:clr>
        </p15:guide>
        <p15:guide id="4" pos="549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Computer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F10CA7-8E83-41A5-B021-F81CDD96C21B}"/>
              </a:ext>
            </a:extLst>
          </p:cNvPr>
          <p:cNvGraphicFramePr>
            <a:graphicFrameLocks noChangeAspect="1"/>
          </p:cNvGraphicFramePr>
          <p:nvPr userDrawn="1">
            <p:custDataLst>
              <p:tags r:id="rId1"/>
            </p:custDataLst>
            <p:extLst>
              <p:ext uri="{D42A27DB-BD31-4B8C-83A1-F6EECF244321}">
                <p14:modId xmlns:p14="http://schemas.microsoft.com/office/powerpoint/2010/main" val="78106254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9F10CA7-8E83-41A5-B021-F81CDD96C21B}"/>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8B5088-4F93-411C-865E-CEB8614C6293}"/>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101098D3-5708-4C31-9258-8DAF94CB9F2A}"/>
              </a:ext>
            </a:extLst>
          </p:cNvPr>
          <p:cNvSpPr/>
          <p:nvPr userDrawn="1"/>
        </p:nvSpPr>
        <p:spPr>
          <a:xfrm>
            <a:off x="0" y="1257300"/>
            <a:ext cx="12192000" cy="14859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grpSp>
        <p:nvGrpSpPr>
          <p:cNvPr id="5" name="Group 4">
            <a:extLst>
              <a:ext uri="{FF2B5EF4-FFF2-40B4-BE49-F238E27FC236}">
                <a16:creationId xmlns:a16="http://schemas.microsoft.com/office/drawing/2014/main" id="{E5F43F34-F32B-4721-A198-856716A6688B}"/>
              </a:ext>
            </a:extLst>
          </p:cNvPr>
          <p:cNvGrpSpPr/>
          <p:nvPr userDrawn="1"/>
        </p:nvGrpSpPr>
        <p:grpSpPr>
          <a:xfrm>
            <a:off x="5587997" y="1717221"/>
            <a:ext cx="6604003" cy="4376058"/>
            <a:chOff x="4190998" y="1717221"/>
            <a:chExt cx="4953002" cy="4376058"/>
          </a:xfrm>
          <a:effectLst>
            <a:outerShdw blurRad="63500" sx="102000" sy="102000" algn="ctr" rotWithShape="0">
              <a:prstClr val="black">
                <a:alpha val="40000"/>
              </a:prstClr>
            </a:outerShdw>
          </a:effectLst>
        </p:grpSpPr>
        <p:sp>
          <p:nvSpPr>
            <p:cNvPr id="39" name="Freeform: Shape 38">
              <a:extLst>
                <a:ext uri="{FF2B5EF4-FFF2-40B4-BE49-F238E27FC236}">
                  <a16:creationId xmlns:a16="http://schemas.microsoft.com/office/drawing/2014/main" id="{078E663C-6645-4F7D-B618-42051FC8BC0C}"/>
                </a:ext>
              </a:extLst>
            </p:cNvPr>
            <p:cNvSpPr>
              <a:spLocks/>
            </p:cNvSpPr>
            <p:nvPr/>
          </p:nvSpPr>
          <p:spPr bwMode="auto">
            <a:xfrm>
              <a:off x="4190998" y="5923460"/>
              <a:ext cx="4953002" cy="169819"/>
            </a:xfrm>
            <a:custGeom>
              <a:avLst/>
              <a:gdLst>
                <a:gd name="connsiteX0" fmla="*/ 0 w 4953002"/>
                <a:gd name="connsiteY0" fmla="*/ 0 h 169819"/>
                <a:gd name="connsiteX1" fmla="*/ 2577989 w 4953002"/>
                <a:gd name="connsiteY1" fmla="*/ 0 h 169819"/>
                <a:gd name="connsiteX2" fmla="*/ 3791603 w 4953002"/>
                <a:gd name="connsiteY2" fmla="*/ 0 h 169819"/>
                <a:gd name="connsiteX3" fmla="*/ 3848194 w 4953002"/>
                <a:gd name="connsiteY3" fmla="*/ 0 h 169819"/>
                <a:gd name="connsiteX4" fmla="*/ 4775612 w 4953002"/>
                <a:gd name="connsiteY4" fmla="*/ 0 h 169819"/>
                <a:gd name="connsiteX5" fmla="*/ 4953002 w 4953002"/>
                <a:gd name="connsiteY5" fmla="*/ 0 h 169819"/>
                <a:gd name="connsiteX6" fmla="*/ 4953002 w 4953002"/>
                <a:gd name="connsiteY6" fmla="*/ 169819 h 169819"/>
                <a:gd name="connsiteX7" fmla="*/ 4846666 w 4953002"/>
                <a:gd name="connsiteY7" fmla="*/ 169819 h 169819"/>
                <a:gd name="connsiteX8" fmla="*/ 4097494 w 4953002"/>
                <a:gd name="connsiteY8" fmla="*/ 169819 h 169819"/>
                <a:gd name="connsiteX9" fmla="*/ 3848194 w 4953002"/>
                <a:gd name="connsiteY9" fmla="*/ 169819 h 169819"/>
                <a:gd name="connsiteX10" fmla="*/ 3791603 w 4953002"/>
                <a:gd name="connsiteY10" fmla="*/ 169819 h 169819"/>
                <a:gd name="connsiteX11" fmla="*/ 3705976 w 4953002"/>
                <a:gd name="connsiteY11" fmla="*/ 169819 h 169819"/>
                <a:gd name="connsiteX12" fmla="*/ 339163 w 4953002"/>
                <a:gd name="connsiteY12" fmla="*/ 169819 h 169819"/>
                <a:gd name="connsiteX13" fmla="*/ 0 w 4953002"/>
                <a:gd name="connsiteY13" fmla="*/ 69670 h 169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3002" h="169819">
                  <a:moveTo>
                    <a:pt x="0" y="0"/>
                  </a:moveTo>
                  <a:cubicBezTo>
                    <a:pt x="0" y="0"/>
                    <a:pt x="0" y="0"/>
                    <a:pt x="2577989" y="0"/>
                  </a:cubicBezTo>
                  <a:lnTo>
                    <a:pt x="3791603" y="0"/>
                  </a:lnTo>
                  <a:lnTo>
                    <a:pt x="3848194" y="0"/>
                  </a:lnTo>
                  <a:lnTo>
                    <a:pt x="4775612" y="0"/>
                  </a:lnTo>
                  <a:lnTo>
                    <a:pt x="4953002" y="0"/>
                  </a:lnTo>
                  <a:lnTo>
                    <a:pt x="4953002" y="169819"/>
                  </a:lnTo>
                  <a:lnTo>
                    <a:pt x="4846666" y="169819"/>
                  </a:lnTo>
                  <a:cubicBezTo>
                    <a:pt x="4551145" y="169819"/>
                    <a:pt x="4287379" y="169819"/>
                    <a:pt x="4097494" y="169819"/>
                  </a:cubicBezTo>
                  <a:lnTo>
                    <a:pt x="3848194" y="169819"/>
                  </a:lnTo>
                  <a:lnTo>
                    <a:pt x="3791603" y="169819"/>
                  </a:lnTo>
                  <a:lnTo>
                    <a:pt x="3705976" y="169819"/>
                  </a:lnTo>
                  <a:cubicBezTo>
                    <a:pt x="3071421" y="169819"/>
                    <a:pt x="521789" y="169819"/>
                    <a:pt x="339163" y="169819"/>
                  </a:cubicBezTo>
                  <a:cubicBezTo>
                    <a:pt x="130447" y="169819"/>
                    <a:pt x="0" y="100150"/>
                    <a:pt x="0" y="69670"/>
                  </a:cubicBezTo>
                  <a:close/>
                </a:path>
              </a:pathLst>
            </a:custGeom>
            <a:solidFill>
              <a:schemeClr val="bg2"/>
            </a:solid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id-ID" sz="1800" kern="1200">
                <a:latin typeface="Roboto Light"/>
              </a:endParaRPr>
            </a:p>
          </p:txBody>
        </p:sp>
        <p:sp>
          <p:nvSpPr>
            <p:cNvPr id="36" name="Freeform: Shape 35">
              <a:extLst>
                <a:ext uri="{FF2B5EF4-FFF2-40B4-BE49-F238E27FC236}">
                  <a16:creationId xmlns:a16="http://schemas.microsoft.com/office/drawing/2014/main" id="{DDEDE665-852B-47A3-A69D-46EA8E2DDD3F}"/>
                </a:ext>
              </a:extLst>
            </p:cNvPr>
            <p:cNvSpPr>
              <a:spLocks/>
            </p:cNvSpPr>
            <p:nvPr userDrawn="1"/>
          </p:nvSpPr>
          <p:spPr bwMode="auto">
            <a:xfrm>
              <a:off x="4965861" y="1717221"/>
              <a:ext cx="4178139" cy="4197530"/>
            </a:xfrm>
            <a:custGeom>
              <a:avLst/>
              <a:gdLst>
                <a:gd name="connsiteX0" fmla="*/ 174004 w 4178139"/>
                <a:gd name="connsiteY0" fmla="*/ 0 h 4197530"/>
                <a:gd name="connsiteX1" fmla="*/ 4088385 w 4178139"/>
                <a:gd name="connsiteY1" fmla="*/ 0 h 4197530"/>
                <a:gd name="connsiteX2" fmla="*/ 4178139 w 4178139"/>
                <a:gd name="connsiteY2" fmla="*/ 0 h 4197530"/>
                <a:gd name="connsiteX3" fmla="*/ 4178139 w 4178139"/>
                <a:gd name="connsiteY3" fmla="*/ 4197530 h 4197530"/>
                <a:gd name="connsiteX4" fmla="*/ 174004 w 4178139"/>
                <a:gd name="connsiteY4" fmla="*/ 4197530 h 4197530"/>
                <a:gd name="connsiteX5" fmla="*/ 0 w 4178139"/>
                <a:gd name="connsiteY5" fmla="*/ 4023359 h 4197530"/>
                <a:gd name="connsiteX6" fmla="*/ 0 w 4178139"/>
                <a:gd name="connsiteY6" fmla="*/ 174172 h 4197530"/>
                <a:gd name="connsiteX7" fmla="*/ 174004 w 4178139"/>
                <a:gd name="connsiteY7" fmla="*/ 0 h 419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8139" h="4197530">
                  <a:moveTo>
                    <a:pt x="174004" y="0"/>
                  </a:moveTo>
                  <a:cubicBezTo>
                    <a:pt x="1986086" y="0"/>
                    <a:pt x="3231893" y="0"/>
                    <a:pt x="4088385" y="0"/>
                  </a:cubicBezTo>
                  <a:lnTo>
                    <a:pt x="4178139" y="0"/>
                  </a:lnTo>
                  <a:lnTo>
                    <a:pt x="4178139" y="4197530"/>
                  </a:lnTo>
                  <a:lnTo>
                    <a:pt x="174004" y="4197530"/>
                  </a:lnTo>
                  <a:cubicBezTo>
                    <a:pt x="78302" y="4197530"/>
                    <a:pt x="0" y="4119153"/>
                    <a:pt x="0" y="4023359"/>
                  </a:cubicBezTo>
                  <a:cubicBezTo>
                    <a:pt x="0" y="174172"/>
                    <a:pt x="0" y="174172"/>
                    <a:pt x="0" y="174172"/>
                  </a:cubicBezTo>
                  <a:cubicBezTo>
                    <a:pt x="0" y="78377"/>
                    <a:pt x="78302" y="0"/>
                    <a:pt x="174004" y="0"/>
                  </a:cubicBezTo>
                  <a:close/>
                </a:path>
              </a:pathLst>
            </a:custGeom>
            <a:solidFill>
              <a:schemeClr val="bg2"/>
            </a:solidFill>
            <a:ln w="31750">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id-ID" sz="1800" kern="1200" dirty="0">
                <a:latin typeface="Roboto Light"/>
              </a:endParaRPr>
            </a:p>
          </p:txBody>
        </p:sp>
        <p:sp>
          <p:nvSpPr>
            <p:cNvPr id="23" name="Rectangle 22">
              <a:extLst>
                <a:ext uri="{FF2B5EF4-FFF2-40B4-BE49-F238E27FC236}">
                  <a16:creationId xmlns:a16="http://schemas.microsoft.com/office/drawing/2014/main" id="{2AFEF9EF-15D8-4E81-ADC6-9F8F22F59776}"/>
                </a:ext>
              </a:extLst>
            </p:cNvPr>
            <p:cNvSpPr>
              <a:spLocks noChangeArrowheads="1"/>
            </p:cNvSpPr>
            <p:nvPr/>
          </p:nvSpPr>
          <p:spPr bwMode="auto">
            <a:xfrm>
              <a:off x="4190999" y="5853792"/>
              <a:ext cx="4953001" cy="139336"/>
            </a:xfrm>
            <a:prstGeom prst="rect">
              <a:avLst/>
            </a:prstGeom>
            <a:solidFill>
              <a:schemeClr val="bg2">
                <a:lumMod val="90000"/>
              </a:schemeClr>
            </a:solid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sz="1800" kern="1200" dirty="0">
                <a:latin typeface="Roboto Light"/>
              </a:endParaRPr>
            </a:p>
          </p:txBody>
        </p:sp>
        <p:sp>
          <p:nvSpPr>
            <p:cNvPr id="24" name="Freeform 6">
              <a:extLst>
                <a:ext uri="{FF2B5EF4-FFF2-40B4-BE49-F238E27FC236}">
                  <a16:creationId xmlns:a16="http://schemas.microsoft.com/office/drawing/2014/main" id="{EA026FC4-708C-4E00-8005-6E3858EC3AB2}"/>
                </a:ext>
              </a:extLst>
            </p:cNvPr>
            <p:cNvSpPr>
              <a:spLocks/>
            </p:cNvSpPr>
            <p:nvPr/>
          </p:nvSpPr>
          <p:spPr bwMode="auto">
            <a:xfrm>
              <a:off x="7460219" y="5853793"/>
              <a:ext cx="1096996" cy="78377"/>
            </a:xfrm>
            <a:custGeom>
              <a:avLst/>
              <a:gdLst>
                <a:gd name="T0" fmla="*/ 0 w 252"/>
                <a:gd name="T1" fmla="*/ 0 h 18"/>
                <a:gd name="T2" fmla="*/ 22 w 252"/>
                <a:gd name="T3" fmla="*/ 18 h 18"/>
                <a:gd name="T4" fmla="*/ 230 w 252"/>
                <a:gd name="T5" fmla="*/ 18 h 18"/>
                <a:gd name="T6" fmla="*/ 252 w 252"/>
                <a:gd name="T7" fmla="*/ 0 h 18"/>
                <a:gd name="T8" fmla="*/ 0 w 252"/>
                <a:gd name="T9" fmla="*/ 0 h 18"/>
              </a:gdLst>
              <a:ahLst/>
              <a:cxnLst>
                <a:cxn ang="0">
                  <a:pos x="T0" y="T1"/>
                </a:cxn>
                <a:cxn ang="0">
                  <a:pos x="T2" y="T3"/>
                </a:cxn>
                <a:cxn ang="0">
                  <a:pos x="T4" y="T5"/>
                </a:cxn>
                <a:cxn ang="0">
                  <a:pos x="T6" y="T7"/>
                </a:cxn>
                <a:cxn ang="0">
                  <a:pos x="T8" y="T9"/>
                </a:cxn>
              </a:cxnLst>
              <a:rect l="0" t="0" r="r" b="b"/>
              <a:pathLst>
                <a:path w="252" h="18">
                  <a:moveTo>
                    <a:pt x="0" y="0"/>
                  </a:moveTo>
                  <a:cubicBezTo>
                    <a:pt x="2" y="10"/>
                    <a:pt x="11" y="18"/>
                    <a:pt x="22" y="18"/>
                  </a:cubicBezTo>
                  <a:cubicBezTo>
                    <a:pt x="230" y="18"/>
                    <a:pt x="230" y="18"/>
                    <a:pt x="230" y="18"/>
                  </a:cubicBezTo>
                  <a:cubicBezTo>
                    <a:pt x="241" y="18"/>
                    <a:pt x="250" y="10"/>
                    <a:pt x="252" y="0"/>
                  </a:cubicBezTo>
                  <a:lnTo>
                    <a:pt x="0" y="0"/>
                  </a:lnTo>
                  <a:close/>
                </a:path>
              </a:pathLst>
            </a:custGeom>
            <a:solidFill>
              <a:schemeClr val="bg1"/>
            </a:solidFill>
            <a:ln>
              <a:noFill/>
            </a:ln>
            <a:extLst>
              <a:ext uri="{91240B29-F687-4f45-9708-019B960494DF}">
                <a14:hiddenLine xmlns="" xmlns:a14="http://schemas.microsoft.com/office/drawing/2010/main"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800" kern="1200">
                <a:latin typeface="Roboto Light"/>
              </a:endParaRPr>
            </a:p>
          </p:txBody>
        </p:sp>
        <p:sp>
          <p:nvSpPr>
            <p:cNvPr id="25" name="Rectangle 24">
              <a:extLst>
                <a:ext uri="{FF2B5EF4-FFF2-40B4-BE49-F238E27FC236}">
                  <a16:creationId xmlns:a16="http://schemas.microsoft.com/office/drawing/2014/main" id="{8E6B78B4-AB6F-4B68-94DC-115924D9E5CF}"/>
                </a:ext>
              </a:extLst>
            </p:cNvPr>
            <p:cNvSpPr>
              <a:spLocks noChangeArrowheads="1"/>
            </p:cNvSpPr>
            <p:nvPr/>
          </p:nvSpPr>
          <p:spPr bwMode="auto">
            <a:xfrm>
              <a:off x="5170459" y="1982835"/>
              <a:ext cx="3973541" cy="3627121"/>
            </a:xfrm>
            <a:prstGeom prst="rect">
              <a:avLst/>
            </a:prstGeom>
            <a:solidFill>
              <a:schemeClr val="bg1"/>
            </a:solidFill>
            <a:ln>
              <a:noFill/>
            </a:ln>
            <a:extLs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sz="1800" kern="1200">
                <a:latin typeface="Roboto Light"/>
              </a:endParaRPr>
            </a:p>
          </p:txBody>
        </p:sp>
        <p:sp>
          <p:nvSpPr>
            <p:cNvPr id="26" name="Oval 25">
              <a:extLst>
                <a:ext uri="{FF2B5EF4-FFF2-40B4-BE49-F238E27FC236}">
                  <a16:creationId xmlns:a16="http://schemas.microsoft.com/office/drawing/2014/main" id="{37353EF2-3EA2-438E-A81A-C945EDAC2521}"/>
                </a:ext>
              </a:extLst>
            </p:cNvPr>
            <p:cNvSpPr/>
            <p:nvPr/>
          </p:nvSpPr>
          <p:spPr>
            <a:xfrm>
              <a:off x="8008724" y="1814462"/>
              <a:ext cx="71135" cy="711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2" name="Title 1">
            <a:extLst>
              <a:ext uri="{FF2B5EF4-FFF2-40B4-BE49-F238E27FC236}">
                <a16:creationId xmlns:a16="http://schemas.microsoft.com/office/drawing/2014/main" id="{8EB45B83-7BC9-48CC-BF86-66E466EBF08B}"/>
              </a:ext>
            </a:extLst>
          </p:cNvPr>
          <p:cNvSpPr>
            <a:spLocks noGrp="1"/>
          </p:cNvSpPr>
          <p:nvPr>
            <p:ph type="title"/>
          </p:nvPr>
        </p:nvSpPr>
        <p:spPr/>
        <p:txBody>
          <a:bodyPr/>
          <a:lstStyle/>
          <a:p>
            <a:r>
              <a:rPr lang="en-US"/>
              <a:t>Click to edit Master title style</a:t>
            </a:r>
          </a:p>
        </p:txBody>
      </p:sp>
      <p:sp>
        <p:nvSpPr>
          <p:cNvPr id="8" name="Picture Placeholder 7">
            <a:extLst>
              <a:ext uri="{FF2B5EF4-FFF2-40B4-BE49-F238E27FC236}">
                <a16:creationId xmlns:a16="http://schemas.microsoft.com/office/drawing/2014/main" id="{256639E2-D164-440B-9C74-FFF4DD3830A2}"/>
              </a:ext>
            </a:extLst>
          </p:cNvPr>
          <p:cNvSpPr>
            <a:spLocks noGrp="1"/>
          </p:cNvSpPr>
          <p:nvPr>
            <p:ph type="pic" sz="quarter" idx="10"/>
          </p:nvPr>
        </p:nvSpPr>
        <p:spPr>
          <a:xfrm>
            <a:off x="6893947" y="1982834"/>
            <a:ext cx="5298053" cy="3627122"/>
          </a:xfrm>
        </p:spPr>
        <p:txBody>
          <a:bodyPr/>
          <a:lstStyle>
            <a:lvl1pPr marL="0" indent="0" algn="ctr">
              <a:buNone/>
              <a:defRPr/>
            </a:lvl1pPr>
          </a:lstStyle>
          <a:p>
            <a:endParaRPr lang="en-US" dirty="0"/>
          </a:p>
        </p:txBody>
      </p:sp>
    </p:spTree>
    <p:extLst>
      <p:ext uri="{BB962C8B-B14F-4D97-AF65-F5344CB8AC3E}">
        <p14:creationId xmlns:p14="http://schemas.microsoft.com/office/powerpoint/2010/main" val="422259895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cSld name="10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BE969D7-00B2-F85A-A212-E76BAC1945CA}"/>
              </a:ext>
            </a:extLst>
          </p:cNvPr>
          <p:cNvPicPr>
            <a:picLocks noChangeAspect="1"/>
          </p:cNvPicPr>
          <p:nvPr userDrawn="1"/>
        </p:nvPicPr>
        <p:blipFill rotWithShape="1">
          <a:blip r:embed="rId2"/>
          <a:srcRect l="49922" r="-20"/>
          <a:stretch/>
        </p:blipFill>
        <p:spPr>
          <a:xfrm>
            <a:off x="6096000" y="0"/>
            <a:ext cx="6098482" cy="6858000"/>
          </a:xfrm>
          <a:prstGeom prst="rect">
            <a:avLst/>
          </a:prstGeom>
        </p:spPr>
      </p:pic>
      <p:sp>
        <p:nvSpPr>
          <p:cNvPr id="2" name="Title 1">
            <a:extLst>
              <a:ext uri="{FF2B5EF4-FFF2-40B4-BE49-F238E27FC236}">
                <a16:creationId xmlns:a16="http://schemas.microsoft.com/office/drawing/2014/main" id="{B33441B2-37EA-7146-1166-077FBBF73072}"/>
              </a:ext>
            </a:extLst>
          </p:cNvPr>
          <p:cNvSpPr>
            <a:spLocks noGrp="1"/>
          </p:cNvSpPr>
          <p:nvPr>
            <p:ph type="ctrTitle"/>
          </p:nvPr>
        </p:nvSpPr>
        <p:spPr>
          <a:xfrm>
            <a:off x="565034" y="1481356"/>
            <a:ext cx="4945874" cy="2306637"/>
          </a:xfrm>
        </p:spPr>
        <p:txBody>
          <a:bodyPr anchor="b">
            <a:normAutofit/>
          </a:bodyPr>
          <a:lstStyle>
            <a:lvl1pPr algn="l">
              <a:defRPr sz="4800" b="0" i="0">
                <a:solidFill>
                  <a:srgbClr val="053B57"/>
                </a:solidFill>
                <a:latin typeface="Georgia" panose="02040502050405020303" pitchFamily="18" charset="0"/>
              </a:defRPr>
            </a:lvl1pPr>
          </a:lstStyle>
          <a:p>
            <a:r>
              <a:rPr lang="en-US"/>
              <a:t>Click to edit Master title style</a:t>
            </a:r>
          </a:p>
        </p:txBody>
      </p:sp>
      <p:sp>
        <p:nvSpPr>
          <p:cNvPr id="3" name="Subtitle 2">
            <a:extLst>
              <a:ext uri="{FF2B5EF4-FFF2-40B4-BE49-F238E27FC236}">
                <a16:creationId xmlns:a16="http://schemas.microsoft.com/office/drawing/2014/main" id="{99BE7398-D4E2-71A8-7553-52C89C310007}"/>
              </a:ext>
            </a:extLst>
          </p:cNvPr>
          <p:cNvSpPr>
            <a:spLocks noGrp="1"/>
          </p:cNvSpPr>
          <p:nvPr>
            <p:ph type="subTitle" idx="1"/>
          </p:nvPr>
        </p:nvSpPr>
        <p:spPr>
          <a:xfrm>
            <a:off x="565034" y="3961031"/>
            <a:ext cx="4945874" cy="1655762"/>
          </a:xfrm>
        </p:spPr>
        <p:txBody>
          <a:bodyPr/>
          <a:lstStyle>
            <a:lvl1pPr marL="0" indent="0" algn="l">
              <a:buNone/>
              <a:defRPr sz="2400" b="0">
                <a:solidFill>
                  <a:srgbClr val="3773B9"/>
                </a:solidFill>
                <a:latin typeface="Karla" panose="020B00040305030300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0081662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1FBE8-96D8-4F25-8B25-45EBF8BBCB0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C00BB271-E7B1-4C51-8B14-1ABD3A87D0C9}"/>
              </a:ext>
            </a:extLst>
          </p:cNvPr>
          <p:cNvSpPr>
            <a:spLocks noGrp="1"/>
          </p:cNvSpPr>
          <p:nvPr>
            <p:ph type="subTitle" idx="1"/>
          </p:nvPr>
        </p:nvSpPr>
        <p:spPr>
          <a:xfrm>
            <a:off x="1524000" y="3602038"/>
            <a:ext cx="9144000" cy="1655762"/>
          </a:xfrm>
        </p:spPr>
        <p:txBody>
          <a:bodyPr/>
          <a:lstStyle>
            <a:lvl1pPr marL="0" indent="0" algn="ctr">
              <a:buNone/>
              <a:defRPr sz="2400">
                <a:solidFill>
                  <a:srgbClr val="3A497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15298015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09376-56E2-4E35-A6EB-B96CA2D37D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E15866-F668-48F1-8FA9-A8D7258FC755}"/>
              </a:ext>
            </a:extLst>
          </p:cNvPr>
          <p:cNvSpPr>
            <a:spLocks noGrp="1"/>
          </p:cNvSpPr>
          <p:nvPr>
            <p:ph idx="1"/>
          </p:nvPr>
        </p:nvSpPr>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301508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9BCE4-A973-4A0D-BCE3-2730A840963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BF6BF85-13F7-49A9-AEBF-8521FED1366E}"/>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13510391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7E9CCB-AEDE-46B1-87A2-FA11A3CC629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208EC86-6C11-45C5-83CA-69289A028480}"/>
              </a:ext>
            </a:extLst>
          </p:cNvPr>
          <p:cNvSpPr>
            <a:spLocks noGrp="1"/>
          </p:cNvSpPr>
          <p:nvPr>
            <p:ph sz="half" idx="1"/>
          </p:nvPr>
        </p:nvSpPr>
        <p:spPr>
          <a:xfrm>
            <a:off x="838200" y="1825625"/>
            <a:ext cx="5181600" cy="4351338"/>
          </a:xfrm>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6EA612D2-6F66-433D-A4A8-8CBCC2B37A52}"/>
              </a:ext>
            </a:extLst>
          </p:cNvPr>
          <p:cNvSpPr>
            <a:spLocks noGrp="1"/>
          </p:cNvSpPr>
          <p:nvPr>
            <p:ph sz="half" idx="2"/>
          </p:nvPr>
        </p:nvSpPr>
        <p:spPr>
          <a:xfrm>
            <a:off x="6172200" y="1825625"/>
            <a:ext cx="5181600" cy="4351338"/>
          </a:xfrm>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283457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AFD81-552F-4FCF-A934-58FACA75C17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E233BEB-A591-4B20-914A-1FCD187CA62A}"/>
              </a:ext>
            </a:extLst>
          </p:cNvPr>
          <p:cNvSpPr>
            <a:spLocks noGrp="1"/>
          </p:cNvSpPr>
          <p:nvPr>
            <p:ph type="body" idx="1"/>
          </p:nvPr>
        </p:nvSpPr>
        <p:spPr>
          <a:xfrm>
            <a:off x="839788" y="1681163"/>
            <a:ext cx="5157787" cy="823912"/>
          </a:xfrm>
        </p:spPr>
        <p:txBody>
          <a:bodyPr anchor="b"/>
          <a:lstStyle>
            <a:lvl1pPr marL="0" indent="0">
              <a:buNone/>
              <a:defRPr sz="2400" b="1">
                <a:solidFill>
                  <a:srgbClr val="3A49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AB3EC58-6843-4203-8E23-D71F39000A2E}"/>
              </a:ext>
            </a:extLst>
          </p:cNvPr>
          <p:cNvSpPr>
            <a:spLocks noGrp="1"/>
          </p:cNvSpPr>
          <p:nvPr>
            <p:ph sz="half" idx="2"/>
          </p:nvPr>
        </p:nvSpPr>
        <p:spPr>
          <a:xfrm>
            <a:off x="839788" y="2505075"/>
            <a:ext cx="5157787" cy="3684588"/>
          </a:xfrm>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A5A8DCA3-09B9-4F49-9F51-30008537B150}"/>
              </a:ext>
            </a:extLst>
          </p:cNvPr>
          <p:cNvSpPr>
            <a:spLocks noGrp="1"/>
          </p:cNvSpPr>
          <p:nvPr>
            <p:ph type="body" sz="quarter" idx="3"/>
          </p:nvPr>
        </p:nvSpPr>
        <p:spPr>
          <a:xfrm>
            <a:off x="6172200" y="1681163"/>
            <a:ext cx="5183188" cy="823912"/>
          </a:xfrm>
        </p:spPr>
        <p:txBody>
          <a:bodyPr anchor="b"/>
          <a:lstStyle>
            <a:lvl1pPr marL="0" indent="0">
              <a:buNone/>
              <a:defRPr sz="2400" b="1">
                <a:solidFill>
                  <a:srgbClr val="3A49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569BF50-8299-4F06-8431-5F7E28A86B60}"/>
              </a:ext>
            </a:extLst>
          </p:cNvPr>
          <p:cNvSpPr>
            <a:spLocks noGrp="1"/>
          </p:cNvSpPr>
          <p:nvPr>
            <p:ph sz="quarter" idx="4"/>
          </p:nvPr>
        </p:nvSpPr>
        <p:spPr>
          <a:xfrm>
            <a:off x="6172200" y="2505075"/>
            <a:ext cx="5183188" cy="3684588"/>
          </a:xfrm>
        </p:spPr>
        <p:txBody>
          <a:bodyPr/>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03200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82468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BF23F-93AC-40F2-B8DB-09FC5988092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77973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01608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29533C-4E9A-456D-8B53-FE0B459532B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3D8D040-5636-44C9-B666-F0C56EEDE2E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43C72EB4-06E1-4B70-9B87-E998DA985867}"/>
              </a:ext>
            </a:extLst>
          </p:cNvPr>
          <p:cNvSpPr>
            <a:spLocks noGrp="1"/>
          </p:cNvSpPr>
          <p:nvPr>
            <p:ph type="body" sz="half" idx="2"/>
          </p:nvPr>
        </p:nvSpPr>
        <p:spPr>
          <a:xfrm>
            <a:off x="839788" y="2057400"/>
            <a:ext cx="3932237" cy="3811588"/>
          </a:xfrm>
        </p:spPr>
        <p:txBody>
          <a:bodyPr/>
          <a:lstStyle>
            <a:lvl1pPr marL="0" indent="0">
              <a:buNone/>
              <a:defRPr sz="1600">
                <a:solidFill>
                  <a:srgbClr val="3A497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03450375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08DE6-8ABE-45DB-B1A5-446561AF67F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C044968-4CDC-44E6-A61C-4B9A3DEDC9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F9E591A-238F-442C-AEB8-BB93C59E6096}"/>
              </a:ext>
            </a:extLst>
          </p:cNvPr>
          <p:cNvSpPr>
            <a:spLocks noGrp="1"/>
          </p:cNvSpPr>
          <p:nvPr>
            <p:ph type="body" sz="half" idx="2"/>
          </p:nvPr>
        </p:nvSpPr>
        <p:spPr>
          <a:xfrm>
            <a:off x="839788" y="2057400"/>
            <a:ext cx="3932237" cy="3811588"/>
          </a:xfrm>
        </p:spPr>
        <p:txBody>
          <a:bodyPr/>
          <a:lstStyle>
            <a:lvl1pPr marL="0" indent="0">
              <a:buNone/>
              <a:defRPr sz="1600">
                <a:solidFill>
                  <a:srgbClr val="006847"/>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9395905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1F854F-5365-4916-AD90-291ACCA44F8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946195F-D0CA-4164-B740-9D7402DEA5A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726681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0FFD563-1944-4DD9-9392-5EAC560C978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5CA03D4-E90B-4C58-AB33-04B55666B7FE}"/>
              </a:ext>
            </a:extLst>
          </p:cNvPr>
          <p:cNvSpPr>
            <a:spLocks noGrp="1"/>
          </p:cNvSpPr>
          <p:nvPr>
            <p:ph type="body" orient="vert" idx="1"/>
          </p:nvPr>
        </p:nvSpPr>
        <p:spPr>
          <a:xfrm>
            <a:off x="838200" y="365125"/>
            <a:ext cx="7734300" cy="5811838"/>
          </a:xfrm>
        </p:spPr>
        <p:txBody>
          <a:bodyPr vert="eaVert"/>
          <a:lstStyle>
            <a:lvl1pPr>
              <a:defRPr>
                <a:solidFill>
                  <a:srgbClr val="3A4972"/>
                </a:solidFill>
              </a:defRPr>
            </a:lvl1pPr>
            <a:lvl2pPr>
              <a:defRPr>
                <a:solidFill>
                  <a:srgbClr val="3A4972"/>
                </a:solidFill>
              </a:defRPr>
            </a:lvl2pPr>
            <a:lvl3pPr>
              <a:defRPr>
                <a:solidFill>
                  <a:srgbClr val="3A4972"/>
                </a:solidFill>
              </a:defRPr>
            </a:lvl3pPr>
            <a:lvl4pPr>
              <a:defRPr>
                <a:solidFill>
                  <a:srgbClr val="3A4972"/>
                </a:solidFill>
              </a:defRPr>
            </a:lvl4pPr>
            <a:lvl5pPr>
              <a:defRPr>
                <a:solidFill>
                  <a:srgbClr val="3A49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60060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0_Chartis Dark Title Master">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5CEAAB6D-19CA-4691-85FD-38268F4AF945}"/>
              </a:ext>
            </a:extLst>
          </p:cNvPr>
          <p:cNvGraphicFramePr>
            <a:graphicFrameLocks noChangeAspect="1"/>
          </p:cNvGraphicFramePr>
          <p:nvPr userDrawn="1">
            <p:custDataLst>
              <p:tags r:id="rId1"/>
            </p:custDataLst>
            <p:extLst>
              <p:ext uri="{D42A27DB-BD31-4B8C-83A1-F6EECF244321}">
                <p14:modId xmlns:p14="http://schemas.microsoft.com/office/powerpoint/2010/main" val="4154493124"/>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5" name="Object 14" hidden="1">
                        <a:extLst>
                          <a:ext uri="{FF2B5EF4-FFF2-40B4-BE49-F238E27FC236}">
                            <a16:creationId xmlns:a16="http://schemas.microsoft.com/office/drawing/2014/main" id="{5CEAAB6D-19CA-4691-85FD-38268F4AF945}"/>
                          </a:ext>
                        </a:extLst>
                      </p:cNvPr>
                      <p:cNvPicPr/>
                      <p:nvPr/>
                    </p:nvPicPr>
                    <p:blipFill>
                      <a:blip r:embed="rId4"/>
                      <a:stretch>
                        <a:fillRect/>
                      </a:stretch>
                    </p:blipFill>
                    <p:spPr>
                      <a:xfrm>
                        <a:off x="2119" y="1588"/>
                        <a:ext cx="2117" cy="1588"/>
                      </a:xfrm>
                      <a:prstGeom prst="rect">
                        <a:avLst/>
                      </a:prstGeom>
                    </p:spPr>
                  </p:pic>
                </p:oleObj>
              </mc:Fallback>
            </mc:AlternateContent>
          </a:graphicData>
        </a:graphic>
      </p:graphicFrame>
      <p:sp>
        <p:nvSpPr>
          <p:cNvPr id="18" name="Blue BG">
            <a:extLst>
              <a:ext uri="{FF2B5EF4-FFF2-40B4-BE49-F238E27FC236}">
                <a16:creationId xmlns:a16="http://schemas.microsoft.com/office/drawing/2014/main" id="{9F479BC7-4130-4A2B-8D06-593E08AEC570}"/>
              </a:ext>
            </a:extLst>
          </p:cNvPr>
          <p:cNvSpPr/>
          <p:nvPr userDrawn="1"/>
        </p:nvSpPr>
        <p:spPr>
          <a:xfrm>
            <a:off x="-4721" y="0"/>
            <a:ext cx="1219672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48" name="Chevron Pattern">
            <a:extLst>
              <a:ext uri="{FF2B5EF4-FFF2-40B4-BE49-F238E27FC236}">
                <a16:creationId xmlns:a16="http://schemas.microsoft.com/office/drawing/2014/main" id="{98B57C10-EB11-46D3-B91E-7BB9D7783111}"/>
              </a:ext>
            </a:extLst>
          </p:cNvPr>
          <p:cNvSpPr/>
          <p:nvPr userDrawn="1"/>
        </p:nvSpPr>
        <p:spPr>
          <a:xfrm>
            <a:off x="-4721" y="0"/>
            <a:ext cx="12196721" cy="5761384"/>
          </a:xfrm>
          <a:prstGeom prst="rect">
            <a:avLst/>
          </a:prstGeom>
          <a:blipFill dpi="0" rotWithShape="1">
            <a:blip r:embed="rId5" cstate="print">
              <a:alphaModFix amt="15000"/>
              <a:extLst>
                <a:ext uri="{28A0092B-C50C-407E-A947-70E740481C1C}">
                  <a14:useLocalDpi xmlns:a14="http://schemas.microsoft.com/office/drawing/2010/main" val="0"/>
                </a:ext>
              </a:extLst>
            </a:blip>
            <a:srcRect/>
            <a:stretch>
              <a:fillRect l="-3494" t="1" r="-9522" b="10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0" name="Logo">
            <a:extLst>
              <a:ext uri="{FF2B5EF4-FFF2-40B4-BE49-F238E27FC236}">
                <a16:creationId xmlns:a16="http://schemas.microsoft.com/office/drawing/2014/main" id="{4A890472-AEEC-4675-8D80-3068114AB155}"/>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8907" y="618518"/>
            <a:ext cx="3657600" cy="914400"/>
          </a:xfrm>
          <a:prstGeom prst="rect">
            <a:avLst/>
          </a:prstGeom>
        </p:spPr>
      </p:pic>
      <p:sp>
        <p:nvSpPr>
          <p:cNvPr id="48" name="Rectangle 47">
            <a:extLst>
              <a:ext uri="{FF2B5EF4-FFF2-40B4-BE49-F238E27FC236}">
                <a16:creationId xmlns:a16="http://schemas.microsoft.com/office/drawing/2014/main" id="{0FD42B91-B638-43D2-8C99-23ED1BE61159}"/>
              </a:ext>
            </a:extLst>
          </p:cNvPr>
          <p:cNvSpPr/>
          <p:nvPr userDrawn="1"/>
        </p:nvSpPr>
        <p:spPr>
          <a:xfrm>
            <a:off x="-4721" y="5683942"/>
            <a:ext cx="12196721" cy="117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Placeholder for Client logo">
            <a:extLst>
              <a:ext uri="{FF2B5EF4-FFF2-40B4-BE49-F238E27FC236}">
                <a16:creationId xmlns:a16="http://schemas.microsoft.com/office/drawing/2014/main" id="{238CBF01-616E-4147-B456-332B040827B6}"/>
              </a:ext>
            </a:extLst>
          </p:cNvPr>
          <p:cNvSpPr>
            <a:spLocks noGrp="1"/>
          </p:cNvSpPr>
          <p:nvPr>
            <p:ph type="pic" sz="quarter" idx="11" hasCustomPrompt="1"/>
          </p:nvPr>
        </p:nvSpPr>
        <p:spPr>
          <a:xfrm>
            <a:off x="8551976" y="5761386"/>
            <a:ext cx="3103033" cy="1019175"/>
          </a:xfrm>
        </p:spPr>
        <p:txBody>
          <a:bodyPr anchor="ctr"/>
          <a:lstStyle>
            <a:lvl1pPr marL="0" indent="0" algn="ctr">
              <a:buNone/>
              <a:defRPr sz="1600">
                <a:solidFill>
                  <a:srgbClr val="5B5857"/>
                </a:solidFill>
              </a:defRPr>
            </a:lvl1pPr>
          </a:lstStyle>
          <a:p>
            <a:r>
              <a:rPr lang="en-US" dirty="0"/>
              <a:t>Click to insert client logo</a:t>
            </a:r>
          </a:p>
        </p:txBody>
      </p:sp>
      <p:sp>
        <p:nvSpPr>
          <p:cNvPr id="12" name="Subtitle 2">
            <a:extLst>
              <a:ext uri="{FF2B5EF4-FFF2-40B4-BE49-F238E27FC236}">
                <a16:creationId xmlns:a16="http://schemas.microsoft.com/office/drawing/2014/main" id="{75DF3627-6FC4-4937-ADBE-CA4997CB6C89}"/>
              </a:ext>
            </a:extLst>
          </p:cNvPr>
          <p:cNvSpPr>
            <a:spLocks noGrp="1"/>
          </p:cNvSpPr>
          <p:nvPr>
            <p:ph type="subTitle" idx="1"/>
          </p:nvPr>
        </p:nvSpPr>
        <p:spPr bwMode="white">
          <a:xfrm>
            <a:off x="745697" y="4298195"/>
            <a:ext cx="9250561" cy="701021"/>
          </a:xfrm>
        </p:spPr>
        <p:txBody>
          <a:bodyPr>
            <a:noAutofit/>
          </a:bodyPr>
          <a:lstStyle>
            <a:lvl1pPr marL="0" indent="0" algn="l">
              <a:buNone/>
              <a:defRPr lang="en-US" sz="2000" b="1" i="0" kern="1200" cap="all" spc="100" baseline="0" dirty="0">
                <a:solidFill>
                  <a:schemeClr val="accent2"/>
                </a:solidFill>
                <a:latin typeface="+mj-lt"/>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3" name="Text Placeholder 5">
            <a:extLst>
              <a:ext uri="{FF2B5EF4-FFF2-40B4-BE49-F238E27FC236}">
                <a16:creationId xmlns:a16="http://schemas.microsoft.com/office/drawing/2014/main" id="{5D363EA3-47B1-4095-90C5-7026EC0D03F2}"/>
              </a:ext>
            </a:extLst>
          </p:cNvPr>
          <p:cNvSpPr>
            <a:spLocks noGrp="1"/>
          </p:cNvSpPr>
          <p:nvPr>
            <p:ph type="body" sz="quarter" idx="10" hasCustomPrompt="1"/>
          </p:nvPr>
        </p:nvSpPr>
        <p:spPr bwMode="black">
          <a:xfrm>
            <a:off x="745695" y="6084440"/>
            <a:ext cx="5613400" cy="373062"/>
          </a:xfrm>
        </p:spPr>
        <p:txBody>
          <a:bodyPr anchor="ctr">
            <a:noAutofit/>
          </a:bodyPr>
          <a:lstStyle>
            <a:lvl1pPr marL="0" indent="0" algn="l" defTabSz="914400" rtl="0" eaLnBrk="1" latinLnBrk="0" hangingPunct="1">
              <a:buNone/>
              <a:defRPr lang="en-US" sz="1050" b="1" kern="1200" dirty="0">
                <a:solidFill>
                  <a:schemeClr val="accent1"/>
                </a:solidFill>
                <a:latin typeface="+mj-lt"/>
                <a:ea typeface="Verdana" panose="020B0604030504040204" pitchFamily="34" charset="0"/>
                <a:cs typeface="Verdana" panose="020B0604030504040204" pitchFamily="34" charset="0"/>
              </a:defRPr>
            </a:lvl1pPr>
          </a:lstStyle>
          <a:p>
            <a:pPr lvl="0"/>
            <a:r>
              <a:rPr lang="en-US" dirty="0"/>
              <a:t>CLICK TO INSERT DATE</a:t>
            </a:r>
          </a:p>
        </p:txBody>
      </p:sp>
      <p:sp>
        <p:nvSpPr>
          <p:cNvPr id="14" name="Title 3">
            <a:extLst>
              <a:ext uri="{FF2B5EF4-FFF2-40B4-BE49-F238E27FC236}">
                <a16:creationId xmlns:a16="http://schemas.microsoft.com/office/drawing/2014/main" id="{FD25C394-494F-451E-B7D9-0C407C181CBD}"/>
              </a:ext>
            </a:extLst>
          </p:cNvPr>
          <p:cNvSpPr>
            <a:spLocks noGrp="1"/>
          </p:cNvSpPr>
          <p:nvPr>
            <p:ph type="title"/>
          </p:nvPr>
        </p:nvSpPr>
        <p:spPr bwMode="white">
          <a:xfrm>
            <a:off x="745697" y="2596388"/>
            <a:ext cx="9250561" cy="1498700"/>
          </a:xfrm>
        </p:spPr>
        <p:txBody>
          <a:bodyPr vert="horz"/>
          <a:lstStyle>
            <a:lvl1pPr>
              <a:lnSpc>
                <a:spcPct val="100000"/>
              </a:lnSpc>
              <a:defRPr sz="4000" b="0">
                <a:solidFill>
                  <a:schemeClr val="bg1"/>
                </a:solidFill>
                <a:latin typeface="+mj-lt"/>
                <a:cs typeface="Segoe UI Light"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2479939801"/>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_Chartis Divider No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2801431724"/>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10" y="3137929"/>
            <a:ext cx="11340860" cy="582147"/>
          </a:xfrm>
        </p:spPr>
        <p:txBody>
          <a:bodyPr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7"/>
            <a:ext cx="11340860" cy="582147"/>
          </a:xfrm>
        </p:spPr>
        <p:txBody>
          <a:bodyPr anchor="b"/>
          <a:lstStyle>
            <a:lvl1pPr marL="0" indent="0">
              <a:buNone/>
              <a:defRPr b="1" cap="all" baseline="0">
                <a:solidFill>
                  <a:schemeClr val="bg1"/>
                </a:solidFill>
              </a:defRPr>
            </a:lvl1pPr>
          </a:lstStyle>
          <a:p>
            <a:pPr lvl="0"/>
            <a:r>
              <a:rPr lang="en-US" dirty="0"/>
              <a:t>Click to edit highlight text</a:t>
            </a:r>
          </a:p>
        </p:txBody>
      </p:sp>
    </p:spTree>
    <p:extLst>
      <p:ext uri="{BB962C8B-B14F-4D97-AF65-F5344CB8AC3E}">
        <p14:creationId xmlns:p14="http://schemas.microsoft.com/office/powerpoint/2010/main" val="894136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2_Chartis Divider Chartreuse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3716745977"/>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10" y="3137929"/>
            <a:ext cx="11340860" cy="582147"/>
          </a:xfrm>
        </p:spPr>
        <p:txBody>
          <a:bodyPr vert="horz"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7"/>
            <a:ext cx="11340860" cy="582147"/>
          </a:xfrm>
        </p:spPr>
        <p:txBody>
          <a:bodyPr anchor="b"/>
          <a:lstStyle>
            <a:lvl1pPr marL="0" indent="0">
              <a:buNone/>
              <a:defRPr b="1" cap="all" baseline="0">
                <a:solidFill>
                  <a:schemeClr val="accent2"/>
                </a:solidFill>
              </a:defRPr>
            </a:lvl1pPr>
          </a:lstStyle>
          <a:p>
            <a:pPr lvl="0"/>
            <a:r>
              <a:rPr lang="en-US" dirty="0"/>
              <a:t>Click to edit highlight text</a:t>
            </a:r>
          </a:p>
        </p:txBody>
      </p:sp>
    </p:spTree>
    <p:extLst>
      <p:ext uri="{BB962C8B-B14F-4D97-AF65-F5344CB8AC3E}">
        <p14:creationId xmlns:p14="http://schemas.microsoft.com/office/powerpoint/2010/main" val="75332461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3_Chartis Divider Aqua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631114013"/>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10" y="3137929"/>
            <a:ext cx="11340860" cy="582147"/>
          </a:xfrm>
        </p:spPr>
        <p:txBody>
          <a:bodyPr vert="horz"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7"/>
            <a:ext cx="11340860" cy="582147"/>
          </a:xfrm>
        </p:spPr>
        <p:txBody>
          <a:bodyPr anchor="b"/>
          <a:lstStyle>
            <a:lvl1pPr marL="0" indent="0">
              <a:buNone/>
              <a:defRPr b="1" cap="all" baseline="0">
                <a:solidFill>
                  <a:schemeClr val="accent3"/>
                </a:solidFill>
              </a:defRPr>
            </a:lvl1pPr>
          </a:lstStyle>
          <a:p>
            <a:pPr lvl="0"/>
            <a:r>
              <a:rPr lang="en-US" dirty="0"/>
              <a:t>Click to edit highlight text</a:t>
            </a:r>
          </a:p>
        </p:txBody>
      </p:sp>
    </p:spTree>
    <p:extLst>
      <p:ext uri="{BB962C8B-B14F-4D97-AF65-F5344CB8AC3E}">
        <p14:creationId xmlns:p14="http://schemas.microsoft.com/office/powerpoint/2010/main" val="2489270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30B3A-6F93-4BF6-96FB-5571911C2F4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9DDD3D-74F2-4CB1-A84B-2E9B7B6258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6807EEA-0018-4DBC-9BD2-E10C4EA70E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40288704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4_Chartis Divider Marigold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1862788879"/>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10" y="3137929"/>
            <a:ext cx="11340860" cy="582147"/>
          </a:xfrm>
        </p:spPr>
        <p:txBody>
          <a:bodyPr vert="horz"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7"/>
            <a:ext cx="11340860" cy="582147"/>
          </a:xfrm>
        </p:spPr>
        <p:txBody>
          <a:bodyPr anchor="b"/>
          <a:lstStyle>
            <a:lvl1pPr marL="0" indent="0">
              <a:buNone/>
              <a:defRPr b="1" cap="all" baseline="0">
                <a:solidFill>
                  <a:schemeClr val="accent4"/>
                </a:solidFill>
              </a:defRPr>
            </a:lvl1pPr>
          </a:lstStyle>
          <a:p>
            <a:pPr lvl="0"/>
            <a:r>
              <a:rPr lang="en-US" dirty="0"/>
              <a:t>Click to edit highlight text</a:t>
            </a:r>
          </a:p>
        </p:txBody>
      </p:sp>
    </p:spTree>
    <p:extLst>
      <p:ext uri="{BB962C8B-B14F-4D97-AF65-F5344CB8AC3E}">
        <p14:creationId xmlns:p14="http://schemas.microsoft.com/office/powerpoint/2010/main" val="425914517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5_Chartis Divider Cerulean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2252386131"/>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10" y="3137929"/>
            <a:ext cx="11340860" cy="582147"/>
          </a:xfrm>
        </p:spPr>
        <p:txBody>
          <a:bodyPr vert="horz"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7"/>
            <a:ext cx="11340860" cy="582147"/>
          </a:xfrm>
        </p:spPr>
        <p:txBody>
          <a:bodyPr anchor="b"/>
          <a:lstStyle>
            <a:lvl1pPr marL="0" indent="0">
              <a:buNone/>
              <a:defRPr b="1" cap="all" baseline="0">
                <a:solidFill>
                  <a:schemeClr val="accent5"/>
                </a:solidFill>
              </a:defRPr>
            </a:lvl1pPr>
          </a:lstStyle>
          <a:p>
            <a:pPr lvl="0"/>
            <a:r>
              <a:rPr lang="en-US" dirty="0"/>
              <a:t>Click to edit highlight text</a:t>
            </a:r>
          </a:p>
        </p:txBody>
      </p:sp>
    </p:spTree>
    <p:extLst>
      <p:ext uri="{BB962C8B-B14F-4D97-AF65-F5344CB8AC3E}">
        <p14:creationId xmlns:p14="http://schemas.microsoft.com/office/powerpoint/2010/main" val="3462155108"/>
      </p:ext>
    </p:extLst>
  </p:cSld>
  <p:clrMapOvr>
    <a:masterClrMapping/>
  </p:clrMapOvr>
  <p:extLst>
    <p:ext uri="{DCECCB84-F9BA-43D5-87BE-67443E8EF086}">
      <p15:sldGuideLst xmlns:p15="http://schemas.microsoft.com/office/powerpoint/2012/main">
        <p15:guide id="1" orient="horz" pos="1944">
          <p15:clr>
            <a:srgbClr val="FBAE40"/>
          </p15:clr>
        </p15:guide>
        <p15:guide id="2" pos="408">
          <p15:clr>
            <a:srgbClr val="FBAE40"/>
          </p15:clr>
        </p15:guide>
        <p15:guide id="3" orient="horz" pos="2232">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6_Chartis Divider Salmon Highlight">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2252386131"/>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2" name="Title 1"/>
          <p:cNvSpPr>
            <a:spLocks noGrp="1"/>
          </p:cNvSpPr>
          <p:nvPr>
            <p:ph type="title"/>
          </p:nvPr>
        </p:nvSpPr>
        <p:spPr bwMode="white">
          <a:xfrm>
            <a:off x="655610" y="3137929"/>
            <a:ext cx="11340860" cy="582147"/>
          </a:xfrm>
        </p:spPr>
        <p:txBody>
          <a:bodyPr vert="horz" anchor="t">
            <a:noAutofit/>
          </a:bodyPr>
          <a:lstStyle>
            <a:lvl1pPr algn="l">
              <a:defRPr lang="en-US" sz="3200" b="0" kern="1200" dirty="0">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6" name="Content Placeholder 5">
            <a:extLst>
              <a:ext uri="{FF2B5EF4-FFF2-40B4-BE49-F238E27FC236}">
                <a16:creationId xmlns:a16="http://schemas.microsoft.com/office/drawing/2014/main" id="{374C1579-D643-477D-8897-5829BDE74676}"/>
              </a:ext>
            </a:extLst>
          </p:cNvPr>
          <p:cNvSpPr>
            <a:spLocks noGrp="1"/>
          </p:cNvSpPr>
          <p:nvPr>
            <p:ph sz="quarter" idx="10" hasCustomPrompt="1"/>
          </p:nvPr>
        </p:nvSpPr>
        <p:spPr bwMode="white">
          <a:xfrm>
            <a:off x="655607" y="2546647"/>
            <a:ext cx="11340860" cy="582147"/>
          </a:xfrm>
        </p:spPr>
        <p:txBody>
          <a:bodyPr anchor="b"/>
          <a:lstStyle>
            <a:lvl1pPr marL="0" indent="0">
              <a:buNone/>
              <a:defRPr b="1" cap="all" baseline="0">
                <a:solidFill>
                  <a:schemeClr val="accent6"/>
                </a:solidFill>
              </a:defRPr>
            </a:lvl1pPr>
          </a:lstStyle>
          <a:p>
            <a:pPr lvl="0"/>
            <a:r>
              <a:rPr lang="en-US" dirty="0"/>
              <a:t>Click to edit highlight text</a:t>
            </a:r>
          </a:p>
        </p:txBody>
      </p:sp>
    </p:spTree>
    <p:extLst>
      <p:ext uri="{BB962C8B-B14F-4D97-AF65-F5344CB8AC3E}">
        <p14:creationId xmlns:p14="http://schemas.microsoft.com/office/powerpoint/2010/main" val="182753711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7_Chartis Divider">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3847022874"/>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1"/>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4" y="2534197"/>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2" name="Title 1"/>
          <p:cNvSpPr>
            <a:spLocks noGrp="1"/>
          </p:cNvSpPr>
          <p:nvPr>
            <p:ph type="title"/>
          </p:nvPr>
        </p:nvSpPr>
        <p:spPr bwMode="white">
          <a:xfrm>
            <a:off x="586596" y="3369216"/>
            <a:ext cx="10673753" cy="582147"/>
          </a:xfrm>
        </p:spPr>
        <p:txBody>
          <a:bodyPr vert="horz" anchor="t">
            <a:noAutofit/>
          </a:bodyPr>
          <a:lstStyle>
            <a:lvl1pPr>
              <a:defRPr sz="3200" b="0">
                <a:solidFill>
                  <a:schemeClr val="bg1"/>
                </a:solidFill>
              </a:defRPr>
            </a:lvl1pPr>
          </a:lstStyle>
          <a:p>
            <a:r>
              <a:rPr lang="en-US" dirty="0"/>
              <a:t>Click to edit Master title style</a:t>
            </a:r>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a:xfrm>
            <a:off x="586596" y="2774595"/>
            <a:ext cx="10673753" cy="582147"/>
          </a:xfrm>
        </p:spPr>
        <p:txBody>
          <a:bodyPr anchor="b"/>
          <a:lstStyle>
            <a:lvl1pPr marL="0" indent="0">
              <a:buNone/>
              <a:defRPr b="1" cap="all" baseline="0">
                <a:solidFill>
                  <a:schemeClr val="bg1"/>
                </a:solidFill>
              </a:defRPr>
            </a:lvl1pPr>
          </a:lstStyle>
          <a:p>
            <a:pPr lvl="0"/>
            <a:r>
              <a:rPr lang="en-US" dirty="0"/>
              <a:t>Click to edit highlight text</a:t>
            </a:r>
          </a:p>
        </p:txBody>
      </p:sp>
    </p:spTree>
    <p:extLst>
      <p:ext uri="{BB962C8B-B14F-4D97-AF65-F5344CB8AC3E}">
        <p14:creationId xmlns:p14="http://schemas.microsoft.com/office/powerpoint/2010/main" val="95121392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8_Chartis Divider Chartreuse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3847022874"/>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1"/>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4" y="2534197"/>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2" name="Title 1"/>
          <p:cNvSpPr>
            <a:spLocks noGrp="1"/>
          </p:cNvSpPr>
          <p:nvPr>
            <p:ph type="title"/>
          </p:nvPr>
        </p:nvSpPr>
        <p:spPr bwMode="white">
          <a:xfrm>
            <a:off x="586596" y="3369216"/>
            <a:ext cx="10673753" cy="582147"/>
          </a:xfrm>
        </p:spPr>
        <p:txBody>
          <a:bodyPr vert="horz" anchor="t">
            <a:noAutofit/>
          </a:bodyPr>
          <a:lstStyle>
            <a:lvl1pPr>
              <a:defRPr sz="3200" b="0">
                <a:solidFill>
                  <a:schemeClr val="bg1"/>
                </a:solidFill>
              </a:defRPr>
            </a:lvl1pPr>
          </a:lstStyle>
          <a:p>
            <a:r>
              <a:rPr lang="en-US" dirty="0"/>
              <a:t>Click to edit Master title style</a:t>
            </a:r>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a:xfrm>
            <a:off x="586596" y="2774595"/>
            <a:ext cx="10673753" cy="582147"/>
          </a:xfrm>
        </p:spPr>
        <p:txBody>
          <a:bodyPr anchor="b"/>
          <a:lstStyle>
            <a:lvl1pPr marL="0" indent="0">
              <a:buNone/>
              <a:defRPr b="1" cap="all" baseline="0">
                <a:solidFill>
                  <a:schemeClr val="accent2"/>
                </a:solidFill>
              </a:defRPr>
            </a:lvl1pPr>
          </a:lstStyle>
          <a:p>
            <a:pPr lvl="0"/>
            <a:r>
              <a:rPr lang="en-US" dirty="0"/>
              <a:t>Click to edit highlight text</a:t>
            </a:r>
          </a:p>
        </p:txBody>
      </p:sp>
    </p:spTree>
    <p:extLst>
      <p:ext uri="{BB962C8B-B14F-4D97-AF65-F5344CB8AC3E}">
        <p14:creationId xmlns:p14="http://schemas.microsoft.com/office/powerpoint/2010/main" val="60148999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9_Chartis Divider Aqua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332346370"/>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4" y="2534197"/>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B93E"/>
              </a:solidFill>
              <a:effectLst/>
              <a:uLnTx/>
              <a:uFillTx/>
              <a:latin typeface="Segoe UI Semibold"/>
              <a:ea typeface="+mn-ea"/>
              <a:cs typeface="+mn-cs"/>
            </a:endParaRPr>
          </a:p>
        </p:txBody>
      </p:sp>
      <p:sp>
        <p:nvSpPr>
          <p:cNvPr id="2" name="Title 1"/>
          <p:cNvSpPr>
            <a:spLocks noGrp="1"/>
          </p:cNvSpPr>
          <p:nvPr>
            <p:ph type="title"/>
          </p:nvPr>
        </p:nvSpPr>
        <p:spPr bwMode="white">
          <a:xfrm>
            <a:off x="586596" y="3369216"/>
            <a:ext cx="10673753" cy="582147"/>
          </a:xfrm>
        </p:spPr>
        <p:txBody>
          <a:bodyPr vert="horz" anchor="t">
            <a:noAutofit/>
          </a:bodyPr>
          <a:lstStyle>
            <a:lvl1pPr>
              <a:defRPr sz="3200" b="0">
                <a:solidFill>
                  <a:schemeClr val="bg1"/>
                </a:solidFill>
              </a:defRPr>
            </a:lvl1pPr>
          </a:lstStyle>
          <a:p>
            <a:r>
              <a:rPr lang="en-US" dirty="0"/>
              <a:t>Click to edit Master title style</a:t>
            </a:r>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bwMode="white">
          <a:xfrm>
            <a:off x="586596" y="2774595"/>
            <a:ext cx="10673753" cy="582147"/>
          </a:xfrm>
        </p:spPr>
        <p:txBody>
          <a:bodyPr anchor="b"/>
          <a:lstStyle>
            <a:lvl1pPr marL="0" indent="0">
              <a:buNone/>
              <a:defRPr b="1" cap="all" baseline="0">
                <a:solidFill>
                  <a:schemeClr val="accent3"/>
                </a:solidFill>
              </a:defRPr>
            </a:lvl1pPr>
          </a:lstStyle>
          <a:p>
            <a:pPr lvl="0"/>
            <a:r>
              <a:rPr lang="en-US" dirty="0"/>
              <a:t>Click to edit highlight text</a:t>
            </a:r>
          </a:p>
        </p:txBody>
      </p:sp>
    </p:spTree>
    <p:extLst>
      <p:ext uri="{BB962C8B-B14F-4D97-AF65-F5344CB8AC3E}">
        <p14:creationId xmlns:p14="http://schemas.microsoft.com/office/powerpoint/2010/main" val="55690731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0_Chartis Divider Marigold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1768478562"/>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4" y="2534197"/>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B93E"/>
              </a:solidFill>
              <a:effectLst/>
              <a:uLnTx/>
              <a:uFillTx/>
              <a:latin typeface="Segoe UI Semibold"/>
              <a:ea typeface="+mn-ea"/>
              <a:cs typeface="+mn-cs"/>
            </a:endParaRPr>
          </a:p>
        </p:txBody>
      </p:sp>
      <p:sp>
        <p:nvSpPr>
          <p:cNvPr id="2" name="Title 1"/>
          <p:cNvSpPr>
            <a:spLocks noGrp="1"/>
          </p:cNvSpPr>
          <p:nvPr>
            <p:ph type="title"/>
          </p:nvPr>
        </p:nvSpPr>
        <p:spPr bwMode="white">
          <a:xfrm>
            <a:off x="586596" y="3369216"/>
            <a:ext cx="10673753" cy="582147"/>
          </a:xfrm>
        </p:spPr>
        <p:txBody>
          <a:bodyPr vert="horz" anchor="t">
            <a:noAutofit/>
          </a:bodyPr>
          <a:lstStyle>
            <a:lvl1pPr>
              <a:defRPr sz="3200" b="0">
                <a:solidFill>
                  <a:schemeClr val="bg1"/>
                </a:solidFill>
              </a:defRPr>
            </a:lvl1pPr>
          </a:lstStyle>
          <a:p>
            <a:r>
              <a:rPr lang="en-US" dirty="0"/>
              <a:t>Click to edit Master title style</a:t>
            </a:r>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a:xfrm>
            <a:off x="586596" y="2774595"/>
            <a:ext cx="10673753" cy="582147"/>
          </a:xfrm>
        </p:spPr>
        <p:txBody>
          <a:bodyPr anchor="b"/>
          <a:lstStyle>
            <a:lvl1pPr marL="0" indent="0">
              <a:buNone/>
              <a:defRPr b="1" cap="all" baseline="0">
                <a:solidFill>
                  <a:schemeClr val="accent4"/>
                </a:solidFill>
              </a:defRPr>
            </a:lvl1pPr>
          </a:lstStyle>
          <a:p>
            <a:pPr lvl="0"/>
            <a:r>
              <a:rPr lang="en-US" dirty="0"/>
              <a:t>Click to edit highlight text</a:t>
            </a:r>
          </a:p>
        </p:txBody>
      </p:sp>
    </p:spTree>
    <p:extLst>
      <p:ext uri="{BB962C8B-B14F-4D97-AF65-F5344CB8AC3E}">
        <p14:creationId xmlns:p14="http://schemas.microsoft.com/office/powerpoint/2010/main" val="119347701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1_Chartis Divider Cerulean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4183136572"/>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4" y="2534197"/>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2" name="Title 1"/>
          <p:cNvSpPr>
            <a:spLocks noGrp="1"/>
          </p:cNvSpPr>
          <p:nvPr>
            <p:ph type="title"/>
          </p:nvPr>
        </p:nvSpPr>
        <p:spPr bwMode="white">
          <a:xfrm>
            <a:off x="586596" y="3369216"/>
            <a:ext cx="10673753" cy="582147"/>
          </a:xfrm>
        </p:spPr>
        <p:txBody>
          <a:bodyPr vert="horz" anchor="t">
            <a:noAutofit/>
          </a:bodyPr>
          <a:lstStyle>
            <a:lvl1pPr>
              <a:defRPr sz="3200" b="0">
                <a:solidFill>
                  <a:schemeClr val="bg1"/>
                </a:solidFill>
              </a:defRPr>
            </a:lvl1pPr>
          </a:lstStyle>
          <a:p>
            <a:r>
              <a:rPr lang="en-US" dirty="0"/>
              <a:t>Click to edit Master title style</a:t>
            </a:r>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a:xfrm>
            <a:off x="586596" y="2774595"/>
            <a:ext cx="10673753" cy="582147"/>
          </a:xfrm>
        </p:spPr>
        <p:txBody>
          <a:bodyPr anchor="b"/>
          <a:lstStyle>
            <a:lvl1pPr marL="0" indent="0">
              <a:buNone/>
              <a:defRPr b="1" cap="all" baseline="0">
                <a:solidFill>
                  <a:schemeClr val="accent5"/>
                </a:solidFill>
              </a:defRPr>
            </a:lvl1pPr>
          </a:lstStyle>
          <a:p>
            <a:pPr lvl="0"/>
            <a:r>
              <a:rPr lang="en-US" dirty="0"/>
              <a:t>Click to edit highlight text</a:t>
            </a:r>
          </a:p>
        </p:txBody>
      </p:sp>
    </p:spTree>
    <p:extLst>
      <p:ext uri="{BB962C8B-B14F-4D97-AF65-F5344CB8AC3E}">
        <p14:creationId xmlns:p14="http://schemas.microsoft.com/office/powerpoint/2010/main" val="124700927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2_Chartis Divider Salmon Highlight">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userDrawn="1">
            <p:custDataLst>
              <p:tags r:id="rId1"/>
            </p:custDataLst>
            <p:extLst>
              <p:ext uri="{D42A27DB-BD31-4B8C-83A1-F6EECF244321}">
                <p14:modId xmlns:p14="http://schemas.microsoft.com/office/powerpoint/2010/main" val="4183136572"/>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B0CD1A32-8270-44A3-9FAC-D00C409F1C8A}"/>
              </a:ext>
            </a:extLst>
          </p:cNvPr>
          <p:cNvSpPr/>
          <p:nvPr userDrawn="1"/>
        </p:nvSpPr>
        <p:spPr bwMode="white">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7" name="Freeform: Shape 6">
            <a:extLst>
              <a:ext uri="{FF2B5EF4-FFF2-40B4-BE49-F238E27FC236}">
                <a16:creationId xmlns:a16="http://schemas.microsoft.com/office/drawing/2014/main" id="{6A23BD35-1D90-49D9-A8BD-4D7B6C14F6BD}"/>
              </a:ext>
            </a:extLst>
          </p:cNvPr>
          <p:cNvSpPr/>
          <p:nvPr/>
        </p:nvSpPr>
        <p:spPr>
          <a:xfrm>
            <a:off x="4" y="2534197"/>
            <a:ext cx="12191997" cy="1648359"/>
          </a:xfrm>
          <a:custGeom>
            <a:avLst/>
            <a:gdLst>
              <a:gd name="connsiteX0" fmla="*/ 0 w 9150814"/>
              <a:gd name="connsiteY0" fmla="*/ 0 h 1648358"/>
              <a:gd name="connsiteX1" fmla="*/ 9156875 w 9150814"/>
              <a:gd name="connsiteY1" fmla="*/ 0 h 1648358"/>
              <a:gd name="connsiteX2" fmla="*/ 9156875 w 9150814"/>
              <a:gd name="connsiteY2" fmla="*/ 1654419 h 1648358"/>
              <a:gd name="connsiteX3" fmla="*/ 0 w 9150814"/>
              <a:gd name="connsiteY3" fmla="*/ 1654419 h 1648358"/>
            </a:gdLst>
            <a:ahLst/>
            <a:cxnLst>
              <a:cxn ang="0">
                <a:pos x="connsiteX0" y="connsiteY0"/>
              </a:cxn>
              <a:cxn ang="0">
                <a:pos x="connsiteX1" y="connsiteY1"/>
              </a:cxn>
              <a:cxn ang="0">
                <a:pos x="connsiteX2" y="connsiteY2"/>
              </a:cxn>
              <a:cxn ang="0">
                <a:pos x="connsiteX3" y="connsiteY3"/>
              </a:cxn>
            </a:cxnLst>
            <a:rect l="l" t="t" r="r" b="b"/>
            <a:pathLst>
              <a:path w="9150814" h="1648358">
                <a:moveTo>
                  <a:pt x="0" y="0"/>
                </a:moveTo>
                <a:lnTo>
                  <a:pt x="9156875" y="0"/>
                </a:lnTo>
                <a:lnTo>
                  <a:pt x="9156875" y="1654419"/>
                </a:lnTo>
                <a:lnTo>
                  <a:pt x="0" y="1654419"/>
                </a:lnTo>
                <a:close/>
              </a:path>
            </a:pathLst>
          </a:custGeom>
          <a:solidFill>
            <a:schemeClr val="accent1"/>
          </a:solidFill>
          <a:ln w="12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2" name="Title 1"/>
          <p:cNvSpPr>
            <a:spLocks noGrp="1"/>
          </p:cNvSpPr>
          <p:nvPr>
            <p:ph type="title"/>
          </p:nvPr>
        </p:nvSpPr>
        <p:spPr bwMode="white">
          <a:xfrm>
            <a:off x="586596" y="3369216"/>
            <a:ext cx="10673753" cy="582147"/>
          </a:xfrm>
        </p:spPr>
        <p:txBody>
          <a:bodyPr vert="horz" anchor="t">
            <a:noAutofit/>
          </a:bodyPr>
          <a:lstStyle>
            <a:lvl1pPr>
              <a:defRPr sz="3200" b="0">
                <a:solidFill>
                  <a:schemeClr val="bg1"/>
                </a:solidFill>
              </a:defRPr>
            </a:lvl1pPr>
          </a:lstStyle>
          <a:p>
            <a:r>
              <a:rPr lang="en-US" dirty="0"/>
              <a:t>Click to edit Master title style</a:t>
            </a:r>
          </a:p>
        </p:txBody>
      </p:sp>
      <p:sp>
        <p:nvSpPr>
          <p:cNvPr id="8" name="Content Placeholder 7">
            <a:extLst>
              <a:ext uri="{FF2B5EF4-FFF2-40B4-BE49-F238E27FC236}">
                <a16:creationId xmlns:a16="http://schemas.microsoft.com/office/drawing/2014/main" id="{657F3093-81AC-44DF-A486-40E55EE56D20}"/>
              </a:ext>
            </a:extLst>
          </p:cNvPr>
          <p:cNvSpPr>
            <a:spLocks noGrp="1"/>
          </p:cNvSpPr>
          <p:nvPr>
            <p:ph sz="quarter" idx="10" hasCustomPrompt="1"/>
          </p:nvPr>
        </p:nvSpPr>
        <p:spPr>
          <a:xfrm>
            <a:off x="586596" y="2774595"/>
            <a:ext cx="10673753" cy="582147"/>
          </a:xfrm>
        </p:spPr>
        <p:txBody>
          <a:bodyPr anchor="b"/>
          <a:lstStyle>
            <a:lvl1pPr marL="0" indent="0">
              <a:buNone/>
              <a:defRPr b="1" cap="all" baseline="0">
                <a:solidFill>
                  <a:schemeClr val="accent6"/>
                </a:solidFill>
              </a:defRPr>
            </a:lvl1pPr>
          </a:lstStyle>
          <a:p>
            <a:pPr lvl="0"/>
            <a:r>
              <a:rPr lang="en-US" dirty="0"/>
              <a:t>Click to edit highlight text</a:t>
            </a:r>
          </a:p>
        </p:txBody>
      </p:sp>
    </p:spTree>
    <p:extLst>
      <p:ext uri="{BB962C8B-B14F-4D97-AF65-F5344CB8AC3E}">
        <p14:creationId xmlns:p14="http://schemas.microsoft.com/office/powerpoint/2010/main" val="350253183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1481550009"/>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dirty="0"/>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621101" y="1595890"/>
            <a:ext cx="11024659" cy="476188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23359869"/>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C1381-5BC0-43BF-B26A-F25C8D151A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02D6A26-23FA-41BD-BA4B-0697C6C5D87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DBA88F9-434D-499E-981F-2E5C0682DF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5572473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2_Lead-in Sentenc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68839B-DA81-41E8-8663-EFBA614B1404}"/>
              </a:ext>
            </a:extLst>
          </p:cNvPr>
          <p:cNvGraphicFramePr>
            <a:graphicFrameLocks noChangeAspect="1"/>
          </p:cNvGraphicFramePr>
          <p:nvPr userDrawn="1">
            <p:custDataLst>
              <p:tags r:id="rId1"/>
            </p:custDataLst>
            <p:extLst>
              <p:ext uri="{D42A27DB-BD31-4B8C-83A1-F6EECF244321}">
                <p14:modId xmlns:p14="http://schemas.microsoft.com/office/powerpoint/2010/main" val="2874795303"/>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1868839B-DA81-41E8-8663-EFBA614B1404}"/>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E541E18-E1EE-4A8B-A16C-8E642269DBA9}"/>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dirty="0"/>
              <a:t>Click to edit Master title style</a:t>
            </a:r>
          </a:p>
        </p:txBody>
      </p:sp>
      <p:sp>
        <p:nvSpPr>
          <p:cNvPr id="3" name="Content Placeholder 2"/>
          <p:cNvSpPr>
            <a:spLocks noGrp="1"/>
          </p:cNvSpPr>
          <p:nvPr>
            <p:ph idx="1"/>
          </p:nvPr>
        </p:nvSpPr>
        <p:spPr>
          <a:xfrm>
            <a:off x="609600" y="2053089"/>
            <a:ext cx="11023600" cy="4390745"/>
          </a:xfrm>
        </p:spPr>
        <p:txBody>
          <a:bodyPr/>
          <a:lstStyle>
            <a:lvl2pPr marL="457200" indent="-223838">
              <a:defRPr/>
            </a:lvl2pPr>
            <a:lvl3pPr marL="690563" indent="-233363">
              <a:defRPr/>
            </a:lvl3pPr>
            <a:lvl4pPr marL="914400" indent="-223838">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0"/>
          </p:nvPr>
        </p:nvSpPr>
        <p:spPr>
          <a:xfrm>
            <a:off x="0" y="1250830"/>
            <a:ext cx="12192000" cy="577970"/>
          </a:xfrm>
          <a:solidFill>
            <a:srgbClr val="00294C"/>
          </a:solidFill>
        </p:spPr>
        <p:txBody>
          <a:bodyPr lIns="457200" rIns="457200" anchor="ctr" anchorCtr="0">
            <a:noAutofit/>
          </a:bodyPr>
          <a:lstStyle>
            <a:lvl1pPr marL="114300" indent="-1588">
              <a:buNone/>
              <a:defRPr sz="1400" b="0">
                <a:solidFill>
                  <a:schemeClr val="bg1"/>
                </a:solidFill>
                <a:latin typeface="+mj-lt"/>
                <a:ea typeface="Verdana" panose="020B0604030504040204" pitchFamily="34" charset="0"/>
                <a:cs typeface="Verdana" panose="020B0604030504040204" pitchFamily="34" charset="0"/>
              </a:defRPr>
            </a:lvl1pPr>
          </a:lstStyle>
          <a:p>
            <a:pPr lvl="0"/>
            <a:r>
              <a:rPr lang="en-US" dirty="0"/>
              <a:t>Edit Master text styles</a:t>
            </a:r>
          </a:p>
        </p:txBody>
      </p:sp>
    </p:spTree>
    <p:extLst>
      <p:ext uri="{BB962C8B-B14F-4D97-AF65-F5344CB8AC3E}">
        <p14:creationId xmlns:p14="http://schemas.microsoft.com/office/powerpoint/2010/main" val="3802768390"/>
      </p:ext>
    </p:extLst>
  </p:cSld>
  <p:clrMapOvr>
    <a:masterClrMapping/>
  </p:clrMapOvr>
  <p:extLst>
    <p:ext uri="{DCECCB84-F9BA-43D5-87BE-67443E8EF086}">
      <p15:sldGuideLst xmlns:p15="http://schemas.microsoft.com/office/powerpoint/2012/main">
        <p15:guide id="1" orient="horz" pos="2160">
          <p15:clr>
            <a:srgbClr val="FBAE40"/>
          </p15:clr>
        </p15:guide>
        <p15:guide id="2" pos="732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_Title, Lead-in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2C7125-4F5B-4830-9F52-3D8E4D81F36E}"/>
              </a:ext>
            </a:extLst>
          </p:cNvPr>
          <p:cNvGraphicFramePr>
            <a:graphicFrameLocks noChangeAspect="1"/>
          </p:cNvGraphicFramePr>
          <p:nvPr userDrawn="1">
            <p:custDataLst>
              <p:tags r:id="rId1"/>
            </p:custDataLst>
            <p:extLst>
              <p:ext uri="{D42A27DB-BD31-4B8C-83A1-F6EECF244321}">
                <p14:modId xmlns:p14="http://schemas.microsoft.com/office/powerpoint/2010/main" val="1112690500"/>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E2C7125-4F5B-4830-9F52-3D8E4D81F36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124D31-E018-4C00-953A-6786DDE05836}"/>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endParaRPr lang="en-US" dirty="0"/>
          </a:p>
        </p:txBody>
      </p:sp>
      <p:sp>
        <p:nvSpPr>
          <p:cNvPr id="5" name="Text Placeholder 4"/>
          <p:cNvSpPr>
            <a:spLocks noGrp="1"/>
          </p:cNvSpPr>
          <p:nvPr>
            <p:ph type="body" sz="quarter" idx="10"/>
          </p:nvPr>
        </p:nvSpPr>
        <p:spPr>
          <a:xfrm>
            <a:off x="0" y="1250830"/>
            <a:ext cx="12192000" cy="577970"/>
          </a:xfrm>
          <a:solidFill>
            <a:srgbClr val="00294C"/>
          </a:solidFill>
        </p:spPr>
        <p:txBody>
          <a:bodyPr lIns="457200" rIns="457200" anchor="ctr" anchorCtr="0">
            <a:noAutofit/>
          </a:bodyPr>
          <a:lstStyle>
            <a:lvl1pPr marL="114300" indent="0">
              <a:buNone/>
              <a:defRPr sz="1400" b="0">
                <a:solidFill>
                  <a:schemeClr val="bg1"/>
                </a:solidFill>
                <a:latin typeface="+mj-lt"/>
                <a:ea typeface="Verdana" panose="020B0604030504040204" pitchFamily="34" charset="0"/>
                <a:cs typeface="Verdana" panose="020B0604030504040204" pitchFamily="34" charset="0"/>
              </a:defRPr>
            </a:lvl1pPr>
          </a:lstStyle>
          <a:p>
            <a:pPr lvl="0"/>
            <a:r>
              <a:rPr lang="en-US" dirty="0"/>
              <a:t>Edit Master text styles</a:t>
            </a:r>
          </a:p>
        </p:txBody>
      </p:sp>
    </p:spTree>
    <p:extLst>
      <p:ext uri="{BB962C8B-B14F-4D97-AF65-F5344CB8AC3E}">
        <p14:creationId xmlns:p14="http://schemas.microsoft.com/office/powerpoint/2010/main" val="2621311126"/>
      </p:ext>
    </p:extLst>
  </p:cSld>
  <p:clrMapOvr>
    <a:masterClrMapping/>
  </p:clrMapOvr>
  <p:extLst>
    <p:ext uri="{DCECCB84-F9BA-43D5-87BE-67443E8EF086}">
      <p15:sldGuideLst xmlns:p15="http://schemas.microsoft.com/office/powerpoint/2012/main">
        <p15:guide id="1" orient="horz" pos="2160">
          <p15:clr>
            <a:srgbClr val="FBAE40"/>
          </p15:clr>
        </p15:guide>
        <p15:guide id="2" pos="7328">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_Title Only -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4119741763"/>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5" name="Rectangle 4">
            <a:extLst>
              <a:ext uri="{FF2B5EF4-FFF2-40B4-BE49-F238E27FC236}">
                <a16:creationId xmlns:a16="http://schemas.microsoft.com/office/drawing/2014/main" id="{B48BD9A1-8F1F-41E5-9C00-C6E15BEE1ABC}"/>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2417816040"/>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5_Blank no 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3004309090"/>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4"/>
                      <a:stretch>
                        <a:fillRect/>
                      </a:stretch>
                    </p:blipFill>
                    <p:spPr>
                      <a:xfrm>
                        <a:off x="2119" y="1588"/>
                        <a:ext cx="2117"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CFEFD1D-D1D9-4610-A6A3-708197C1FB91}"/>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594874094"/>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6_Title with Sideba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2C7125-4F5B-4830-9F52-3D8E4D81F36E}"/>
              </a:ext>
            </a:extLst>
          </p:cNvPr>
          <p:cNvGraphicFramePr>
            <a:graphicFrameLocks noChangeAspect="1"/>
          </p:cNvGraphicFramePr>
          <p:nvPr userDrawn="1">
            <p:custDataLst>
              <p:tags r:id="rId1"/>
            </p:custDataLst>
            <p:extLst>
              <p:ext uri="{D42A27DB-BD31-4B8C-83A1-F6EECF244321}">
                <p14:modId xmlns:p14="http://schemas.microsoft.com/office/powerpoint/2010/main" val="4028933168"/>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E2C7125-4F5B-4830-9F52-3D8E4D81F36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124D31-E018-4C00-953A-6786DDE05836}"/>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endParaRPr lang="en-US" dirty="0"/>
          </a:p>
        </p:txBody>
      </p:sp>
      <p:sp>
        <p:nvSpPr>
          <p:cNvPr id="5" name="Text Placeholder 4"/>
          <p:cNvSpPr>
            <a:spLocks noGrp="1"/>
          </p:cNvSpPr>
          <p:nvPr>
            <p:ph type="body" sz="quarter" idx="10"/>
          </p:nvPr>
        </p:nvSpPr>
        <p:spPr>
          <a:xfrm>
            <a:off x="1" y="1250832"/>
            <a:ext cx="3772619" cy="5262113"/>
          </a:xfrm>
          <a:solidFill>
            <a:srgbClr val="00294C"/>
          </a:solidFill>
        </p:spPr>
        <p:txBody>
          <a:bodyPr lIns="457200" rIns="457200" anchor="ctr" anchorCtr="0">
            <a:noAutofit/>
          </a:bodyPr>
          <a:lstStyle>
            <a:lvl1pPr marL="0" indent="0">
              <a:buNone/>
              <a:defRPr sz="1400" b="0">
                <a:solidFill>
                  <a:schemeClr val="bg1"/>
                </a:solidFill>
                <a:latin typeface="+mj-lt"/>
                <a:ea typeface="Verdana" panose="020B0604030504040204" pitchFamily="34" charset="0"/>
                <a:cs typeface="Verdana" panose="020B0604030504040204" pitchFamily="34" charset="0"/>
              </a:defRPr>
            </a:lvl1pPr>
          </a:lstStyle>
          <a:p>
            <a:pPr lvl="0"/>
            <a:r>
              <a:rPr lang="en-US" dirty="0"/>
              <a:t>Edit Master text styles</a:t>
            </a:r>
          </a:p>
        </p:txBody>
      </p:sp>
    </p:spTree>
    <p:extLst>
      <p:ext uri="{BB962C8B-B14F-4D97-AF65-F5344CB8AC3E}">
        <p14:creationId xmlns:p14="http://schemas.microsoft.com/office/powerpoint/2010/main" val="3593070618"/>
      </p:ext>
    </p:extLst>
  </p:cSld>
  <p:clrMapOvr>
    <a:masterClrMapping/>
  </p:clrMapOvr>
  <p:extLst>
    <p:ext uri="{DCECCB84-F9BA-43D5-87BE-67443E8EF086}">
      <p15:sldGuideLst xmlns:p15="http://schemas.microsoft.com/office/powerpoint/2012/main">
        <p15:guide id="1" orient="horz" pos="2160">
          <p15:clr>
            <a:srgbClr val="FBAE40"/>
          </p15:clr>
        </p15:guide>
        <p15:guide id="2" pos="7328">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7_Title with Sidebar with Bulle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2C7125-4F5B-4830-9F52-3D8E4D81F36E}"/>
              </a:ext>
            </a:extLst>
          </p:cNvPr>
          <p:cNvGraphicFramePr>
            <a:graphicFrameLocks noChangeAspect="1"/>
          </p:cNvGraphicFramePr>
          <p:nvPr userDrawn="1">
            <p:custDataLst>
              <p:tags r:id="rId1"/>
            </p:custDataLst>
            <p:extLst>
              <p:ext uri="{D42A27DB-BD31-4B8C-83A1-F6EECF244321}">
                <p14:modId xmlns:p14="http://schemas.microsoft.com/office/powerpoint/2010/main" val="4028933168"/>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E2C7125-4F5B-4830-9F52-3D8E4D81F36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124D31-E018-4C00-953A-6786DDE05836}"/>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a:t>Click to edit Master title style</a:t>
            </a:r>
            <a:endParaRPr lang="en-US" dirty="0"/>
          </a:p>
        </p:txBody>
      </p:sp>
      <p:sp>
        <p:nvSpPr>
          <p:cNvPr id="5" name="Text Placeholder 4"/>
          <p:cNvSpPr>
            <a:spLocks noGrp="1"/>
          </p:cNvSpPr>
          <p:nvPr>
            <p:ph type="body" sz="quarter" idx="10"/>
          </p:nvPr>
        </p:nvSpPr>
        <p:spPr>
          <a:xfrm>
            <a:off x="1" y="1250832"/>
            <a:ext cx="3772619" cy="5262113"/>
          </a:xfrm>
          <a:solidFill>
            <a:srgbClr val="00294C"/>
          </a:solidFill>
        </p:spPr>
        <p:txBody>
          <a:bodyPr lIns="457200" rIns="457200" anchor="ctr" anchorCtr="0">
            <a:noAutofit/>
          </a:bodyPr>
          <a:lstStyle>
            <a:lvl1pPr marL="0" indent="0">
              <a:buNone/>
              <a:defRPr sz="1400" b="0">
                <a:solidFill>
                  <a:schemeClr val="bg1"/>
                </a:solidFill>
                <a:latin typeface="+mj-lt"/>
                <a:ea typeface="Verdana" panose="020B0604030504040204" pitchFamily="34" charset="0"/>
                <a:cs typeface="Verdana" panose="020B0604030504040204" pitchFamily="34" charset="0"/>
              </a:defRPr>
            </a:lvl1pPr>
          </a:lstStyle>
          <a:p>
            <a:pPr lvl="0"/>
            <a:r>
              <a:rPr lang="en-US" dirty="0"/>
              <a:t>Edit Master text styles</a:t>
            </a:r>
          </a:p>
        </p:txBody>
      </p:sp>
      <p:sp>
        <p:nvSpPr>
          <p:cNvPr id="6" name="Text Placeholder 2">
            <a:extLst>
              <a:ext uri="{FF2B5EF4-FFF2-40B4-BE49-F238E27FC236}">
                <a16:creationId xmlns:a16="http://schemas.microsoft.com/office/drawing/2014/main" id="{F24A1050-8B32-4F11-A3C6-01FB62E80E9B}"/>
              </a:ext>
            </a:extLst>
          </p:cNvPr>
          <p:cNvSpPr>
            <a:spLocks noGrp="1"/>
          </p:cNvSpPr>
          <p:nvPr>
            <p:ph idx="1"/>
          </p:nvPr>
        </p:nvSpPr>
        <p:spPr>
          <a:xfrm>
            <a:off x="4088922" y="1595890"/>
            <a:ext cx="7556839" cy="476188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89835621"/>
      </p:ext>
    </p:extLst>
  </p:cSld>
  <p:clrMapOvr>
    <a:masterClrMapping/>
  </p:clrMapOvr>
  <p:extLst>
    <p:ext uri="{DCECCB84-F9BA-43D5-87BE-67443E8EF086}">
      <p15:sldGuideLst xmlns:p15="http://schemas.microsoft.com/office/powerpoint/2012/main">
        <p15:guide id="1" orient="horz" pos="2160">
          <p15:clr>
            <a:srgbClr val="FBAE40"/>
          </p15:clr>
        </p15:guide>
        <p15:guide id="2" pos="7328">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7_Title and Content- with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858950008"/>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B5FBD18B-D759-487E-8D63-5FB067B90F61}"/>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Rectangle 5">
            <a:extLst>
              <a:ext uri="{FF2B5EF4-FFF2-40B4-BE49-F238E27FC236}">
                <a16:creationId xmlns:a16="http://schemas.microsoft.com/office/drawing/2014/main" id="{E6B2F6FB-4FA8-477E-8BB9-BDFCD53137D3}"/>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vert="horz"/>
          <a:lstStyle/>
          <a:p>
            <a:r>
              <a:rPr lang="en-US" dirty="0"/>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621101" y="1595890"/>
            <a:ext cx="11024659" cy="476188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9" name="Straight Connector 8">
            <a:extLst>
              <a:ext uri="{FF2B5EF4-FFF2-40B4-BE49-F238E27FC236}">
                <a16:creationId xmlns:a16="http://schemas.microsoft.com/office/drawing/2014/main" id="{804041C3-4C8D-4582-9895-2F13248B6E87}"/>
              </a:ext>
            </a:extLst>
          </p:cNvPr>
          <p:cNvCxnSpPr/>
          <p:nvPr userDrawn="1"/>
        </p:nvCxnSpPr>
        <p:spPr>
          <a:xfrm>
            <a:off x="0" y="1255143"/>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8200160"/>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8_Title Only with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4079146931"/>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dirty="0"/>
              <a:t>Click to edit Master title style</a:t>
            </a:r>
          </a:p>
        </p:txBody>
      </p:sp>
      <p:cxnSp>
        <p:nvCxnSpPr>
          <p:cNvPr id="6" name="Straight Connector 5">
            <a:extLst>
              <a:ext uri="{FF2B5EF4-FFF2-40B4-BE49-F238E27FC236}">
                <a16:creationId xmlns:a16="http://schemas.microsoft.com/office/drawing/2014/main" id="{822ED630-1058-433E-BE14-04F41D9E5CBC}"/>
              </a:ext>
            </a:extLst>
          </p:cNvPr>
          <p:cNvCxnSpPr/>
          <p:nvPr userDrawn="1"/>
        </p:nvCxnSpPr>
        <p:spPr>
          <a:xfrm>
            <a:off x="0" y="1255143"/>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1639435"/>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9_Divider Slide - Light Blue">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4E74F6-AE4E-440E-9E2D-810E4FABA802}"/>
              </a:ext>
            </a:extLst>
          </p:cNvPr>
          <p:cNvGraphicFramePr>
            <a:graphicFrameLocks noChangeAspect="1"/>
          </p:cNvGraphicFramePr>
          <p:nvPr>
            <p:custDataLst>
              <p:tags r:id="rId1"/>
            </p:custDataLst>
            <p:extLst>
              <p:ext uri="{D42A27DB-BD31-4B8C-83A1-F6EECF244321}">
                <p14:modId xmlns:p14="http://schemas.microsoft.com/office/powerpoint/2010/main" val="1273887349"/>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FC4E74F6-AE4E-440E-9E2D-810E4FABA802}"/>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CB9FEC-3736-4BF7-B02B-4EB0B2807969}"/>
              </a:ext>
            </a:extLst>
          </p:cNvPr>
          <p:cNvSpPr/>
          <p:nvPr>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10" name="Freeform: Shape 9">
            <a:extLst>
              <a:ext uri="{FF2B5EF4-FFF2-40B4-BE49-F238E27FC236}">
                <a16:creationId xmlns:a16="http://schemas.microsoft.com/office/drawing/2014/main" id="{2DA6EA66-A60D-4FE5-8FD9-42F193723416}"/>
              </a:ext>
            </a:extLst>
          </p:cNvPr>
          <p:cNvSpPr/>
          <p:nvPr/>
        </p:nvSpPr>
        <p:spPr>
          <a:xfrm rot="16200000">
            <a:off x="8071624" y="2737622"/>
            <a:ext cx="4324801" cy="3915955"/>
          </a:xfrm>
          <a:custGeom>
            <a:avLst/>
            <a:gdLst>
              <a:gd name="connsiteX0" fmla="*/ 4324659 w 4324801"/>
              <a:gd name="connsiteY0" fmla="*/ 2381991 h 3915954"/>
              <a:gd name="connsiteX1" fmla="*/ 4211518 w 4324801"/>
              <a:gd name="connsiteY1" fmla="*/ 2704850 h 3915954"/>
              <a:gd name="connsiteX2" fmla="*/ 3930772 w 4324801"/>
              <a:gd name="connsiteY2" fmla="*/ 2897301 h 3915954"/>
              <a:gd name="connsiteX3" fmla="*/ 3591210 w 4324801"/>
              <a:gd name="connsiteY3" fmla="*/ 2891686 h 3915954"/>
              <a:gd name="connsiteX4" fmla="*/ 3319588 w 4324801"/>
              <a:gd name="connsiteY4" fmla="*/ 2688005 h 3915954"/>
              <a:gd name="connsiteX5" fmla="*/ 2753884 w 4324801"/>
              <a:gd name="connsiteY5" fmla="*/ 3013109 h 3915954"/>
              <a:gd name="connsiteX6" fmla="*/ 3045299 w 4324801"/>
              <a:gd name="connsiteY6" fmla="*/ 3279818 h 3915954"/>
              <a:gd name="connsiteX7" fmla="*/ 2980165 w 4324801"/>
              <a:gd name="connsiteY7" fmla="*/ 3412751 h 3915954"/>
              <a:gd name="connsiteX8" fmla="*/ 2615195 w 4324801"/>
              <a:gd name="connsiteY8" fmla="*/ 3089893 h 3915954"/>
              <a:gd name="connsiteX9" fmla="*/ 1220308 w 4324801"/>
              <a:gd name="connsiteY9" fmla="*/ 3896196 h 3915954"/>
              <a:gd name="connsiteX10" fmla="*/ 1237609 w 4324801"/>
              <a:gd name="connsiteY10" fmla="*/ 3915954 h 3915954"/>
              <a:gd name="connsiteX11" fmla="*/ 809549 w 4324801"/>
              <a:gd name="connsiteY11" fmla="*/ 3915954 h 3915954"/>
              <a:gd name="connsiteX12" fmla="*/ 716824 w 4324801"/>
              <a:gd name="connsiteY12" fmla="*/ 3766841 h 3915954"/>
              <a:gd name="connsiteX13" fmla="*/ 341853 w 4324801"/>
              <a:gd name="connsiteY13" fmla="*/ 2353776 h 3915954"/>
              <a:gd name="connsiteX14" fmla="*/ 831334 w 4324801"/>
              <a:gd name="connsiteY14" fmla="*/ 760682 h 3915954"/>
              <a:gd name="connsiteX15" fmla="*/ 330482 w 4324801"/>
              <a:gd name="connsiteY15" fmla="*/ 472075 h 3915954"/>
              <a:gd name="connsiteX16" fmla="*/ 228712 w 4324801"/>
              <a:gd name="connsiteY16" fmla="*/ 653156 h 3915954"/>
              <a:gd name="connsiteX17" fmla="*/ 225764 w 4324801"/>
              <a:gd name="connsiteY17" fmla="*/ 650349 h 3915954"/>
              <a:gd name="connsiteX18" fmla="*/ 222957 w 4324801"/>
              <a:gd name="connsiteY18" fmla="*/ 653156 h 3915954"/>
              <a:gd name="connsiteX19" fmla="*/ 138733 w 4324801"/>
              <a:gd name="connsiteY19" fmla="*/ 548438 h 3915954"/>
              <a:gd name="connsiteX20" fmla="*/ 0 w 4324801"/>
              <a:gd name="connsiteY20" fmla="*/ 386259 h 3915954"/>
              <a:gd name="connsiteX21" fmla="*/ 0 w 4324801"/>
              <a:gd name="connsiteY21" fmla="*/ 92656 h 3915954"/>
              <a:gd name="connsiteX22" fmla="*/ 509178 w 4324801"/>
              <a:gd name="connsiteY22" fmla="*/ 158481 h 3915954"/>
              <a:gd name="connsiteX23" fmla="*/ 410916 w 4324801"/>
              <a:gd name="connsiteY23" fmla="*/ 333948 h 3915954"/>
              <a:gd name="connsiteX24" fmla="*/ 925805 w 4324801"/>
              <a:gd name="connsiteY24" fmla="*/ 633785 h 3915954"/>
              <a:gd name="connsiteX25" fmla="*/ 1593560 w 4324801"/>
              <a:gd name="connsiteY25" fmla="*/ 48148 h 3915954"/>
              <a:gd name="connsiteX26" fmla="*/ 1658693 w 4324801"/>
              <a:gd name="connsiteY26" fmla="*/ 0 h 3915954"/>
              <a:gd name="connsiteX27" fmla="*/ 1678486 w 4324801"/>
              <a:gd name="connsiteY27" fmla="*/ 45341 h 3915954"/>
              <a:gd name="connsiteX28" fmla="*/ 1681293 w 4324801"/>
              <a:gd name="connsiteY28" fmla="*/ 53763 h 3915954"/>
              <a:gd name="connsiteX29" fmla="*/ 1797522 w 4324801"/>
              <a:gd name="connsiteY29" fmla="*/ 294784 h 3915954"/>
              <a:gd name="connsiteX30" fmla="*/ 1220167 w 4324801"/>
              <a:gd name="connsiteY30" fmla="*/ 803636 h 3915954"/>
              <a:gd name="connsiteX31" fmla="*/ 2615195 w 4324801"/>
              <a:gd name="connsiteY31" fmla="*/ 1609518 h 3915954"/>
              <a:gd name="connsiteX32" fmla="*/ 2980165 w 4324801"/>
              <a:gd name="connsiteY32" fmla="*/ 1286660 h 3915954"/>
              <a:gd name="connsiteX33" fmla="*/ 3045299 w 4324801"/>
              <a:gd name="connsiteY33" fmla="*/ 1419734 h 3915954"/>
              <a:gd name="connsiteX34" fmla="*/ 2753884 w 4324801"/>
              <a:gd name="connsiteY34" fmla="*/ 1686443 h 3915954"/>
              <a:gd name="connsiteX35" fmla="*/ 3328291 w 4324801"/>
              <a:gd name="connsiteY35" fmla="*/ 2020250 h 3915954"/>
              <a:gd name="connsiteX36" fmla="*/ 3333906 w 4324801"/>
              <a:gd name="connsiteY36" fmla="*/ 2014635 h 3915954"/>
              <a:gd name="connsiteX37" fmla="*/ 3333906 w 4324801"/>
              <a:gd name="connsiteY37" fmla="*/ 2017442 h 3915954"/>
              <a:gd name="connsiteX38" fmla="*/ 3959268 w 4324801"/>
              <a:gd name="connsiteY38" fmla="*/ 1844783 h 3915954"/>
              <a:gd name="connsiteX39" fmla="*/ 4228363 w 4324801"/>
              <a:gd name="connsiteY39" fmla="*/ 2053799 h 3915954"/>
              <a:gd name="connsiteX40" fmla="*/ 4324659 w 4324801"/>
              <a:gd name="connsiteY40" fmla="*/ 2381991 h 3915954"/>
              <a:gd name="connsiteX41" fmla="*/ 4126753 w 4324801"/>
              <a:gd name="connsiteY41" fmla="*/ 2383073 h 3915954"/>
              <a:gd name="connsiteX42" fmla="*/ 3970217 w 4324801"/>
              <a:gd name="connsiteY42" fmla="*/ 2068398 h 3915954"/>
              <a:gd name="connsiteX43" fmla="*/ 3824580 w 4324801"/>
              <a:gd name="connsiteY43" fmla="*/ 2012642 h 3915954"/>
              <a:gd name="connsiteX44" fmla="*/ 3772242 w 4324801"/>
              <a:gd name="connsiteY44" fmla="*/ 2009026 h 3915954"/>
              <a:gd name="connsiteX45" fmla="*/ 3772291 w 4324801"/>
              <a:gd name="connsiteY45" fmla="*/ 2009020 h 3915954"/>
              <a:gd name="connsiteX46" fmla="*/ 3772151 w 4324801"/>
              <a:gd name="connsiteY46" fmla="*/ 2009020 h 3915954"/>
              <a:gd name="connsiteX47" fmla="*/ 3772242 w 4324801"/>
              <a:gd name="connsiteY47" fmla="*/ 2009026 h 3915954"/>
              <a:gd name="connsiteX48" fmla="*/ 3699666 w 4324801"/>
              <a:gd name="connsiteY48" fmla="*/ 2018295 h 3915954"/>
              <a:gd name="connsiteX49" fmla="*/ 3630795 w 4324801"/>
              <a:gd name="connsiteY49" fmla="*/ 2043131 h 3915954"/>
              <a:gd name="connsiteX50" fmla="*/ 3514847 w 4324801"/>
              <a:gd name="connsiteY50" fmla="*/ 2119634 h 3915954"/>
              <a:gd name="connsiteX51" fmla="*/ 3438203 w 4324801"/>
              <a:gd name="connsiteY51" fmla="*/ 2234880 h 3915954"/>
              <a:gd name="connsiteX52" fmla="*/ 3410128 w 4324801"/>
              <a:gd name="connsiteY52" fmla="*/ 2370761 h 3915954"/>
              <a:gd name="connsiteX53" fmla="*/ 3469506 w 4324801"/>
              <a:gd name="connsiteY53" fmla="*/ 2568828 h 3915954"/>
              <a:gd name="connsiteX54" fmla="*/ 3630795 w 4324801"/>
              <a:gd name="connsiteY54" fmla="*/ 2699375 h 3915954"/>
              <a:gd name="connsiteX55" fmla="*/ 3837284 w 4324801"/>
              <a:gd name="connsiteY55" fmla="*/ 2719168 h 3915954"/>
              <a:gd name="connsiteX56" fmla="*/ 4021173 w 4324801"/>
              <a:gd name="connsiteY56" fmla="*/ 2620064 h 3915954"/>
              <a:gd name="connsiteX57" fmla="*/ 4120276 w 4324801"/>
              <a:gd name="connsiteY57" fmla="*/ 2436175 h 3915954"/>
              <a:gd name="connsiteX58" fmla="*/ 4126753 w 4324801"/>
              <a:gd name="connsiteY58" fmla="*/ 2383073 h 3915954"/>
              <a:gd name="connsiteX59" fmla="*/ 3248840 w 4324801"/>
              <a:gd name="connsiteY59" fmla="*/ 2161746 h 3915954"/>
              <a:gd name="connsiteX60" fmla="*/ 2662782 w 4324801"/>
              <a:gd name="connsiteY60" fmla="*/ 1822183 h 3915954"/>
              <a:gd name="connsiteX61" fmla="*/ 2526901 w 4324801"/>
              <a:gd name="connsiteY61" fmla="*/ 2354198 h 3915954"/>
              <a:gd name="connsiteX62" fmla="*/ 2538271 w 4324801"/>
              <a:gd name="connsiteY62" fmla="*/ 2498501 h 3915954"/>
              <a:gd name="connsiteX63" fmla="*/ 3212062 w 4324801"/>
              <a:gd name="connsiteY63" fmla="*/ 2334405 h 3915954"/>
              <a:gd name="connsiteX64" fmla="*/ 3248840 w 4324801"/>
              <a:gd name="connsiteY64" fmla="*/ 2161746 h 3915954"/>
              <a:gd name="connsiteX65" fmla="*/ 3246453 w 4324801"/>
              <a:gd name="connsiteY65" fmla="*/ 2549456 h 3915954"/>
              <a:gd name="connsiteX66" fmla="*/ 3232416 w 4324801"/>
              <a:gd name="connsiteY66" fmla="*/ 2495693 h 3915954"/>
              <a:gd name="connsiteX67" fmla="*/ 2572662 w 4324801"/>
              <a:gd name="connsiteY67" fmla="*/ 2656982 h 3915954"/>
              <a:gd name="connsiteX68" fmla="*/ 2663203 w 4324801"/>
              <a:gd name="connsiteY68" fmla="*/ 2886071 h 3915954"/>
              <a:gd name="connsiteX69" fmla="*/ 3246453 w 4324801"/>
              <a:gd name="connsiteY69" fmla="*/ 2549456 h 3915954"/>
              <a:gd name="connsiteX70" fmla="*/ 2538692 w 4324801"/>
              <a:gd name="connsiteY70" fmla="*/ 2965382 h 3915954"/>
              <a:gd name="connsiteX71" fmla="*/ 2431166 w 4324801"/>
              <a:gd name="connsiteY71" fmla="*/ 2693760 h 3915954"/>
              <a:gd name="connsiteX72" fmla="*/ 790064 w 4324801"/>
              <a:gd name="connsiteY72" fmla="*/ 3098315 h 3915954"/>
              <a:gd name="connsiteX73" fmla="*/ 1129486 w 4324801"/>
              <a:gd name="connsiteY73" fmla="*/ 3777440 h 3915954"/>
              <a:gd name="connsiteX74" fmla="*/ 2538692 w 4324801"/>
              <a:gd name="connsiteY74" fmla="*/ 2965382 h 3915954"/>
              <a:gd name="connsiteX75" fmla="*/ 2529989 w 4324801"/>
              <a:gd name="connsiteY75" fmla="*/ 1745820 h 3915954"/>
              <a:gd name="connsiteX76" fmla="*/ 1123731 w 4324801"/>
              <a:gd name="connsiteY76" fmla="*/ 933762 h 3915954"/>
              <a:gd name="connsiteX77" fmla="*/ 671168 w 4324801"/>
              <a:gd name="connsiteY77" fmla="*/ 2357005 h 3915954"/>
              <a:gd name="connsiteX78" fmla="*/ 738968 w 4324801"/>
              <a:gd name="connsiteY78" fmla="*/ 2942361 h 3915954"/>
              <a:gd name="connsiteX79" fmla="*/ 2391441 w 4324801"/>
              <a:gd name="connsiteY79" fmla="*/ 2535279 h 3915954"/>
              <a:gd name="connsiteX80" fmla="*/ 2380070 w 4324801"/>
              <a:gd name="connsiteY80" fmla="*/ 2354198 h 3915954"/>
              <a:gd name="connsiteX81" fmla="*/ 2529989 w 4324801"/>
              <a:gd name="connsiteY81" fmla="*/ 1745820 h 3915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324801" h="3915954">
                <a:moveTo>
                  <a:pt x="4324659" y="2381991"/>
                </a:moveTo>
                <a:cubicBezTo>
                  <a:pt x="4322130" y="2498880"/>
                  <a:pt x="4282509" y="2611951"/>
                  <a:pt x="4211518" y="2704850"/>
                </a:cubicBezTo>
                <a:cubicBezTo>
                  <a:pt x="4139688" y="2796064"/>
                  <a:pt x="4041750" y="2863190"/>
                  <a:pt x="3930772" y="2897301"/>
                </a:cubicBezTo>
                <a:cubicBezTo>
                  <a:pt x="3819762" y="2930836"/>
                  <a:pt x="3701050" y="2928871"/>
                  <a:pt x="3591210" y="2891686"/>
                </a:cubicBezTo>
                <a:cubicBezTo>
                  <a:pt x="3481150" y="2854712"/>
                  <a:pt x="3385913" y="2783304"/>
                  <a:pt x="3319588" y="2688005"/>
                </a:cubicBezTo>
                <a:lnTo>
                  <a:pt x="2753884" y="3013109"/>
                </a:lnTo>
                <a:cubicBezTo>
                  <a:pt x="2833967" y="3119020"/>
                  <a:pt x="2932731" y="3209407"/>
                  <a:pt x="3045299" y="3279818"/>
                </a:cubicBezTo>
                <a:lnTo>
                  <a:pt x="2980165" y="3412751"/>
                </a:lnTo>
                <a:cubicBezTo>
                  <a:pt x="2836072" y="3333524"/>
                  <a:pt x="2711407" y="3223233"/>
                  <a:pt x="2615195" y="3089893"/>
                </a:cubicBezTo>
                <a:lnTo>
                  <a:pt x="1220308" y="3896196"/>
                </a:lnTo>
                <a:lnTo>
                  <a:pt x="1237609" y="3915954"/>
                </a:lnTo>
                <a:lnTo>
                  <a:pt x="809549" y="3915954"/>
                </a:lnTo>
                <a:lnTo>
                  <a:pt x="716824" y="3766841"/>
                </a:lnTo>
                <a:cubicBezTo>
                  <a:pt x="471585" y="3337555"/>
                  <a:pt x="341731" y="2850610"/>
                  <a:pt x="341853" y="2353776"/>
                </a:cubicBezTo>
                <a:cubicBezTo>
                  <a:pt x="341305" y="1785630"/>
                  <a:pt x="511873" y="1230500"/>
                  <a:pt x="831334" y="760682"/>
                </a:cubicBezTo>
                <a:lnTo>
                  <a:pt x="330482" y="472075"/>
                </a:lnTo>
                <a:lnTo>
                  <a:pt x="228712" y="653156"/>
                </a:lnTo>
                <a:lnTo>
                  <a:pt x="225764" y="650349"/>
                </a:lnTo>
                <a:lnTo>
                  <a:pt x="222957" y="653156"/>
                </a:lnTo>
                <a:lnTo>
                  <a:pt x="138733" y="548438"/>
                </a:lnTo>
                <a:lnTo>
                  <a:pt x="0" y="386259"/>
                </a:lnTo>
                <a:lnTo>
                  <a:pt x="0" y="92656"/>
                </a:lnTo>
                <a:lnTo>
                  <a:pt x="509178" y="158481"/>
                </a:lnTo>
                <a:lnTo>
                  <a:pt x="410916" y="333948"/>
                </a:lnTo>
                <a:lnTo>
                  <a:pt x="925805" y="633785"/>
                </a:lnTo>
                <a:cubicBezTo>
                  <a:pt x="1110115" y="398824"/>
                  <a:pt x="1336565" y="200228"/>
                  <a:pt x="1593560" y="48148"/>
                </a:cubicBezTo>
                <a:lnTo>
                  <a:pt x="1658693" y="0"/>
                </a:lnTo>
                <a:lnTo>
                  <a:pt x="1678486" y="45341"/>
                </a:lnTo>
                <a:lnTo>
                  <a:pt x="1681293" y="53763"/>
                </a:lnTo>
                <a:lnTo>
                  <a:pt x="1797522" y="294784"/>
                </a:lnTo>
                <a:cubicBezTo>
                  <a:pt x="1578456" y="431577"/>
                  <a:pt x="1383393" y="603492"/>
                  <a:pt x="1220167" y="803636"/>
                </a:cubicBezTo>
                <a:lnTo>
                  <a:pt x="2615195" y="1609518"/>
                </a:lnTo>
                <a:cubicBezTo>
                  <a:pt x="2711463" y="1476220"/>
                  <a:pt x="2836115" y="1365943"/>
                  <a:pt x="2980165" y="1286660"/>
                </a:cubicBezTo>
                <a:lnTo>
                  <a:pt x="3045299" y="1419734"/>
                </a:lnTo>
                <a:cubicBezTo>
                  <a:pt x="2931473" y="1488488"/>
                  <a:pt x="2832423" y="1579141"/>
                  <a:pt x="2753884" y="1686443"/>
                </a:cubicBezTo>
                <a:lnTo>
                  <a:pt x="3328291" y="2020250"/>
                </a:lnTo>
                <a:lnTo>
                  <a:pt x="3333906" y="2014635"/>
                </a:lnTo>
                <a:lnTo>
                  <a:pt x="3333906" y="2017442"/>
                </a:lnTo>
                <a:cubicBezTo>
                  <a:pt x="3484097" y="1832248"/>
                  <a:pt x="3735332" y="1762876"/>
                  <a:pt x="3959268" y="1844783"/>
                </a:cubicBezTo>
                <a:cubicBezTo>
                  <a:pt x="4068916" y="1884060"/>
                  <a:pt x="4163182" y="1957278"/>
                  <a:pt x="4228363" y="2053799"/>
                </a:cubicBezTo>
                <a:cubicBezTo>
                  <a:pt x="4293641" y="2150600"/>
                  <a:pt x="4327285" y="2265271"/>
                  <a:pt x="4324659" y="2381991"/>
                </a:cubicBezTo>
                <a:close/>
                <a:moveTo>
                  <a:pt x="4126753" y="2383073"/>
                </a:moveTo>
                <a:cubicBezTo>
                  <a:pt x="4132595" y="2259434"/>
                  <a:pt x="4074388" y="2139773"/>
                  <a:pt x="3970217" y="2068398"/>
                </a:cubicBezTo>
                <a:cubicBezTo>
                  <a:pt x="3926241" y="2039088"/>
                  <a:pt x="3876452" y="2020130"/>
                  <a:pt x="3824580" y="2012642"/>
                </a:cubicBezTo>
                <a:lnTo>
                  <a:pt x="3772242" y="2009026"/>
                </a:lnTo>
                <a:lnTo>
                  <a:pt x="3772291" y="2009020"/>
                </a:lnTo>
                <a:lnTo>
                  <a:pt x="3772151" y="2009020"/>
                </a:lnTo>
                <a:lnTo>
                  <a:pt x="3772242" y="2009026"/>
                </a:lnTo>
                <a:lnTo>
                  <a:pt x="3699666" y="2018295"/>
                </a:lnTo>
                <a:cubicBezTo>
                  <a:pt x="3675941" y="2024015"/>
                  <a:pt x="3652841" y="2032329"/>
                  <a:pt x="3630795" y="2043131"/>
                </a:cubicBezTo>
                <a:cubicBezTo>
                  <a:pt x="3587362" y="2060509"/>
                  <a:pt x="3547914" y="2086548"/>
                  <a:pt x="3514847" y="2119634"/>
                </a:cubicBezTo>
                <a:cubicBezTo>
                  <a:pt x="3482683" y="2153211"/>
                  <a:pt x="3456732" y="2192235"/>
                  <a:pt x="3438203" y="2234880"/>
                </a:cubicBezTo>
                <a:cubicBezTo>
                  <a:pt x="3418906" y="2277540"/>
                  <a:pt x="3409317" y="2323947"/>
                  <a:pt x="3410128" y="2370761"/>
                </a:cubicBezTo>
                <a:cubicBezTo>
                  <a:pt x="3409777" y="2441215"/>
                  <a:pt x="3430452" y="2510180"/>
                  <a:pt x="3469506" y="2568828"/>
                </a:cubicBezTo>
                <a:cubicBezTo>
                  <a:pt x="3510331" y="2626269"/>
                  <a:pt x="3566114" y="2671413"/>
                  <a:pt x="3630795" y="2699375"/>
                </a:cubicBezTo>
                <a:cubicBezTo>
                  <a:pt x="3696290" y="2725681"/>
                  <a:pt x="3767983" y="2732559"/>
                  <a:pt x="3837284" y="2719168"/>
                </a:cubicBezTo>
                <a:cubicBezTo>
                  <a:pt x="3907108" y="2705256"/>
                  <a:pt x="3971160" y="2670739"/>
                  <a:pt x="4021173" y="2620064"/>
                </a:cubicBezTo>
                <a:cubicBezTo>
                  <a:pt x="4071339" y="2569670"/>
                  <a:pt x="4105771" y="2505786"/>
                  <a:pt x="4120276" y="2436175"/>
                </a:cubicBezTo>
                <a:cubicBezTo>
                  <a:pt x="4123778" y="2418479"/>
                  <a:pt x="4125919" y="2400735"/>
                  <a:pt x="4126753" y="2383073"/>
                </a:cubicBezTo>
                <a:close/>
                <a:moveTo>
                  <a:pt x="3248840" y="2161746"/>
                </a:moveTo>
                <a:lnTo>
                  <a:pt x="2662782" y="1822183"/>
                </a:lnTo>
                <a:cubicBezTo>
                  <a:pt x="2574277" y="1985592"/>
                  <a:pt x="2527603" y="2168357"/>
                  <a:pt x="2526901" y="2354198"/>
                </a:cubicBezTo>
                <a:cubicBezTo>
                  <a:pt x="2526438" y="2402542"/>
                  <a:pt x="2530242" y="2450830"/>
                  <a:pt x="2538271" y="2498501"/>
                </a:cubicBezTo>
                <a:lnTo>
                  <a:pt x="3212062" y="2334405"/>
                </a:lnTo>
                <a:cubicBezTo>
                  <a:pt x="3217194" y="2275560"/>
                  <a:pt x="3229545" y="2217572"/>
                  <a:pt x="3248840" y="2161746"/>
                </a:cubicBezTo>
                <a:close/>
                <a:moveTo>
                  <a:pt x="3246453" y="2549456"/>
                </a:moveTo>
                <a:cubicBezTo>
                  <a:pt x="3240125" y="2532008"/>
                  <a:pt x="3235427" y="2514012"/>
                  <a:pt x="3232416" y="2495693"/>
                </a:cubicBezTo>
                <a:lnTo>
                  <a:pt x="2572662" y="2656982"/>
                </a:lnTo>
                <a:cubicBezTo>
                  <a:pt x="2595684" y="2735984"/>
                  <a:pt x="2626004" y="2812670"/>
                  <a:pt x="2663203" y="2886071"/>
                </a:cubicBezTo>
                <a:lnTo>
                  <a:pt x="3246453" y="2549456"/>
                </a:lnTo>
                <a:close/>
                <a:moveTo>
                  <a:pt x="2538692" y="2965382"/>
                </a:moveTo>
                <a:cubicBezTo>
                  <a:pt x="2490530" y="2880218"/>
                  <a:pt x="2454356" y="2788807"/>
                  <a:pt x="2431166" y="2693760"/>
                </a:cubicBezTo>
                <a:lnTo>
                  <a:pt x="790064" y="3098315"/>
                </a:lnTo>
                <a:cubicBezTo>
                  <a:pt x="863325" y="3342522"/>
                  <a:pt x="978150" y="3572257"/>
                  <a:pt x="1129486" y="3777440"/>
                </a:cubicBezTo>
                <a:lnTo>
                  <a:pt x="2538692" y="2965382"/>
                </a:lnTo>
                <a:close/>
                <a:moveTo>
                  <a:pt x="2529989" y="1745820"/>
                </a:moveTo>
                <a:lnTo>
                  <a:pt x="1123731" y="933762"/>
                </a:lnTo>
                <a:cubicBezTo>
                  <a:pt x="827839" y="1349217"/>
                  <a:pt x="669568" y="1846945"/>
                  <a:pt x="671168" y="2357005"/>
                </a:cubicBezTo>
                <a:cubicBezTo>
                  <a:pt x="672572" y="2554005"/>
                  <a:pt x="695298" y="2750260"/>
                  <a:pt x="738968" y="2942361"/>
                </a:cubicBezTo>
                <a:lnTo>
                  <a:pt x="2391441" y="2535279"/>
                </a:lnTo>
                <a:cubicBezTo>
                  <a:pt x="2383397" y="2475255"/>
                  <a:pt x="2379593" y="2414754"/>
                  <a:pt x="2380070" y="2354198"/>
                </a:cubicBezTo>
                <a:cubicBezTo>
                  <a:pt x="2379677" y="2142220"/>
                  <a:pt x="2431152" y="1933345"/>
                  <a:pt x="2529989" y="1745820"/>
                </a:cubicBezTo>
                <a:close/>
              </a:path>
            </a:pathLst>
          </a:custGeom>
          <a:solidFill>
            <a:srgbClr val="4091F7"/>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sz="1800" dirty="0">
              <a:solidFill>
                <a:schemeClr val="tx1"/>
              </a:solidFill>
            </a:endParaRPr>
          </a:p>
        </p:txBody>
      </p:sp>
      <p:sp>
        <p:nvSpPr>
          <p:cNvPr id="11" name="Title 1">
            <a:extLst>
              <a:ext uri="{FF2B5EF4-FFF2-40B4-BE49-F238E27FC236}">
                <a16:creationId xmlns:a16="http://schemas.microsoft.com/office/drawing/2014/main" id="{187BCE96-E4DD-49EE-AE5A-0DE1B9D63642}"/>
              </a:ext>
            </a:extLst>
          </p:cNvPr>
          <p:cNvSpPr>
            <a:spLocks noGrp="1"/>
          </p:cNvSpPr>
          <p:nvPr>
            <p:ph type="title"/>
          </p:nvPr>
        </p:nvSpPr>
        <p:spPr bwMode="white">
          <a:xfrm>
            <a:off x="658369" y="3136392"/>
            <a:ext cx="8723225" cy="1680816"/>
          </a:xfrm>
        </p:spPr>
        <p:txBody>
          <a:bodyPr vert="horz" anchor="t">
            <a:noAutofit/>
          </a:bodyPr>
          <a:lstStyle>
            <a:lvl1pPr algn="l">
              <a:defRPr lang="en-US" sz="3200" b="0" kern="1200" dirty="0">
                <a:solidFill>
                  <a:schemeClr val="bg1"/>
                </a:solidFill>
                <a:latin typeface="+mj-lt"/>
                <a:ea typeface="Verdana" panose="020B0604030504040204" pitchFamily="34" charset="0"/>
                <a:cs typeface="Segoe UI Light" panose="020B0502040204020203" pitchFamily="34" charset="0"/>
              </a:defRPr>
            </a:lvl1pPr>
          </a:lstStyle>
          <a:p>
            <a:r>
              <a:rPr lang="en-US" dirty="0"/>
              <a:t>Click to edit Master title style</a:t>
            </a:r>
          </a:p>
        </p:txBody>
      </p:sp>
      <p:sp>
        <p:nvSpPr>
          <p:cNvPr id="12" name="Content Placeholder 5">
            <a:extLst>
              <a:ext uri="{FF2B5EF4-FFF2-40B4-BE49-F238E27FC236}">
                <a16:creationId xmlns:a16="http://schemas.microsoft.com/office/drawing/2014/main" id="{C1349791-BB86-4672-B81B-5F77BCE2CDBD}"/>
              </a:ext>
            </a:extLst>
          </p:cNvPr>
          <p:cNvSpPr>
            <a:spLocks noGrp="1"/>
          </p:cNvSpPr>
          <p:nvPr>
            <p:ph sz="quarter" idx="10" hasCustomPrompt="1"/>
          </p:nvPr>
        </p:nvSpPr>
        <p:spPr bwMode="white">
          <a:xfrm>
            <a:off x="658369" y="2546647"/>
            <a:ext cx="8723225" cy="582147"/>
          </a:xfrm>
        </p:spPr>
        <p:txBody>
          <a:bodyPr anchor="b"/>
          <a:lstStyle>
            <a:lvl1pPr marL="0" indent="0">
              <a:buNone/>
              <a:defRPr b="1" cap="all" baseline="0">
                <a:solidFill>
                  <a:srgbClr val="4091F7"/>
                </a:solidFill>
              </a:defRPr>
            </a:lvl1pPr>
          </a:lstStyle>
          <a:p>
            <a:pPr lvl="0"/>
            <a:r>
              <a:rPr lang="en-US" dirty="0"/>
              <a:t>Click to edit highlight text</a:t>
            </a:r>
          </a:p>
        </p:txBody>
      </p:sp>
      <p:sp>
        <p:nvSpPr>
          <p:cNvPr id="43" name="Rectangle 42" hidden="1">
            <a:extLst>
              <a:ext uri="{FF2B5EF4-FFF2-40B4-BE49-F238E27FC236}">
                <a16:creationId xmlns:a16="http://schemas.microsoft.com/office/drawing/2014/main" id="{FC46BD1D-C7B8-40FC-879A-4A713945D225}"/>
              </a:ext>
            </a:extLst>
          </p:cNvPr>
          <p:cNvSpPr/>
          <p:nvPr userDrawn="1">
            <p:custDataLst>
              <p:tags r:id="rId3"/>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Tree>
    <p:extLst>
      <p:ext uri="{BB962C8B-B14F-4D97-AF65-F5344CB8AC3E}">
        <p14:creationId xmlns:p14="http://schemas.microsoft.com/office/powerpoint/2010/main" val="257626175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10_Title Only - Dark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p:custDataLst>
              <p:tags r:id="rId1"/>
            </p:custDataLst>
            <p:extLst>
              <p:ext uri="{D42A27DB-BD31-4B8C-83A1-F6EECF244321}">
                <p14:modId xmlns:p14="http://schemas.microsoft.com/office/powerpoint/2010/main" val="3632808855"/>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9803FF90-5D9D-4101-91D3-AAA71C6CF0AE}"/>
              </a:ext>
            </a:extLst>
          </p:cNvPr>
          <p:cNvGrpSpPr/>
          <p:nvPr userDrawn="1"/>
        </p:nvGrpSpPr>
        <p:grpSpPr>
          <a:xfrm>
            <a:off x="-9367" y="-99378"/>
            <a:ext cx="12201368" cy="6596901"/>
            <a:chOff x="-9366" y="-84138"/>
            <a:chExt cx="12201368" cy="6596901"/>
          </a:xfrm>
        </p:grpSpPr>
        <p:sp>
          <p:nvSpPr>
            <p:cNvPr id="7" name="Freeform: Shape 6">
              <a:extLst>
                <a:ext uri="{FF2B5EF4-FFF2-40B4-BE49-F238E27FC236}">
                  <a16:creationId xmlns:a16="http://schemas.microsoft.com/office/drawing/2014/main" id="{FFBEBB5F-F7C2-407F-88B1-34810B2BAFB4}"/>
                </a:ext>
              </a:extLst>
            </p:cNvPr>
            <p:cNvSpPr/>
            <p:nvPr/>
          </p:nvSpPr>
          <p:spPr>
            <a:xfrm>
              <a:off x="1" y="-84137"/>
              <a:ext cx="12192001" cy="6596900"/>
            </a:xfrm>
            <a:custGeom>
              <a:avLst/>
              <a:gdLst>
                <a:gd name="connsiteX0" fmla="*/ 700271 w 12192001"/>
                <a:gd name="connsiteY0" fmla="*/ 6509761 h 6523037"/>
                <a:gd name="connsiteX1" fmla="*/ 714941 w 12192001"/>
                <a:gd name="connsiteY1" fmla="*/ 6516802 h 6523037"/>
                <a:gd name="connsiteX2" fmla="*/ 710807 w 12192001"/>
                <a:gd name="connsiteY2" fmla="*/ 6516802 h 6523037"/>
                <a:gd name="connsiteX3" fmla="*/ 704588 w 12192001"/>
                <a:gd name="connsiteY3" fmla="*/ 6523037 h 6523037"/>
                <a:gd name="connsiteX4" fmla="*/ 694116 w 12192001"/>
                <a:gd name="connsiteY4" fmla="*/ 6523037 h 6523037"/>
                <a:gd name="connsiteX5" fmla="*/ 703819 w 12192001"/>
                <a:gd name="connsiteY5" fmla="*/ 6513309 h 6523037"/>
                <a:gd name="connsiteX6" fmla="*/ 5360377 w 12192001"/>
                <a:gd name="connsiteY6" fmla="*/ 6504999 h 6523037"/>
                <a:gd name="connsiteX7" fmla="*/ 5375047 w 12192001"/>
                <a:gd name="connsiteY7" fmla="*/ 6512040 h 6523037"/>
                <a:gd name="connsiteX8" fmla="*/ 5370913 w 12192001"/>
                <a:gd name="connsiteY8" fmla="*/ 6512040 h 6523037"/>
                <a:gd name="connsiteX9" fmla="*/ 5364694 w 12192001"/>
                <a:gd name="connsiteY9" fmla="*/ 6518275 h 6523037"/>
                <a:gd name="connsiteX10" fmla="*/ 5354222 w 12192001"/>
                <a:gd name="connsiteY10" fmla="*/ 6518275 h 6523037"/>
                <a:gd name="connsiteX11" fmla="*/ 5363925 w 12192001"/>
                <a:gd name="connsiteY11" fmla="*/ 6508547 h 6523037"/>
                <a:gd name="connsiteX12" fmla="*/ 10020794 w 12192001"/>
                <a:gd name="connsiteY12" fmla="*/ 6501824 h 6523037"/>
                <a:gd name="connsiteX13" fmla="*/ 10035464 w 12192001"/>
                <a:gd name="connsiteY13" fmla="*/ 6508865 h 6523037"/>
                <a:gd name="connsiteX14" fmla="*/ 10031330 w 12192001"/>
                <a:gd name="connsiteY14" fmla="*/ 6508865 h 6523037"/>
                <a:gd name="connsiteX15" fmla="*/ 10025111 w 12192001"/>
                <a:gd name="connsiteY15" fmla="*/ 6515100 h 6523037"/>
                <a:gd name="connsiteX16" fmla="*/ 10014639 w 12192001"/>
                <a:gd name="connsiteY16" fmla="*/ 6515100 h 6523037"/>
                <a:gd name="connsiteX17" fmla="*/ 10024342 w 12192001"/>
                <a:gd name="connsiteY17" fmla="*/ 6505372 h 6523037"/>
                <a:gd name="connsiteX18" fmla="*/ 4558064 w 12192001"/>
                <a:gd name="connsiteY18" fmla="*/ 6240102 h 6523037"/>
                <a:gd name="connsiteX19" fmla="*/ 4825101 w 12192001"/>
                <a:gd name="connsiteY19" fmla="*/ 6506450 h 6523037"/>
                <a:gd name="connsiteX20" fmla="*/ 5085827 w 12192001"/>
                <a:gd name="connsiteY20" fmla="*/ 6506450 h 6523037"/>
                <a:gd name="connsiteX21" fmla="*/ 4818791 w 12192001"/>
                <a:gd name="connsiteY21" fmla="*/ 6240102 h 6523037"/>
                <a:gd name="connsiteX22" fmla="*/ 9218170 w 12192001"/>
                <a:gd name="connsiteY22" fmla="*/ 6235340 h 6523037"/>
                <a:gd name="connsiteX23" fmla="*/ 9486798 w 12192001"/>
                <a:gd name="connsiteY23" fmla="*/ 6503275 h 6523037"/>
                <a:gd name="connsiteX24" fmla="*/ 9746244 w 12192001"/>
                <a:gd name="connsiteY24" fmla="*/ 6503275 h 6523037"/>
                <a:gd name="connsiteX25" fmla="*/ 9477616 w 12192001"/>
                <a:gd name="connsiteY25" fmla="*/ 6235340 h 6523037"/>
                <a:gd name="connsiteX26" fmla="*/ 710108 w 12192001"/>
                <a:gd name="connsiteY26" fmla="*/ 5969690 h 6523037"/>
                <a:gd name="connsiteX27" fmla="*/ 439696 w 12192001"/>
                <a:gd name="connsiteY27" fmla="*/ 6240800 h 6523037"/>
                <a:gd name="connsiteX28" fmla="*/ 710807 w 12192001"/>
                <a:gd name="connsiteY28" fmla="*/ 6511212 h 6523037"/>
                <a:gd name="connsiteX29" fmla="*/ 974930 w 12192001"/>
                <a:gd name="connsiteY29" fmla="*/ 6511212 h 6523037"/>
                <a:gd name="connsiteX30" fmla="*/ 703819 w 12192001"/>
                <a:gd name="connsiteY30" fmla="*/ 6240800 h 6523037"/>
                <a:gd name="connsiteX31" fmla="*/ 974231 w 12192001"/>
                <a:gd name="connsiteY31" fmla="*/ 5969690 h 6523037"/>
                <a:gd name="connsiteX32" fmla="*/ 1807827 w 12192001"/>
                <a:gd name="connsiteY32" fmla="*/ 5968991 h 6523037"/>
                <a:gd name="connsiteX33" fmla="*/ 1537414 w 12192001"/>
                <a:gd name="connsiteY33" fmla="*/ 6240102 h 6523037"/>
                <a:gd name="connsiteX34" fmla="*/ 1808526 w 12192001"/>
                <a:gd name="connsiteY34" fmla="*/ 6510514 h 6523037"/>
                <a:gd name="connsiteX35" fmla="*/ 2072648 w 12192001"/>
                <a:gd name="connsiteY35" fmla="*/ 6510514 h 6523037"/>
                <a:gd name="connsiteX36" fmla="*/ 1801539 w 12192001"/>
                <a:gd name="connsiteY36" fmla="*/ 6240102 h 6523037"/>
                <a:gd name="connsiteX37" fmla="*/ 2071951 w 12192001"/>
                <a:gd name="connsiteY37" fmla="*/ 5968991 h 6523037"/>
                <a:gd name="connsiteX38" fmla="*/ 1257919 w 12192001"/>
                <a:gd name="connsiteY38" fmla="*/ 5968991 h 6523037"/>
                <a:gd name="connsiteX39" fmla="*/ 988206 w 12192001"/>
                <a:gd name="connsiteY39" fmla="*/ 6240102 h 6523037"/>
                <a:gd name="connsiteX40" fmla="*/ 1188744 w 12192001"/>
                <a:gd name="connsiteY40" fmla="*/ 6440640 h 6523037"/>
                <a:gd name="connsiteX41" fmla="*/ 1259317 w 12192001"/>
                <a:gd name="connsiteY41" fmla="*/ 6510514 h 6523037"/>
                <a:gd name="connsiteX42" fmla="*/ 1327793 w 12192001"/>
                <a:gd name="connsiteY42" fmla="*/ 6510514 h 6523037"/>
                <a:gd name="connsiteX43" fmla="*/ 1327094 w 12192001"/>
                <a:gd name="connsiteY43" fmla="*/ 6511911 h 6523037"/>
                <a:gd name="connsiteX44" fmla="*/ 1524139 w 12192001"/>
                <a:gd name="connsiteY44" fmla="*/ 6511911 h 6523037"/>
                <a:gd name="connsiteX45" fmla="*/ 1253028 w 12192001"/>
                <a:gd name="connsiteY45" fmla="*/ 6241499 h 6523037"/>
                <a:gd name="connsiteX46" fmla="*/ 1253727 w 12192001"/>
                <a:gd name="connsiteY46" fmla="*/ 6240800 h 6523037"/>
                <a:gd name="connsiteX47" fmla="*/ 1251631 w 12192001"/>
                <a:gd name="connsiteY47" fmla="*/ 6240102 h 6523037"/>
                <a:gd name="connsiteX48" fmla="*/ 1522043 w 12192001"/>
                <a:gd name="connsiteY48" fmla="*/ 5968991 h 6523037"/>
                <a:gd name="connsiteX49" fmla="*/ 2904847 w 12192001"/>
                <a:gd name="connsiteY49" fmla="*/ 5968292 h 6523037"/>
                <a:gd name="connsiteX50" fmla="*/ 2634435 w 12192001"/>
                <a:gd name="connsiteY50" fmla="*/ 6239403 h 6523037"/>
                <a:gd name="connsiteX51" fmla="*/ 2905546 w 12192001"/>
                <a:gd name="connsiteY51" fmla="*/ 6509815 h 6523037"/>
                <a:gd name="connsiteX52" fmla="*/ 3169669 w 12192001"/>
                <a:gd name="connsiteY52" fmla="*/ 6509815 h 6523037"/>
                <a:gd name="connsiteX53" fmla="*/ 2898558 w 12192001"/>
                <a:gd name="connsiteY53" fmla="*/ 6239403 h 6523037"/>
                <a:gd name="connsiteX54" fmla="*/ 3168970 w 12192001"/>
                <a:gd name="connsiteY54" fmla="*/ 5968292 h 6523037"/>
                <a:gd name="connsiteX55" fmla="*/ 2356338 w 12192001"/>
                <a:gd name="connsiteY55" fmla="*/ 5968292 h 6523037"/>
                <a:gd name="connsiteX56" fmla="*/ 2085925 w 12192001"/>
                <a:gd name="connsiteY56" fmla="*/ 6239403 h 6523037"/>
                <a:gd name="connsiteX57" fmla="*/ 2357035 w 12192001"/>
                <a:gd name="connsiteY57" fmla="*/ 6509815 h 6523037"/>
                <a:gd name="connsiteX58" fmla="*/ 2620460 w 12192001"/>
                <a:gd name="connsiteY58" fmla="*/ 6509815 h 6523037"/>
                <a:gd name="connsiteX59" fmla="*/ 2490495 w 12192001"/>
                <a:gd name="connsiteY59" fmla="*/ 6379850 h 6523037"/>
                <a:gd name="connsiteX60" fmla="*/ 2350049 w 12192001"/>
                <a:gd name="connsiteY60" fmla="*/ 6239403 h 6523037"/>
                <a:gd name="connsiteX61" fmla="*/ 2620460 w 12192001"/>
                <a:gd name="connsiteY61" fmla="*/ 5968292 h 6523037"/>
                <a:gd name="connsiteX62" fmla="*/ 3453357 w 12192001"/>
                <a:gd name="connsiteY62" fmla="*/ 5967593 h 6523037"/>
                <a:gd name="connsiteX63" fmla="*/ 3182945 w 12192001"/>
                <a:gd name="connsiteY63" fmla="*/ 6238704 h 6523037"/>
                <a:gd name="connsiteX64" fmla="*/ 3454056 w 12192001"/>
                <a:gd name="connsiteY64" fmla="*/ 6508417 h 6523037"/>
                <a:gd name="connsiteX65" fmla="*/ 3718179 w 12192001"/>
                <a:gd name="connsiteY65" fmla="*/ 6508417 h 6523037"/>
                <a:gd name="connsiteX66" fmla="*/ 3447069 w 12192001"/>
                <a:gd name="connsiteY66" fmla="*/ 6238006 h 6523037"/>
                <a:gd name="connsiteX67" fmla="*/ 3631536 w 12192001"/>
                <a:gd name="connsiteY67" fmla="*/ 6053539 h 6523037"/>
                <a:gd name="connsiteX68" fmla="*/ 3717481 w 12192001"/>
                <a:gd name="connsiteY68" fmla="*/ 5967593 h 6523037"/>
                <a:gd name="connsiteX69" fmla="*/ 4550379 w 12192001"/>
                <a:gd name="connsiteY69" fmla="*/ 5966196 h 6523037"/>
                <a:gd name="connsiteX70" fmla="*/ 4279967 w 12192001"/>
                <a:gd name="connsiteY70" fmla="*/ 6237307 h 6523037"/>
                <a:gd name="connsiteX71" fmla="*/ 4551077 w 12192001"/>
                <a:gd name="connsiteY71" fmla="*/ 6507020 h 6523037"/>
                <a:gd name="connsiteX72" fmla="*/ 4812475 w 12192001"/>
                <a:gd name="connsiteY72" fmla="*/ 6507020 h 6523037"/>
                <a:gd name="connsiteX73" fmla="*/ 4681256 w 12192001"/>
                <a:gd name="connsiteY73" fmla="*/ 6376485 h 6523037"/>
                <a:gd name="connsiteX74" fmla="*/ 4665187 w 12192001"/>
                <a:gd name="connsiteY74" fmla="*/ 6360414 h 6523037"/>
                <a:gd name="connsiteX75" fmla="*/ 4665187 w 12192001"/>
                <a:gd name="connsiteY75" fmla="*/ 6357393 h 6523037"/>
                <a:gd name="connsiteX76" fmla="*/ 4544090 w 12192001"/>
                <a:gd name="connsiteY76" fmla="*/ 6236608 h 6523037"/>
                <a:gd name="connsiteX77" fmla="*/ 4665187 w 12192001"/>
                <a:gd name="connsiteY77" fmla="*/ 6115511 h 6523037"/>
                <a:gd name="connsiteX78" fmla="*/ 4665187 w 12192001"/>
                <a:gd name="connsiteY78" fmla="*/ 6111663 h 6523037"/>
                <a:gd name="connsiteX79" fmla="*/ 4810652 w 12192001"/>
                <a:gd name="connsiteY79" fmla="*/ 5966196 h 6523037"/>
                <a:gd name="connsiteX80" fmla="*/ 4824862 w 12192001"/>
                <a:gd name="connsiteY80" fmla="*/ 5965627 h 6523037"/>
                <a:gd name="connsiteX81" fmla="*/ 4558064 w 12192001"/>
                <a:gd name="connsiteY81" fmla="*/ 6233114 h 6523037"/>
                <a:gd name="connsiteX82" fmla="*/ 4818335 w 12192001"/>
                <a:gd name="connsiteY82" fmla="*/ 6233114 h 6523037"/>
                <a:gd name="connsiteX83" fmla="*/ 5085129 w 12192001"/>
                <a:gd name="connsiteY83" fmla="*/ 5965627 h 6523037"/>
                <a:gd name="connsiteX84" fmla="*/ 5370215 w 12192001"/>
                <a:gd name="connsiteY84" fmla="*/ 5964928 h 6523037"/>
                <a:gd name="connsiteX85" fmla="*/ 5099802 w 12192001"/>
                <a:gd name="connsiteY85" fmla="*/ 6236038 h 6523037"/>
                <a:gd name="connsiteX86" fmla="*/ 5370913 w 12192001"/>
                <a:gd name="connsiteY86" fmla="*/ 6506450 h 6523037"/>
                <a:gd name="connsiteX87" fmla="*/ 5635036 w 12192001"/>
                <a:gd name="connsiteY87" fmla="*/ 6506450 h 6523037"/>
                <a:gd name="connsiteX88" fmla="*/ 5363925 w 12192001"/>
                <a:gd name="connsiteY88" fmla="*/ 6236038 h 6523037"/>
                <a:gd name="connsiteX89" fmla="*/ 5634338 w 12192001"/>
                <a:gd name="connsiteY89" fmla="*/ 5964928 h 6523037"/>
                <a:gd name="connsiteX90" fmla="*/ 6467933 w 12192001"/>
                <a:gd name="connsiteY90" fmla="*/ 5964229 h 6523037"/>
                <a:gd name="connsiteX91" fmla="*/ 6197521 w 12192001"/>
                <a:gd name="connsiteY91" fmla="*/ 6235340 h 6523037"/>
                <a:gd name="connsiteX92" fmla="*/ 6468632 w 12192001"/>
                <a:gd name="connsiteY92" fmla="*/ 6505752 h 6523037"/>
                <a:gd name="connsiteX93" fmla="*/ 6732754 w 12192001"/>
                <a:gd name="connsiteY93" fmla="*/ 6505752 h 6523037"/>
                <a:gd name="connsiteX94" fmla="*/ 6461645 w 12192001"/>
                <a:gd name="connsiteY94" fmla="*/ 6235340 h 6523037"/>
                <a:gd name="connsiteX95" fmla="*/ 6732057 w 12192001"/>
                <a:gd name="connsiteY95" fmla="*/ 5964229 h 6523037"/>
                <a:gd name="connsiteX96" fmla="*/ 5918025 w 12192001"/>
                <a:gd name="connsiteY96" fmla="*/ 5964229 h 6523037"/>
                <a:gd name="connsiteX97" fmla="*/ 5648312 w 12192001"/>
                <a:gd name="connsiteY97" fmla="*/ 6235340 h 6523037"/>
                <a:gd name="connsiteX98" fmla="*/ 5848851 w 12192001"/>
                <a:gd name="connsiteY98" fmla="*/ 6435878 h 6523037"/>
                <a:gd name="connsiteX99" fmla="*/ 5919423 w 12192001"/>
                <a:gd name="connsiteY99" fmla="*/ 6505752 h 6523037"/>
                <a:gd name="connsiteX100" fmla="*/ 5987899 w 12192001"/>
                <a:gd name="connsiteY100" fmla="*/ 6505752 h 6523037"/>
                <a:gd name="connsiteX101" fmla="*/ 5987200 w 12192001"/>
                <a:gd name="connsiteY101" fmla="*/ 6507149 h 6523037"/>
                <a:gd name="connsiteX102" fmla="*/ 6184245 w 12192001"/>
                <a:gd name="connsiteY102" fmla="*/ 6507149 h 6523037"/>
                <a:gd name="connsiteX103" fmla="*/ 5913134 w 12192001"/>
                <a:gd name="connsiteY103" fmla="*/ 6236737 h 6523037"/>
                <a:gd name="connsiteX104" fmla="*/ 5913834 w 12192001"/>
                <a:gd name="connsiteY104" fmla="*/ 6236038 h 6523037"/>
                <a:gd name="connsiteX105" fmla="*/ 5911738 w 12192001"/>
                <a:gd name="connsiteY105" fmla="*/ 6235340 h 6523037"/>
                <a:gd name="connsiteX106" fmla="*/ 6182150 w 12192001"/>
                <a:gd name="connsiteY106" fmla="*/ 5964229 h 6523037"/>
                <a:gd name="connsiteX107" fmla="*/ 7564953 w 12192001"/>
                <a:gd name="connsiteY107" fmla="*/ 5963530 h 6523037"/>
                <a:gd name="connsiteX108" fmla="*/ 7294541 w 12192001"/>
                <a:gd name="connsiteY108" fmla="*/ 6234641 h 6523037"/>
                <a:gd name="connsiteX109" fmla="*/ 7565652 w 12192001"/>
                <a:gd name="connsiteY109" fmla="*/ 6505053 h 6523037"/>
                <a:gd name="connsiteX110" fmla="*/ 7829775 w 12192001"/>
                <a:gd name="connsiteY110" fmla="*/ 6505053 h 6523037"/>
                <a:gd name="connsiteX111" fmla="*/ 7558664 w 12192001"/>
                <a:gd name="connsiteY111" fmla="*/ 6234641 h 6523037"/>
                <a:gd name="connsiteX112" fmla="*/ 7829076 w 12192001"/>
                <a:gd name="connsiteY112" fmla="*/ 5963530 h 6523037"/>
                <a:gd name="connsiteX113" fmla="*/ 7016444 w 12192001"/>
                <a:gd name="connsiteY113" fmla="*/ 5963530 h 6523037"/>
                <a:gd name="connsiteX114" fmla="*/ 6746031 w 12192001"/>
                <a:gd name="connsiteY114" fmla="*/ 6234641 h 6523037"/>
                <a:gd name="connsiteX115" fmla="*/ 7017141 w 12192001"/>
                <a:gd name="connsiteY115" fmla="*/ 6505053 h 6523037"/>
                <a:gd name="connsiteX116" fmla="*/ 7280566 w 12192001"/>
                <a:gd name="connsiteY116" fmla="*/ 6505053 h 6523037"/>
                <a:gd name="connsiteX117" fmla="*/ 7150601 w 12192001"/>
                <a:gd name="connsiteY117" fmla="*/ 6375088 h 6523037"/>
                <a:gd name="connsiteX118" fmla="*/ 7010155 w 12192001"/>
                <a:gd name="connsiteY118" fmla="*/ 6234641 h 6523037"/>
                <a:gd name="connsiteX119" fmla="*/ 7280566 w 12192001"/>
                <a:gd name="connsiteY119" fmla="*/ 5963530 h 6523037"/>
                <a:gd name="connsiteX120" fmla="*/ 8113463 w 12192001"/>
                <a:gd name="connsiteY120" fmla="*/ 5962831 h 6523037"/>
                <a:gd name="connsiteX121" fmla="*/ 7843051 w 12192001"/>
                <a:gd name="connsiteY121" fmla="*/ 6233942 h 6523037"/>
                <a:gd name="connsiteX122" fmla="*/ 8114162 w 12192001"/>
                <a:gd name="connsiteY122" fmla="*/ 6503655 h 6523037"/>
                <a:gd name="connsiteX123" fmla="*/ 8378285 w 12192001"/>
                <a:gd name="connsiteY123" fmla="*/ 6503655 h 6523037"/>
                <a:gd name="connsiteX124" fmla="*/ 8107175 w 12192001"/>
                <a:gd name="connsiteY124" fmla="*/ 6233244 h 6523037"/>
                <a:gd name="connsiteX125" fmla="*/ 8291642 w 12192001"/>
                <a:gd name="connsiteY125" fmla="*/ 6048777 h 6523037"/>
                <a:gd name="connsiteX126" fmla="*/ 8377587 w 12192001"/>
                <a:gd name="connsiteY126" fmla="*/ 5962831 h 6523037"/>
                <a:gd name="connsiteX127" fmla="*/ 9483384 w 12192001"/>
                <a:gd name="connsiteY127" fmla="*/ 5962452 h 6523037"/>
                <a:gd name="connsiteX128" fmla="*/ 9218170 w 12192001"/>
                <a:gd name="connsiteY128" fmla="*/ 6228352 h 6523037"/>
                <a:gd name="connsiteX129" fmla="*/ 9480335 w 12192001"/>
                <a:gd name="connsiteY129" fmla="*/ 6228352 h 6523037"/>
                <a:gd name="connsiteX130" fmla="*/ 9745545 w 12192001"/>
                <a:gd name="connsiteY130" fmla="*/ 5962452 h 6523037"/>
                <a:gd name="connsiteX131" fmla="*/ 10030631 w 12192001"/>
                <a:gd name="connsiteY131" fmla="*/ 5961753 h 6523037"/>
                <a:gd name="connsiteX132" fmla="*/ 9760219 w 12192001"/>
                <a:gd name="connsiteY132" fmla="*/ 6232863 h 6523037"/>
                <a:gd name="connsiteX133" fmla="*/ 10031330 w 12192001"/>
                <a:gd name="connsiteY133" fmla="*/ 6503275 h 6523037"/>
                <a:gd name="connsiteX134" fmla="*/ 10295453 w 12192001"/>
                <a:gd name="connsiteY134" fmla="*/ 6503275 h 6523037"/>
                <a:gd name="connsiteX135" fmla="*/ 10024342 w 12192001"/>
                <a:gd name="connsiteY135" fmla="*/ 6232863 h 6523037"/>
                <a:gd name="connsiteX136" fmla="*/ 10294754 w 12192001"/>
                <a:gd name="connsiteY136" fmla="*/ 5961753 h 6523037"/>
                <a:gd name="connsiteX137" fmla="*/ 9210484 w 12192001"/>
                <a:gd name="connsiteY137" fmla="*/ 5961434 h 6523037"/>
                <a:gd name="connsiteX138" fmla="*/ 8940072 w 12192001"/>
                <a:gd name="connsiteY138" fmla="*/ 6232545 h 6523037"/>
                <a:gd name="connsiteX139" fmla="*/ 9211183 w 12192001"/>
                <a:gd name="connsiteY139" fmla="*/ 6502258 h 6523037"/>
                <a:gd name="connsiteX140" fmla="*/ 9471296 w 12192001"/>
                <a:gd name="connsiteY140" fmla="*/ 6502258 h 6523037"/>
                <a:gd name="connsiteX141" fmla="*/ 9341673 w 12192001"/>
                <a:gd name="connsiteY141" fmla="*/ 6373310 h 6523037"/>
                <a:gd name="connsiteX142" fmla="*/ 9325603 w 12192001"/>
                <a:gd name="connsiteY142" fmla="*/ 6357239 h 6523037"/>
                <a:gd name="connsiteX143" fmla="*/ 9325603 w 12192001"/>
                <a:gd name="connsiteY143" fmla="*/ 6352941 h 6523037"/>
                <a:gd name="connsiteX144" fmla="*/ 9204195 w 12192001"/>
                <a:gd name="connsiteY144" fmla="*/ 6231846 h 6523037"/>
                <a:gd name="connsiteX145" fmla="*/ 9325603 w 12192001"/>
                <a:gd name="connsiteY145" fmla="*/ 6110438 h 6523037"/>
                <a:gd name="connsiteX146" fmla="*/ 9325603 w 12192001"/>
                <a:gd name="connsiteY146" fmla="*/ 6108488 h 6523037"/>
                <a:gd name="connsiteX147" fmla="*/ 9472656 w 12192001"/>
                <a:gd name="connsiteY147" fmla="*/ 5961434 h 6523037"/>
                <a:gd name="connsiteX148" fmla="*/ 11128350 w 12192001"/>
                <a:gd name="connsiteY148" fmla="*/ 5961054 h 6523037"/>
                <a:gd name="connsiteX149" fmla="*/ 10857937 w 12192001"/>
                <a:gd name="connsiteY149" fmla="*/ 6232165 h 6523037"/>
                <a:gd name="connsiteX150" fmla="*/ 11129049 w 12192001"/>
                <a:gd name="connsiteY150" fmla="*/ 6502577 h 6523037"/>
                <a:gd name="connsiteX151" fmla="*/ 11393171 w 12192001"/>
                <a:gd name="connsiteY151" fmla="*/ 6502577 h 6523037"/>
                <a:gd name="connsiteX152" fmla="*/ 11122062 w 12192001"/>
                <a:gd name="connsiteY152" fmla="*/ 6232165 h 6523037"/>
                <a:gd name="connsiteX153" fmla="*/ 11392474 w 12192001"/>
                <a:gd name="connsiteY153" fmla="*/ 5961054 h 6523037"/>
                <a:gd name="connsiteX154" fmla="*/ 10578442 w 12192001"/>
                <a:gd name="connsiteY154" fmla="*/ 5961054 h 6523037"/>
                <a:gd name="connsiteX155" fmla="*/ 10308729 w 12192001"/>
                <a:gd name="connsiteY155" fmla="*/ 6232165 h 6523037"/>
                <a:gd name="connsiteX156" fmla="*/ 10509267 w 12192001"/>
                <a:gd name="connsiteY156" fmla="*/ 6432703 h 6523037"/>
                <a:gd name="connsiteX157" fmla="*/ 10579840 w 12192001"/>
                <a:gd name="connsiteY157" fmla="*/ 6502577 h 6523037"/>
                <a:gd name="connsiteX158" fmla="*/ 10648316 w 12192001"/>
                <a:gd name="connsiteY158" fmla="*/ 6502577 h 6523037"/>
                <a:gd name="connsiteX159" fmla="*/ 10647617 w 12192001"/>
                <a:gd name="connsiteY159" fmla="*/ 6503974 h 6523037"/>
                <a:gd name="connsiteX160" fmla="*/ 10844662 w 12192001"/>
                <a:gd name="connsiteY160" fmla="*/ 6503974 h 6523037"/>
                <a:gd name="connsiteX161" fmla="*/ 10573551 w 12192001"/>
                <a:gd name="connsiteY161" fmla="*/ 6233562 h 6523037"/>
                <a:gd name="connsiteX162" fmla="*/ 10574250 w 12192001"/>
                <a:gd name="connsiteY162" fmla="*/ 6232863 h 6523037"/>
                <a:gd name="connsiteX163" fmla="*/ 10572154 w 12192001"/>
                <a:gd name="connsiteY163" fmla="*/ 6232165 h 6523037"/>
                <a:gd name="connsiteX164" fmla="*/ 10842566 w 12192001"/>
                <a:gd name="connsiteY164" fmla="*/ 5961054 h 6523037"/>
                <a:gd name="connsiteX165" fmla="*/ 11676861 w 12192001"/>
                <a:gd name="connsiteY165" fmla="*/ 5960355 h 6523037"/>
                <a:gd name="connsiteX166" fmla="*/ 11406448 w 12192001"/>
                <a:gd name="connsiteY166" fmla="*/ 6231466 h 6523037"/>
                <a:gd name="connsiteX167" fmla="*/ 11677558 w 12192001"/>
                <a:gd name="connsiteY167" fmla="*/ 6501878 h 6523037"/>
                <a:gd name="connsiteX168" fmla="*/ 11940983 w 12192001"/>
                <a:gd name="connsiteY168" fmla="*/ 6501878 h 6523037"/>
                <a:gd name="connsiteX169" fmla="*/ 11811018 w 12192001"/>
                <a:gd name="connsiteY169" fmla="*/ 6371913 h 6523037"/>
                <a:gd name="connsiteX170" fmla="*/ 11670572 w 12192001"/>
                <a:gd name="connsiteY170" fmla="*/ 6231466 h 6523037"/>
                <a:gd name="connsiteX171" fmla="*/ 11940983 w 12192001"/>
                <a:gd name="connsiteY171" fmla="*/ 5960355 h 6523037"/>
                <a:gd name="connsiteX172" fmla="*/ 169284 w 12192001"/>
                <a:gd name="connsiteY172" fmla="*/ 5695784 h 6523037"/>
                <a:gd name="connsiteX173" fmla="*/ 299249 w 12192001"/>
                <a:gd name="connsiteY173" fmla="*/ 5825750 h 6523037"/>
                <a:gd name="connsiteX174" fmla="*/ 439696 w 12192001"/>
                <a:gd name="connsiteY174" fmla="*/ 5966196 h 6523037"/>
                <a:gd name="connsiteX175" fmla="*/ 169284 w 12192001"/>
                <a:gd name="connsiteY175" fmla="*/ 6237307 h 6523037"/>
                <a:gd name="connsiteX176" fmla="*/ 433407 w 12192001"/>
                <a:gd name="connsiteY176" fmla="*/ 6237307 h 6523037"/>
                <a:gd name="connsiteX177" fmla="*/ 703819 w 12192001"/>
                <a:gd name="connsiteY177" fmla="*/ 5966196 h 6523037"/>
                <a:gd name="connsiteX178" fmla="*/ 432708 w 12192001"/>
                <a:gd name="connsiteY178" fmla="*/ 5695784 h 6523037"/>
                <a:gd name="connsiteX179" fmla="*/ 1814814 w 12192001"/>
                <a:gd name="connsiteY179" fmla="*/ 5695086 h 6523037"/>
                <a:gd name="connsiteX180" fmla="*/ 2085925 w 12192001"/>
                <a:gd name="connsiteY180" fmla="*/ 5965498 h 6523037"/>
                <a:gd name="connsiteX181" fmla="*/ 1815513 w 12192001"/>
                <a:gd name="connsiteY181" fmla="*/ 6235910 h 6523037"/>
                <a:gd name="connsiteX182" fmla="*/ 2079636 w 12192001"/>
                <a:gd name="connsiteY182" fmla="*/ 6235910 h 6523037"/>
                <a:gd name="connsiteX183" fmla="*/ 2350049 w 12192001"/>
                <a:gd name="connsiteY183" fmla="*/ 5965498 h 6523037"/>
                <a:gd name="connsiteX184" fmla="*/ 2078937 w 12192001"/>
                <a:gd name="connsiteY184" fmla="*/ 5695086 h 6523037"/>
                <a:gd name="connsiteX185" fmla="*/ 717095 w 12192001"/>
                <a:gd name="connsiteY185" fmla="*/ 5695086 h 6523037"/>
                <a:gd name="connsiteX186" fmla="*/ 988206 w 12192001"/>
                <a:gd name="connsiteY186" fmla="*/ 5965498 h 6523037"/>
                <a:gd name="connsiteX187" fmla="*/ 717794 w 12192001"/>
                <a:gd name="connsiteY187" fmla="*/ 6236608 h 6523037"/>
                <a:gd name="connsiteX188" fmla="*/ 981917 w 12192001"/>
                <a:gd name="connsiteY188" fmla="*/ 6236608 h 6523037"/>
                <a:gd name="connsiteX189" fmla="*/ 1252329 w 12192001"/>
                <a:gd name="connsiteY189" fmla="*/ 5965498 h 6523037"/>
                <a:gd name="connsiteX190" fmla="*/ 981219 w 12192001"/>
                <a:gd name="connsiteY190" fmla="*/ 5695086 h 6523037"/>
                <a:gd name="connsiteX191" fmla="*/ 2363324 w 12192001"/>
                <a:gd name="connsiteY191" fmla="*/ 5694387 h 6523037"/>
                <a:gd name="connsiteX192" fmla="*/ 2634435 w 12192001"/>
                <a:gd name="connsiteY192" fmla="*/ 5964799 h 6523037"/>
                <a:gd name="connsiteX193" fmla="*/ 2364722 w 12192001"/>
                <a:gd name="connsiteY193" fmla="*/ 6235910 h 6523037"/>
                <a:gd name="connsiteX194" fmla="*/ 2628146 w 12192001"/>
                <a:gd name="connsiteY194" fmla="*/ 6235910 h 6523037"/>
                <a:gd name="connsiteX195" fmla="*/ 2898558 w 12192001"/>
                <a:gd name="connsiteY195" fmla="*/ 5964799 h 6523037"/>
                <a:gd name="connsiteX196" fmla="*/ 2764401 w 12192001"/>
                <a:gd name="connsiteY196" fmla="*/ 5831339 h 6523037"/>
                <a:gd name="connsiteX197" fmla="*/ 2627447 w 12192001"/>
                <a:gd name="connsiteY197" fmla="*/ 5694387 h 6523037"/>
                <a:gd name="connsiteX198" fmla="*/ 2911834 w 12192001"/>
                <a:gd name="connsiteY198" fmla="*/ 5693688 h 6523037"/>
                <a:gd name="connsiteX199" fmla="*/ 2913232 w 12192001"/>
                <a:gd name="connsiteY199" fmla="*/ 5695086 h 6523037"/>
                <a:gd name="connsiteX200" fmla="*/ 3182945 w 12192001"/>
                <a:gd name="connsiteY200" fmla="*/ 5964100 h 6523037"/>
                <a:gd name="connsiteX201" fmla="*/ 2912533 w 12192001"/>
                <a:gd name="connsiteY201" fmla="*/ 6234512 h 6523037"/>
                <a:gd name="connsiteX202" fmla="*/ 3176657 w 12192001"/>
                <a:gd name="connsiteY202" fmla="*/ 6234512 h 6523037"/>
                <a:gd name="connsiteX203" fmla="*/ 3447069 w 12192001"/>
                <a:gd name="connsiteY203" fmla="*/ 5964100 h 6523037"/>
                <a:gd name="connsiteX204" fmla="*/ 3441479 w 12192001"/>
                <a:gd name="connsiteY204" fmla="*/ 5959209 h 6523037"/>
                <a:gd name="connsiteX205" fmla="*/ 3175958 w 12192001"/>
                <a:gd name="connsiteY205" fmla="*/ 5693688 h 6523037"/>
                <a:gd name="connsiteX206" fmla="*/ 1530428 w 12192001"/>
                <a:gd name="connsiteY206" fmla="*/ 5693688 h 6523037"/>
                <a:gd name="connsiteX207" fmla="*/ 1529030 w 12192001"/>
                <a:gd name="connsiteY207" fmla="*/ 5694387 h 6523037"/>
                <a:gd name="connsiteX208" fmla="*/ 1264907 w 12192001"/>
                <a:gd name="connsiteY208" fmla="*/ 5694387 h 6523037"/>
                <a:gd name="connsiteX209" fmla="*/ 1536018 w 12192001"/>
                <a:gd name="connsiteY209" fmla="*/ 5964799 h 6523037"/>
                <a:gd name="connsiteX210" fmla="*/ 1531824 w 12192001"/>
                <a:gd name="connsiteY210" fmla="*/ 5968991 h 6523037"/>
                <a:gd name="connsiteX211" fmla="*/ 1537414 w 12192001"/>
                <a:gd name="connsiteY211" fmla="*/ 5966196 h 6523037"/>
                <a:gd name="connsiteX212" fmla="*/ 1267002 w 12192001"/>
                <a:gd name="connsiteY212" fmla="*/ 6237307 h 6523037"/>
                <a:gd name="connsiteX213" fmla="*/ 1531127 w 12192001"/>
                <a:gd name="connsiteY213" fmla="*/ 6237307 h 6523037"/>
                <a:gd name="connsiteX214" fmla="*/ 1801539 w 12192001"/>
                <a:gd name="connsiteY214" fmla="*/ 5966196 h 6523037"/>
                <a:gd name="connsiteX215" fmla="*/ 1530428 w 12192001"/>
                <a:gd name="connsiteY215" fmla="*/ 5695784 h 6523037"/>
                <a:gd name="connsiteX216" fmla="*/ 3459646 w 12192001"/>
                <a:gd name="connsiteY216" fmla="*/ 5692989 h 6523037"/>
                <a:gd name="connsiteX217" fmla="*/ 3730757 w 12192001"/>
                <a:gd name="connsiteY217" fmla="*/ 5963401 h 6523037"/>
                <a:gd name="connsiteX218" fmla="*/ 3727962 w 12192001"/>
                <a:gd name="connsiteY218" fmla="*/ 5966196 h 6523037"/>
                <a:gd name="connsiteX219" fmla="*/ 3637825 w 12192001"/>
                <a:gd name="connsiteY219" fmla="*/ 6057032 h 6523037"/>
                <a:gd name="connsiteX220" fmla="*/ 3460345 w 12192001"/>
                <a:gd name="connsiteY220" fmla="*/ 6233813 h 6523037"/>
                <a:gd name="connsiteX221" fmla="*/ 3724468 w 12192001"/>
                <a:gd name="connsiteY221" fmla="*/ 6233813 h 6523037"/>
                <a:gd name="connsiteX222" fmla="*/ 3813907 w 12192001"/>
                <a:gd name="connsiteY222" fmla="*/ 6144374 h 6523037"/>
                <a:gd name="connsiteX223" fmla="*/ 3994880 w 12192001"/>
                <a:gd name="connsiteY223" fmla="*/ 5963401 h 6523037"/>
                <a:gd name="connsiteX224" fmla="*/ 3723769 w 12192001"/>
                <a:gd name="connsiteY224" fmla="*/ 5692989 h 6523037"/>
                <a:gd name="connsiteX225" fmla="*/ 4818785 w 12192001"/>
                <a:gd name="connsiteY225" fmla="*/ 5691597 h 6523037"/>
                <a:gd name="connsiteX226" fmla="*/ 4556667 w 12192001"/>
                <a:gd name="connsiteY226" fmla="*/ 5692290 h 6523037"/>
                <a:gd name="connsiteX227" fmla="*/ 4824382 w 12192001"/>
                <a:gd name="connsiteY227" fmla="*/ 5957940 h 6523037"/>
                <a:gd name="connsiteX228" fmla="*/ 5085129 w 12192001"/>
                <a:gd name="connsiteY228" fmla="*/ 5957940 h 6523037"/>
                <a:gd name="connsiteX229" fmla="*/ 4955163 w 12192001"/>
                <a:gd name="connsiteY229" fmla="*/ 5827975 h 6523037"/>
                <a:gd name="connsiteX230" fmla="*/ 4829390 w 12192001"/>
                <a:gd name="connsiteY230" fmla="*/ 5691022 h 6523037"/>
                <a:gd name="connsiteX231" fmla="*/ 4959356 w 12192001"/>
                <a:gd name="connsiteY231" fmla="*/ 5820988 h 6523037"/>
                <a:gd name="connsiteX232" fmla="*/ 5099802 w 12192001"/>
                <a:gd name="connsiteY232" fmla="*/ 5961434 h 6523037"/>
                <a:gd name="connsiteX233" fmla="*/ 4829390 w 12192001"/>
                <a:gd name="connsiteY233" fmla="*/ 6232545 h 6523037"/>
                <a:gd name="connsiteX234" fmla="*/ 5093513 w 12192001"/>
                <a:gd name="connsiteY234" fmla="*/ 6232545 h 6523037"/>
                <a:gd name="connsiteX235" fmla="*/ 5363925 w 12192001"/>
                <a:gd name="connsiteY235" fmla="*/ 5961434 h 6523037"/>
                <a:gd name="connsiteX236" fmla="*/ 5092815 w 12192001"/>
                <a:gd name="connsiteY236" fmla="*/ 5691022 h 6523037"/>
                <a:gd name="connsiteX237" fmla="*/ 6474921 w 12192001"/>
                <a:gd name="connsiteY237" fmla="*/ 5690324 h 6523037"/>
                <a:gd name="connsiteX238" fmla="*/ 6746031 w 12192001"/>
                <a:gd name="connsiteY238" fmla="*/ 5960736 h 6523037"/>
                <a:gd name="connsiteX239" fmla="*/ 6475619 w 12192001"/>
                <a:gd name="connsiteY239" fmla="*/ 6231148 h 6523037"/>
                <a:gd name="connsiteX240" fmla="*/ 6739742 w 12192001"/>
                <a:gd name="connsiteY240" fmla="*/ 6231148 h 6523037"/>
                <a:gd name="connsiteX241" fmla="*/ 7010155 w 12192001"/>
                <a:gd name="connsiteY241" fmla="*/ 5960736 h 6523037"/>
                <a:gd name="connsiteX242" fmla="*/ 6739044 w 12192001"/>
                <a:gd name="connsiteY242" fmla="*/ 5690324 h 6523037"/>
                <a:gd name="connsiteX243" fmla="*/ 5377202 w 12192001"/>
                <a:gd name="connsiteY243" fmla="*/ 5690324 h 6523037"/>
                <a:gd name="connsiteX244" fmla="*/ 5648312 w 12192001"/>
                <a:gd name="connsiteY244" fmla="*/ 5960736 h 6523037"/>
                <a:gd name="connsiteX245" fmla="*/ 5377900 w 12192001"/>
                <a:gd name="connsiteY245" fmla="*/ 6231846 h 6523037"/>
                <a:gd name="connsiteX246" fmla="*/ 5642023 w 12192001"/>
                <a:gd name="connsiteY246" fmla="*/ 6231846 h 6523037"/>
                <a:gd name="connsiteX247" fmla="*/ 5912435 w 12192001"/>
                <a:gd name="connsiteY247" fmla="*/ 5960736 h 6523037"/>
                <a:gd name="connsiteX248" fmla="*/ 5641325 w 12192001"/>
                <a:gd name="connsiteY248" fmla="*/ 5690324 h 6523037"/>
                <a:gd name="connsiteX249" fmla="*/ 7023431 w 12192001"/>
                <a:gd name="connsiteY249" fmla="*/ 5689625 h 6523037"/>
                <a:gd name="connsiteX250" fmla="*/ 7294541 w 12192001"/>
                <a:gd name="connsiteY250" fmla="*/ 5960037 h 6523037"/>
                <a:gd name="connsiteX251" fmla="*/ 7024828 w 12192001"/>
                <a:gd name="connsiteY251" fmla="*/ 6231148 h 6523037"/>
                <a:gd name="connsiteX252" fmla="*/ 7288252 w 12192001"/>
                <a:gd name="connsiteY252" fmla="*/ 6231148 h 6523037"/>
                <a:gd name="connsiteX253" fmla="*/ 7558664 w 12192001"/>
                <a:gd name="connsiteY253" fmla="*/ 5960037 h 6523037"/>
                <a:gd name="connsiteX254" fmla="*/ 7424507 w 12192001"/>
                <a:gd name="connsiteY254" fmla="*/ 5826577 h 6523037"/>
                <a:gd name="connsiteX255" fmla="*/ 7287553 w 12192001"/>
                <a:gd name="connsiteY255" fmla="*/ 5689625 h 6523037"/>
                <a:gd name="connsiteX256" fmla="*/ 7571940 w 12192001"/>
                <a:gd name="connsiteY256" fmla="*/ 5688926 h 6523037"/>
                <a:gd name="connsiteX257" fmla="*/ 7573338 w 12192001"/>
                <a:gd name="connsiteY257" fmla="*/ 5690324 h 6523037"/>
                <a:gd name="connsiteX258" fmla="*/ 7843051 w 12192001"/>
                <a:gd name="connsiteY258" fmla="*/ 5959338 h 6523037"/>
                <a:gd name="connsiteX259" fmla="*/ 7572639 w 12192001"/>
                <a:gd name="connsiteY259" fmla="*/ 6229750 h 6523037"/>
                <a:gd name="connsiteX260" fmla="*/ 7836763 w 12192001"/>
                <a:gd name="connsiteY260" fmla="*/ 6229750 h 6523037"/>
                <a:gd name="connsiteX261" fmla="*/ 8107175 w 12192001"/>
                <a:gd name="connsiteY261" fmla="*/ 5959338 h 6523037"/>
                <a:gd name="connsiteX262" fmla="*/ 8101585 w 12192001"/>
                <a:gd name="connsiteY262" fmla="*/ 5954447 h 6523037"/>
                <a:gd name="connsiteX263" fmla="*/ 7836064 w 12192001"/>
                <a:gd name="connsiteY263" fmla="*/ 5688926 h 6523037"/>
                <a:gd name="connsiteX264" fmla="*/ 6190534 w 12192001"/>
                <a:gd name="connsiteY264" fmla="*/ 5688926 h 6523037"/>
                <a:gd name="connsiteX265" fmla="*/ 6189136 w 12192001"/>
                <a:gd name="connsiteY265" fmla="*/ 5689625 h 6523037"/>
                <a:gd name="connsiteX266" fmla="*/ 5925013 w 12192001"/>
                <a:gd name="connsiteY266" fmla="*/ 5689625 h 6523037"/>
                <a:gd name="connsiteX267" fmla="*/ 6196125 w 12192001"/>
                <a:gd name="connsiteY267" fmla="*/ 5960037 h 6523037"/>
                <a:gd name="connsiteX268" fmla="*/ 6191930 w 12192001"/>
                <a:gd name="connsiteY268" fmla="*/ 5964229 h 6523037"/>
                <a:gd name="connsiteX269" fmla="*/ 6197521 w 12192001"/>
                <a:gd name="connsiteY269" fmla="*/ 5961434 h 6523037"/>
                <a:gd name="connsiteX270" fmla="*/ 5927108 w 12192001"/>
                <a:gd name="connsiteY270" fmla="*/ 6232545 h 6523037"/>
                <a:gd name="connsiteX271" fmla="*/ 6191234 w 12192001"/>
                <a:gd name="connsiteY271" fmla="*/ 6232545 h 6523037"/>
                <a:gd name="connsiteX272" fmla="*/ 6461645 w 12192001"/>
                <a:gd name="connsiteY272" fmla="*/ 5961434 h 6523037"/>
                <a:gd name="connsiteX273" fmla="*/ 6190534 w 12192001"/>
                <a:gd name="connsiteY273" fmla="*/ 5691022 h 6523037"/>
                <a:gd name="connsiteX274" fmla="*/ 8119752 w 12192001"/>
                <a:gd name="connsiteY274" fmla="*/ 5688227 h 6523037"/>
                <a:gd name="connsiteX275" fmla="*/ 8390863 w 12192001"/>
                <a:gd name="connsiteY275" fmla="*/ 5958639 h 6523037"/>
                <a:gd name="connsiteX276" fmla="*/ 8388068 w 12192001"/>
                <a:gd name="connsiteY276" fmla="*/ 5961434 h 6523037"/>
                <a:gd name="connsiteX277" fmla="*/ 8297931 w 12192001"/>
                <a:gd name="connsiteY277" fmla="*/ 6052270 h 6523037"/>
                <a:gd name="connsiteX278" fmla="*/ 8120451 w 12192001"/>
                <a:gd name="connsiteY278" fmla="*/ 6229051 h 6523037"/>
                <a:gd name="connsiteX279" fmla="*/ 8384574 w 12192001"/>
                <a:gd name="connsiteY279" fmla="*/ 6229051 h 6523037"/>
                <a:gd name="connsiteX280" fmla="*/ 8474013 w 12192001"/>
                <a:gd name="connsiteY280" fmla="*/ 6139612 h 6523037"/>
                <a:gd name="connsiteX281" fmla="*/ 8654986 w 12192001"/>
                <a:gd name="connsiteY281" fmla="*/ 5958639 h 6523037"/>
                <a:gd name="connsiteX282" fmla="*/ 8383875 w 12192001"/>
                <a:gd name="connsiteY282" fmla="*/ 5688227 h 6523037"/>
                <a:gd name="connsiteX283" fmla="*/ 9489807 w 12192001"/>
                <a:gd name="connsiteY283" fmla="*/ 5687847 h 6523037"/>
                <a:gd name="connsiteX284" fmla="*/ 9619772 w 12192001"/>
                <a:gd name="connsiteY284" fmla="*/ 5817813 h 6523037"/>
                <a:gd name="connsiteX285" fmla="*/ 9760219 w 12192001"/>
                <a:gd name="connsiteY285" fmla="*/ 5958259 h 6523037"/>
                <a:gd name="connsiteX286" fmla="*/ 9489807 w 12192001"/>
                <a:gd name="connsiteY286" fmla="*/ 6229370 h 6523037"/>
                <a:gd name="connsiteX287" fmla="*/ 9753930 w 12192001"/>
                <a:gd name="connsiteY287" fmla="*/ 6229370 h 6523037"/>
                <a:gd name="connsiteX288" fmla="*/ 10024342 w 12192001"/>
                <a:gd name="connsiteY288" fmla="*/ 5958259 h 6523037"/>
                <a:gd name="connsiteX289" fmla="*/ 9753231 w 12192001"/>
                <a:gd name="connsiteY289" fmla="*/ 5687847 h 6523037"/>
                <a:gd name="connsiteX290" fmla="*/ 11135337 w 12192001"/>
                <a:gd name="connsiteY290" fmla="*/ 5687149 h 6523037"/>
                <a:gd name="connsiteX291" fmla="*/ 11406448 w 12192001"/>
                <a:gd name="connsiteY291" fmla="*/ 5957561 h 6523037"/>
                <a:gd name="connsiteX292" fmla="*/ 11136036 w 12192001"/>
                <a:gd name="connsiteY292" fmla="*/ 6227973 h 6523037"/>
                <a:gd name="connsiteX293" fmla="*/ 11400159 w 12192001"/>
                <a:gd name="connsiteY293" fmla="*/ 6227973 h 6523037"/>
                <a:gd name="connsiteX294" fmla="*/ 11670572 w 12192001"/>
                <a:gd name="connsiteY294" fmla="*/ 5957561 h 6523037"/>
                <a:gd name="connsiteX295" fmla="*/ 11399460 w 12192001"/>
                <a:gd name="connsiteY295" fmla="*/ 5687149 h 6523037"/>
                <a:gd name="connsiteX296" fmla="*/ 10037618 w 12192001"/>
                <a:gd name="connsiteY296" fmla="*/ 5687149 h 6523037"/>
                <a:gd name="connsiteX297" fmla="*/ 10308729 w 12192001"/>
                <a:gd name="connsiteY297" fmla="*/ 5957561 h 6523037"/>
                <a:gd name="connsiteX298" fmla="*/ 10038317 w 12192001"/>
                <a:gd name="connsiteY298" fmla="*/ 6228671 h 6523037"/>
                <a:gd name="connsiteX299" fmla="*/ 10302440 w 12192001"/>
                <a:gd name="connsiteY299" fmla="*/ 6228671 h 6523037"/>
                <a:gd name="connsiteX300" fmla="*/ 10572852 w 12192001"/>
                <a:gd name="connsiteY300" fmla="*/ 5957561 h 6523037"/>
                <a:gd name="connsiteX301" fmla="*/ 10301742 w 12192001"/>
                <a:gd name="connsiteY301" fmla="*/ 5687149 h 6523037"/>
                <a:gd name="connsiteX302" fmla="*/ 9477618 w 12192001"/>
                <a:gd name="connsiteY302" fmla="*/ 5686838 h 6523037"/>
                <a:gd name="connsiteX303" fmla="*/ 9216773 w 12192001"/>
                <a:gd name="connsiteY303" fmla="*/ 5687528 h 6523037"/>
                <a:gd name="connsiteX304" fmla="*/ 9486087 w 12192001"/>
                <a:gd name="connsiteY304" fmla="*/ 5954765 h 6523037"/>
                <a:gd name="connsiteX305" fmla="*/ 9745545 w 12192001"/>
                <a:gd name="connsiteY305" fmla="*/ 5954765 h 6523037"/>
                <a:gd name="connsiteX306" fmla="*/ 9615580 w 12192001"/>
                <a:gd name="connsiteY306" fmla="*/ 5824800 h 6523037"/>
                <a:gd name="connsiteX307" fmla="*/ 10850951 w 12192001"/>
                <a:gd name="connsiteY307" fmla="*/ 5685751 h 6523037"/>
                <a:gd name="connsiteX308" fmla="*/ 10849553 w 12192001"/>
                <a:gd name="connsiteY308" fmla="*/ 5686450 h 6523037"/>
                <a:gd name="connsiteX309" fmla="*/ 10585430 w 12192001"/>
                <a:gd name="connsiteY309" fmla="*/ 5686450 h 6523037"/>
                <a:gd name="connsiteX310" fmla="*/ 10856541 w 12192001"/>
                <a:gd name="connsiteY310" fmla="*/ 5956862 h 6523037"/>
                <a:gd name="connsiteX311" fmla="*/ 10852347 w 12192001"/>
                <a:gd name="connsiteY311" fmla="*/ 5961054 h 6523037"/>
                <a:gd name="connsiteX312" fmla="*/ 10857937 w 12192001"/>
                <a:gd name="connsiteY312" fmla="*/ 5958259 h 6523037"/>
                <a:gd name="connsiteX313" fmla="*/ 10587525 w 12192001"/>
                <a:gd name="connsiteY313" fmla="*/ 6229370 h 6523037"/>
                <a:gd name="connsiteX314" fmla="*/ 10851650 w 12192001"/>
                <a:gd name="connsiteY314" fmla="*/ 6229370 h 6523037"/>
                <a:gd name="connsiteX315" fmla="*/ 11122062 w 12192001"/>
                <a:gd name="connsiteY315" fmla="*/ 5958259 h 6523037"/>
                <a:gd name="connsiteX316" fmla="*/ 10850951 w 12192001"/>
                <a:gd name="connsiteY316" fmla="*/ 5687847 h 6523037"/>
                <a:gd name="connsiteX317" fmla="*/ 1807128 w 12192001"/>
                <a:gd name="connsiteY317" fmla="*/ 5420480 h 6523037"/>
                <a:gd name="connsiteX318" fmla="*/ 1536716 w 12192001"/>
                <a:gd name="connsiteY318" fmla="*/ 5691591 h 6523037"/>
                <a:gd name="connsiteX319" fmla="*/ 1807827 w 12192001"/>
                <a:gd name="connsiteY319" fmla="*/ 5962003 h 6523037"/>
                <a:gd name="connsiteX320" fmla="*/ 2071951 w 12192001"/>
                <a:gd name="connsiteY320" fmla="*/ 5962003 h 6523037"/>
                <a:gd name="connsiteX321" fmla="*/ 1800840 w 12192001"/>
                <a:gd name="connsiteY321" fmla="*/ 5691591 h 6523037"/>
                <a:gd name="connsiteX322" fmla="*/ 2071252 w 12192001"/>
                <a:gd name="connsiteY322" fmla="*/ 5420480 h 6523037"/>
                <a:gd name="connsiteX323" fmla="*/ 709409 w 12192001"/>
                <a:gd name="connsiteY323" fmla="*/ 5420480 h 6523037"/>
                <a:gd name="connsiteX324" fmla="*/ 438997 w 12192001"/>
                <a:gd name="connsiteY324" fmla="*/ 5691591 h 6523037"/>
                <a:gd name="connsiteX325" fmla="*/ 710108 w 12192001"/>
                <a:gd name="connsiteY325" fmla="*/ 5962003 h 6523037"/>
                <a:gd name="connsiteX326" fmla="*/ 974231 w 12192001"/>
                <a:gd name="connsiteY326" fmla="*/ 5962003 h 6523037"/>
                <a:gd name="connsiteX327" fmla="*/ 703120 w 12192001"/>
                <a:gd name="connsiteY327" fmla="*/ 5691591 h 6523037"/>
                <a:gd name="connsiteX328" fmla="*/ 972833 w 12192001"/>
                <a:gd name="connsiteY328" fmla="*/ 5420480 h 6523037"/>
                <a:gd name="connsiteX329" fmla="*/ 2904148 w 12192001"/>
                <a:gd name="connsiteY329" fmla="*/ 5419782 h 6523037"/>
                <a:gd name="connsiteX330" fmla="*/ 2723874 w 12192001"/>
                <a:gd name="connsiteY330" fmla="*/ 5600057 h 6523037"/>
                <a:gd name="connsiteX331" fmla="*/ 2634435 w 12192001"/>
                <a:gd name="connsiteY331" fmla="*/ 5690195 h 6523037"/>
                <a:gd name="connsiteX332" fmla="*/ 2768593 w 12192001"/>
                <a:gd name="connsiteY332" fmla="*/ 5823653 h 6523037"/>
                <a:gd name="connsiteX333" fmla="*/ 2905546 w 12192001"/>
                <a:gd name="connsiteY333" fmla="*/ 5960606 h 6523037"/>
                <a:gd name="connsiteX334" fmla="*/ 3169669 w 12192001"/>
                <a:gd name="connsiteY334" fmla="*/ 5960606 h 6523037"/>
                <a:gd name="connsiteX335" fmla="*/ 2898558 w 12192001"/>
                <a:gd name="connsiteY335" fmla="*/ 5690195 h 6523037"/>
                <a:gd name="connsiteX336" fmla="*/ 2899956 w 12192001"/>
                <a:gd name="connsiteY336" fmla="*/ 5688797 h 6523037"/>
                <a:gd name="connsiteX337" fmla="*/ 3168271 w 12192001"/>
                <a:gd name="connsiteY337" fmla="*/ 5419782 h 6523037"/>
                <a:gd name="connsiteX338" fmla="*/ 2355639 w 12192001"/>
                <a:gd name="connsiteY338" fmla="*/ 5419782 h 6523037"/>
                <a:gd name="connsiteX339" fmla="*/ 2085226 w 12192001"/>
                <a:gd name="connsiteY339" fmla="*/ 5690892 h 6523037"/>
                <a:gd name="connsiteX340" fmla="*/ 2356338 w 12192001"/>
                <a:gd name="connsiteY340" fmla="*/ 5961304 h 6523037"/>
                <a:gd name="connsiteX341" fmla="*/ 2620460 w 12192001"/>
                <a:gd name="connsiteY341" fmla="*/ 5961304 h 6523037"/>
                <a:gd name="connsiteX342" fmla="*/ 2349350 w 12192001"/>
                <a:gd name="connsiteY342" fmla="*/ 5690892 h 6523037"/>
                <a:gd name="connsiteX343" fmla="*/ 2533816 w 12192001"/>
                <a:gd name="connsiteY343" fmla="*/ 5506426 h 6523037"/>
                <a:gd name="connsiteX344" fmla="*/ 2619762 w 12192001"/>
                <a:gd name="connsiteY344" fmla="*/ 5420480 h 6523037"/>
                <a:gd name="connsiteX345" fmla="*/ 2361229 w 12192001"/>
                <a:gd name="connsiteY345" fmla="*/ 5420480 h 6523037"/>
                <a:gd name="connsiteX346" fmla="*/ 1257919 w 12192001"/>
                <a:gd name="connsiteY346" fmla="*/ 5419782 h 6523037"/>
                <a:gd name="connsiteX347" fmla="*/ 987507 w 12192001"/>
                <a:gd name="connsiteY347" fmla="*/ 5690892 h 6523037"/>
                <a:gd name="connsiteX348" fmla="*/ 1258618 w 12192001"/>
                <a:gd name="connsiteY348" fmla="*/ 5961304 h 6523037"/>
                <a:gd name="connsiteX349" fmla="*/ 1522741 w 12192001"/>
                <a:gd name="connsiteY349" fmla="*/ 5961304 h 6523037"/>
                <a:gd name="connsiteX350" fmla="*/ 1251631 w 12192001"/>
                <a:gd name="connsiteY350" fmla="*/ 5690892 h 6523037"/>
                <a:gd name="connsiteX351" fmla="*/ 1436098 w 12192001"/>
                <a:gd name="connsiteY351" fmla="*/ 5506426 h 6523037"/>
                <a:gd name="connsiteX352" fmla="*/ 1522043 w 12192001"/>
                <a:gd name="connsiteY352" fmla="*/ 5419782 h 6523037"/>
                <a:gd name="connsiteX353" fmla="*/ 3452658 w 12192001"/>
                <a:gd name="connsiteY353" fmla="*/ 5419084 h 6523037"/>
                <a:gd name="connsiteX354" fmla="*/ 3182246 w 12192001"/>
                <a:gd name="connsiteY354" fmla="*/ 5690195 h 6523037"/>
                <a:gd name="connsiteX355" fmla="*/ 3453357 w 12192001"/>
                <a:gd name="connsiteY355" fmla="*/ 5960606 h 6523037"/>
                <a:gd name="connsiteX356" fmla="*/ 3717481 w 12192001"/>
                <a:gd name="connsiteY356" fmla="*/ 5960606 h 6523037"/>
                <a:gd name="connsiteX357" fmla="*/ 3446370 w 12192001"/>
                <a:gd name="connsiteY357" fmla="*/ 5690195 h 6523037"/>
                <a:gd name="connsiteX358" fmla="*/ 3716782 w 12192001"/>
                <a:gd name="connsiteY358" fmla="*/ 5419084 h 6523037"/>
                <a:gd name="connsiteX359" fmla="*/ 4549679 w 12192001"/>
                <a:gd name="connsiteY359" fmla="*/ 5417686 h 6523037"/>
                <a:gd name="connsiteX360" fmla="*/ 4279267 w 12192001"/>
                <a:gd name="connsiteY360" fmla="*/ 5688797 h 6523037"/>
                <a:gd name="connsiteX361" fmla="*/ 4550379 w 12192001"/>
                <a:gd name="connsiteY361" fmla="*/ 5959209 h 6523037"/>
                <a:gd name="connsiteX362" fmla="*/ 4811794 w 12192001"/>
                <a:gd name="connsiteY362" fmla="*/ 5959209 h 6523037"/>
                <a:gd name="connsiteX363" fmla="*/ 4665187 w 12192001"/>
                <a:gd name="connsiteY363" fmla="*/ 5812602 h 6523037"/>
                <a:gd name="connsiteX364" fmla="*/ 4665187 w 12192001"/>
                <a:gd name="connsiteY364" fmla="*/ 5810279 h 6523037"/>
                <a:gd name="connsiteX365" fmla="*/ 4543392 w 12192001"/>
                <a:gd name="connsiteY365" fmla="*/ 5688797 h 6523037"/>
                <a:gd name="connsiteX366" fmla="*/ 4665187 w 12192001"/>
                <a:gd name="connsiteY366" fmla="*/ 5566541 h 6523037"/>
                <a:gd name="connsiteX367" fmla="*/ 4665187 w 12192001"/>
                <a:gd name="connsiteY367" fmla="*/ 5562454 h 6523037"/>
                <a:gd name="connsiteX368" fmla="*/ 4809954 w 12192001"/>
                <a:gd name="connsiteY368" fmla="*/ 5417686 h 6523037"/>
                <a:gd name="connsiteX369" fmla="*/ 4824163 w 12192001"/>
                <a:gd name="connsiteY369" fmla="*/ 5417116 h 6523037"/>
                <a:gd name="connsiteX370" fmla="*/ 4556667 w 12192001"/>
                <a:gd name="connsiteY370" fmla="*/ 5685303 h 6523037"/>
                <a:gd name="connsiteX371" fmla="*/ 4816942 w 12192001"/>
                <a:gd name="connsiteY371" fmla="*/ 5685303 h 6523037"/>
                <a:gd name="connsiteX372" fmla="*/ 5085129 w 12192001"/>
                <a:gd name="connsiteY372" fmla="*/ 5417116 h 6523037"/>
                <a:gd name="connsiteX373" fmla="*/ 6467235 w 12192001"/>
                <a:gd name="connsiteY373" fmla="*/ 5415718 h 6523037"/>
                <a:gd name="connsiteX374" fmla="*/ 6196823 w 12192001"/>
                <a:gd name="connsiteY374" fmla="*/ 5686829 h 6523037"/>
                <a:gd name="connsiteX375" fmla="*/ 6467933 w 12192001"/>
                <a:gd name="connsiteY375" fmla="*/ 5957241 h 6523037"/>
                <a:gd name="connsiteX376" fmla="*/ 6732057 w 12192001"/>
                <a:gd name="connsiteY376" fmla="*/ 5957241 h 6523037"/>
                <a:gd name="connsiteX377" fmla="*/ 6460946 w 12192001"/>
                <a:gd name="connsiteY377" fmla="*/ 5686829 h 6523037"/>
                <a:gd name="connsiteX378" fmla="*/ 6731358 w 12192001"/>
                <a:gd name="connsiteY378" fmla="*/ 5415718 h 6523037"/>
                <a:gd name="connsiteX379" fmla="*/ 5369515 w 12192001"/>
                <a:gd name="connsiteY379" fmla="*/ 5415718 h 6523037"/>
                <a:gd name="connsiteX380" fmla="*/ 5099104 w 12192001"/>
                <a:gd name="connsiteY380" fmla="*/ 5686829 h 6523037"/>
                <a:gd name="connsiteX381" fmla="*/ 5370215 w 12192001"/>
                <a:gd name="connsiteY381" fmla="*/ 5957241 h 6523037"/>
                <a:gd name="connsiteX382" fmla="*/ 5634338 w 12192001"/>
                <a:gd name="connsiteY382" fmla="*/ 5957241 h 6523037"/>
                <a:gd name="connsiteX383" fmla="*/ 5363227 w 12192001"/>
                <a:gd name="connsiteY383" fmla="*/ 5686829 h 6523037"/>
                <a:gd name="connsiteX384" fmla="*/ 5632939 w 12192001"/>
                <a:gd name="connsiteY384" fmla="*/ 5415718 h 6523037"/>
                <a:gd name="connsiteX385" fmla="*/ 7564254 w 12192001"/>
                <a:gd name="connsiteY385" fmla="*/ 5415020 h 6523037"/>
                <a:gd name="connsiteX386" fmla="*/ 7383980 w 12192001"/>
                <a:gd name="connsiteY386" fmla="*/ 5595295 h 6523037"/>
                <a:gd name="connsiteX387" fmla="*/ 7294541 w 12192001"/>
                <a:gd name="connsiteY387" fmla="*/ 5685433 h 6523037"/>
                <a:gd name="connsiteX388" fmla="*/ 7428699 w 12192001"/>
                <a:gd name="connsiteY388" fmla="*/ 5818891 h 6523037"/>
                <a:gd name="connsiteX389" fmla="*/ 7565652 w 12192001"/>
                <a:gd name="connsiteY389" fmla="*/ 5955844 h 6523037"/>
                <a:gd name="connsiteX390" fmla="*/ 7829775 w 12192001"/>
                <a:gd name="connsiteY390" fmla="*/ 5955844 h 6523037"/>
                <a:gd name="connsiteX391" fmla="*/ 7558664 w 12192001"/>
                <a:gd name="connsiteY391" fmla="*/ 5685433 h 6523037"/>
                <a:gd name="connsiteX392" fmla="*/ 7560062 w 12192001"/>
                <a:gd name="connsiteY392" fmla="*/ 5684035 h 6523037"/>
                <a:gd name="connsiteX393" fmla="*/ 7828377 w 12192001"/>
                <a:gd name="connsiteY393" fmla="*/ 5415020 h 6523037"/>
                <a:gd name="connsiteX394" fmla="*/ 7015746 w 12192001"/>
                <a:gd name="connsiteY394" fmla="*/ 5415020 h 6523037"/>
                <a:gd name="connsiteX395" fmla="*/ 6745333 w 12192001"/>
                <a:gd name="connsiteY395" fmla="*/ 5686130 h 6523037"/>
                <a:gd name="connsiteX396" fmla="*/ 7016444 w 12192001"/>
                <a:gd name="connsiteY396" fmla="*/ 5956542 h 6523037"/>
                <a:gd name="connsiteX397" fmla="*/ 7280566 w 12192001"/>
                <a:gd name="connsiteY397" fmla="*/ 5956542 h 6523037"/>
                <a:gd name="connsiteX398" fmla="*/ 7009456 w 12192001"/>
                <a:gd name="connsiteY398" fmla="*/ 5686130 h 6523037"/>
                <a:gd name="connsiteX399" fmla="*/ 7193922 w 12192001"/>
                <a:gd name="connsiteY399" fmla="*/ 5501664 h 6523037"/>
                <a:gd name="connsiteX400" fmla="*/ 7279868 w 12192001"/>
                <a:gd name="connsiteY400" fmla="*/ 5415718 h 6523037"/>
                <a:gd name="connsiteX401" fmla="*/ 7021335 w 12192001"/>
                <a:gd name="connsiteY401" fmla="*/ 5415718 h 6523037"/>
                <a:gd name="connsiteX402" fmla="*/ 5918025 w 12192001"/>
                <a:gd name="connsiteY402" fmla="*/ 5415020 h 6523037"/>
                <a:gd name="connsiteX403" fmla="*/ 5647613 w 12192001"/>
                <a:gd name="connsiteY403" fmla="*/ 5686130 h 6523037"/>
                <a:gd name="connsiteX404" fmla="*/ 5918725 w 12192001"/>
                <a:gd name="connsiteY404" fmla="*/ 5956542 h 6523037"/>
                <a:gd name="connsiteX405" fmla="*/ 6182848 w 12192001"/>
                <a:gd name="connsiteY405" fmla="*/ 5956542 h 6523037"/>
                <a:gd name="connsiteX406" fmla="*/ 5911738 w 12192001"/>
                <a:gd name="connsiteY406" fmla="*/ 5686130 h 6523037"/>
                <a:gd name="connsiteX407" fmla="*/ 6096205 w 12192001"/>
                <a:gd name="connsiteY407" fmla="*/ 5501664 h 6523037"/>
                <a:gd name="connsiteX408" fmla="*/ 6182150 w 12192001"/>
                <a:gd name="connsiteY408" fmla="*/ 5415020 h 6523037"/>
                <a:gd name="connsiteX409" fmla="*/ 8112764 w 12192001"/>
                <a:gd name="connsiteY409" fmla="*/ 5414322 h 6523037"/>
                <a:gd name="connsiteX410" fmla="*/ 7842352 w 12192001"/>
                <a:gd name="connsiteY410" fmla="*/ 5685433 h 6523037"/>
                <a:gd name="connsiteX411" fmla="*/ 8113463 w 12192001"/>
                <a:gd name="connsiteY411" fmla="*/ 5955844 h 6523037"/>
                <a:gd name="connsiteX412" fmla="*/ 8377587 w 12192001"/>
                <a:gd name="connsiteY412" fmla="*/ 5955844 h 6523037"/>
                <a:gd name="connsiteX413" fmla="*/ 8106476 w 12192001"/>
                <a:gd name="connsiteY413" fmla="*/ 5685433 h 6523037"/>
                <a:gd name="connsiteX414" fmla="*/ 8376888 w 12192001"/>
                <a:gd name="connsiteY414" fmla="*/ 5414322 h 6523037"/>
                <a:gd name="connsiteX415" fmla="*/ 9482686 w 12192001"/>
                <a:gd name="connsiteY415" fmla="*/ 5413941 h 6523037"/>
                <a:gd name="connsiteX416" fmla="*/ 9216773 w 12192001"/>
                <a:gd name="connsiteY416" fmla="*/ 5680541 h 6523037"/>
                <a:gd name="connsiteX417" fmla="*/ 9478945 w 12192001"/>
                <a:gd name="connsiteY417" fmla="*/ 5680541 h 6523037"/>
                <a:gd name="connsiteX418" fmla="*/ 9745545 w 12192001"/>
                <a:gd name="connsiteY418" fmla="*/ 5413941 h 6523037"/>
                <a:gd name="connsiteX419" fmla="*/ 9209785 w 12192001"/>
                <a:gd name="connsiteY419" fmla="*/ 5412924 h 6523037"/>
                <a:gd name="connsiteX420" fmla="*/ 8939373 w 12192001"/>
                <a:gd name="connsiteY420" fmla="*/ 5684035 h 6523037"/>
                <a:gd name="connsiteX421" fmla="*/ 9210484 w 12192001"/>
                <a:gd name="connsiteY421" fmla="*/ 5954447 h 6523037"/>
                <a:gd name="connsiteX422" fmla="*/ 9470623 w 12192001"/>
                <a:gd name="connsiteY422" fmla="*/ 5954447 h 6523037"/>
                <a:gd name="connsiteX423" fmla="*/ 9325603 w 12192001"/>
                <a:gd name="connsiteY423" fmla="*/ 5809427 h 6523037"/>
                <a:gd name="connsiteX424" fmla="*/ 9325603 w 12192001"/>
                <a:gd name="connsiteY424" fmla="*/ 5805827 h 6523037"/>
                <a:gd name="connsiteX425" fmla="*/ 9203497 w 12192001"/>
                <a:gd name="connsiteY425" fmla="*/ 5684035 h 6523037"/>
                <a:gd name="connsiteX426" fmla="*/ 9325603 w 12192001"/>
                <a:gd name="connsiteY426" fmla="*/ 5561467 h 6523037"/>
                <a:gd name="connsiteX427" fmla="*/ 9325603 w 12192001"/>
                <a:gd name="connsiteY427" fmla="*/ 5559279 h 6523037"/>
                <a:gd name="connsiteX428" fmla="*/ 9471958 w 12192001"/>
                <a:gd name="connsiteY428" fmla="*/ 5412924 h 6523037"/>
                <a:gd name="connsiteX429" fmla="*/ 11127651 w 12192001"/>
                <a:gd name="connsiteY429" fmla="*/ 5412543 h 6523037"/>
                <a:gd name="connsiteX430" fmla="*/ 10857239 w 12192001"/>
                <a:gd name="connsiteY430" fmla="*/ 5683654 h 6523037"/>
                <a:gd name="connsiteX431" fmla="*/ 11128350 w 12192001"/>
                <a:gd name="connsiteY431" fmla="*/ 5954066 h 6523037"/>
                <a:gd name="connsiteX432" fmla="*/ 11392474 w 12192001"/>
                <a:gd name="connsiteY432" fmla="*/ 5954066 h 6523037"/>
                <a:gd name="connsiteX433" fmla="*/ 11121363 w 12192001"/>
                <a:gd name="connsiteY433" fmla="*/ 5683654 h 6523037"/>
                <a:gd name="connsiteX434" fmla="*/ 11391775 w 12192001"/>
                <a:gd name="connsiteY434" fmla="*/ 5412543 h 6523037"/>
                <a:gd name="connsiteX435" fmla="*/ 10029932 w 12192001"/>
                <a:gd name="connsiteY435" fmla="*/ 5412543 h 6523037"/>
                <a:gd name="connsiteX436" fmla="*/ 9759520 w 12192001"/>
                <a:gd name="connsiteY436" fmla="*/ 5683654 h 6523037"/>
                <a:gd name="connsiteX437" fmla="*/ 10030631 w 12192001"/>
                <a:gd name="connsiteY437" fmla="*/ 5954066 h 6523037"/>
                <a:gd name="connsiteX438" fmla="*/ 10294754 w 12192001"/>
                <a:gd name="connsiteY438" fmla="*/ 5954066 h 6523037"/>
                <a:gd name="connsiteX439" fmla="*/ 10023643 w 12192001"/>
                <a:gd name="connsiteY439" fmla="*/ 5683654 h 6523037"/>
                <a:gd name="connsiteX440" fmla="*/ 10293356 w 12192001"/>
                <a:gd name="connsiteY440" fmla="*/ 5412543 h 6523037"/>
                <a:gd name="connsiteX441" fmla="*/ 11676162 w 12192001"/>
                <a:gd name="connsiteY441" fmla="*/ 5411845 h 6523037"/>
                <a:gd name="connsiteX442" fmla="*/ 11405749 w 12192001"/>
                <a:gd name="connsiteY442" fmla="*/ 5682955 h 6523037"/>
                <a:gd name="connsiteX443" fmla="*/ 11676861 w 12192001"/>
                <a:gd name="connsiteY443" fmla="*/ 5953367 h 6523037"/>
                <a:gd name="connsiteX444" fmla="*/ 11940983 w 12192001"/>
                <a:gd name="connsiteY444" fmla="*/ 5953367 h 6523037"/>
                <a:gd name="connsiteX445" fmla="*/ 11669873 w 12192001"/>
                <a:gd name="connsiteY445" fmla="*/ 5682955 h 6523037"/>
                <a:gd name="connsiteX446" fmla="*/ 11854339 w 12192001"/>
                <a:gd name="connsiteY446" fmla="*/ 5498489 h 6523037"/>
                <a:gd name="connsiteX447" fmla="*/ 11940285 w 12192001"/>
                <a:gd name="connsiteY447" fmla="*/ 5412543 h 6523037"/>
                <a:gd name="connsiteX448" fmla="*/ 11681752 w 12192001"/>
                <a:gd name="connsiteY448" fmla="*/ 5412543 h 6523037"/>
                <a:gd name="connsiteX449" fmla="*/ 10578442 w 12192001"/>
                <a:gd name="connsiteY449" fmla="*/ 5411845 h 6523037"/>
                <a:gd name="connsiteX450" fmla="*/ 10308030 w 12192001"/>
                <a:gd name="connsiteY450" fmla="*/ 5682955 h 6523037"/>
                <a:gd name="connsiteX451" fmla="*/ 10579141 w 12192001"/>
                <a:gd name="connsiteY451" fmla="*/ 5953367 h 6523037"/>
                <a:gd name="connsiteX452" fmla="*/ 10843264 w 12192001"/>
                <a:gd name="connsiteY452" fmla="*/ 5953367 h 6523037"/>
                <a:gd name="connsiteX453" fmla="*/ 10572154 w 12192001"/>
                <a:gd name="connsiteY453" fmla="*/ 5682955 h 6523037"/>
                <a:gd name="connsiteX454" fmla="*/ 10756621 w 12192001"/>
                <a:gd name="connsiteY454" fmla="*/ 5498489 h 6523037"/>
                <a:gd name="connsiteX455" fmla="*/ 10842566 w 12192001"/>
                <a:gd name="connsiteY455" fmla="*/ 5411845 h 6523037"/>
                <a:gd name="connsiteX456" fmla="*/ 167886 w 12192001"/>
                <a:gd name="connsiteY456" fmla="*/ 5147274 h 6523037"/>
                <a:gd name="connsiteX457" fmla="*/ 438997 w 12192001"/>
                <a:gd name="connsiteY457" fmla="*/ 5417686 h 6523037"/>
                <a:gd name="connsiteX458" fmla="*/ 169284 w 12192001"/>
                <a:gd name="connsiteY458" fmla="*/ 5688797 h 6523037"/>
                <a:gd name="connsiteX459" fmla="*/ 432708 w 12192001"/>
                <a:gd name="connsiteY459" fmla="*/ 5688797 h 6523037"/>
                <a:gd name="connsiteX460" fmla="*/ 703120 w 12192001"/>
                <a:gd name="connsiteY460" fmla="*/ 5417686 h 6523037"/>
                <a:gd name="connsiteX461" fmla="*/ 568962 w 12192001"/>
                <a:gd name="connsiteY461" fmla="*/ 5284227 h 6523037"/>
                <a:gd name="connsiteX462" fmla="*/ 432009 w 12192001"/>
                <a:gd name="connsiteY462" fmla="*/ 5147274 h 6523037"/>
                <a:gd name="connsiteX463" fmla="*/ 1814116 w 12192001"/>
                <a:gd name="connsiteY463" fmla="*/ 5146575 h 6523037"/>
                <a:gd name="connsiteX464" fmla="*/ 1942683 w 12192001"/>
                <a:gd name="connsiteY464" fmla="*/ 5275144 h 6523037"/>
                <a:gd name="connsiteX465" fmla="*/ 2084528 w 12192001"/>
                <a:gd name="connsiteY465" fmla="*/ 5416987 h 6523037"/>
                <a:gd name="connsiteX466" fmla="*/ 1814116 w 12192001"/>
                <a:gd name="connsiteY466" fmla="*/ 5688098 h 6523037"/>
                <a:gd name="connsiteX467" fmla="*/ 2078239 w 12192001"/>
                <a:gd name="connsiteY467" fmla="*/ 5688098 h 6523037"/>
                <a:gd name="connsiteX468" fmla="*/ 2348651 w 12192001"/>
                <a:gd name="connsiteY468" fmla="*/ 5416987 h 6523037"/>
                <a:gd name="connsiteX469" fmla="*/ 2343759 w 12192001"/>
                <a:gd name="connsiteY469" fmla="*/ 5412096 h 6523037"/>
                <a:gd name="connsiteX470" fmla="*/ 2078239 w 12192001"/>
                <a:gd name="connsiteY470" fmla="*/ 5146575 h 6523037"/>
                <a:gd name="connsiteX471" fmla="*/ 2362625 w 12192001"/>
                <a:gd name="connsiteY471" fmla="*/ 5145876 h 6523037"/>
                <a:gd name="connsiteX472" fmla="*/ 2633736 w 12192001"/>
                <a:gd name="connsiteY472" fmla="*/ 5415590 h 6523037"/>
                <a:gd name="connsiteX473" fmla="*/ 2630942 w 12192001"/>
                <a:gd name="connsiteY473" fmla="*/ 5418385 h 6523037"/>
                <a:gd name="connsiteX474" fmla="*/ 2540804 w 12192001"/>
                <a:gd name="connsiteY474" fmla="*/ 5509220 h 6523037"/>
                <a:gd name="connsiteX475" fmla="*/ 2363324 w 12192001"/>
                <a:gd name="connsiteY475" fmla="*/ 5686700 h 6523037"/>
                <a:gd name="connsiteX476" fmla="*/ 2627447 w 12192001"/>
                <a:gd name="connsiteY476" fmla="*/ 5686700 h 6523037"/>
                <a:gd name="connsiteX477" fmla="*/ 2716886 w 12192001"/>
                <a:gd name="connsiteY477" fmla="*/ 5597262 h 6523037"/>
                <a:gd name="connsiteX478" fmla="*/ 2897859 w 12192001"/>
                <a:gd name="connsiteY478" fmla="*/ 5416288 h 6523037"/>
                <a:gd name="connsiteX479" fmla="*/ 2626749 w 12192001"/>
                <a:gd name="connsiteY479" fmla="*/ 5145876 h 6523037"/>
                <a:gd name="connsiteX480" fmla="*/ 1264208 w 12192001"/>
                <a:gd name="connsiteY480" fmla="*/ 5145876 h 6523037"/>
                <a:gd name="connsiteX481" fmla="*/ 1535319 w 12192001"/>
                <a:gd name="connsiteY481" fmla="*/ 5415590 h 6523037"/>
                <a:gd name="connsiteX482" fmla="*/ 1532523 w 12192001"/>
                <a:gd name="connsiteY482" fmla="*/ 5418385 h 6523037"/>
                <a:gd name="connsiteX483" fmla="*/ 1442387 w 12192001"/>
                <a:gd name="connsiteY483" fmla="*/ 5509220 h 6523037"/>
                <a:gd name="connsiteX484" fmla="*/ 1264907 w 12192001"/>
                <a:gd name="connsiteY484" fmla="*/ 5686700 h 6523037"/>
                <a:gd name="connsiteX485" fmla="*/ 1529030 w 12192001"/>
                <a:gd name="connsiteY485" fmla="*/ 5686700 h 6523037"/>
                <a:gd name="connsiteX486" fmla="*/ 1618469 w 12192001"/>
                <a:gd name="connsiteY486" fmla="*/ 5597262 h 6523037"/>
                <a:gd name="connsiteX487" fmla="*/ 1799442 w 12192001"/>
                <a:gd name="connsiteY487" fmla="*/ 5416288 h 6523037"/>
                <a:gd name="connsiteX488" fmla="*/ 1528331 w 12192001"/>
                <a:gd name="connsiteY488" fmla="*/ 5145876 h 6523037"/>
                <a:gd name="connsiteX489" fmla="*/ 715697 w 12192001"/>
                <a:gd name="connsiteY489" fmla="*/ 5145876 h 6523037"/>
                <a:gd name="connsiteX490" fmla="*/ 717095 w 12192001"/>
                <a:gd name="connsiteY490" fmla="*/ 5147274 h 6523037"/>
                <a:gd name="connsiteX491" fmla="*/ 986808 w 12192001"/>
                <a:gd name="connsiteY491" fmla="*/ 5416288 h 6523037"/>
                <a:gd name="connsiteX492" fmla="*/ 716396 w 12192001"/>
                <a:gd name="connsiteY492" fmla="*/ 5687399 h 6523037"/>
                <a:gd name="connsiteX493" fmla="*/ 980520 w 12192001"/>
                <a:gd name="connsiteY493" fmla="*/ 5687399 h 6523037"/>
                <a:gd name="connsiteX494" fmla="*/ 1250932 w 12192001"/>
                <a:gd name="connsiteY494" fmla="*/ 5416288 h 6523037"/>
                <a:gd name="connsiteX495" fmla="*/ 1245342 w 12192001"/>
                <a:gd name="connsiteY495" fmla="*/ 5411397 h 6523037"/>
                <a:gd name="connsiteX496" fmla="*/ 979821 w 12192001"/>
                <a:gd name="connsiteY496" fmla="*/ 5145876 h 6523037"/>
                <a:gd name="connsiteX497" fmla="*/ 2911136 w 12192001"/>
                <a:gd name="connsiteY497" fmla="*/ 5145178 h 6523037"/>
                <a:gd name="connsiteX498" fmla="*/ 3041801 w 12192001"/>
                <a:gd name="connsiteY498" fmla="*/ 5274445 h 6523037"/>
                <a:gd name="connsiteX499" fmla="*/ 3182246 w 12192001"/>
                <a:gd name="connsiteY499" fmla="*/ 5414891 h 6523037"/>
                <a:gd name="connsiteX500" fmla="*/ 2911834 w 12192001"/>
                <a:gd name="connsiteY500" fmla="*/ 5686002 h 6523037"/>
                <a:gd name="connsiteX501" fmla="*/ 3175958 w 12192001"/>
                <a:gd name="connsiteY501" fmla="*/ 5686002 h 6523037"/>
                <a:gd name="connsiteX502" fmla="*/ 3446370 w 12192001"/>
                <a:gd name="connsiteY502" fmla="*/ 5415590 h 6523037"/>
                <a:gd name="connsiteX503" fmla="*/ 3175259 w 12192001"/>
                <a:gd name="connsiteY503" fmla="*/ 5145178 h 6523037"/>
                <a:gd name="connsiteX504" fmla="*/ 3459646 w 12192001"/>
                <a:gd name="connsiteY504" fmla="*/ 5144479 h 6523037"/>
                <a:gd name="connsiteX505" fmla="*/ 3730757 w 12192001"/>
                <a:gd name="connsiteY505" fmla="*/ 5414891 h 6523037"/>
                <a:gd name="connsiteX506" fmla="*/ 3460345 w 12192001"/>
                <a:gd name="connsiteY506" fmla="*/ 5686002 h 6523037"/>
                <a:gd name="connsiteX507" fmla="*/ 3724468 w 12192001"/>
                <a:gd name="connsiteY507" fmla="*/ 5686002 h 6523037"/>
                <a:gd name="connsiteX508" fmla="*/ 3994880 w 12192001"/>
                <a:gd name="connsiteY508" fmla="*/ 5414891 h 6523037"/>
                <a:gd name="connsiteX509" fmla="*/ 3723769 w 12192001"/>
                <a:gd name="connsiteY509" fmla="*/ 5144479 h 6523037"/>
                <a:gd name="connsiteX510" fmla="*/ 4008156 w 12192001"/>
                <a:gd name="connsiteY510" fmla="*/ 5143780 h 6523037"/>
                <a:gd name="connsiteX511" fmla="*/ 4279267 w 12192001"/>
                <a:gd name="connsiteY511" fmla="*/ 5414192 h 6523037"/>
                <a:gd name="connsiteX512" fmla="*/ 4008855 w 12192001"/>
                <a:gd name="connsiteY512" fmla="*/ 5685303 h 6523037"/>
                <a:gd name="connsiteX513" fmla="*/ 4207298 w 12192001"/>
                <a:gd name="connsiteY513" fmla="*/ 5685303 h 6523037"/>
                <a:gd name="connsiteX514" fmla="*/ 4272281 w 12192001"/>
                <a:gd name="connsiteY514" fmla="*/ 5685303 h 6523037"/>
                <a:gd name="connsiteX515" fmla="*/ 4543392 w 12192001"/>
                <a:gd name="connsiteY515" fmla="*/ 5414192 h 6523037"/>
                <a:gd name="connsiteX516" fmla="*/ 4409232 w 12192001"/>
                <a:gd name="connsiteY516" fmla="*/ 5280734 h 6523037"/>
                <a:gd name="connsiteX517" fmla="*/ 4272281 w 12192001"/>
                <a:gd name="connsiteY517" fmla="*/ 5143780 h 6523037"/>
                <a:gd name="connsiteX518" fmla="*/ 4555270 w 12192001"/>
                <a:gd name="connsiteY518" fmla="*/ 5143081 h 6523037"/>
                <a:gd name="connsiteX519" fmla="*/ 4822307 w 12192001"/>
                <a:gd name="connsiteY519" fmla="*/ 5409430 h 6523037"/>
                <a:gd name="connsiteX520" fmla="*/ 5085129 w 12192001"/>
                <a:gd name="connsiteY520" fmla="*/ 5409430 h 6523037"/>
                <a:gd name="connsiteX521" fmla="*/ 4818091 w 12192001"/>
                <a:gd name="connsiteY521" fmla="*/ 5143081 h 6523037"/>
                <a:gd name="connsiteX522" fmla="*/ 4828477 w 12192001"/>
                <a:gd name="connsiteY522" fmla="*/ 5142512 h 6523037"/>
                <a:gd name="connsiteX523" fmla="*/ 4828477 w 12192001"/>
                <a:gd name="connsiteY523" fmla="*/ 5142995 h 6523037"/>
                <a:gd name="connsiteX524" fmla="*/ 5099104 w 12192001"/>
                <a:gd name="connsiteY524" fmla="*/ 5412924 h 6523037"/>
                <a:gd name="connsiteX525" fmla="*/ 4829390 w 12192001"/>
                <a:gd name="connsiteY525" fmla="*/ 5684035 h 6523037"/>
                <a:gd name="connsiteX526" fmla="*/ 5092815 w 12192001"/>
                <a:gd name="connsiteY526" fmla="*/ 5684035 h 6523037"/>
                <a:gd name="connsiteX527" fmla="*/ 5363227 w 12192001"/>
                <a:gd name="connsiteY527" fmla="*/ 5412924 h 6523037"/>
                <a:gd name="connsiteX528" fmla="*/ 5229068 w 12192001"/>
                <a:gd name="connsiteY528" fmla="*/ 5279465 h 6523037"/>
                <a:gd name="connsiteX529" fmla="*/ 5092115 w 12192001"/>
                <a:gd name="connsiteY529" fmla="*/ 5142512 h 6523037"/>
                <a:gd name="connsiteX530" fmla="*/ 6474223 w 12192001"/>
                <a:gd name="connsiteY530" fmla="*/ 5141813 h 6523037"/>
                <a:gd name="connsiteX531" fmla="*/ 6602789 w 12192001"/>
                <a:gd name="connsiteY531" fmla="*/ 5270382 h 6523037"/>
                <a:gd name="connsiteX532" fmla="*/ 6744635 w 12192001"/>
                <a:gd name="connsiteY532" fmla="*/ 5412225 h 6523037"/>
                <a:gd name="connsiteX533" fmla="*/ 6474223 w 12192001"/>
                <a:gd name="connsiteY533" fmla="*/ 5683336 h 6523037"/>
                <a:gd name="connsiteX534" fmla="*/ 6738346 w 12192001"/>
                <a:gd name="connsiteY534" fmla="*/ 5683336 h 6523037"/>
                <a:gd name="connsiteX535" fmla="*/ 7008758 w 12192001"/>
                <a:gd name="connsiteY535" fmla="*/ 5412225 h 6523037"/>
                <a:gd name="connsiteX536" fmla="*/ 7003865 w 12192001"/>
                <a:gd name="connsiteY536" fmla="*/ 5407334 h 6523037"/>
                <a:gd name="connsiteX537" fmla="*/ 6738346 w 12192001"/>
                <a:gd name="connsiteY537" fmla="*/ 5141813 h 6523037"/>
                <a:gd name="connsiteX538" fmla="*/ 7022731 w 12192001"/>
                <a:gd name="connsiteY538" fmla="*/ 5141114 h 6523037"/>
                <a:gd name="connsiteX539" fmla="*/ 7293842 w 12192001"/>
                <a:gd name="connsiteY539" fmla="*/ 5410828 h 6523037"/>
                <a:gd name="connsiteX540" fmla="*/ 7291048 w 12192001"/>
                <a:gd name="connsiteY540" fmla="*/ 5413623 h 6523037"/>
                <a:gd name="connsiteX541" fmla="*/ 7200910 w 12192001"/>
                <a:gd name="connsiteY541" fmla="*/ 5504458 h 6523037"/>
                <a:gd name="connsiteX542" fmla="*/ 7023431 w 12192001"/>
                <a:gd name="connsiteY542" fmla="*/ 5681938 h 6523037"/>
                <a:gd name="connsiteX543" fmla="*/ 7287553 w 12192001"/>
                <a:gd name="connsiteY543" fmla="*/ 5681938 h 6523037"/>
                <a:gd name="connsiteX544" fmla="*/ 7376992 w 12192001"/>
                <a:gd name="connsiteY544" fmla="*/ 5592500 h 6523037"/>
                <a:gd name="connsiteX545" fmla="*/ 7557965 w 12192001"/>
                <a:gd name="connsiteY545" fmla="*/ 5411526 h 6523037"/>
                <a:gd name="connsiteX546" fmla="*/ 7286855 w 12192001"/>
                <a:gd name="connsiteY546" fmla="*/ 5141114 h 6523037"/>
                <a:gd name="connsiteX547" fmla="*/ 5924314 w 12192001"/>
                <a:gd name="connsiteY547" fmla="*/ 5141114 h 6523037"/>
                <a:gd name="connsiteX548" fmla="*/ 6195425 w 12192001"/>
                <a:gd name="connsiteY548" fmla="*/ 5410828 h 6523037"/>
                <a:gd name="connsiteX549" fmla="*/ 6192630 w 12192001"/>
                <a:gd name="connsiteY549" fmla="*/ 5413623 h 6523037"/>
                <a:gd name="connsiteX550" fmla="*/ 6102494 w 12192001"/>
                <a:gd name="connsiteY550" fmla="*/ 5504458 h 6523037"/>
                <a:gd name="connsiteX551" fmla="*/ 5925013 w 12192001"/>
                <a:gd name="connsiteY551" fmla="*/ 5681938 h 6523037"/>
                <a:gd name="connsiteX552" fmla="*/ 6189136 w 12192001"/>
                <a:gd name="connsiteY552" fmla="*/ 5681938 h 6523037"/>
                <a:gd name="connsiteX553" fmla="*/ 6278575 w 12192001"/>
                <a:gd name="connsiteY553" fmla="*/ 5592500 h 6523037"/>
                <a:gd name="connsiteX554" fmla="*/ 6459548 w 12192001"/>
                <a:gd name="connsiteY554" fmla="*/ 5411526 h 6523037"/>
                <a:gd name="connsiteX555" fmla="*/ 6188437 w 12192001"/>
                <a:gd name="connsiteY555" fmla="*/ 5141114 h 6523037"/>
                <a:gd name="connsiteX556" fmla="*/ 5375803 w 12192001"/>
                <a:gd name="connsiteY556" fmla="*/ 5141114 h 6523037"/>
                <a:gd name="connsiteX557" fmla="*/ 5377202 w 12192001"/>
                <a:gd name="connsiteY557" fmla="*/ 5142512 h 6523037"/>
                <a:gd name="connsiteX558" fmla="*/ 5646914 w 12192001"/>
                <a:gd name="connsiteY558" fmla="*/ 5411526 h 6523037"/>
                <a:gd name="connsiteX559" fmla="*/ 5376502 w 12192001"/>
                <a:gd name="connsiteY559" fmla="*/ 5682637 h 6523037"/>
                <a:gd name="connsiteX560" fmla="*/ 5640627 w 12192001"/>
                <a:gd name="connsiteY560" fmla="*/ 5682637 h 6523037"/>
                <a:gd name="connsiteX561" fmla="*/ 5911038 w 12192001"/>
                <a:gd name="connsiteY561" fmla="*/ 5411526 h 6523037"/>
                <a:gd name="connsiteX562" fmla="*/ 5905448 w 12192001"/>
                <a:gd name="connsiteY562" fmla="*/ 5406635 h 6523037"/>
                <a:gd name="connsiteX563" fmla="*/ 5639927 w 12192001"/>
                <a:gd name="connsiteY563" fmla="*/ 5141114 h 6523037"/>
                <a:gd name="connsiteX564" fmla="*/ 7571242 w 12192001"/>
                <a:gd name="connsiteY564" fmla="*/ 5140416 h 6523037"/>
                <a:gd name="connsiteX565" fmla="*/ 7701907 w 12192001"/>
                <a:gd name="connsiteY565" fmla="*/ 5269683 h 6523037"/>
                <a:gd name="connsiteX566" fmla="*/ 7842352 w 12192001"/>
                <a:gd name="connsiteY566" fmla="*/ 5410129 h 6523037"/>
                <a:gd name="connsiteX567" fmla="*/ 7571940 w 12192001"/>
                <a:gd name="connsiteY567" fmla="*/ 5681240 h 6523037"/>
                <a:gd name="connsiteX568" fmla="*/ 7836064 w 12192001"/>
                <a:gd name="connsiteY568" fmla="*/ 5681240 h 6523037"/>
                <a:gd name="connsiteX569" fmla="*/ 8106476 w 12192001"/>
                <a:gd name="connsiteY569" fmla="*/ 5410828 h 6523037"/>
                <a:gd name="connsiteX570" fmla="*/ 7835365 w 12192001"/>
                <a:gd name="connsiteY570" fmla="*/ 5140416 h 6523037"/>
                <a:gd name="connsiteX571" fmla="*/ 8119752 w 12192001"/>
                <a:gd name="connsiteY571" fmla="*/ 5139717 h 6523037"/>
                <a:gd name="connsiteX572" fmla="*/ 8390863 w 12192001"/>
                <a:gd name="connsiteY572" fmla="*/ 5410129 h 6523037"/>
                <a:gd name="connsiteX573" fmla="*/ 8120451 w 12192001"/>
                <a:gd name="connsiteY573" fmla="*/ 5681240 h 6523037"/>
                <a:gd name="connsiteX574" fmla="*/ 8384574 w 12192001"/>
                <a:gd name="connsiteY574" fmla="*/ 5681240 h 6523037"/>
                <a:gd name="connsiteX575" fmla="*/ 8654986 w 12192001"/>
                <a:gd name="connsiteY575" fmla="*/ 5410129 h 6523037"/>
                <a:gd name="connsiteX576" fmla="*/ 8383875 w 12192001"/>
                <a:gd name="connsiteY576" fmla="*/ 5139717 h 6523037"/>
                <a:gd name="connsiteX577" fmla="*/ 9488582 w 12192001"/>
                <a:gd name="connsiteY577" fmla="*/ 5139337 h 6523037"/>
                <a:gd name="connsiteX578" fmla="*/ 9488582 w 12192001"/>
                <a:gd name="connsiteY578" fmla="*/ 5139510 h 6523037"/>
                <a:gd name="connsiteX579" fmla="*/ 9759520 w 12192001"/>
                <a:gd name="connsiteY579" fmla="*/ 5409749 h 6523037"/>
                <a:gd name="connsiteX580" fmla="*/ 9489807 w 12192001"/>
                <a:gd name="connsiteY580" fmla="*/ 5680860 h 6523037"/>
                <a:gd name="connsiteX581" fmla="*/ 9753231 w 12192001"/>
                <a:gd name="connsiteY581" fmla="*/ 5680860 h 6523037"/>
                <a:gd name="connsiteX582" fmla="*/ 10023643 w 12192001"/>
                <a:gd name="connsiteY582" fmla="*/ 5409749 h 6523037"/>
                <a:gd name="connsiteX583" fmla="*/ 9889485 w 12192001"/>
                <a:gd name="connsiteY583" fmla="*/ 5276290 h 6523037"/>
                <a:gd name="connsiteX584" fmla="*/ 9752532 w 12192001"/>
                <a:gd name="connsiteY584" fmla="*/ 5139337 h 6523037"/>
                <a:gd name="connsiteX585" fmla="*/ 8668262 w 12192001"/>
                <a:gd name="connsiteY585" fmla="*/ 5139018 h 6523037"/>
                <a:gd name="connsiteX586" fmla="*/ 8939373 w 12192001"/>
                <a:gd name="connsiteY586" fmla="*/ 5409430 h 6523037"/>
                <a:gd name="connsiteX587" fmla="*/ 8668961 w 12192001"/>
                <a:gd name="connsiteY587" fmla="*/ 5680541 h 6523037"/>
                <a:gd name="connsiteX588" fmla="*/ 8867403 w 12192001"/>
                <a:gd name="connsiteY588" fmla="*/ 5680541 h 6523037"/>
                <a:gd name="connsiteX589" fmla="*/ 8932386 w 12192001"/>
                <a:gd name="connsiteY589" fmla="*/ 5680541 h 6523037"/>
                <a:gd name="connsiteX590" fmla="*/ 9203497 w 12192001"/>
                <a:gd name="connsiteY590" fmla="*/ 5409430 h 6523037"/>
                <a:gd name="connsiteX591" fmla="*/ 9069338 w 12192001"/>
                <a:gd name="connsiteY591" fmla="*/ 5275972 h 6523037"/>
                <a:gd name="connsiteX592" fmla="*/ 8932386 w 12192001"/>
                <a:gd name="connsiteY592" fmla="*/ 5139018 h 6523037"/>
                <a:gd name="connsiteX593" fmla="*/ 11134639 w 12192001"/>
                <a:gd name="connsiteY593" fmla="*/ 5138638 h 6523037"/>
                <a:gd name="connsiteX594" fmla="*/ 11263206 w 12192001"/>
                <a:gd name="connsiteY594" fmla="*/ 5267207 h 6523037"/>
                <a:gd name="connsiteX595" fmla="*/ 11405051 w 12192001"/>
                <a:gd name="connsiteY595" fmla="*/ 5409050 h 6523037"/>
                <a:gd name="connsiteX596" fmla="*/ 11134639 w 12192001"/>
                <a:gd name="connsiteY596" fmla="*/ 5680161 h 6523037"/>
                <a:gd name="connsiteX597" fmla="*/ 11398762 w 12192001"/>
                <a:gd name="connsiteY597" fmla="*/ 5680161 h 6523037"/>
                <a:gd name="connsiteX598" fmla="*/ 11669174 w 12192001"/>
                <a:gd name="connsiteY598" fmla="*/ 5409050 h 6523037"/>
                <a:gd name="connsiteX599" fmla="*/ 11664282 w 12192001"/>
                <a:gd name="connsiteY599" fmla="*/ 5404159 h 6523037"/>
                <a:gd name="connsiteX600" fmla="*/ 11398762 w 12192001"/>
                <a:gd name="connsiteY600" fmla="*/ 5138638 h 6523037"/>
                <a:gd name="connsiteX601" fmla="*/ 9215375 w 12192001"/>
                <a:gd name="connsiteY601" fmla="*/ 5138319 h 6523037"/>
                <a:gd name="connsiteX602" fmla="*/ 9484003 w 12192001"/>
                <a:gd name="connsiteY602" fmla="*/ 5406255 h 6523037"/>
                <a:gd name="connsiteX603" fmla="*/ 9745545 w 12192001"/>
                <a:gd name="connsiteY603" fmla="*/ 5406255 h 6523037"/>
                <a:gd name="connsiteX604" fmla="*/ 9476916 w 12192001"/>
                <a:gd name="connsiteY604" fmla="*/ 5138319 h 6523037"/>
                <a:gd name="connsiteX605" fmla="*/ 10584731 w 12192001"/>
                <a:gd name="connsiteY605" fmla="*/ 5137939 h 6523037"/>
                <a:gd name="connsiteX606" fmla="*/ 10855842 w 12192001"/>
                <a:gd name="connsiteY606" fmla="*/ 5407653 h 6523037"/>
                <a:gd name="connsiteX607" fmla="*/ 10853046 w 12192001"/>
                <a:gd name="connsiteY607" fmla="*/ 5410448 h 6523037"/>
                <a:gd name="connsiteX608" fmla="*/ 10762910 w 12192001"/>
                <a:gd name="connsiteY608" fmla="*/ 5501283 h 6523037"/>
                <a:gd name="connsiteX609" fmla="*/ 10585430 w 12192001"/>
                <a:gd name="connsiteY609" fmla="*/ 5678763 h 6523037"/>
                <a:gd name="connsiteX610" fmla="*/ 10849553 w 12192001"/>
                <a:gd name="connsiteY610" fmla="*/ 5678763 h 6523037"/>
                <a:gd name="connsiteX611" fmla="*/ 10938992 w 12192001"/>
                <a:gd name="connsiteY611" fmla="*/ 5589325 h 6523037"/>
                <a:gd name="connsiteX612" fmla="*/ 11119965 w 12192001"/>
                <a:gd name="connsiteY612" fmla="*/ 5408351 h 6523037"/>
                <a:gd name="connsiteX613" fmla="*/ 10848854 w 12192001"/>
                <a:gd name="connsiteY613" fmla="*/ 5137939 h 6523037"/>
                <a:gd name="connsiteX614" fmla="*/ 10036220 w 12192001"/>
                <a:gd name="connsiteY614" fmla="*/ 5137939 h 6523037"/>
                <a:gd name="connsiteX615" fmla="*/ 10037618 w 12192001"/>
                <a:gd name="connsiteY615" fmla="*/ 5139337 h 6523037"/>
                <a:gd name="connsiteX616" fmla="*/ 10307331 w 12192001"/>
                <a:gd name="connsiteY616" fmla="*/ 5408351 h 6523037"/>
                <a:gd name="connsiteX617" fmla="*/ 10036919 w 12192001"/>
                <a:gd name="connsiteY617" fmla="*/ 5679462 h 6523037"/>
                <a:gd name="connsiteX618" fmla="*/ 10301043 w 12192001"/>
                <a:gd name="connsiteY618" fmla="*/ 5679462 h 6523037"/>
                <a:gd name="connsiteX619" fmla="*/ 10571455 w 12192001"/>
                <a:gd name="connsiteY619" fmla="*/ 5408351 h 6523037"/>
                <a:gd name="connsiteX620" fmla="*/ 10565865 w 12192001"/>
                <a:gd name="connsiteY620" fmla="*/ 5403460 h 6523037"/>
                <a:gd name="connsiteX621" fmla="*/ 10300344 w 12192001"/>
                <a:gd name="connsiteY621" fmla="*/ 5137939 h 6523037"/>
                <a:gd name="connsiteX622" fmla="*/ 708011 w 12192001"/>
                <a:gd name="connsiteY622" fmla="*/ 4871971 h 6523037"/>
                <a:gd name="connsiteX623" fmla="*/ 527737 w 12192001"/>
                <a:gd name="connsiteY623" fmla="*/ 5052944 h 6523037"/>
                <a:gd name="connsiteX624" fmla="*/ 438298 w 12192001"/>
                <a:gd name="connsiteY624" fmla="*/ 5143081 h 6523037"/>
                <a:gd name="connsiteX625" fmla="*/ 572456 w 12192001"/>
                <a:gd name="connsiteY625" fmla="*/ 5276540 h 6523037"/>
                <a:gd name="connsiteX626" fmla="*/ 709409 w 12192001"/>
                <a:gd name="connsiteY626" fmla="*/ 5413494 h 6523037"/>
                <a:gd name="connsiteX627" fmla="*/ 973532 w 12192001"/>
                <a:gd name="connsiteY627" fmla="*/ 5413494 h 6523037"/>
                <a:gd name="connsiteX628" fmla="*/ 702421 w 12192001"/>
                <a:gd name="connsiteY628" fmla="*/ 5143081 h 6523037"/>
                <a:gd name="connsiteX629" fmla="*/ 703819 w 12192001"/>
                <a:gd name="connsiteY629" fmla="*/ 5141684 h 6523037"/>
                <a:gd name="connsiteX630" fmla="*/ 972135 w 12192001"/>
                <a:gd name="connsiteY630" fmla="*/ 4871971 h 6523037"/>
                <a:gd name="connsiteX631" fmla="*/ 1257220 w 12192001"/>
                <a:gd name="connsiteY631" fmla="*/ 4871272 h 6523037"/>
                <a:gd name="connsiteX632" fmla="*/ 986808 w 12192001"/>
                <a:gd name="connsiteY632" fmla="*/ 5142383 h 6523037"/>
                <a:gd name="connsiteX633" fmla="*/ 1257919 w 12192001"/>
                <a:gd name="connsiteY633" fmla="*/ 5412795 h 6523037"/>
                <a:gd name="connsiteX634" fmla="*/ 1522043 w 12192001"/>
                <a:gd name="connsiteY634" fmla="*/ 5412795 h 6523037"/>
                <a:gd name="connsiteX635" fmla="*/ 1250932 w 12192001"/>
                <a:gd name="connsiteY635" fmla="*/ 5142383 h 6523037"/>
                <a:gd name="connsiteX636" fmla="*/ 1521344 w 12192001"/>
                <a:gd name="connsiteY636" fmla="*/ 4871272 h 6523037"/>
                <a:gd name="connsiteX637" fmla="*/ 2904148 w 12192001"/>
                <a:gd name="connsiteY637" fmla="*/ 4870573 h 6523037"/>
                <a:gd name="connsiteX638" fmla="*/ 2633736 w 12192001"/>
                <a:gd name="connsiteY638" fmla="*/ 5141684 h 6523037"/>
                <a:gd name="connsiteX639" fmla="*/ 2904847 w 12192001"/>
                <a:gd name="connsiteY639" fmla="*/ 5412096 h 6523037"/>
                <a:gd name="connsiteX640" fmla="*/ 3168271 w 12192001"/>
                <a:gd name="connsiteY640" fmla="*/ 5412096 h 6523037"/>
                <a:gd name="connsiteX641" fmla="*/ 3037607 w 12192001"/>
                <a:gd name="connsiteY641" fmla="*/ 5282130 h 6523037"/>
                <a:gd name="connsiteX642" fmla="*/ 2897162 w 12192001"/>
                <a:gd name="connsiteY642" fmla="*/ 5141684 h 6523037"/>
                <a:gd name="connsiteX643" fmla="*/ 3168271 w 12192001"/>
                <a:gd name="connsiteY643" fmla="*/ 4870573 h 6523037"/>
                <a:gd name="connsiteX644" fmla="*/ 1805032 w 12192001"/>
                <a:gd name="connsiteY644" fmla="*/ 4870573 h 6523037"/>
                <a:gd name="connsiteX645" fmla="*/ 1534620 w 12192001"/>
                <a:gd name="connsiteY645" fmla="*/ 5141684 h 6523037"/>
                <a:gd name="connsiteX646" fmla="*/ 1805731 w 12192001"/>
                <a:gd name="connsiteY646" fmla="*/ 5412096 h 6523037"/>
                <a:gd name="connsiteX647" fmla="*/ 1807128 w 12192001"/>
                <a:gd name="connsiteY647" fmla="*/ 5413494 h 6523037"/>
                <a:gd name="connsiteX648" fmla="*/ 2071252 w 12192001"/>
                <a:gd name="connsiteY648" fmla="*/ 5413494 h 6523037"/>
                <a:gd name="connsiteX649" fmla="*/ 1939889 w 12192001"/>
                <a:gd name="connsiteY649" fmla="*/ 5282130 h 6523037"/>
                <a:gd name="connsiteX650" fmla="*/ 1802236 w 12192001"/>
                <a:gd name="connsiteY650" fmla="*/ 5144479 h 6523037"/>
                <a:gd name="connsiteX651" fmla="*/ 2071252 w 12192001"/>
                <a:gd name="connsiteY651" fmla="*/ 4870573 h 6523037"/>
                <a:gd name="connsiteX652" fmla="*/ 3451960 w 12192001"/>
                <a:gd name="connsiteY652" fmla="*/ 4869875 h 6523037"/>
                <a:gd name="connsiteX653" fmla="*/ 3181548 w 12192001"/>
                <a:gd name="connsiteY653" fmla="*/ 5140985 h 6523037"/>
                <a:gd name="connsiteX654" fmla="*/ 3452658 w 12192001"/>
                <a:gd name="connsiteY654" fmla="*/ 5411397 h 6523037"/>
                <a:gd name="connsiteX655" fmla="*/ 3716782 w 12192001"/>
                <a:gd name="connsiteY655" fmla="*/ 5411397 h 6523037"/>
                <a:gd name="connsiteX656" fmla="*/ 3445671 w 12192001"/>
                <a:gd name="connsiteY656" fmla="*/ 5140985 h 6523037"/>
                <a:gd name="connsiteX657" fmla="*/ 3630138 w 12192001"/>
                <a:gd name="connsiteY657" fmla="*/ 4956518 h 6523037"/>
                <a:gd name="connsiteX658" fmla="*/ 3714686 w 12192001"/>
                <a:gd name="connsiteY658" fmla="*/ 4869875 h 6523037"/>
                <a:gd name="connsiteX659" fmla="*/ 4000470 w 12192001"/>
                <a:gd name="connsiteY659" fmla="*/ 4869176 h 6523037"/>
                <a:gd name="connsiteX660" fmla="*/ 3730058 w 12192001"/>
                <a:gd name="connsiteY660" fmla="*/ 5140287 h 6523037"/>
                <a:gd name="connsiteX661" fmla="*/ 4001169 w 12192001"/>
                <a:gd name="connsiteY661" fmla="*/ 5410699 h 6523037"/>
                <a:gd name="connsiteX662" fmla="*/ 4265292 w 12192001"/>
                <a:gd name="connsiteY662" fmla="*/ 5410699 h 6523037"/>
                <a:gd name="connsiteX663" fmla="*/ 3994181 w 12192001"/>
                <a:gd name="connsiteY663" fmla="*/ 5140287 h 6523037"/>
                <a:gd name="connsiteX664" fmla="*/ 3995579 w 12192001"/>
                <a:gd name="connsiteY664" fmla="*/ 5138889 h 6523037"/>
                <a:gd name="connsiteX665" fmla="*/ 3994880 w 12192001"/>
                <a:gd name="connsiteY665" fmla="*/ 5138889 h 6523037"/>
                <a:gd name="connsiteX666" fmla="*/ 4263197 w 12192001"/>
                <a:gd name="connsiteY666" fmla="*/ 4869875 h 6523037"/>
                <a:gd name="connsiteX667" fmla="*/ 4004663 w 12192001"/>
                <a:gd name="connsiteY667" fmla="*/ 4869875 h 6523037"/>
                <a:gd name="connsiteX668" fmla="*/ 4006060 w 12192001"/>
                <a:gd name="connsiteY668" fmla="*/ 4869176 h 6523037"/>
                <a:gd name="connsiteX669" fmla="*/ 4823465 w 12192001"/>
                <a:gd name="connsiteY669" fmla="*/ 4868606 h 6523037"/>
                <a:gd name="connsiteX670" fmla="*/ 4555968 w 12192001"/>
                <a:gd name="connsiteY670" fmla="*/ 5136792 h 6523037"/>
                <a:gd name="connsiteX671" fmla="*/ 4816244 w 12192001"/>
                <a:gd name="connsiteY671" fmla="*/ 5136792 h 6523037"/>
                <a:gd name="connsiteX672" fmla="*/ 4998484 w 12192001"/>
                <a:gd name="connsiteY672" fmla="*/ 4954551 h 6523037"/>
                <a:gd name="connsiteX673" fmla="*/ 5084429 w 12192001"/>
                <a:gd name="connsiteY673" fmla="*/ 4868606 h 6523037"/>
                <a:gd name="connsiteX674" fmla="*/ 4548281 w 12192001"/>
                <a:gd name="connsiteY674" fmla="*/ 4868477 h 6523037"/>
                <a:gd name="connsiteX675" fmla="*/ 4367308 w 12192001"/>
                <a:gd name="connsiteY675" fmla="*/ 5049450 h 6523037"/>
                <a:gd name="connsiteX676" fmla="*/ 4368007 w 12192001"/>
                <a:gd name="connsiteY676" fmla="*/ 5050149 h 6523037"/>
                <a:gd name="connsiteX677" fmla="*/ 4278568 w 12192001"/>
                <a:gd name="connsiteY677" fmla="*/ 5140287 h 6523037"/>
                <a:gd name="connsiteX678" fmla="*/ 4412727 w 12192001"/>
                <a:gd name="connsiteY678" fmla="*/ 5273746 h 6523037"/>
                <a:gd name="connsiteX679" fmla="*/ 4548980 w 12192001"/>
                <a:gd name="connsiteY679" fmla="*/ 5410000 h 6523037"/>
                <a:gd name="connsiteX680" fmla="*/ 4810394 w 12192001"/>
                <a:gd name="connsiteY680" fmla="*/ 5410000 h 6523037"/>
                <a:gd name="connsiteX681" fmla="*/ 4665187 w 12192001"/>
                <a:gd name="connsiteY681" fmla="*/ 5264791 h 6523037"/>
                <a:gd name="connsiteX682" fmla="*/ 4665187 w 12192001"/>
                <a:gd name="connsiteY682" fmla="*/ 5262463 h 6523037"/>
                <a:gd name="connsiteX683" fmla="*/ 4541993 w 12192001"/>
                <a:gd name="connsiteY683" fmla="*/ 5139588 h 6523037"/>
                <a:gd name="connsiteX684" fmla="*/ 4665187 w 12192001"/>
                <a:gd name="connsiteY684" fmla="*/ 5016077 h 6523037"/>
                <a:gd name="connsiteX685" fmla="*/ 4665187 w 12192001"/>
                <a:gd name="connsiteY685" fmla="*/ 5013245 h 6523037"/>
                <a:gd name="connsiteX686" fmla="*/ 4809274 w 12192001"/>
                <a:gd name="connsiteY686" fmla="*/ 4868477 h 6523037"/>
                <a:gd name="connsiteX687" fmla="*/ 2621159 w 12192001"/>
                <a:gd name="connsiteY687" fmla="*/ 4868477 h 6523037"/>
                <a:gd name="connsiteX688" fmla="*/ 2354940 w 12192001"/>
                <a:gd name="connsiteY688" fmla="*/ 4871272 h 6523037"/>
                <a:gd name="connsiteX689" fmla="*/ 2084528 w 12192001"/>
                <a:gd name="connsiteY689" fmla="*/ 5142383 h 6523037"/>
                <a:gd name="connsiteX690" fmla="*/ 2355639 w 12192001"/>
                <a:gd name="connsiteY690" fmla="*/ 5412795 h 6523037"/>
                <a:gd name="connsiteX691" fmla="*/ 2619762 w 12192001"/>
                <a:gd name="connsiteY691" fmla="*/ 5412795 h 6523037"/>
                <a:gd name="connsiteX692" fmla="*/ 2348651 w 12192001"/>
                <a:gd name="connsiteY692" fmla="*/ 5142383 h 6523037"/>
                <a:gd name="connsiteX693" fmla="*/ 5368118 w 12192001"/>
                <a:gd name="connsiteY693" fmla="*/ 4867209 h 6523037"/>
                <a:gd name="connsiteX694" fmla="*/ 5187844 w 12192001"/>
                <a:gd name="connsiteY694" fmla="*/ 5048182 h 6523037"/>
                <a:gd name="connsiteX695" fmla="*/ 5098404 w 12192001"/>
                <a:gd name="connsiteY695" fmla="*/ 5138319 h 6523037"/>
                <a:gd name="connsiteX696" fmla="*/ 5232563 w 12192001"/>
                <a:gd name="connsiteY696" fmla="*/ 5271778 h 6523037"/>
                <a:gd name="connsiteX697" fmla="*/ 5369515 w 12192001"/>
                <a:gd name="connsiteY697" fmla="*/ 5408732 h 6523037"/>
                <a:gd name="connsiteX698" fmla="*/ 5633638 w 12192001"/>
                <a:gd name="connsiteY698" fmla="*/ 5408732 h 6523037"/>
                <a:gd name="connsiteX699" fmla="*/ 5362527 w 12192001"/>
                <a:gd name="connsiteY699" fmla="*/ 5138319 h 6523037"/>
                <a:gd name="connsiteX700" fmla="*/ 5363925 w 12192001"/>
                <a:gd name="connsiteY700" fmla="*/ 5136922 h 6523037"/>
                <a:gd name="connsiteX701" fmla="*/ 5632241 w 12192001"/>
                <a:gd name="connsiteY701" fmla="*/ 4867209 h 6523037"/>
                <a:gd name="connsiteX702" fmla="*/ 5917326 w 12192001"/>
                <a:gd name="connsiteY702" fmla="*/ 4866510 h 6523037"/>
                <a:gd name="connsiteX703" fmla="*/ 5646914 w 12192001"/>
                <a:gd name="connsiteY703" fmla="*/ 5137621 h 6523037"/>
                <a:gd name="connsiteX704" fmla="*/ 5918025 w 12192001"/>
                <a:gd name="connsiteY704" fmla="*/ 5408033 h 6523037"/>
                <a:gd name="connsiteX705" fmla="*/ 6182150 w 12192001"/>
                <a:gd name="connsiteY705" fmla="*/ 5408033 h 6523037"/>
                <a:gd name="connsiteX706" fmla="*/ 5911038 w 12192001"/>
                <a:gd name="connsiteY706" fmla="*/ 5137621 h 6523037"/>
                <a:gd name="connsiteX707" fmla="*/ 6181450 w 12192001"/>
                <a:gd name="connsiteY707" fmla="*/ 4866510 h 6523037"/>
                <a:gd name="connsiteX708" fmla="*/ 7564254 w 12192001"/>
                <a:gd name="connsiteY708" fmla="*/ 4865811 h 6523037"/>
                <a:gd name="connsiteX709" fmla="*/ 7293842 w 12192001"/>
                <a:gd name="connsiteY709" fmla="*/ 5136922 h 6523037"/>
                <a:gd name="connsiteX710" fmla="*/ 7564953 w 12192001"/>
                <a:gd name="connsiteY710" fmla="*/ 5407334 h 6523037"/>
                <a:gd name="connsiteX711" fmla="*/ 7828377 w 12192001"/>
                <a:gd name="connsiteY711" fmla="*/ 5407334 h 6523037"/>
                <a:gd name="connsiteX712" fmla="*/ 7697713 w 12192001"/>
                <a:gd name="connsiteY712" fmla="*/ 5277368 h 6523037"/>
                <a:gd name="connsiteX713" fmla="*/ 7557268 w 12192001"/>
                <a:gd name="connsiteY713" fmla="*/ 5136922 h 6523037"/>
                <a:gd name="connsiteX714" fmla="*/ 7828377 w 12192001"/>
                <a:gd name="connsiteY714" fmla="*/ 4865811 h 6523037"/>
                <a:gd name="connsiteX715" fmla="*/ 6465139 w 12192001"/>
                <a:gd name="connsiteY715" fmla="*/ 4865811 h 6523037"/>
                <a:gd name="connsiteX716" fmla="*/ 6194726 w 12192001"/>
                <a:gd name="connsiteY716" fmla="*/ 5136922 h 6523037"/>
                <a:gd name="connsiteX717" fmla="*/ 6465837 w 12192001"/>
                <a:gd name="connsiteY717" fmla="*/ 5407334 h 6523037"/>
                <a:gd name="connsiteX718" fmla="*/ 6467235 w 12192001"/>
                <a:gd name="connsiteY718" fmla="*/ 5408732 h 6523037"/>
                <a:gd name="connsiteX719" fmla="*/ 6731358 w 12192001"/>
                <a:gd name="connsiteY719" fmla="*/ 5408732 h 6523037"/>
                <a:gd name="connsiteX720" fmla="*/ 6599996 w 12192001"/>
                <a:gd name="connsiteY720" fmla="*/ 5277368 h 6523037"/>
                <a:gd name="connsiteX721" fmla="*/ 6462342 w 12192001"/>
                <a:gd name="connsiteY721" fmla="*/ 5139717 h 6523037"/>
                <a:gd name="connsiteX722" fmla="*/ 6731358 w 12192001"/>
                <a:gd name="connsiteY722" fmla="*/ 4865811 h 6523037"/>
                <a:gd name="connsiteX723" fmla="*/ 9481988 w 12192001"/>
                <a:gd name="connsiteY723" fmla="*/ 4865431 h 6523037"/>
                <a:gd name="connsiteX724" fmla="*/ 9216074 w 12192001"/>
                <a:gd name="connsiteY724" fmla="*/ 5132030 h 6523037"/>
                <a:gd name="connsiteX725" fmla="*/ 9478247 w 12192001"/>
                <a:gd name="connsiteY725" fmla="*/ 5132030 h 6523037"/>
                <a:gd name="connsiteX726" fmla="*/ 9658901 w 12192001"/>
                <a:gd name="connsiteY726" fmla="*/ 4951376 h 6523037"/>
                <a:gd name="connsiteX727" fmla="*/ 9744846 w 12192001"/>
                <a:gd name="connsiteY727" fmla="*/ 4865431 h 6523037"/>
                <a:gd name="connsiteX728" fmla="*/ 8112066 w 12192001"/>
                <a:gd name="connsiteY728" fmla="*/ 4865113 h 6523037"/>
                <a:gd name="connsiteX729" fmla="*/ 7841654 w 12192001"/>
                <a:gd name="connsiteY729" fmla="*/ 5136223 h 6523037"/>
                <a:gd name="connsiteX730" fmla="*/ 8112764 w 12192001"/>
                <a:gd name="connsiteY730" fmla="*/ 5406635 h 6523037"/>
                <a:gd name="connsiteX731" fmla="*/ 8376888 w 12192001"/>
                <a:gd name="connsiteY731" fmla="*/ 5406635 h 6523037"/>
                <a:gd name="connsiteX732" fmla="*/ 8105777 w 12192001"/>
                <a:gd name="connsiteY732" fmla="*/ 5136223 h 6523037"/>
                <a:gd name="connsiteX733" fmla="*/ 8290244 w 12192001"/>
                <a:gd name="connsiteY733" fmla="*/ 4951756 h 6523037"/>
                <a:gd name="connsiteX734" fmla="*/ 8374792 w 12192001"/>
                <a:gd name="connsiteY734" fmla="*/ 4865113 h 6523037"/>
                <a:gd name="connsiteX735" fmla="*/ 8660576 w 12192001"/>
                <a:gd name="connsiteY735" fmla="*/ 4864414 h 6523037"/>
                <a:gd name="connsiteX736" fmla="*/ 8390164 w 12192001"/>
                <a:gd name="connsiteY736" fmla="*/ 5135525 h 6523037"/>
                <a:gd name="connsiteX737" fmla="*/ 8661275 w 12192001"/>
                <a:gd name="connsiteY737" fmla="*/ 5405937 h 6523037"/>
                <a:gd name="connsiteX738" fmla="*/ 8925398 w 12192001"/>
                <a:gd name="connsiteY738" fmla="*/ 5405937 h 6523037"/>
                <a:gd name="connsiteX739" fmla="*/ 8654287 w 12192001"/>
                <a:gd name="connsiteY739" fmla="*/ 5135525 h 6523037"/>
                <a:gd name="connsiteX740" fmla="*/ 8655685 w 12192001"/>
                <a:gd name="connsiteY740" fmla="*/ 5134127 h 6523037"/>
                <a:gd name="connsiteX741" fmla="*/ 8654986 w 12192001"/>
                <a:gd name="connsiteY741" fmla="*/ 5134127 h 6523037"/>
                <a:gd name="connsiteX742" fmla="*/ 8923303 w 12192001"/>
                <a:gd name="connsiteY742" fmla="*/ 4865113 h 6523037"/>
                <a:gd name="connsiteX743" fmla="*/ 8664769 w 12192001"/>
                <a:gd name="connsiteY743" fmla="*/ 4865113 h 6523037"/>
                <a:gd name="connsiteX744" fmla="*/ 8666166 w 12192001"/>
                <a:gd name="connsiteY744" fmla="*/ 4864414 h 6523037"/>
                <a:gd name="connsiteX745" fmla="*/ 10028534 w 12192001"/>
                <a:gd name="connsiteY745" fmla="*/ 4864034 h 6523037"/>
                <a:gd name="connsiteX746" fmla="*/ 9848260 w 12192001"/>
                <a:gd name="connsiteY746" fmla="*/ 5045007 h 6523037"/>
                <a:gd name="connsiteX747" fmla="*/ 9758821 w 12192001"/>
                <a:gd name="connsiteY747" fmla="*/ 5135144 h 6523037"/>
                <a:gd name="connsiteX748" fmla="*/ 9892979 w 12192001"/>
                <a:gd name="connsiteY748" fmla="*/ 5268603 h 6523037"/>
                <a:gd name="connsiteX749" fmla="*/ 10029932 w 12192001"/>
                <a:gd name="connsiteY749" fmla="*/ 5405557 h 6523037"/>
                <a:gd name="connsiteX750" fmla="*/ 10294055 w 12192001"/>
                <a:gd name="connsiteY750" fmla="*/ 5405557 h 6523037"/>
                <a:gd name="connsiteX751" fmla="*/ 10022944 w 12192001"/>
                <a:gd name="connsiteY751" fmla="*/ 5135144 h 6523037"/>
                <a:gd name="connsiteX752" fmla="*/ 10024342 w 12192001"/>
                <a:gd name="connsiteY752" fmla="*/ 5133747 h 6523037"/>
                <a:gd name="connsiteX753" fmla="*/ 10292658 w 12192001"/>
                <a:gd name="connsiteY753" fmla="*/ 4864034 h 6523037"/>
                <a:gd name="connsiteX754" fmla="*/ 9208387 w 12192001"/>
                <a:gd name="connsiteY754" fmla="*/ 4863715 h 6523037"/>
                <a:gd name="connsiteX755" fmla="*/ 9027414 w 12192001"/>
                <a:gd name="connsiteY755" fmla="*/ 5044688 h 6523037"/>
                <a:gd name="connsiteX756" fmla="*/ 9028113 w 12192001"/>
                <a:gd name="connsiteY756" fmla="*/ 5045387 h 6523037"/>
                <a:gd name="connsiteX757" fmla="*/ 8938674 w 12192001"/>
                <a:gd name="connsiteY757" fmla="*/ 5135525 h 6523037"/>
                <a:gd name="connsiteX758" fmla="*/ 9072833 w 12192001"/>
                <a:gd name="connsiteY758" fmla="*/ 5268984 h 6523037"/>
                <a:gd name="connsiteX759" fmla="*/ 9209086 w 12192001"/>
                <a:gd name="connsiteY759" fmla="*/ 5405238 h 6523037"/>
                <a:gd name="connsiteX760" fmla="*/ 9469224 w 12192001"/>
                <a:gd name="connsiteY760" fmla="*/ 5405238 h 6523037"/>
                <a:gd name="connsiteX761" fmla="*/ 9325603 w 12192001"/>
                <a:gd name="connsiteY761" fmla="*/ 5261616 h 6523037"/>
                <a:gd name="connsiteX762" fmla="*/ 9325603 w 12192001"/>
                <a:gd name="connsiteY762" fmla="*/ 5258012 h 6523037"/>
                <a:gd name="connsiteX763" fmla="*/ 9202099 w 12192001"/>
                <a:gd name="connsiteY763" fmla="*/ 5134826 h 6523037"/>
                <a:gd name="connsiteX764" fmla="*/ 9325603 w 12192001"/>
                <a:gd name="connsiteY764" fmla="*/ 5011003 h 6523037"/>
                <a:gd name="connsiteX765" fmla="*/ 9325603 w 12192001"/>
                <a:gd name="connsiteY765" fmla="*/ 5010070 h 6523037"/>
                <a:gd name="connsiteX766" fmla="*/ 9471271 w 12192001"/>
                <a:gd name="connsiteY766" fmla="*/ 4863715 h 6523037"/>
                <a:gd name="connsiteX767" fmla="*/ 7281265 w 12192001"/>
                <a:gd name="connsiteY767" fmla="*/ 4863715 h 6523037"/>
                <a:gd name="connsiteX768" fmla="*/ 7015046 w 12192001"/>
                <a:gd name="connsiteY768" fmla="*/ 4866510 h 6523037"/>
                <a:gd name="connsiteX769" fmla="*/ 6744635 w 12192001"/>
                <a:gd name="connsiteY769" fmla="*/ 5137621 h 6523037"/>
                <a:gd name="connsiteX770" fmla="*/ 7015746 w 12192001"/>
                <a:gd name="connsiteY770" fmla="*/ 5408033 h 6523037"/>
                <a:gd name="connsiteX771" fmla="*/ 7279868 w 12192001"/>
                <a:gd name="connsiteY771" fmla="*/ 5408033 h 6523037"/>
                <a:gd name="connsiteX772" fmla="*/ 7008758 w 12192001"/>
                <a:gd name="connsiteY772" fmla="*/ 5137621 h 6523037"/>
                <a:gd name="connsiteX773" fmla="*/ 10577743 w 12192001"/>
                <a:gd name="connsiteY773" fmla="*/ 4863335 h 6523037"/>
                <a:gd name="connsiteX774" fmla="*/ 10307331 w 12192001"/>
                <a:gd name="connsiteY774" fmla="*/ 5134446 h 6523037"/>
                <a:gd name="connsiteX775" fmla="*/ 10578442 w 12192001"/>
                <a:gd name="connsiteY775" fmla="*/ 5404858 h 6523037"/>
                <a:gd name="connsiteX776" fmla="*/ 10842566 w 12192001"/>
                <a:gd name="connsiteY776" fmla="*/ 5404858 h 6523037"/>
                <a:gd name="connsiteX777" fmla="*/ 10571455 w 12192001"/>
                <a:gd name="connsiteY777" fmla="*/ 5134446 h 6523037"/>
                <a:gd name="connsiteX778" fmla="*/ 10841867 w 12192001"/>
                <a:gd name="connsiteY778" fmla="*/ 4863335 h 6523037"/>
                <a:gd name="connsiteX779" fmla="*/ 11125555 w 12192001"/>
                <a:gd name="connsiteY779" fmla="*/ 4862636 h 6523037"/>
                <a:gd name="connsiteX780" fmla="*/ 10855143 w 12192001"/>
                <a:gd name="connsiteY780" fmla="*/ 5133747 h 6523037"/>
                <a:gd name="connsiteX781" fmla="*/ 11126254 w 12192001"/>
                <a:gd name="connsiteY781" fmla="*/ 5404159 h 6523037"/>
                <a:gd name="connsiteX782" fmla="*/ 11127651 w 12192001"/>
                <a:gd name="connsiteY782" fmla="*/ 5405557 h 6523037"/>
                <a:gd name="connsiteX783" fmla="*/ 11391775 w 12192001"/>
                <a:gd name="connsiteY783" fmla="*/ 5405557 h 6523037"/>
                <a:gd name="connsiteX784" fmla="*/ 11260412 w 12192001"/>
                <a:gd name="connsiteY784" fmla="*/ 5274193 h 6523037"/>
                <a:gd name="connsiteX785" fmla="*/ 11122759 w 12192001"/>
                <a:gd name="connsiteY785" fmla="*/ 5136542 h 6523037"/>
                <a:gd name="connsiteX786" fmla="*/ 11391775 w 12192001"/>
                <a:gd name="connsiteY786" fmla="*/ 4862636 h 6523037"/>
                <a:gd name="connsiteX787" fmla="*/ 11941682 w 12192001"/>
                <a:gd name="connsiteY787" fmla="*/ 4860540 h 6523037"/>
                <a:gd name="connsiteX788" fmla="*/ 11675463 w 12192001"/>
                <a:gd name="connsiteY788" fmla="*/ 4863335 h 6523037"/>
                <a:gd name="connsiteX789" fmla="*/ 11405051 w 12192001"/>
                <a:gd name="connsiteY789" fmla="*/ 5134446 h 6523037"/>
                <a:gd name="connsiteX790" fmla="*/ 11676162 w 12192001"/>
                <a:gd name="connsiteY790" fmla="*/ 5404858 h 6523037"/>
                <a:gd name="connsiteX791" fmla="*/ 11940285 w 12192001"/>
                <a:gd name="connsiteY791" fmla="*/ 5404858 h 6523037"/>
                <a:gd name="connsiteX792" fmla="*/ 11669174 w 12192001"/>
                <a:gd name="connsiteY792" fmla="*/ 5134446 h 6523037"/>
                <a:gd name="connsiteX793" fmla="*/ 166488 w 12192001"/>
                <a:gd name="connsiteY793" fmla="*/ 4598764 h 6523037"/>
                <a:gd name="connsiteX794" fmla="*/ 437599 w 12192001"/>
                <a:gd name="connsiteY794" fmla="*/ 4869176 h 6523037"/>
                <a:gd name="connsiteX795" fmla="*/ 434805 w 12192001"/>
                <a:gd name="connsiteY795" fmla="*/ 4871971 h 6523037"/>
                <a:gd name="connsiteX796" fmla="*/ 344667 w 12192001"/>
                <a:gd name="connsiteY796" fmla="*/ 4962807 h 6523037"/>
                <a:gd name="connsiteX797" fmla="*/ 167187 w 12192001"/>
                <a:gd name="connsiteY797" fmla="*/ 5139588 h 6523037"/>
                <a:gd name="connsiteX798" fmla="*/ 431311 w 12192001"/>
                <a:gd name="connsiteY798" fmla="*/ 5139588 h 6523037"/>
                <a:gd name="connsiteX799" fmla="*/ 520749 w 12192001"/>
                <a:gd name="connsiteY799" fmla="*/ 5050149 h 6523037"/>
                <a:gd name="connsiteX800" fmla="*/ 701722 w 12192001"/>
                <a:gd name="connsiteY800" fmla="*/ 4869176 h 6523037"/>
                <a:gd name="connsiteX801" fmla="*/ 430612 w 12192001"/>
                <a:gd name="connsiteY801" fmla="*/ 4598764 h 6523037"/>
                <a:gd name="connsiteX802" fmla="*/ 715697 w 12192001"/>
                <a:gd name="connsiteY802" fmla="*/ 4598065 h 6523037"/>
                <a:gd name="connsiteX803" fmla="*/ 845663 w 12192001"/>
                <a:gd name="connsiteY803" fmla="*/ 4728030 h 6523037"/>
                <a:gd name="connsiteX804" fmla="*/ 986109 w 12192001"/>
                <a:gd name="connsiteY804" fmla="*/ 4867778 h 6523037"/>
                <a:gd name="connsiteX805" fmla="*/ 715697 w 12192001"/>
                <a:gd name="connsiteY805" fmla="*/ 5138889 h 6523037"/>
                <a:gd name="connsiteX806" fmla="*/ 979821 w 12192001"/>
                <a:gd name="connsiteY806" fmla="*/ 5138889 h 6523037"/>
                <a:gd name="connsiteX807" fmla="*/ 1250932 w 12192001"/>
                <a:gd name="connsiteY807" fmla="*/ 4868477 h 6523037"/>
                <a:gd name="connsiteX808" fmla="*/ 979821 w 12192001"/>
                <a:gd name="connsiteY808" fmla="*/ 4598065 h 6523037"/>
                <a:gd name="connsiteX809" fmla="*/ 2911136 w 12192001"/>
                <a:gd name="connsiteY809" fmla="*/ 4597366 h 6523037"/>
                <a:gd name="connsiteX810" fmla="*/ 3040403 w 12192001"/>
                <a:gd name="connsiteY810" fmla="*/ 4725236 h 6523037"/>
                <a:gd name="connsiteX811" fmla="*/ 3040403 w 12192001"/>
                <a:gd name="connsiteY811" fmla="*/ 4725935 h 6523037"/>
                <a:gd name="connsiteX812" fmla="*/ 3182246 w 12192001"/>
                <a:gd name="connsiteY812" fmla="*/ 4867778 h 6523037"/>
                <a:gd name="connsiteX813" fmla="*/ 2911834 w 12192001"/>
                <a:gd name="connsiteY813" fmla="*/ 5138889 h 6523037"/>
                <a:gd name="connsiteX814" fmla="*/ 3175259 w 12192001"/>
                <a:gd name="connsiteY814" fmla="*/ 5138889 h 6523037"/>
                <a:gd name="connsiteX815" fmla="*/ 3445671 w 12192001"/>
                <a:gd name="connsiteY815" fmla="*/ 4867778 h 6523037"/>
                <a:gd name="connsiteX816" fmla="*/ 3440081 w 12192001"/>
                <a:gd name="connsiteY816" fmla="*/ 4862188 h 6523037"/>
                <a:gd name="connsiteX817" fmla="*/ 3439382 w 12192001"/>
                <a:gd name="connsiteY817" fmla="*/ 4862188 h 6523037"/>
                <a:gd name="connsiteX818" fmla="*/ 3173862 w 12192001"/>
                <a:gd name="connsiteY818" fmla="*/ 4597366 h 6523037"/>
                <a:gd name="connsiteX819" fmla="*/ 1813417 w 12192001"/>
                <a:gd name="connsiteY819" fmla="*/ 4597366 h 6523037"/>
                <a:gd name="connsiteX820" fmla="*/ 1815507 w 12192001"/>
                <a:gd name="connsiteY820" fmla="*/ 4600154 h 6523037"/>
                <a:gd name="connsiteX821" fmla="*/ 1814814 w 12192001"/>
                <a:gd name="connsiteY821" fmla="*/ 4599463 h 6523037"/>
                <a:gd name="connsiteX822" fmla="*/ 1815513 w 12192001"/>
                <a:gd name="connsiteY822" fmla="*/ 4600162 h 6523037"/>
                <a:gd name="connsiteX823" fmla="*/ 1815507 w 12192001"/>
                <a:gd name="connsiteY823" fmla="*/ 4600154 h 6523037"/>
                <a:gd name="connsiteX824" fmla="*/ 2074046 w 12192001"/>
                <a:gd name="connsiteY824" fmla="*/ 4857996 h 6523037"/>
                <a:gd name="connsiteX825" fmla="*/ 2083829 w 12192001"/>
                <a:gd name="connsiteY825" fmla="*/ 4867079 h 6523037"/>
                <a:gd name="connsiteX826" fmla="*/ 2085925 w 12192001"/>
                <a:gd name="connsiteY826" fmla="*/ 4869176 h 6523037"/>
                <a:gd name="connsiteX827" fmla="*/ 1821102 w 12192001"/>
                <a:gd name="connsiteY827" fmla="*/ 5138889 h 6523037"/>
                <a:gd name="connsiteX828" fmla="*/ 2080335 w 12192001"/>
                <a:gd name="connsiteY828" fmla="*/ 5139588 h 6523037"/>
                <a:gd name="connsiteX829" fmla="*/ 2350049 w 12192001"/>
                <a:gd name="connsiteY829" fmla="*/ 4869176 h 6523037"/>
                <a:gd name="connsiteX830" fmla="*/ 2214493 w 12192001"/>
                <a:gd name="connsiteY830" fmla="*/ 4734319 h 6523037"/>
                <a:gd name="connsiteX831" fmla="*/ 2197724 w 12192001"/>
                <a:gd name="connsiteY831" fmla="*/ 4717549 h 6523037"/>
                <a:gd name="connsiteX832" fmla="*/ 2078239 w 12192001"/>
                <a:gd name="connsiteY832" fmla="*/ 4598764 h 6523037"/>
                <a:gd name="connsiteX833" fmla="*/ 2074046 w 12192001"/>
                <a:gd name="connsiteY833" fmla="*/ 4597366 h 6523037"/>
                <a:gd name="connsiteX834" fmla="*/ 1263509 w 12192001"/>
                <a:gd name="connsiteY834" fmla="*/ 4597366 h 6523037"/>
                <a:gd name="connsiteX835" fmla="*/ 1534620 w 12192001"/>
                <a:gd name="connsiteY835" fmla="*/ 4867778 h 6523037"/>
                <a:gd name="connsiteX836" fmla="*/ 1264208 w 12192001"/>
                <a:gd name="connsiteY836" fmla="*/ 5138889 h 6523037"/>
                <a:gd name="connsiteX837" fmla="*/ 1528331 w 12192001"/>
                <a:gd name="connsiteY837" fmla="*/ 5138889 h 6523037"/>
                <a:gd name="connsiteX838" fmla="*/ 1798743 w 12192001"/>
                <a:gd name="connsiteY838" fmla="*/ 4867778 h 6523037"/>
                <a:gd name="connsiteX839" fmla="*/ 1527632 w 12192001"/>
                <a:gd name="connsiteY839" fmla="*/ 4597366 h 6523037"/>
                <a:gd name="connsiteX840" fmla="*/ 2626749 w 12192001"/>
                <a:gd name="connsiteY840" fmla="*/ 4595968 h 6523037"/>
                <a:gd name="connsiteX841" fmla="*/ 2363324 w 12192001"/>
                <a:gd name="connsiteY841" fmla="*/ 4596667 h 6523037"/>
                <a:gd name="connsiteX842" fmla="*/ 2632339 w 12192001"/>
                <a:gd name="connsiteY842" fmla="*/ 4864984 h 6523037"/>
                <a:gd name="connsiteX843" fmla="*/ 2631641 w 12192001"/>
                <a:gd name="connsiteY843" fmla="*/ 4865683 h 6523037"/>
                <a:gd name="connsiteX844" fmla="*/ 2633038 w 12192001"/>
                <a:gd name="connsiteY844" fmla="*/ 4867079 h 6523037"/>
                <a:gd name="connsiteX845" fmla="*/ 2362625 w 12192001"/>
                <a:gd name="connsiteY845" fmla="*/ 5138190 h 6523037"/>
                <a:gd name="connsiteX846" fmla="*/ 2626749 w 12192001"/>
                <a:gd name="connsiteY846" fmla="*/ 5138190 h 6523037"/>
                <a:gd name="connsiteX847" fmla="*/ 2716886 w 12192001"/>
                <a:gd name="connsiteY847" fmla="*/ 5048053 h 6523037"/>
                <a:gd name="connsiteX848" fmla="*/ 2896463 w 12192001"/>
                <a:gd name="connsiteY848" fmla="*/ 4864984 h 6523037"/>
                <a:gd name="connsiteX849" fmla="*/ 4555270 w 12192001"/>
                <a:gd name="connsiteY849" fmla="*/ 4595271 h 6523037"/>
                <a:gd name="connsiteX850" fmla="*/ 4822299 w 12192001"/>
                <a:gd name="connsiteY850" fmla="*/ 4861613 h 6523037"/>
                <a:gd name="connsiteX851" fmla="*/ 5084429 w 12192001"/>
                <a:gd name="connsiteY851" fmla="*/ 4860921 h 6523037"/>
                <a:gd name="connsiteX852" fmla="*/ 4818093 w 12192001"/>
                <a:gd name="connsiteY852" fmla="*/ 4595271 h 6523037"/>
                <a:gd name="connsiteX853" fmla="*/ 4006759 w 12192001"/>
                <a:gd name="connsiteY853" fmla="*/ 4595271 h 6523037"/>
                <a:gd name="connsiteX854" fmla="*/ 4136725 w 12192001"/>
                <a:gd name="connsiteY854" fmla="*/ 4724537 h 6523037"/>
                <a:gd name="connsiteX855" fmla="*/ 4277172 w 12192001"/>
                <a:gd name="connsiteY855" fmla="*/ 4864984 h 6523037"/>
                <a:gd name="connsiteX856" fmla="*/ 4184238 w 12192001"/>
                <a:gd name="connsiteY856" fmla="*/ 4958615 h 6523037"/>
                <a:gd name="connsiteX857" fmla="*/ 4184937 w 12192001"/>
                <a:gd name="connsiteY857" fmla="*/ 4959313 h 6523037"/>
                <a:gd name="connsiteX858" fmla="*/ 4008156 w 12192001"/>
                <a:gd name="connsiteY858" fmla="*/ 5136792 h 6523037"/>
                <a:gd name="connsiteX859" fmla="*/ 4270883 w 12192001"/>
                <a:gd name="connsiteY859" fmla="*/ 5136792 h 6523037"/>
                <a:gd name="connsiteX860" fmla="*/ 4541295 w 12192001"/>
                <a:gd name="connsiteY860" fmla="*/ 4865683 h 6523037"/>
                <a:gd name="connsiteX861" fmla="*/ 4270183 w 12192001"/>
                <a:gd name="connsiteY861" fmla="*/ 4595271 h 6523037"/>
                <a:gd name="connsiteX862" fmla="*/ 3458248 w 12192001"/>
                <a:gd name="connsiteY862" fmla="*/ 4595271 h 6523037"/>
                <a:gd name="connsiteX863" fmla="*/ 3729359 w 12192001"/>
                <a:gd name="connsiteY863" fmla="*/ 4865683 h 6523037"/>
                <a:gd name="connsiteX864" fmla="*/ 3730058 w 12192001"/>
                <a:gd name="connsiteY864" fmla="*/ 4866380 h 6523037"/>
                <a:gd name="connsiteX865" fmla="*/ 3459646 w 12192001"/>
                <a:gd name="connsiteY865" fmla="*/ 5137491 h 6523037"/>
                <a:gd name="connsiteX866" fmla="*/ 3723769 w 12192001"/>
                <a:gd name="connsiteY866" fmla="*/ 5137491 h 6523037"/>
                <a:gd name="connsiteX867" fmla="*/ 3813208 w 12192001"/>
                <a:gd name="connsiteY867" fmla="*/ 5047355 h 6523037"/>
                <a:gd name="connsiteX868" fmla="*/ 3812509 w 12192001"/>
                <a:gd name="connsiteY868" fmla="*/ 5047355 h 6523037"/>
                <a:gd name="connsiteX869" fmla="*/ 3993483 w 12192001"/>
                <a:gd name="connsiteY869" fmla="*/ 4866380 h 6523037"/>
                <a:gd name="connsiteX870" fmla="*/ 3988591 w 12192001"/>
                <a:gd name="connsiteY870" fmla="*/ 4860791 h 6523037"/>
                <a:gd name="connsiteX871" fmla="*/ 3722372 w 12192001"/>
                <a:gd name="connsiteY871" fmla="*/ 4595271 h 6523037"/>
                <a:gd name="connsiteX872" fmla="*/ 4828477 w 12192001"/>
                <a:gd name="connsiteY872" fmla="*/ 4594002 h 6523037"/>
                <a:gd name="connsiteX873" fmla="*/ 4828477 w 12192001"/>
                <a:gd name="connsiteY873" fmla="*/ 4595879 h 6523037"/>
                <a:gd name="connsiteX874" fmla="*/ 5097706 w 12192001"/>
                <a:gd name="connsiteY874" fmla="*/ 4864414 h 6523037"/>
                <a:gd name="connsiteX875" fmla="*/ 5094911 w 12192001"/>
                <a:gd name="connsiteY875" fmla="*/ 4867209 h 6523037"/>
                <a:gd name="connsiteX876" fmla="*/ 5004773 w 12192001"/>
                <a:gd name="connsiteY876" fmla="*/ 4958045 h 6523037"/>
                <a:gd name="connsiteX877" fmla="*/ 4828477 w 12192001"/>
                <a:gd name="connsiteY877" fmla="*/ 5133648 h 6523037"/>
                <a:gd name="connsiteX878" fmla="*/ 4828477 w 12192001"/>
                <a:gd name="connsiteY878" fmla="*/ 5134826 h 6523037"/>
                <a:gd name="connsiteX879" fmla="*/ 5091417 w 12192001"/>
                <a:gd name="connsiteY879" fmla="*/ 5134826 h 6523037"/>
                <a:gd name="connsiteX880" fmla="*/ 5180855 w 12192001"/>
                <a:gd name="connsiteY880" fmla="*/ 5045387 h 6523037"/>
                <a:gd name="connsiteX881" fmla="*/ 5361829 w 12192001"/>
                <a:gd name="connsiteY881" fmla="*/ 4864414 h 6523037"/>
                <a:gd name="connsiteX882" fmla="*/ 5090718 w 12192001"/>
                <a:gd name="connsiteY882" fmla="*/ 4594002 h 6523037"/>
                <a:gd name="connsiteX883" fmla="*/ 5375803 w 12192001"/>
                <a:gd name="connsiteY883" fmla="*/ 4593303 h 6523037"/>
                <a:gd name="connsiteX884" fmla="*/ 5505770 w 12192001"/>
                <a:gd name="connsiteY884" fmla="*/ 4723268 h 6523037"/>
                <a:gd name="connsiteX885" fmla="*/ 5646216 w 12192001"/>
                <a:gd name="connsiteY885" fmla="*/ 4863016 h 6523037"/>
                <a:gd name="connsiteX886" fmla="*/ 5375803 w 12192001"/>
                <a:gd name="connsiteY886" fmla="*/ 5134127 h 6523037"/>
                <a:gd name="connsiteX887" fmla="*/ 5639927 w 12192001"/>
                <a:gd name="connsiteY887" fmla="*/ 5134127 h 6523037"/>
                <a:gd name="connsiteX888" fmla="*/ 5911038 w 12192001"/>
                <a:gd name="connsiteY888" fmla="*/ 4863715 h 6523037"/>
                <a:gd name="connsiteX889" fmla="*/ 5639927 w 12192001"/>
                <a:gd name="connsiteY889" fmla="*/ 4593303 h 6523037"/>
                <a:gd name="connsiteX890" fmla="*/ 7571242 w 12192001"/>
                <a:gd name="connsiteY890" fmla="*/ 4592604 h 6523037"/>
                <a:gd name="connsiteX891" fmla="*/ 7700509 w 12192001"/>
                <a:gd name="connsiteY891" fmla="*/ 4720474 h 6523037"/>
                <a:gd name="connsiteX892" fmla="*/ 7700509 w 12192001"/>
                <a:gd name="connsiteY892" fmla="*/ 4721173 h 6523037"/>
                <a:gd name="connsiteX893" fmla="*/ 7842352 w 12192001"/>
                <a:gd name="connsiteY893" fmla="*/ 4863016 h 6523037"/>
                <a:gd name="connsiteX894" fmla="*/ 7571940 w 12192001"/>
                <a:gd name="connsiteY894" fmla="*/ 5134127 h 6523037"/>
                <a:gd name="connsiteX895" fmla="*/ 7835365 w 12192001"/>
                <a:gd name="connsiteY895" fmla="*/ 5134127 h 6523037"/>
                <a:gd name="connsiteX896" fmla="*/ 8105777 w 12192001"/>
                <a:gd name="connsiteY896" fmla="*/ 4863016 h 6523037"/>
                <a:gd name="connsiteX897" fmla="*/ 8100187 w 12192001"/>
                <a:gd name="connsiteY897" fmla="*/ 4857426 h 6523037"/>
                <a:gd name="connsiteX898" fmla="*/ 8099488 w 12192001"/>
                <a:gd name="connsiteY898" fmla="*/ 4857426 h 6523037"/>
                <a:gd name="connsiteX899" fmla="*/ 7833968 w 12192001"/>
                <a:gd name="connsiteY899" fmla="*/ 4592604 h 6523037"/>
                <a:gd name="connsiteX900" fmla="*/ 6473523 w 12192001"/>
                <a:gd name="connsiteY900" fmla="*/ 4592604 h 6523037"/>
                <a:gd name="connsiteX901" fmla="*/ 6475613 w 12192001"/>
                <a:gd name="connsiteY901" fmla="*/ 4595392 h 6523037"/>
                <a:gd name="connsiteX902" fmla="*/ 6474921 w 12192001"/>
                <a:gd name="connsiteY902" fmla="*/ 4594701 h 6523037"/>
                <a:gd name="connsiteX903" fmla="*/ 6475619 w 12192001"/>
                <a:gd name="connsiteY903" fmla="*/ 4595400 h 6523037"/>
                <a:gd name="connsiteX904" fmla="*/ 6475613 w 12192001"/>
                <a:gd name="connsiteY904" fmla="*/ 4595392 h 6523037"/>
                <a:gd name="connsiteX905" fmla="*/ 6734153 w 12192001"/>
                <a:gd name="connsiteY905" fmla="*/ 4853234 h 6523037"/>
                <a:gd name="connsiteX906" fmla="*/ 6743935 w 12192001"/>
                <a:gd name="connsiteY906" fmla="*/ 4862317 h 6523037"/>
                <a:gd name="connsiteX907" fmla="*/ 6746031 w 12192001"/>
                <a:gd name="connsiteY907" fmla="*/ 4864414 h 6523037"/>
                <a:gd name="connsiteX908" fmla="*/ 6481208 w 12192001"/>
                <a:gd name="connsiteY908" fmla="*/ 5134127 h 6523037"/>
                <a:gd name="connsiteX909" fmla="*/ 6740442 w 12192001"/>
                <a:gd name="connsiteY909" fmla="*/ 5134826 h 6523037"/>
                <a:gd name="connsiteX910" fmla="*/ 7010155 w 12192001"/>
                <a:gd name="connsiteY910" fmla="*/ 4864414 h 6523037"/>
                <a:gd name="connsiteX911" fmla="*/ 6874599 w 12192001"/>
                <a:gd name="connsiteY911" fmla="*/ 4729557 h 6523037"/>
                <a:gd name="connsiteX912" fmla="*/ 6857830 w 12192001"/>
                <a:gd name="connsiteY912" fmla="*/ 4712787 h 6523037"/>
                <a:gd name="connsiteX913" fmla="*/ 6738346 w 12192001"/>
                <a:gd name="connsiteY913" fmla="*/ 4594002 h 6523037"/>
                <a:gd name="connsiteX914" fmla="*/ 6734153 w 12192001"/>
                <a:gd name="connsiteY914" fmla="*/ 4592604 h 6523037"/>
                <a:gd name="connsiteX915" fmla="*/ 5923616 w 12192001"/>
                <a:gd name="connsiteY915" fmla="*/ 4592604 h 6523037"/>
                <a:gd name="connsiteX916" fmla="*/ 6194726 w 12192001"/>
                <a:gd name="connsiteY916" fmla="*/ 4863016 h 6523037"/>
                <a:gd name="connsiteX917" fmla="*/ 5924314 w 12192001"/>
                <a:gd name="connsiteY917" fmla="*/ 5134127 h 6523037"/>
                <a:gd name="connsiteX918" fmla="*/ 6188437 w 12192001"/>
                <a:gd name="connsiteY918" fmla="*/ 5134127 h 6523037"/>
                <a:gd name="connsiteX919" fmla="*/ 6458849 w 12192001"/>
                <a:gd name="connsiteY919" fmla="*/ 4863016 h 6523037"/>
                <a:gd name="connsiteX920" fmla="*/ 6187739 w 12192001"/>
                <a:gd name="connsiteY920" fmla="*/ 4592604 h 6523037"/>
                <a:gd name="connsiteX921" fmla="*/ 7286855 w 12192001"/>
                <a:gd name="connsiteY921" fmla="*/ 4591206 h 6523037"/>
                <a:gd name="connsiteX922" fmla="*/ 7023431 w 12192001"/>
                <a:gd name="connsiteY922" fmla="*/ 4591905 h 6523037"/>
                <a:gd name="connsiteX923" fmla="*/ 7292445 w 12192001"/>
                <a:gd name="connsiteY923" fmla="*/ 4860222 h 6523037"/>
                <a:gd name="connsiteX924" fmla="*/ 7291747 w 12192001"/>
                <a:gd name="connsiteY924" fmla="*/ 4860921 h 6523037"/>
                <a:gd name="connsiteX925" fmla="*/ 7293144 w 12192001"/>
                <a:gd name="connsiteY925" fmla="*/ 4862317 h 6523037"/>
                <a:gd name="connsiteX926" fmla="*/ 7022731 w 12192001"/>
                <a:gd name="connsiteY926" fmla="*/ 5133428 h 6523037"/>
                <a:gd name="connsiteX927" fmla="*/ 7286855 w 12192001"/>
                <a:gd name="connsiteY927" fmla="*/ 5133428 h 6523037"/>
                <a:gd name="connsiteX928" fmla="*/ 7376992 w 12192001"/>
                <a:gd name="connsiteY928" fmla="*/ 5043291 h 6523037"/>
                <a:gd name="connsiteX929" fmla="*/ 7556569 w 12192001"/>
                <a:gd name="connsiteY929" fmla="*/ 4860222 h 6523037"/>
                <a:gd name="connsiteX930" fmla="*/ 9488582 w 12192001"/>
                <a:gd name="connsiteY930" fmla="*/ 4590827 h 6523037"/>
                <a:gd name="connsiteX931" fmla="*/ 9488582 w 12192001"/>
                <a:gd name="connsiteY931" fmla="*/ 4592394 h 6523037"/>
                <a:gd name="connsiteX932" fmla="*/ 9758122 w 12192001"/>
                <a:gd name="connsiteY932" fmla="*/ 4861239 h 6523037"/>
                <a:gd name="connsiteX933" fmla="*/ 9755328 w 12192001"/>
                <a:gd name="connsiteY933" fmla="*/ 4864034 h 6523037"/>
                <a:gd name="connsiteX934" fmla="*/ 9665190 w 12192001"/>
                <a:gd name="connsiteY934" fmla="*/ 4954870 h 6523037"/>
                <a:gd name="connsiteX935" fmla="*/ 9488582 w 12192001"/>
                <a:gd name="connsiteY935" fmla="*/ 5130783 h 6523037"/>
                <a:gd name="connsiteX936" fmla="*/ 9488582 w 12192001"/>
                <a:gd name="connsiteY936" fmla="*/ 5131651 h 6523037"/>
                <a:gd name="connsiteX937" fmla="*/ 9751834 w 12192001"/>
                <a:gd name="connsiteY937" fmla="*/ 5131651 h 6523037"/>
                <a:gd name="connsiteX938" fmla="*/ 9841272 w 12192001"/>
                <a:gd name="connsiteY938" fmla="*/ 5042212 h 6523037"/>
                <a:gd name="connsiteX939" fmla="*/ 10022245 w 12192001"/>
                <a:gd name="connsiteY939" fmla="*/ 4861239 h 6523037"/>
                <a:gd name="connsiteX940" fmla="*/ 9751135 w 12192001"/>
                <a:gd name="connsiteY940" fmla="*/ 4590827 h 6523037"/>
                <a:gd name="connsiteX941" fmla="*/ 9215375 w 12192001"/>
                <a:gd name="connsiteY941" fmla="*/ 4590509 h 6523037"/>
                <a:gd name="connsiteX942" fmla="*/ 9483993 w 12192001"/>
                <a:gd name="connsiteY942" fmla="*/ 4858435 h 6523037"/>
                <a:gd name="connsiteX943" fmla="*/ 9744846 w 12192001"/>
                <a:gd name="connsiteY943" fmla="*/ 4857746 h 6523037"/>
                <a:gd name="connsiteX944" fmla="*/ 9476918 w 12192001"/>
                <a:gd name="connsiteY944" fmla="*/ 4590509 h 6523037"/>
                <a:gd name="connsiteX945" fmla="*/ 8666865 w 12192001"/>
                <a:gd name="connsiteY945" fmla="*/ 4590509 h 6523037"/>
                <a:gd name="connsiteX946" fmla="*/ 8796831 w 12192001"/>
                <a:gd name="connsiteY946" fmla="*/ 4719775 h 6523037"/>
                <a:gd name="connsiteX947" fmla="*/ 8937277 w 12192001"/>
                <a:gd name="connsiteY947" fmla="*/ 4860222 h 6523037"/>
                <a:gd name="connsiteX948" fmla="*/ 8844344 w 12192001"/>
                <a:gd name="connsiteY948" fmla="*/ 4953853 h 6523037"/>
                <a:gd name="connsiteX949" fmla="*/ 8845043 w 12192001"/>
                <a:gd name="connsiteY949" fmla="*/ 4954551 h 6523037"/>
                <a:gd name="connsiteX950" fmla="*/ 8668262 w 12192001"/>
                <a:gd name="connsiteY950" fmla="*/ 5132030 h 6523037"/>
                <a:gd name="connsiteX951" fmla="*/ 8930988 w 12192001"/>
                <a:gd name="connsiteY951" fmla="*/ 5132030 h 6523037"/>
                <a:gd name="connsiteX952" fmla="*/ 9201400 w 12192001"/>
                <a:gd name="connsiteY952" fmla="*/ 4860921 h 6523037"/>
                <a:gd name="connsiteX953" fmla="*/ 8930289 w 12192001"/>
                <a:gd name="connsiteY953" fmla="*/ 4590509 h 6523037"/>
                <a:gd name="connsiteX954" fmla="*/ 8118354 w 12192001"/>
                <a:gd name="connsiteY954" fmla="*/ 4590509 h 6523037"/>
                <a:gd name="connsiteX955" fmla="*/ 8389465 w 12192001"/>
                <a:gd name="connsiteY955" fmla="*/ 4860921 h 6523037"/>
                <a:gd name="connsiteX956" fmla="*/ 8390164 w 12192001"/>
                <a:gd name="connsiteY956" fmla="*/ 4861618 h 6523037"/>
                <a:gd name="connsiteX957" fmla="*/ 8119752 w 12192001"/>
                <a:gd name="connsiteY957" fmla="*/ 5132729 h 6523037"/>
                <a:gd name="connsiteX958" fmla="*/ 8383875 w 12192001"/>
                <a:gd name="connsiteY958" fmla="*/ 5132729 h 6523037"/>
                <a:gd name="connsiteX959" fmla="*/ 8473314 w 12192001"/>
                <a:gd name="connsiteY959" fmla="*/ 5042593 h 6523037"/>
                <a:gd name="connsiteX960" fmla="*/ 8472615 w 12192001"/>
                <a:gd name="connsiteY960" fmla="*/ 5042593 h 6523037"/>
                <a:gd name="connsiteX961" fmla="*/ 8653589 w 12192001"/>
                <a:gd name="connsiteY961" fmla="*/ 4861618 h 6523037"/>
                <a:gd name="connsiteX962" fmla="*/ 8648697 w 12192001"/>
                <a:gd name="connsiteY962" fmla="*/ 4856029 h 6523037"/>
                <a:gd name="connsiteX963" fmla="*/ 8382478 w 12192001"/>
                <a:gd name="connsiteY963" fmla="*/ 4590509 h 6523037"/>
                <a:gd name="connsiteX964" fmla="*/ 10036220 w 12192001"/>
                <a:gd name="connsiteY964" fmla="*/ 4590128 h 6523037"/>
                <a:gd name="connsiteX965" fmla="*/ 10166186 w 12192001"/>
                <a:gd name="connsiteY965" fmla="*/ 4720093 h 6523037"/>
                <a:gd name="connsiteX966" fmla="*/ 10306632 w 12192001"/>
                <a:gd name="connsiteY966" fmla="*/ 4859841 h 6523037"/>
                <a:gd name="connsiteX967" fmla="*/ 10036220 w 12192001"/>
                <a:gd name="connsiteY967" fmla="*/ 5130952 h 6523037"/>
                <a:gd name="connsiteX968" fmla="*/ 10300344 w 12192001"/>
                <a:gd name="connsiteY968" fmla="*/ 5130952 h 6523037"/>
                <a:gd name="connsiteX969" fmla="*/ 10571455 w 12192001"/>
                <a:gd name="connsiteY969" fmla="*/ 4860540 h 6523037"/>
                <a:gd name="connsiteX970" fmla="*/ 10300344 w 12192001"/>
                <a:gd name="connsiteY970" fmla="*/ 4590128 h 6523037"/>
                <a:gd name="connsiteX971" fmla="*/ 11133940 w 12192001"/>
                <a:gd name="connsiteY971" fmla="*/ 4589429 h 6523037"/>
                <a:gd name="connsiteX972" fmla="*/ 11136030 w 12192001"/>
                <a:gd name="connsiteY972" fmla="*/ 4592217 h 6523037"/>
                <a:gd name="connsiteX973" fmla="*/ 11135337 w 12192001"/>
                <a:gd name="connsiteY973" fmla="*/ 4591526 h 6523037"/>
                <a:gd name="connsiteX974" fmla="*/ 11136036 w 12192001"/>
                <a:gd name="connsiteY974" fmla="*/ 4592225 h 6523037"/>
                <a:gd name="connsiteX975" fmla="*/ 11136030 w 12192001"/>
                <a:gd name="connsiteY975" fmla="*/ 4592217 h 6523037"/>
                <a:gd name="connsiteX976" fmla="*/ 11394569 w 12192001"/>
                <a:gd name="connsiteY976" fmla="*/ 4850059 h 6523037"/>
                <a:gd name="connsiteX977" fmla="*/ 11404352 w 12192001"/>
                <a:gd name="connsiteY977" fmla="*/ 4859142 h 6523037"/>
                <a:gd name="connsiteX978" fmla="*/ 11406448 w 12192001"/>
                <a:gd name="connsiteY978" fmla="*/ 4861239 h 6523037"/>
                <a:gd name="connsiteX979" fmla="*/ 11141625 w 12192001"/>
                <a:gd name="connsiteY979" fmla="*/ 5130952 h 6523037"/>
                <a:gd name="connsiteX980" fmla="*/ 11400858 w 12192001"/>
                <a:gd name="connsiteY980" fmla="*/ 5131651 h 6523037"/>
                <a:gd name="connsiteX981" fmla="*/ 11670572 w 12192001"/>
                <a:gd name="connsiteY981" fmla="*/ 4861239 h 6523037"/>
                <a:gd name="connsiteX982" fmla="*/ 11535016 w 12192001"/>
                <a:gd name="connsiteY982" fmla="*/ 4726382 h 6523037"/>
                <a:gd name="connsiteX983" fmla="*/ 11518247 w 12192001"/>
                <a:gd name="connsiteY983" fmla="*/ 4709612 h 6523037"/>
                <a:gd name="connsiteX984" fmla="*/ 11398762 w 12192001"/>
                <a:gd name="connsiteY984" fmla="*/ 4590827 h 6523037"/>
                <a:gd name="connsiteX985" fmla="*/ 11394569 w 12192001"/>
                <a:gd name="connsiteY985" fmla="*/ 4589429 h 6523037"/>
                <a:gd name="connsiteX986" fmla="*/ 10584032 w 12192001"/>
                <a:gd name="connsiteY986" fmla="*/ 4589429 h 6523037"/>
                <a:gd name="connsiteX987" fmla="*/ 10855143 w 12192001"/>
                <a:gd name="connsiteY987" fmla="*/ 4859841 h 6523037"/>
                <a:gd name="connsiteX988" fmla="*/ 10584731 w 12192001"/>
                <a:gd name="connsiteY988" fmla="*/ 5130952 h 6523037"/>
                <a:gd name="connsiteX989" fmla="*/ 10848854 w 12192001"/>
                <a:gd name="connsiteY989" fmla="*/ 5130952 h 6523037"/>
                <a:gd name="connsiteX990" fmla="*/ 11119266 w 12192001"/>
                <a:gd name="connsiteY990" fmla="*/ 4859841 h 6523037"/>
                <a:gd name="connsiteX991" fmla="*/ 10848155 w 12192001"/>
                <a:gd name="connsiteY991" fmla="*/ 4589429 h 6523037"/>
                <a:gd name="connsiteX992" fmla="*/ 708011 w 12192001"/>
                <a:gd name="connsiteY992" fmla="*/ 4324160 h 6523037"/>
                <a:gd name="connsiteX993" fmla="*/ 437599 w 12192001"/>
                <a:gd name="connsiteY993" fmla="*/ 4595271 h 6523037"/>
                <a:gd name="connsiteX994" fmla="*/ 709409 w 12192001"/>
                <a:gd name="connsiteY994" fmla="*/ 4865683 h 6523037"/>
                <a:gd name="connsiteX995" fmla="*/ 972833 w 12192001"/>
                <a:gd name="connsiteY995" fmla="*/ 4865683 h 6523037"/>
                <a:gd name="connsiteX996" fmla="*/ 842169 w 12192001"/>
                <a:gd name="connsiteY996" fmla="*/ 4735716 h 6523037"/>
                <a:gd name="connsiteX997" fmla="*/ 701722 w 12192001"/>
                <a:gd name="connsiteY997" fmla="*/ 4595271 h 6523037"/>
                <a:gd name="connsiteX998" fmla="*/ 972135 w 12192001"/>
                <a:gd name="connsiteY998" fmla="*/ 4324160 h 6523037"/>
                <a:gd name="connsiteX999" fmla="*/ 2354241 w 12192001"/>
                <a:gd name="connsiteY999" fmla="*/ 4323461 h 6523037"/>
                <a:gd name="connsiteX1000" fmla="*/ 2083829 w 12192001"/>
                <a:gd name="connsiteY1000" fmla="*/ 4594572 h 6523037"/>
                <a:gd name="connsiteX1001" fmla="*/ 2353542 w 12192001"/>
                <a:gd name="connsiteY1001" fmla="*/ 4863586 h 6523037"/>
                <a:gd name="connsiteX1002" fmla="*/ 2616967 w 12192001"/>
                <a:gd name="connsiteY1002" fmla="*/ 4863586 h 6523037"/>
                <a:gd name="connsiteX1003" fmla="*/ 2347952 w 12192001"/>
                <a:gd name="connsiteY1003" fmla="*/ 4594572 h 6523037"/>
                <a:gd name="connsiteX1004" fmla="*/ 2348651 w 12192001"/>
                <a:gd name="connsiteY1004" fmla="*/ 4593873 h 6523037"/>
                <a:gd name="connsiteX1005" fmla="*/ 2347254 w 12192001"/>
                <a:gd name="connsiteY1005" fmla="*/ 4592475 h 6523037"/>
                <a:gd name="connsiteX1006" fmla="*/ 2615569 w 12192001"/>
                <a:gd name="connsiteY1006" fmla="*/ 4323461 h 6523037"/>
                <a:gd name="connsiteX1007" fmla="*/ 1256521 w 12192001"/>
                <a:gd name="connsiteY1007" fmla="*/ 4323461 h 6523037"/>
                <a:gd name="connsiteX1008" fmla="*/ 986109 w 12192001"/>
                <a:gd name="connsiteY1008" fmla="*/ 4594572 h 6523037"/>
                <a:gd name="connsiteX1009" fmla="*/ 1257220 w 12192001"/>
                <a:gd name="connsiteY1009" fmla="*/ 4864984 h 6523037"/>
                <a:gd name="connsiteX1010" fmla="*/ 1521344 w 12192001"/>
                <a:gd name="connsiteY1010" fmla="*/ 4864984 h 6523037"/>
                <a:gd name="connsiteX1011" fmla="*/ 1250233 w 12192001"/>
                <a:gd name="connsiteY1011" fmla="*/ 4594572 h 6523037"/>
                <a:gd name="connsiteX1012" fmla="*/ 1520645 w 12192001"/>
                <a:gd name="connsiteY1012" fmla="*/ 4323461 h 6523037"/>
                <a:gd name="connsiteX1013" fmla="*/ 1392775 w 12192001"/>
                <a:gd name="connsiteY1013" fmla="*/ 4323461 h 6523037"/>
                <a:gd name="connsiteX1014" fmla="*/ 1805731 w 12192001"/>
                <a:gd name="connsiteY1014" fmla="*/ 4322762 h 6523037"/>
                <a:gd name="connsiteX1015" fmla="*/ 1625456 w 12192001"/>
                <a:gd name="connsiteY1015" fmla="*/ 4503735 h 6523037"/>
                <a:gd name="connsiteX1016" fmla="*/ 1624758 w 12192001"/>
                <a:gd name="connsiteY1016" fmla="*/ 4503735 h 6523037"/>
                <a:gd name="connsiteX1017" fmla="*/ 1534620 w 12192001"/>
                <a:gd name="connsiteY1017" fmla="*/ 4593873 h 6523037"/>
                <a:gd name="connsiteX1018" fmla="*/ 1805032 w 12192001"/>
                <a:gd name="connsiteY1018" fmla="*/ 4864984 h 6523037"/>
                <a:gd name="connsiteX1019" fmla="*/ 2069155 w 12192001"/>
                <a:gd name="connsiteY1019" fmla="*/ 4864984 h 6523037"/>
                <a:gd name="connsiteX1020" fmla="*/ 1798044 w 12192001"/>
                <a:gd name="connsiteY1020" fmla="*/ 4594572 h 6523037"/>
                <a:gd name="connsiteX1021" fmla="*/ 1982512 w 12192001"/>
                <a:gd name="connsiteY1021" fmla="*/ 4410104 h 6523037"/>
                <a:gd name="connsiteX1022" fmla="*/ 1983211 w 12192001"/>
                <a:gd name="connsiteY1022" fmla="*/ 4410104 h 6523037"/>
                <a:gd name="connsiteX1023" fmla="*/ 2069155 w 12192001"/>
                <a:gd name="connsiteY1023" fmla="*/ 4323461 h 6523037"/>
                <a:gd name="connsiteX1024" fmla="*/ 1810622 w 12192001"/>
                <a:gd name="connsiteY1024" fmla="*/ 4323461 h 6523037"/>
                <a:gd name="connsiteX1025" fmla="*/ 3450563 w 12192001"/>
                <a:gd name="connsiteY1025" fmla="*/ 4321364 h 6523037"/>
                <a:gd name="connsiteX1026" fmla="*/ 3269589 w 12192001"/>
                <a:gd name="connsiteY1026" fmla="*/ 4503036 h 6523037"/>
                <a:gd name="connsiteX1027" fmla="*/ 3270986 w 12192001"/>
                <a:gd name="connsiteY1027" fmla="*/ 4503735 h 6523037"/>
                <a:gd name="connsiteX1028" fmla="*/ 3181548 w 12192001"/>
                <a:gd name="connsiteY1028" fmla="*/ 4593174 h 6523037"/>
                <a:gd name="connsiteX1029" fmla="*/ 3451960 w 12192001"/>
                <a:gd name="connsiteY1029" fmla="*/ 4862887 h 6523037"/>
                <a:gd name="connsiteX1030" fmla="*/ 3715384 w 12192001"/>
                <a:gd name="connsiteY1030" fmla="*/ 4862887 h 6523037"/>
                <a:gd name="connsiteX1031" fmla="*/ 3444972 w 12192001"/>
                <a:gd name="connsiteY1031" fmla="*/ 4593174 h 6523037"/>
                <a:gd name="connsiteX1032" fmla="*/ 3444274 w 12192001"/>
                <a:gd name="connsiteY1032" fmla="*/ 4592475 h 6523037"/>
                <a:gd name="connsiteX1033" fmla="*/ 3714686 w 12192001"/>
                <a:gd name="connsiteY1033" fmla="*/ 4321364 h 6523037"/>
                <a:gd name="connsiteX1034" fmla="*/ 2904847 w 12192001"/>
                <a:gd name="connsiteY1034" fmla="*/ 4321364 h 6523037"/>
                <a:gd name="connsiteX1035" fmla="*/ 2908341 w 12192001"/>
                <a:gd name="connsiteY1035" fmla="*/ 4322762 h 6523037"/>
                <a:gd name="connsiteX1036" fmla="*/ 2902751 w 12192001"/>
                <a:gd name="connsiteY1036" fmla="*/ 4322762 h 6523037"/>
                <a:gd name="connsiteX1037" fmla="*/ 2633736 w 12192001"/>
                <a:gd name="connsiteY1037" fmla="*/ 4593174 h 6523037"/>
                <a:gd name="connsiteX1038" fmla="*/ 2903449 w 12192001"/>
                <a:gd name="connsiteY1038" fmla="*/ 4862188 h 6523037"/>
                <a:gd name="connsiteX1039" fmla="*/ 3168271 w 12192001"/>
                <a:gd name="connsiteY1039" fmla="*/ 4863586 h 6523037"/>
                <a:gd name="connsiteX1040" fmla="*/ 2897162 w 12192001"/>
                <a:gd name="connsiteY1040" fmla="*/ 4593174 h 6523037"/>
                <a:gd name="connsiteX1041" fmla="*/ 2895764 w 12192001"/>
                <a:gd name="connsiteY1041" fmla="*/ 4591776 h 6523037"/>
                <a:gd name="connsiteX1042" fmla="*/ 3164778 w 12192001"/>
                <a:gd name="connsiteY1042" fmla="*/ 4322063 h 6523037"/>
                <a:gd name="connsiteX1043" fmla="*/ 2967035 w 12192001"/>
                <a:gd name="connsiteY1043" fmla="*/ 4322063 h 6523037"/>
                <a:gd name="connsiteX1044" fmla="*/ 2967733 w 12192001"/>
                <a:gd name="connsiteY1044" fmla="*/ 4321364 h 6523037"/>
                <a:gd name="connsiteX1045" fmla="*/ 3999073 w 12192001"/>
                <a:gd name="connsiteY1045" fmla="*/ 4320665 h 6523037"/>
                <a:gd name="connsiteX1046" fmla="*/ 3728660 w 12192001"/>
                <a:gd name="connsiteY1046" fmla="*/ 4591776 h 6523037"/>
                <a:gd name="connsiteX1047" fmla="*/ 3999771 w 12192001"/>
                <a:gd name="connsiteY1047" fmla="*/ 4862188 h 6523037"/>
                <a:gd name="connsiteX1048" fmla="*/ 4263197 w 12192001"/>
                <a:gd name="connsiteY1048" fmla="*/ 4862188 h 6523037"/>
                <a:gd name="connsiteX1049" fmla="*/ 4133230 w 12192001"/>
                <a:gd name="connsiteY1049" fmla="*/ 4732223 h 6523037"/>
                <a:gd name="connsiteX1050" fmla="*/ 3992783 w 12192001"/>
                <a:gd name="connsiteY1050" fmla="*/ 4591776 h 6523037"/>
                <a:gd name="connsiteX1051" fmla="*/ 4263197 w 12192001"/>
                <a:gd name="connsiteY1051" fmla="*/ 4320665 h 6523037"/>
                <a:gd name="connsiteX1052" fmla="*/ 4822057 w 12192001"/>
                <a:gd name="connsiteY1052" fmla="*/ 4320097 h 6523037"/>
                <a:gd name="connsiteX1053" fmla="*/ 4554570 w 12192001"/>
                <a:gd name="connsiteY1053" fmla="*/ 4587584 h 6523037"/>
                <a:gd name="connsiteX1054" fmla="*/ 4816244 w 12192001"/>
                <a:gd name="connsiteY1054" fmla="*/ 4587584 h 6523037"/>
                <a:gd name="connsiteX1055" fmla="*/ 5083731 w 12192001"/>
                <a:gd name="connsiteY1055" fmla="*/ 4320097 h 6523037"/>
                <a:gd name="connsiteX1056" fmla="*/ 4547585 w 12192001"/>
                <a:gd name="connsiteY1056" fmla="*/ 4319967 h 6523037"/>
                <a:gd name="connsiteX1057" fmla="*/ 4277172 w 12192001"/>
                <a:gd name="connsiteY1057" fmla="*/ 4591077 h 6523037"/>
                <a:gd name="connsiteX1058" fmla="*/ 4548281 w 12192001"/>
                <a:gd name="connsiteY1058" fmla="*/ 4861489 h 6523037"/>
                <a:gd name="connsiteX1059" fmla="*/ 4810393 w 12192001"/>
                <a:gd name="connsiteY1059" fmla="*/ 4861489 h 6523037"/>
                <a:gd name="connsiteX1060" fmla="*/ 4808427 w 12192001"/>
                <a:gd name="connsiteY1060" fmla="*/ 4859523 h 6523037"/>
                <a:gd name="connsiteX1061" fmla="*/ 4665187 w 12192001"/>
                <a:gd name="connsiteY1061" fmla="*/ 4716979 h 6523037"/>
                <a:gd name="connsiteX1062" fmla="*/ 4665187 w 12192001"/>
                <a:gd name="connsiteY1062" fmla="*/ 4714650 h 6523037"/>
                <a:gd name="connsiteX1063" fmla="*/ 4541295 w 12192001"/>
                <a:gd name="connsiteY1063" fmla="*/ 4591077 h 6523037"/>
                <a:gd name="connsiteX1064" fmla="*/ 4665187 w 12192001"/>
                <a:gd name="connsiteY1064" fmla="*/ 4466865 h 6523037"/>
                <a:gd name="connsiteX1065" fmla="*/ 4665187 w 12192001"/>
                <a:gd name="connsiteY1065" fmla="*/ 4464037 h 6523037"/>
                <a:gd name="connsiteX1066" fmla="*/ 4808574 w 12192001"/>
                <a:gd name="connsiteY1066" fmla="*/ 4319967 h 6523037"/>
                <a:gd name="connsiteX1067" fmla="*/ 5368118 w 12192001"/>
                <a:gd name="connsiteY1067" fmla="*/ 4319398 h 6523037"/>
                <a:gd name="connsiteX1068" fmla="*/ 5097706 w 12192001"/>
                <a:gd name="connsiteY1068" fmla="*/ 4590509 h 6523037"/>
                <a:gd name="connsiteX1069" fmla="*/ 5369515 w 12192001"/>
                <a:gd name="connsiteY1069" fmla="*/ 4860921 h 6523037"/>
                <a:gd name="connsiteX1070" fmla="*/ 5632939 w 12192001"/>
                <a:gd name="connsiteY1070" fmla="*/ 4860921 h 6523037"/>
                <a:gd name="connsiteX1071" fmla="*/ 5502275 w 12192001"/>
                <a:gd name="connsiteY1071" fmla="*/ 4730954 h 6523037"/>
                <a:gd name="connsiteX1072" fmla="*/ 5361829 w 12192001"/>
                <a:gd name="connsiteY1072" fmla="*/ 4590509 h 6523037"/>
                <a:gd name="connsiteX1073" fmla="*/ 5632241 w 12192001"/>
                <a:gd name="connsiteY1073" fmla="*/ 4319398 h 6523037"/>
                <a:gd name="connsiteX1074" fmla="*/ 7014347 w 12192001"/>
                <a:gd name="connsiteY1074" fmla="*/ 4318699 h 6523037"/>
                <a:gd name="connsiteX1075" fmla="*/ 6743935 w 12192001"/>
                <a:gd name="connsiteY1075" fmla="*/ 4589810 h 6523037"/>
                <a:gd name="connsiteX1076" fmla="*/ 7013649 w 12192001"/>
                <a:gd name="connsiteY1076" fmla="*/ 4858824 h 6523037"/>
                <a:gd name="connsiteX1077" fmla="*/ 7277073 w 12192001"/>
                <a:gd name="connsiteY1077" fmla="*/ 4858824 h 6523037"/>
                <a:gd name="connsiteX1078" fmla="*/ 7008058 w 12192001"/>
                <a:gd name="connsiteY1078" fmla="*/ 4589810 h 6523037"/>
                <a:gd name="connsiteX1079" fmla="*/ 7008758 w 12192001"/>
                <a:gd name="connsiteY1079" fmla="*/ 4589111 h 6523037"/>
                <a:gd name="connsiteX1080" fmla="*/ 7007360 w 12192001"/>
                <a:gd name="connsiteY1080" fmla="*/ 4587713 h 6523037"/>
                <a:gd name="connsiteX1081" fmla="*/ 7275675 w 12192001"/>
                <a:gd name="connsiteY1081" fmla="*/ 4318699 h 6523037"/>
                <a:gd name="connsiteX1082" fmla="*/ 5916628 w 12192001"/>
                <a:gd name="connsiteY1082" fmla="*/ 4318699 h 6523037"/>
                <a:gd name="connsiteX1083" fmla="*/ 5646216 w 12192001"/>
                <a:gd name="connsiteY1083" fmla="*/ 4589810 h 6523037"/>
                <a:gd name="connsiteX1084" fmla="*/ 5917326 w 12192001"/>
                <a:gd name="connsiteY1084" fmla="*/ 4860222 h 6523037"/>
                <a:gd name="connsiteX1085" fmla="*/ 6181450 w 12192001"/>
                <a:gd name="connsiteY1085" fmla="*/ 4860222 h 6523037"/>
                <a:gd name="connsiteX1086" fmla="*/ 5910339 w 12192001"/>
                <a:gd name="connsiteY1086" fmla="*/ 4589810 h 6523037"/>
                <a:gd name="connsiteX1087" fmla="*/ 6180751 w 12192001"/>
                <a:gd name="connsiteY1087" fmla="*/ 4318699 h 6523037"/>
                <a:gd name="connsiteX1088" fmla="*/ 6052882 w 12192001"/>
                <a:gd name="connsiteY1088" fmla="*/ 4318699 h 6523037"/>
                <a:gd name="connsiteX1089" fmla="*/ 6465837 w 12192001"/>
                <a:gd name="connsiteY1089" fmla="*/ 4318000 h 6523037"/>
                <a:gd name="connsiteX1090" fmla="*/ 6285563 w 12192001"/>
                <a:gd name="connsiteY1090" fmla="*/ 4498973 h 6523037"/>
                <a:gd name="connsiteX1091" fmla="*/ 6284865 w 12192001"/>
                <a:gd name="connsiteY1091" fmla="*/ 4498973 h 6523037"/>
                <a:gd name="connsiteX1092" fmla="*/ 6194726 w 12192001"/>
                <a:gd name="connsiteY1092" fmla="*/ 4589111 h 6523037"/>
                <a:gd name="connsiteX1093" fmla="*/ 6465139 w 12192001"/>
                <a:gd name="connsiteY1093" fmla="*/ 4860222 h 6523037"/>
                <a:gd name="connsiteX1094" fmla="*/ 6729262 w 12192001"/>
                <a:gd name="connsiteY1094" fmla="*/ 4860222 h 6523037"/>
                <a:gd name="connsiteX1095" fmla="*/ 6458151 w 12192001"/>
                <a:gd name="connsiteY1095" fmla="*/ 4589810 h 6523037"/>
                <a:gd name="connsiteX1096" fmla="*/ 6642619 w 12192001"/>
                <a:gd name="connsiteY1096" fmla="*/ 4405342 h 6523037"/>
                <a:gd name="connsiteX1097" fmla="*/ 6643317 w 12192001"/>
                <a:gd name="connsiteY1097" fmla="*/ 4405342 h 6523037"/>
                <a:gd name="connsiteX1098" fmla="*/ 6729262 w 12192001"/>
                <a:gd name="connsiteY1098" fmla="*/ 4318699 h 6523037"/>
                <a:gd name="connsiteX1099" fmla="*/ 6470728 w 12192001"/>
                <a:gd name="connsiteY1099" fmla="*/ 4318699 h 6523037"/>
                <a:gd name="connsiteX1100" fmla="*/ 9480576 w 12192001"/>
                <a:gd name="connsiteY1100" fmla="*/ 4316922 h 6523037"/>
                <a:gd name="connsiteX1101" fmla="*/ 9214676 w 12192001"/>
                <a:gd name="connsiteY1101" fmla="*/ 4582822 h 6523037"/>
                <a:gd name="connsiteX1102" fmla="*/ 9478247 w 12192001"/>
                <a:gd name="connsiteY1102" fmla="*/ 4582822 h 6523037"/>
                <a:gd name="connsiteX1103" fmla="*/ 9744147 w 12192001"/>
                <a:gd name="connsiteY1103" fmla="*/ 4316922 h 6523037"/>
                <a:gd name="connsiteX1104" fmla="*/ 8110669 w 12192001"/>
                <a:gd name="connsiteY1104" fmla="*/ 4316602 h 6523037"/>
                <a:gd name="connsiteX1105" fmla="*/ 7929695 w 12192001"/>
                <a:gd name="connsiteY1105" fmla="*/ 4498274 h 6523037"/>
                <a:gd name="connsiteX1106" fmla="*/ 7931092 w 12192001"/>
                <a:gd name="connsiteY1106" fmla="*/ 4498973 h 6523037"/>
                <a:gd name="connsiteX1107" fmla="*/ 7841654 w 12192001"/>
                <a:gd name="connsiteY1107" fmla="*/ 4588412 h 6523037"/>
                <a:gd name="connsiteX1108" fmla="*/ 8112066 w 12192001"/>
                <a:gd name="connsiteY1108" fmla="*/ 4858125 h 6523037"/>
                <a:gd name="connsiteX1109" fmla="*/ 8375490 w 12192001"/>
                <a:gd name="connsiteY1109" fmla="*/ 4858125 h 6523037"/>
                <a:gd name="connsiteX1110" fmla="*/ 8105078 w 12192001"/>
                <a:gd name="connsiteY1110" fmla="*/ 4588412 h 6523037"/>
                <a:gd name="connsiteX1111" fmla="*/ 8104380 w 12192001"/>
                <a:gd name="connsiteY1111" fmla="*/ 4587713 h 6523037"/>
                <a:gd name="connsiteX1112" fmla="*/ 8374792 w 12192001"/>
                <a:gd name="connsiteY1112" fmla="*/ 4316602 h 6523037"/>
                <a:gd name="connsiteX1113" fmla="*/ 7564953 w 12192001"/>
                <a:gd name="connsiteY1113" fmla="*/ 4316602 h 6523037"/>
                <a:gd name="connsiteX1114" fmla="*/ 7568447 w 12192001"/>
                <a:gd name="connsiteY1114" fmla="*/ 4318000 h 6523037"/>
                <a:gd name="connsiteX1115" fmla="*/ 7562857 w 12192001"/>
                <a:gd name="connsiteY1115" fmla="*/ 4318000 h 6523037"/>
                <a:gd name="connsiteX1116" fmla="*/ 7293842 w 12192001"/>
                <a:gd name="connsiteY1116" fmla="*/ 4588412 h 6523037"/>
                <a:gd name="connsiteX1117" fmla="*/ 7563555 w 12192001"/>
                <a:gd name="connsiteY1117" fmla="*/ 4857426 h 6523037"/>
                <a:gd name="connsiteX1118" fmla="*/ 7828377 w 12192001"/>
                <a:gd name="connsiteY1118" fmla="*/ 4858824 h 6523037"/>
                <a:gd name="connsiteX1119" fmla="*/ 7557268 w 12192001"/>
                <a:gd name="connsiteY1119" fmla="*/ 4588412 h 6523037"/>
                <a:gd name="connsiteX1120" fmla="*/ 7555870 w 12192001"/>
                <a:gd name="connsiteY1120" fmla="*/ 4587014 h 6523037"/>
                <a:gd name="connsiteX1121" fmla="*/ 7824884 w 12192001"/>
                <a:gd name="connsiteY1121" fmla="*/ 4317301 h 6523037"/>
                <a:gd name="connsiteX1122" fmla="*/ 7627141 w 12192001"/>
                <a:gd name="connsiteY1122" fmla="*/ 4317301 h 6523037"/>
                <a:gd name="connsiteX1123" fmla="*/ 7627839 w 12192001"/>
                <a:gd name="connsiteY1123" fmla="*/ 4316602 h 6523037"/>
                <a:gd name="connsiteX1124" fmla="*/ 10028534 w 12192001"/>
                <a:gd name="connsiteY1124" fmla="*/ 4316223 h 6523037"/>
                <a:gd name="connsiteX1125" fmla="*/ 9758122 w 12192001"/>
                <a:gd name="connsiteY1125" fmla="*/ 4587334 h 6523037"/>
                <a:gd name="connsiteX1126" fmla="*/ 10029932 w 12192001"/>
                <a:gd name="connsiteY1126" fmla="*/ 4857746 h 6523037"/>
                <a:gd name="connsiteX1127" fmla="*/ 10293356 w 12192001"/>
                <a:gd name="connsiteY1127" fmla="*/ 4857746 h 6523037"/>
                <a:gd name="connsiteX1128" fmla="*/ 10162692 w 12192001"/>
                <a:gd name="connsiteY1128" fmla="*/ 4727779 h 6523037"/>
                <a:gd name="connsiteX1129" fmla="*/ 10022245 w 12192001"/>
                <a:gd name="connsiteY1129" fmla="*/ 4587334 h 6523037"/>
                <a:gd name="connsiteX1130" fmla="*/ 10292658 w 12192001"/>
                <a:gd name="connsiteY1130" fmla="*/ 4316223 h 6523037"/>
                <a:gd name="connsiteX1131" fmla="*/ 8659179 w 12192001"/>
                <a:gd name="connsiteY1131" fmla="*/ 4315903 h 6523037"/>
                <a:gd name="connsiteX1132" fmla="*/ 8388766 w 12192001"/>
                <a:gd name="connsiteY1132" fmla="*/ 4587014 h 6523037"/>
                <a:gd name="connsiteX1133" fmla="*/ 8659877 w 12192001"/>
                <a:gd name="connsiteY1133" fmla="*/ 4857426 h 6523037"/>
                <a:gd name="connsiteX1134" fmla="*/ 8923303 w 12192001"/>
                <a:gd name="connsiteY1134" fmla="*/ 4857426 h 6523037"/>
                <a:gd name="connsiteX1135" fmla="*/ 8793336 w 12192001"/>
                <a:gd name="connsiteY1135" fmla="*/ 4727461 h 6523037"/>
                <a:gd name="connsiteX1136" fmla="*/ 8652889 w 12192001"/>
                <a:gd name="connsiteY1136" fmla="*/ 4587014 h 6523037"/>
                <a:gd name="connsiteX1137" fmla="*/ 8923303 w 12192001"/>
                <a:gd name="connsiteY1137" fmla="*/ 4315903 h 6523037"/>
                <a:gd name="connsiteX1138" fmla="*/ 11674764 w 12192001"/>
                <a:gd name="connsiteY1138" fmla="*/ 4315524 h 6523037"/>
                <a:gd name="connsiteX1139" fmla="*/ 11404352 w 12192001"/>
                <a:gd name="connsiteY1139" fmla="*/ 4586635 h 6523037"/>
                <a:gd name="connsiteX1140" fmla="*/ 11674065 w 12192001"/>
                <a:gd name="connsiteY1140" fmla="*/ 4855649 h 6523037"/>
                <a:gd name="connsiteX1141" fmla="*/ 11937490 w 12192001"/>
                <a:gd name="connsiteY1141" fmla="*/ 4855649 h 6523037"/>
                <a:gd name="connsiteX1142" fmla="*/ 11668475 w 12192001"/>
                <a:gd name="connsiteY1142" fmla="*/ 4586635 h 6523037"/>
                <a:gd name="connsiteX1143" fmla="*/ 11669174 w 12192001"/>
                <a:gd name="connsiteY1143" fmla="*/ 4585936 h 6523037"/>
                <a:gd name="connsiteX1144" fmla="*/ 11667777 w 12192001"/>
                <a:gd name="connsiteY1144" fmla="*/ 4584538 h 6523037"/>
                <a:gd name="connsiteX1145" fmla="*/ 11936092 w 12192001"/>
                <a:gd name="connsiteY1145" fmla="*/ 4315524 h 6523037"/>
                <a:gd name="connsiteX1146" fmla="*/ 10577044 w 12192001"/>
                <a:gd name="connsiteY1146" fmla="*/ 4315524 h 6523037"/>
                <a:gd name="connsiteX1147" fmla="*/ 10306632 w 12192001"/>
                <a:gd name="connsiteY1147" fmla="*/ 4586635 h 6523037"/>
                <a:gd name="connsiteX1148" fmla="*/ 10577743 w 12192001"/>
                <a:gd name="connsiteY1148" fmla="*/ 4857047 h 6523037"/>
                <a:gd name="connsiteX1149" fmla="*/ 10841867 w 12192001"/>
                <a:gd name="connsiteY1149" fmla="*/ 4857047 h 6523037"/>
                <a:gd name="connsiteX1150" fmla="*/ 10570756 w 12192001"/>
                <a:gd name="connsiteY1150" fmla="*/ 4586635 h 6523037"/>
                <a:gd name="connsiteX1151" fmla="*/ 10841168 w 12192001"/>
                <a:gd name="connsiteY1151" fmla="*/ 4315524 h 6523037"/>
                <a:gd name="connsiteX1152" fmla="*/ 10713298 w 12192001"/>
                <a:gd name="connsiteY1152" fmla="*/ 4315524 h 6523037"/>
                <a:gd name="connsiteX1153" fmla="*/ 9207690 w 12192001"/>
                <a:gd name="connsiteY1153" fmla="*/ 4315205 h 6523037"/>
                <a:gd name="connsiteX1154" fmla="*/ 8937277 w 12192001"/>
                <a:gd name="connsiteY1154" fmla="*/ 4586315 h 6523037"/>
                <a:gd name="connsiteX1155" fmla="*/ 9208387 w 12192001"/>
                <a:gd name="connsiteY1155" fmla="*/ 4856727 h 6523037"/>
                <a:gd name="connsiteX1156" fmla="*/ 9469223 w 12192001"/>
                <a:gd name="connsiteY1156" fmla="*/ 4856727 h 6523037"/>
                <a:gd name="connsiteX1157" fmla="*/ 9468844 w 12192001"/>
                <a:gd name="connsiteY1157" fmla="*/ 4856348 h 6523037"/>
                <a:gd name="connsiteX1158" fmla="*/ 9325603 w 12192001"/>
                <a:gd name="connsiteY1158" fmla="*/ 4713804 h 6523037"/>
                <a:gd name="connsiteX1159" fmla="*/ 9325603 w 12192001"/>
                <a:gd name="connsiteY1159" fmla="*/ 4710198 h 6523037"/>
                <a:gd name="connsiteX1160" fmla="*/ 9201400 w 12192001"/>
                <a:gd name="connsiteY1160" fmla="*/ 4586315 h 6523037"/>
                <a:gd name="connsiteX1161" fmla="*/ 9325603 w 12192001"/>
                <a:gd name="connsiteY1161" fmla="*/ 4461792 h 6523037"/>
                <a:gd name="connsiteX1162" fmla="*/ 9325603 w 12192001"/>
                <a:gd name="connsiteY1162" fmla="*/ 4460862 h 6523037"/>
                <a:gd name="connsiteX1163" fmla="*/ 9470571 w 12192001"/>
                <a:gd name="connsiteY1163" fmla="*/ 4315205 h 6523037"/>
                <a:gd name="connsiteX1164" fmla="*/ 11126254 w 12192001"/>
                <a:gd name="connsiteY1164" fmla="*/ 4314825 h 6523037"/>
                <a:gd name="connsiteX1165" fmla="*/ 10945979 w 12192001"/>
                <a:gd name="connsiteY1165" fmla="*/ 4495798 h 6523037"/>
                <a:gd name="connsiteX1166" fmla="*/ 10945281 w 12192001"/>
                <a:gd name="connsiteY1166" fmla="*/ 4495798 h 6523037"/>
                <a:gd name="connsiteX1167" fmla="*/ 10855143 w 12192001"/>
                <a:gd name="connsiteY1167" fmla="*/ 4585936 h 6523037"/>
                <a:gd name="connsiteX1168" fmla="*/ 11125555 w 12192001"/>
                <a:gd name="connsiteY1168" fmla="*/ 4857047 h 6523037"/>
                <a:gd name="connsiteX1169" fmla="*/ 11389678 w 12192001"/>
                <a:gd name="connsiteY1169" fmla="*/ 4857047 h 6523037"/>
                <a:gd name="connsiteX1170" fmla="*/ 11118567 w 12192001"/>
                <a:gd name="connsiteY1170" fmla="*/ 4586635 h 6523037"/>
                <a:gd name="connsiteX1171" fmla="*/ 11303035 w 12192001"/>
                <a:gd name="connsiteY1171" fmla="*/ 4402167 h 6523037"/>
                <a:gd name="connsiteX1172" fmla="*/ 11303734 w 12192001"/>
                <a:gd name="connsiteY1172" fmla="*/ 4402167 h 6523037"/>
                <a:gd name="connsiteX1173" fmla="*/ 11389678 w 12192001"/>
                <a:gd name="connsiteY1173" fmla="*/ 4315524 h 6523037"/>
                <a:gd name="connsiteX1174" fmla="*/ 11131145 w 12192001"/>
                <a:gd name="connsiteY1174" fmla="*/ 4315524 h 6523037"/>
                <a:gd name="connsiteX1175" fmla="*/ 717155 w 12192001"/>
                <a:gd name="connsiteY1175" fmla="*/ 4052402 h 6523037"/>
                <a:gd name="connsiteX1176" fmla="*/ 986808 w 12192001"/>
                <a:gd name="connsiteY1176" fmla="*/ 4320665 h 6523037"/>
                <a:gd name="connsiteX1177" fmla="*/ 716396 w 12192001"/>
                <a:gd name="connsiteY1177" fmla="*/ 4591776 h 6523037"/>
                <a:gd name="connsiteX1178" fmla="*/ 979821 w 12192001"/>
                <a:gd name="connsiteY1178" fmla="*/ 4591776 h 6523037"/>
                <a:gd name="connsiteX1179" fmla="*/ 1250233 w 12192001"/>
                <a:gd name="connsiteY1179" fmla="*/ 4320665 h 6523037"/>
                <a:gd name="connsiteX1180" fmla="*/ 1116075 w 12192001"/>
                <a:gd name="connsiteY1180" fmla="*/ 4187206 h 6523037"/>
                <a:gd name="connsiteX1181" fmla="*/ 1019702 w 12192001"/>
                <a:gd name="connsiteY1181" fmla="*/ 4090833 h 6523037"/>
                <a:gd name="connsiteX1182" fmla="*/ 1018761 w 12192001"/>
                <a:gd name="connsiteY1182" fmla="*/ 4090833 h 6523037"/>
                <a:gd name="connsiteX1183" fmla="*/ 980330 w 12192001"/>
                <a:gd name="connsiteY1183" fmla="*/ 4052402 h 6523037"/>
                <a:gd name="connsiteX1184" fmla="*/ 168395 w 12192001"/>
                <a:gd name="connsiteY1184" fmla="*/ 4052402 h 6523037"/>
                <a:gd name="connsiteX1185" fmla="*/ 206127 w 12192001"/>
                <a:gd name="connsiteY1185" fmla="*/ 4090134 h 6523037"/>
                <a:gd name="connsiteX1186" fmla="*/ 205772 w 12192001"/>
                <a:gd name="connsiteY1186" fmla="*/ 4090134 h 6523037"/>
                <a:gd name="connsiteX1187" fmla="*/ 437599 w 12192001"/>
                <a:gd name="connsiteY1187" fmla="*/ 4321364 h 6523037"/>
                <a:gd name="connsiteX1188" fmla="*/ 167187 w 12192001"/>
                <a:gd name="connsiteY1188" fmla="*/ 4591776 h 6523037"/>
                <a:gd name="connsiteX1189" fmla="*/ 431311 w 12192001"/>
                <a:gd name="connsiteY1189" fmla="*/ 4591776 h 6523037"/>
                <a:gd name="connsiteX1190" fmla="*/ 701722 w 12192001"/>
                <a:gd name="connsiteY1190" fmla="*/ 4320665 h 6523037"/>
                <a:gd name="connsiteX1191" fmla="*/ 470596 w 12192001"/>
                <a:gd name="connsiteY1191" fmla="*/ 4090134 h 6523037"/>
                <a:gd name="connsiteX1192" fmla="*/ 470250 w 12192001"/>
                <a:gd name="connsiteY1192" fmla="*/ 4090134 h 6523037"/>
                <a:gd name="connsiteX1193" fmla="*/ 432518 w 12192001"/>
                <a:gd name="connsiteY1193" fmla="*/ 4052402 h 6523037"/>
                <a:gd name="connsiteX1194" fmla="*/ 1816265 w 12192001"/>
                <a:gd name="connsiteY1194" fmla="*/ 4051703 h 6523037"/>
                <a:gd name="connsiteX1195" fmla="*/ 1942683 w 12192001"/>
                <a:gd name="connsiteY1195" fmla="*/ 4178123 h 6523037"/>
                <a:gd name="connsiteX1196" fmla="*/ 2083829 w 12192001"/>
                <a:gd name="connsiteY1196" fmla="*/ 4318569 h 6523037"/>
                <a:gd name="connsiteX1197" fmla="*/ 1813417 w 12192001"/>
                <a:gd name="connsiteY1197" fmla="*/ 4589680 h 6523037"/>
                <a:gd name="connsiteX1198" fmla="*/ 2076842 w 12192001"/>
                <a:gd name="connsiteY1198" fmla="*/ 4589680 h 6523037"/>
                <a:gd name="connsiteX1199" fmla="*/ 2347254 w 12192001"/>
                <a:gd name="connsiteY1199" fmla="*/ 4319268 h 6523037"/>
                <a:gd name="connsiteX1200" fmla="*/ 2214493 w 12192001"/>
                <a:gd name="connsiteY1200" fmla="*/ 4186507 h 6523037"/>
                <a:gd name="connsiteX1201" fmla="*/ 2214493 w 12192001"/>
                <a:gd name="connsiteY1201" fmla="*/ 4185809 h 6523037"/>
                <a:gd name="connsiteX1202" fmla="*/ 2119736 w 12192001"/>
                <a:gd name="connsiteY1202" fmla="*/ 4091531 h 6523037"/>
                <a:gd name="connsiteX1203" fmla="*/ 2116480 w 12192001"/>
                <a:gd name="connsiteY1203" fmla="*/ 4091531 h 6523037"/>
                <a:gd name="connsiteX1204" fmla="*/ 2076652 w 12192001"/>
                <a:gd name="connsiteY1204" fmla="*/ 4051703 h 6523037"/>
                <a:gd name="connsiteX1205" fmla="*/ 1266369 w 12192001"/>
                <a:gd name="connsiteY1205" fmla="*/ 4051703 h 6523037"/>
                <a:gd name="connsiteX1206" fmla="*/ 1534620 w 12192001"/>
                <a:gd name="connsiteY1206" fmla="*/ 4318569 h 6523037"/>
                <a:gd name="connsiteX1207" fmla="*/ 1531824 w 12192001"/>
                <a:gd name="connsiteY1207" fmla="*/ 4321364 h 6523037"/>
                <a:gd name="connsiteX1208" fmla="*/ 1441688 w 12192001"/>
                <a:gd name="connsiteY1208" fmla="*/ 4412201 h 6523037"/>
                <a:gd name="connsiteX1209" fmla="*/ 1440989 w 12192001"/>
                <a:gd name="connsiteY1209" fmla="*/ 4412201 h 6523037"/>
                <a:gd name="connsiteX1210" fmla="*/ 1263509 w 12192001"/>
                <a:gd name="connsiteY1210" fmla="*/ 4590379 h 6523037"/>
                <a:gd name="connsiteX1211" fmla="*/ 1527632 w 12192001"/>
                <a:gd name="connsiteY1211" fmla="*/ 4590379 h 6523037"/>
                <a:gd name="connsiteX1212" fmla="*/ 1798044 w 12192001"/>
                <a:gd name="connsiteY1212" fmla="*/ 4319967 h 6523037"/>
                <a:gd name="connsiteX1213" fmla="*/ 1793153 w 12192001"/>
                <a:gd name="connsiteY1213" fmla="*/ 4315076 h 6523037"/>
                <a:gd name="connsiteX1214" fmla="*/ 1795249 w 12192001"/>
                <a:gd name="connsiteY1214" fmla="*/ 4315775 h 6523037"/>
                <a:gd name="connsiteX1215" fmla="*/ 1569718 w 12192001"/>
                <a:gd name="connsiteY1215" fmla="*/ 4090833 h 6523037"/>
                <a:gd name="connsiteX1216" fmla="*/ 1567271 w 12192001"/>
                <a:gd name="connsiteY1216" fmla="*/ 4090833 h 6523037"/>
                <a:gd name="connsiteX1217" fmla="*/ 1528141 w 12192001"/>
                <a:gd name="connsiteY1217" fmla="*/ 4051703 h 6523037"/>
                <a:gd name="connsiteX1218" fmla="*/ 2363377 w 12192001"/>
                <a:gd name="connsiteY1218" fmla="*/ 4051005 h 6523037"/>
                <a:gd name="connsiteX1219" fmla="*/ 2630942 w 12192001"/>
                <a:gd name="connsiteY1219" fmla="*/ 4318569 h 6523037"/>
                <a:gd name="connsiteX1220" fmla="*/ 2632339 w 12192001"/>
                <a:gd name="connsiteY1220" fmla="*/ 4319967 h 6523037"/>
                <a:gd name="connsiteX1221" fmla="*/ 2363324 w 12192001"/>
                <a:gd name="connsiteY1221" fmla="*/ 4589680 h 6523037"/>
                <a:gd name="connsiteX1222" fmla="*/ 2625352 w 12192001"/>
                <a:gd name="connsiteY1222" fmla="*/ 4589680 h 6523037"/>
                <a:gd name="connsiteX1223" fmla="*/ 2895065 w 12192001"/>
                <a:gd name="connsiteY1223" fmla="*/ 4319268 h 6523037"/>
                <a:gd name="connsiteX1224" fmla="*/ 2890873 w 12192001"/>
                <a:gd name="connsiteY1224" fmla="*/ 4315076 h 6523037"/>
                <a:gd name="connsiteX1225" fmla="*/ 2892968 w 12192001"/>
                <a:gd name="connsiteY1225" fmla="*/ 4315775 h 6523037"/>
                <a:gd name="connsiteX1226" fmla="*/ 2668140 w 12192001"/>
                <a:gd name="connsiteY1226" fmla="*/ 4091531 h 6523037"/>
                <a:gd name="connsiteX1227" fmla="*/ 2666387 w 12192001"/>
                <a:gd name="connsiteY1227" fmla="*/ 4091531 h 6523037"/>
                <a:gd name="connsiteX1228" fmla="*/ 2625861 w 12192001"/>
                <a:gd name="connsiteY1228" fmla="*/ 4051005 h 6523037"/>
                <a:gd name="connsiteX1229" fmla="*/ 2911879 w 12192001"/>
                <a:gd name="connsiteY1229" fmla="*/ 4049607 h 6523037"/>
                <a:gd name="connsiteX1230" fmla="*/ 3179452 w 12192001"/>
                <a:gd name="connsiteY1230" fmla="*/ 4317871 h 6523037"/>
                <a:gd name="connsiteX1231" fmla="*/ 3087218 w 12192001"/>
                <a:gd name="connsiteY1231" fmla="*/ 4410803 h 6523037"/>
                <a:gd name="connsiteX1232" fmla="*/ 3087917 w 12192001"/>
                <a:gd name="connsiteY1232" fmla="*/ 4411502 h 6523037"/>
                <a:gd name="connsiteX1233" fmla="*/ 2911834 w 12192001"/>
                <a:gd name="connsiteY1233" fmla="*/ 4587584 h 6523037"/>
                <a:gd name="connsiteX1234" fmla="*/ 3108180 w 12192001"/>
                <a:gd name="connsiteY1234" fmla="*/ 4587584 h 6523037"/>
                <a:gd name="connsiteX1235" fmla="*/ 3107481 w 12192001"/>
                <a:gd name="connsiteY1235" fmla="*/ 4588982 h 6523037"/>
                <a:gd name="connsiteX1236" fmla="*/ 3173163 w 12192001"/>
                <a:gd name="connsiteY1236" fmla="*/ 4588982 h 6523037"/>
                <a:gd name="connsiteX1237" fmla="*/ 3443575 w 12192001"/>
                <a:gd name="connsiteY1237" fmla="*/ 4317871 h 6523037"/>
                <a:gd name="connsiteX1238" fmla="*/ 3215951 w 12192001"/>
                <a:gd name="connsiteY1238" fmla="*/ 4090833 h 6523037"/>
                <a:gd name="connsiteX1239" fmla="*/ 3215596 w 12192001"/>
                <a:gd name="connsiteY1239" fmla="*/ 4090833 h 6523037"/>
                <a:gd name="connsiteX1240" fmla="*/ 3174371 w 12192001"/>
                <a:gd name="connsiteY1240" fmla="*/ 4049607 h 6523037"/>
                <a:gd name="connsiteX1241" fmla="*/ 3459004 w 12192001"/>
                <a:gd name="connsiteY1241" fmla="*/ 4048908 h 6523037"/>
                <a:gd name="connsiteX1242" fmla="*/ 3728660 w 12192001"/>
                <a:gd name="connsiteY1242" fmla="*/ 4317871 h 6523037"/>
                <a:gd name="connsiteX1243" fmla="*/ 3458248 w 12192001"/>
                <a:gd name="connsiteY1243" fmla="*/ 4588283 h 6523037"/>
                <a:gd name="connsiteX1244" fmla="*/ 3722372 w 12192001"/>
                <a:gd name="connsiteY1244" fmla="*/ 4588283 h 6523037"/>
                <a:gd name="connsiteX1245" fmla="*/ 3992783 w 12192001"/>
                <a:gd name="connsiteY1245" fmla="*/ 4317871 h 6523037"/>
                <a:gd name="connsiteX1246" fmla="*/ 3765160 w 12192001"/>
                <a:gd name="connsiteY1246" fmla="*/ 4090833 h 6523037"/>
                <a:gd name="connsiteX1247" fmla="*/ 3764107 w 12192001"/>
                <a:gd name="connsiteY1247" fmla="*/ 4090833 h 6523037"/>
                <a:gd name="connsiteX1248" fmla="*/ 3722183 w 12192001"/>
                <a:gd name="connsiteY1248" fmla="*/ 4048908 h 6523037"/>
                <a:gd name="connsiteX1249" fmla="*/ 4007520 w 12192001"/>
                <a:gd name="connsiteY1249" fmla="*/ 4048209 h 6523037"/>
                <a:gd name="connsiteX1250" fmla="*/ 4277870 w 12192001"/>
                <a:gd name="connsiteY1250" fmla="*/ 4316473 h 6523037"/>
                <a:gd name="connsiteX1251" fmla="*/ 4007457 w 12192001"/>
                <a:gd name="connsiteY1251" fmla="*/ 4587584 h 6523037"/>
                <a:gd name="connsiteX1252" fmla="*/ 4270883 w 12192001"/>
                <a:gd name="connsiteY1252" fmla="*/ 4587584 h 6523037"/>
                <a:gd name="connsiteX1253" fmla="*/ 4541295 w 12192001"/>
                <a:gd name="connsiteY1253" fmla="*/ 4316473 h 6523037"/>
                <a:gd name="connsiteX1254" fmla="*/ 4407136 w 12192001"/>
                <a:gd name="connsiteY1254" fmla="*/ 4183014 h 6523037"/>
                <a:gd name="connsiteX1255" fmla="*/ 4314483 w 12192001"/>
                <a:gd name="connsiteY1255" fmla="*/ 4090833 h 6523037"/>
                <a:gd name="connsiteX1256" fmla="*/ 4313317 w 12192001"/>
                <a:gd name="connsiteY1256" fmla="*/ 4090833 h 6523037"/>
                <a:gd name="connsiteX1257" fmla="*/ 4270692 w 12192001"/>
                <a:gd name="connsiteY1257" fmla="*/ 4048209 h 6523037"/>
                <a:gd name="connsiteX1258" fmla="*/ 5377262 w 12192001"/>
                <a:gd name="connsiteY1258" fmla="*/ 4047640 h 6523037"/>
                <a:gd name="connsiteX1259" fmla="*/ 5646914 w 12192001"/>
                <a:gd name="connsiteY1259" fmla="*/ 4315903 h 6523037"/>
                <a:gd name="connsiteX1260" fmla="*/ 5376502 w 12192001"/>
                <a:gd name="connsiteY1260" fmla="*/ 4587014 h 6523037"/>
                <a:gd name="connsiteX1261" fmla="*/ 5639927 w 12192001"/>
                <a:gd name="connsiteY1261" fmla="*/ 4587014 h 6523037"/>
                <a:gd name="connsiteX1262" fmla="*/ 5910339 w 12192001"/>
                <a:gd name="connsiteY1262" fmla="*/ 4315903 h 6523037"/>
                <a:gd name="connsiteX1263" fmla="*/ 5776182 w 12192001"/>
                <a:gd name="connsiteY1263" fmla="*/ 4182444 h 6523037"/>
                <a:gd name="connsiteX1264" fmla="*/ 5679808 w 12192001"/>
                <a:gd name="connsiteY1264" fmla="*/ 4086071 h 6523037"/>
                <a:gd name="connsiteX1265" fmla="*/ 5678867 w 12192001"/>
                <a:gd name="connsiteY1265" fmla="*/ 4086071 h 6523037"/>
                <a:gd name="connsiteX1266" fmla="*/ 5640436 w 12192001"/>
                <a:gd name="connsiteY1266" fmla="*/ 4047640 h 6523037"/>
                <a:gd name="connsiteX1267" fmla="*/ 4828501 w 12192001"/>
                <a:gd name="connsiteY1267" fmla="*/ 4047640 h 6523037"/>
                <a:gd name="connsiteX1268" fmla="*/ 4866233 w 12192001"/>
                <a:gd name="connsiteY1268" fmla="*/ 4085372 h 6523037"/>
                <a:gd name="connsiteX1269" fmla="*/ 4865878 w 12192001"/>
                <a:gd name="connsiteY1269" fmla="*/ 4085372 h 6523037"/>
                <a:gd name="connsiteX1270" fmla="*/ 5097706 w 12192001"/>
                <a:gd name="connsiteY1270" fmla="*/ 4316602 h 6523037"/>
                <a:gd name="connsiteX1271" fmla="*/ 4828477 w 12192001"/>
                <a:gd name="connsiteY1271" fmla="*/ 4585831 h 6523037"/>
                <a:gd name="connsiteX1272" fmla="*/ 4828477 w 12192001"/>
                <a:gd name="connsiteY1272" fmla="*/ 4587014 h 6523037"/>
                <a:gd name="connsiteX1273" fmla="*/ 5091417 w 12192001"/>
                <a:gd name="connsiteY1273" fmla="*/ 4587014 h 6523037"/>
                <a:gd name="connsiteX1274" fmla="*/ 5361829 w 12192001"/>
                <a:gd name="connsiteY1274" fmla="*/ 4315903 h 6523037"/>
                <a:gd name="connsiteX1275" fmla="*/ 5130702 w 12192001"/>
                <a:gd name="connsiteY1275" fmla="*/ 4085372 h 6523037"/>
                <a:gd name="connsiteX1276" fmla="*/ 5130356 w 12192001"/>
                <a:gd name="connsiteY1276" fmla="*/ 4085372 h 6523037"/>
                <a:gd name="connsiteX1277" fmla="*/ 5092624 w 12192001"/>
                <a:gd name="connsiteY1277" fmla="*/ 4047640 h 6523037"/>
                <a:gd name="connsiteX1278" fmla="*/ 6476371 w 12192001"/>
                <a:gd name="connsiteY1278" fmla="*/ 4046941 h 6523037"/>
                <a:gd name="connsiteX1279" fmla="*/ 6602789 w 12192001"/>
                <a:gd name="connsiteY1279" fmla="*/ 4173361 h 6523037"/>
                <a:gd name="connsiteX1280" fmla="*/ 6743935 w 12192001"/>
                <a:gd name="connsiteY1280" fmla="*/ 4313807 h 6523037"/>
                <a:gd name="connsiteX1281" fmla="*/ 6473523 w 12192001"/>
                <a:gd name="connsiteY1281" fmla="*/ 4584918 h 6523037"/>
                <a:gd name="connsiteX1282" fmla="*/ 6736948 w 12192001"/>
                <a:gd name="connsiteY1282" fmla="*/ 4584918 h 6523037"/>
                <a:gd name="connsiteX1283" fmla="*/ 7007360 w 12192001"/>
                <a:gd name="connsiteY1283" fmla="*/ 4314506 h 6523037"/>
                <a:gd name="connsiteX1284" fmla="*/ 6874599 w 12192001"/>
                <a:gd name="connsiteY1284" fmla="*/ 4181745 h 6523037"/>
                <a:gd name="connsiteX1285" fmla="*/ 6874599 w 12192001"/>
                <a:gd name="connsiteY1285" fmla="*/ 4181047 h 6523037"/>
                <a:gd name="connsiteX1286" fmla="*/ 6779842 w 12192001"/>
                <a:gd name="connsiteY1286" fmla="*/ 4086769 h 6523037"/>
                <a:gd name="connsiteX1287" fmla="*/ 6776587 w 12192001"/>
                <a:gd name="connsiteY1287" fmla="*/ 4086769 h 6523037"/>
                <a:gd name="connsiteX1288" fmla="*/ 6736759 w 12192001"/>
                <a:gd name="connsiteY1288" fmla="*/ 4046941 h 6523037"/>
                <a:gd name="connsiteX1289" fmla="*/ 5926476 w 12192001"/>
                <a:gd name="connsiteY1289" fmla="*/ 4046941 h 6523037"/>
                <a:gd name="connsiteX1290" fmla="*/ 6194726 w 12192001"/>
                <a:gd name="connsiteY1290" fmla="*/ 4313807 h 6523037"/>
                <a:gd name="connsiteX1291" fmla="*/ 6191930 w 12192001"/>
                <a:gd name="connsiteY1291" fmla="*/ 4316602 h 6523037"/>
                <a:gd name="connsiteX1292" fmla="*/ 6101794 w 12192001"/>
                <a:gd name="connsiteY1292" fmla="*/ 4407439 h 6523037"/>
                <a:gd name="connsiteX1293" fmla="*/ 6101096 w 12192001"/>
                <a:gd name="connsiteY1293" fmla="*/ 4407439 h 6523037"/>
                <a:gd name="connsiteX1294" fmla="*/ 5923616 w 12192001"/>
                <a:gd name="connsiteY1294" fmla="*/ 4585617 h 6523037"/>
                <a:gd name="connsiteX1295" fmla="*/ 6187739 w 12192001"/>
                <a:gd name="connsiteY1295" fmla="*/ 4585617 h 6523037"/>
                <a:gd name="connsiteX1296" fmla="*/ 6458151 w 12192001"/>
                <a:gd name="connsiteY1296" fmla="*/ 4315205 h 6523037"/>
                <a:gd name="connsiteX1297" fmla="*/ 6453259 w 12192001"/>
                <a:gd name="connsiteY1297" fmla="*/ 4310314 h 6523037"/>
                <a:gd name="connsiteX1298" fmla="*/ 6455355 w 12192001"/>
                <a:gd name="connsiteY1298" fmla="*/ 4311013 h 6523037"/>
                <a:gd name="connsiteX1299" fmla="*/ 6229824 w 12192001"/>
                <a:gd name="connsiteY1299" fmla="*/ 4086071 h 6523037"/>
                <a:gd name="connsiteX1300" fmla="*/ 6227377 w 12192001"/>
                <a:gd name="connsiteY1300" fmla="*/ 4086071 h 6523037"/>
                <a:gd name="connsiteX1301" fmla="*/ 6188247 w 12192001"/>
                <a:gd name="connsiteY1301" fmla="*/ 4046941 h 6523037"/>
                <a:gd name="connsiteX1302" fmla="*/ 4555321 w 12192001"/>
                <a:gd name="connsiteY1302" fmla="*/ 4046813 h 6523037"/>
                <a:gd name="connsiteX1303" fmla="*/ 4555968 w 12192001"/>
                <a:gd name="connsiteY1303" fmla="*/ 4047459 h 6523037"/>
                <a:gd name="connsiteX1304" fmla="*/ 4821607 w 12192001"/>
                <a:gd name="connsiteY1304" fmla="*/ 4312410 h 6523037"/>
                <a:gd name="connsiteX1305" fmla="*/ 5083731 w 12192001"/>
                <a:gd name="connsiteY1305" fmla="*/ 4312410 h 6523037"/>
                <a:gd name="connsiteX1306" fmla="*/ 4816757 w 12192001"/>
                <a:gd name="connsiteY1306" fmla="*/ 4046813 h 6523037"/>
                <a:gd name="connsiteX1307" fmla="*/ 7023483 w 12192001"/>
                <a:gd name="connsiteY1307" fmla="*/ 4046243 h 6523037"/>
                <a:gd name="connsiteX1308" fmla="*/ 7291048 w 12192001"/>
                <a:gd name="connsiteY1308" fmla="*/ 4313807 h 6523037"/>
                <a:gd name="connsiteX1309" fmla="*/ 7292445 w 12192001"/>
                <a:gd name="connsiteY1309" fmla="*/ 4315205 h 6523037"/>
                <a:gd name="connsiteX1310" fmla="*/ 7023431 w 12192001"/>
                <a:gd name="connsiteY1310" fmla="*/ 4584918 h 6523037"/>
                <a:gd name="connsiteX1311" fmla="*/ 7285458 w 12192001"/>
                <a:gd name="connsiteY1311" fmla="*/ 4584918 h 6523037"/>
                <a:gd name="connsiteX1312" fmla="*/ 7555171 w 12192001"/>
                <a:gd name="connsiteY1312" fmla="*/ 4314506 h 6523037"/>
                <a:gd name="connsiteX1313" fmla="*/ 7550979 w 12192001"/>
                <a:gd name="connsiteY1313" fmla="*/ 4310314 h 6523037"/>
                <a:gd name="connsiteX1314" fmla="*/ 7553074 w 12192001"/>
                <a:gd name="connsiteY1314" fmla="*/ 4311013 h 6523037"/>
                <a:gd name="connsiteX1315" fmla="*/ 7328246 w 12192001"/>
                <a:gd name="connsiteY1315" fmla="*/ 4086769 h 6523037"/>
                <a:gd name="connsiteX1316" fmla="*/ 7326493 w 12192001"/>
                <a:gd name="connsiteY1316" fmla="*/ 4086769 h 6523037"/>
                <a:gd name="connsiteX1317" fmla="*/ 7285967 w 12192001"/>
                <a:gd name="connsiteY1317" fmla="*/ 4046243 h 6523037"/>
                <a:gd name="connsiteX1318" fmla="*/ 7571985 w 12192001"/>
                <a:gd name="connsiteY1318" fmla="*/ 4044845 h 6523037"/>
                <a:gd name="connsiteX1319" fmla="*/ 7839558 w 12192001"/>
                <a:gd name="connsiteY1319" fmla="*/ 4313109 h 6523037"/>
                <a:gd name="connsiteX1320" fmla="*/ 7747324 w 12192001"/>
                <a:gd name="connsiteY1320" fmla="*/ 4406041 h 6523037"/>
                <a:gd name="connsiteX1321" fmla="*/ 7748023 w 12192001"/>
                <a:gd name="connsiteY1321" fmla="*/ 4406740 h 6523037"/>
                <a:gd name="connsiteX1322" fmla="*/ 7571940 w 12192001"/>
                <a:gd name="connsiteY1322" fmla="*/ 4582822 h 6523037"/>
                <a:gd name="connsiteX1323" fmla="*/ 7768286 w 12192001"/>
                <a:gd name="connsiteY1323" fmla="*/ 4582822 h 6523037"/>
                <a:gd name="connsiteX1324" fmla="*/ 7767587 w 12192001"/>
                <a:gd name="connsiteY1324" fmla="*/ 4584220 h 6523037"/>
                <a:gd name="connsiteX1325" fmla="*/ 7833269 w 12192001"/>
                <a:gd name="connsiteY1325" fmla="*/ 4584220 h 6523037"/>
                <a:gd name="connsiteX1326" fmla="*/ 8103681 w 12192001"/>
                <a:gd name="connsiteY1326" fmla="*/ 4313109 h 6523037"/>
                <a:gd name="connsiteX1327" fmla="*/ 7876057 w 12192001"/>
                <a:gd name="connsiteY1327" fmla="*/ 4086071 h 6523037"/>
                <a:gd name="connsiteX1328" fmla="*/ 7875702 w 12192001"/>
                <a:gd name="connsiteY1328" fmla="*/ 4086071 h 6523037"/>
                <a:gd name="connsiteX1329" fmla="*/ 7834477 w 12192001"/>
                <a:gd name="connsiteY1329" fmla="*/ 4044845 h 6523037"/>
                <a:gd name="connsiteX1330" fmla="*/ 10037678 w 12192001"/>
                <a:gd name="connsiteY1330" fmla="*/ 4044465 h 6523037"/>
                <a:gd name="connsiteX1331" fmla="*/ 10307331 w 12192001"/>
                <a:gd name="connsiteY1331" fmla="*/ 4312728 h 6523037"/>
                <a:gd name="connsiteX1332" fmla="*/ 10036919 w 12192001"/>
                <a:gd name="connsiteY1332" fmla="*/ 4583839 h 6523037"/>
                <a:gd name="connsiteX1333" fmla="*/ 10300344 w 12192001"/>
                <a:gd name="connsiteY1333" fmla="*/ 4583839 h 6523037"/>
                <a:gd name="connsiteX1334" fmla="*/ 10570756 w 12192001"/>
                <a:gd name="connsiteY1334" fmla="*/ 4312728 h 6523037"/>
                <a:gd name="connsiteX1335" fmla="*/ 10436598 w 12192001"/>
                <a:gd name="connsiteY1335" fmla="*/ 4179269 h 6523037"/>
                <a:gd name="connsiteX1336" fmla="*/ 10340225 w 12192001"/>
                <a:gd name="connsiteY1336" fmla="*/ 4082896 h 6523037"/>
                <a:gd name="connsiteX1337" fmla="*/ 10339284 w 12192001"/>
                <a:gd name="connsiteY1337" fmla="*/ 4082896 h 6523037"/>
                <a:gd name="connsiteX1338" fmla="*/ 10300853 w 12192001"/>
                <a:gd name="connsiteY1338" fmla="*/ 4044465 h 6523037"/>
                <a:gd name="connsiteX1339" fmla="*/ 9488918 w 12192001"/>
                <a:gd name="connsiteY1339" fmla="*/ 4044465 h 6523037"/>
                <a:gd name="connsiteX1340" fmla="*/ 9526650 w 12192001"/>
                <a:gd name="connsiteY1340" fmla="*/ 4082197 h 6523037"/>
                <a:gd name="connsiteX1341" fmla="*/ 9526295 w 12192001"/>
                <a:gd name="connsiteY1341" fmla="*/ 4082197 h 6523037"/>
                <a:gd name="connsiteX1342" fmla="*/ 9758122 w 12192001"/>
                <a:gd name="connsiteY1342" fmla="*/ 4313427 h 6523037"/>
                <a:gd name="connsiteX1343" fmla="*/ 9488582 w 12192001"/>
                <a:gd name="connsiteY1343" fmla="*/ 4582967 h 6523037"/>
                <a:gd name="connsiteX1344" fmla="*/ 9488582 w 12192001"/>
                <a:gd name="connsiteY1344" fmla="*/ 4583521 h 6523037"/>
                <a:gd name="connsiteX1345" fmla="*/ 9488264 w 12192001"/>
                <a:gd name="connsiteY1345" fmla="*/ 4583839 h 6523037"/>
                <a:gd name="connsiteX1346" fmla="*/ 9751834 w 12192001"/>
                <a:gd name="connsiteY1346" fmla="*/ 4583839 h 6523037"/>
                <a:gd name="connsiteX1347" fmla="*/ 10022245 w 12192001"/>
                <a:gd name="connsiteY1347" fmla="*/ 4312728 h 6523037"/>
                <a:gd name="connsiteX1348" fmla="*/ 9791119 w 12192001"/>
                <a:gd name="connsiteY1348" fmla="*/ 4082197 h 6523037"/>
                <a:gd name="connsiteX1349" fmla="*/ 9790773 w 12192001"/>
                <a:gd name="connsiteY1349" fmla="*/ 4082197 h 6523037"/>
                <a:gd name="connsiteX1350" fmla="*/ 9753041 w 12192001"/>
                <a:gd name="connsiteY1350" fmla="*/ 4044465 h 6523037"/>
                <a:gd name="connsiteX1351" fmla="*/ 8119110 w 12192001"/>
                <a:gd name="connsiteY1351" fmla="*/ 4044146 h 6523037"/>
                <a:gd name="connsiteX1352" fmla="*/ 8388766 w 12192001"/>
                <a:gd name="connsiteY1352" fmla="*/ 4313109 h 6523037"/>
                <a:gd name="connsiteX1353" fmla="*/ 8118354 w 12192001"/>
                <a:gd name="connsiteY1353" fmla="*/ 4583521 h 6523037"/>
                <a:gd name="connsiteX1354" fmla="*/ 8382478 w 12192001"/>
                <a:gd name="connsiteY1354" fmla="*/ 4583521 h 6523037"/>
                <a:gd name="connsiteX1355" fmla="*/ 8652889 w 12192001"/>
                <a:gd name="connsiteY1355" fmla="*/ 4313109 h 6523037"/>
                <a:gd name="connsiteX1356" fmla="*/ 8425266 w 12192001"/>
                <a:gd name="connsiteY1356" fmla="*/ 4086071 h 6523037"/>
                <a:gd name="connsiteX1357" fmla="*/ 8424213 w 12192001"/>
                <a:gd name="connsiteY1357" fmla="*/ 4086071 h 6523037"/>
                <a:gd name="connsiteX1358" fmla="*/ 8382289 w 12192001"/>
                <a:gd name="connsiteY1358" fmla="*/ 4044146 h 6523037"/>
                <a:gd name="connsiteX1359" fmla="*/ 11136788 w 12192001"/>
                <a:gd name="connsiteY1359" fmla="*/ 4043766 h 6523037"/>
                <a:gd name="connsiteX1360" fmla="*/ 11263206 w 12192001"/>
                <a:gd name="connsiteY1360" fmla="*/ 4170186 h 6523037"/>
                <a:gd name="connsiteX1361" fmla="*/ 11404352 w 12192001"/>
                <a:gd name="connsiteY1361" fmla="*/ 4310632 h 6523037"/>
                <a:gd name="connsiteX1362" fmla="*/ 11133940 w 12192001"/>
                <a:gd name="connsiteY1362" fmla="*/ 4581743 h 6523037"/>
                <a:gd name="connsiteX1363" fmla="*/ 11397365 w 12192001"/>
                <a:gd name="connsiteY1363" fmla="*/ 4581743 h 6523037"/>
                <a:gd name="connsiteX1364" fmla="*/ 11667777 w 12192001"/>
                <a:gd name="connsiteY1364" fmla="*/ 4311331 h 6523037"/>
                <a:gd name="connsiteX1365" fmla="*/ 11535016 w 12192001"/>
                <a:gd name="connsiteY1365" fmla="*/ 4178570 h 6523037"/>
                <a:gd name="connsiteX1366" fmla="*/ 11535016 w 12192001"/>
                <a:gd name="connsiteY1366" fmla="*/ 4177872 h 6523037"/>
                <a:gd name="connsiteX1367" fmla="*/ 11440259 w 12192001"/>
                <a:gd name="connsiteY1367" fmla="*/ 4083594 h 6523037"/>
                <a:gd name="connsiteX1368" fmla="*/ 11437003 w 12192001"/>
                <a:gd name="connsiteY1368" fmla="*/ 4083594 h 6523037"/>
                <a:gd name="connsiteX1369" fmla="*/ 11397175 w 12192001"/>
                <a:gd name="connsiteY1369" fmla="*/ 4043766 h 6523037"/>
                <a:gd name="connsiteX1370" fmla="*/ 10586892 w 12192001"/>
                <a:gd name="connsiteY1370" fmla="*/ 4043766 h 6523037"/>
                <a:gd name="connsiteX1371" fmla="*/ 10855143 w 12192001"/>
                <a:gd name="connsiteY1371" fmla="*/ 4310632 h 6523037"/>
                <a:gd name="connsiteX1372" fmla="*/ 10852347 w 12192001"/>
                <a:gd name="connsiteY1372" fmla="*/ 4313427 h 6523037"/>
                <a:gd name="connsiteX1373" fmla="*/ 10762211 w 12192001"/>
                <a:gd name="connsiteY1373" fmla="*/ 4404264 h 6523037"/>
                <a:gd name="connsiteX1374" fmla="*/ 10761512 w 12192001"/>
                <a:gd name="connsiteY1374" fmla="*/ 4404264 h 6523037"/>
                <a:gd name="connsiteX1375" fmla="*/ 10584032 w 12192001"/>
                <a:gd name="connsiteY1375" fmla="*/ 4582442 h 6523037"/>
                <a:gd name="connsiteX1376" fmla="*/ 10848155 w 12192001"/>
                <a:gd name="connsiteY1376" fmla="*/ 4582442 h 6523037"/>
                <a:gd name="connsiteX1377" fmla="*/ 11118567 w 12192001"/>
                <a:gd name="connsiteY1377" fmla="*/ 4312030 h 6523037"/>
                <a:gd name="connsiteX1378" fmla="*/ 11113676 w 12192001"/>
                <a:gd name="connsiteY1378" fmla="*/ 4307139 h 6523037"/>
                <a:gd name="connsiteX1379" fmla="*/ 11115772 w 12192001"/>
                <a:gd name="connsiteY1379" fmla="*/ 4307838 h 6523037"/>
                <a:gd name="connsiteX1380" fmla="*/ 10890241 w 12192001"/>
                <a:gd name="connsiteY1380" fmla="*/ 4082896 h 6523037"/>
                <a:gd name="connsiteX1381" fmla="*/ 10887794 w 12192001"/>
                <a:gd name="connsiteY1381" fmla="*/ 4082896 h 6523037"/>
                <a:gd name="connsiteX1382" fmla="*/ 10848664 w 12192001"/>
                <a:gd name="connsiteY1382" fmla="*/ 4043766 h 6523037"/>
                <a:gd name="connsiteX1383" fmla="*/ 8667626 w 12192001"/>
                <a:gd name="connsiteY1383" fmla="*/ 4043447 h 6523037"/>
                <a:gd name="connsiteX1384" fmla="*/ 8937975 w 12192001"/>
                <a:gd name="connsiteY1384" fmla="*/ 4311711 h 6523037"/>
                <a:gd name="connsiteX1385" fmla="*/ 8667563 w 12192001"/>
                <a:gd name="connsiteY1385" fmla="*/ 4582822 h 6523037"/>
                <a:gd name="connsiteX1386" fmla="*/ 8930988 w 12192001"/>
                <a:gd name="connsiteY1386" fmla="*/ 4582822 h 6523037"/>
                <a:gd name="connsiteX1387" fmla="*/ 9201400 w 12192001"/>
                <a:gd name="connsiteY1387" fmla="*/ 4311711 h 6523037"/>
                <a:gd name="connsiteX1388" fmla="*/ 9067242 w 12192001"/>
                <a:gd name="connsiteY1388" fmla="*/ 4178252 h 6523037"/>
                <a:gd name="connsiteX1389" fmla="*/ 8974588 w 12192001"/>
                <a:gd name="connsiteY1389" fmla="*/ 4086071 h 6523037"/>
                <a:gd name="connsiteX1390" fmla="*/ 8973422 w 12192001"/>
                <a:gd name="connsiteY1390" fmla="*/ 4086071 h 6523037"/>
                <a:gd name="connsiteX1391" fmla="*/ 8930798 w 12192001"/>
                <a:gd name="connsiteY1391" fmla="*/ 4043447 h 6523037"/>
                <a:gd name="connsiteX1392" fmla="*/ 9215427 w 12192001"/>
                <a:gd name="connsiteY1392" fmla="*/ 4042051 h 6523037"/>
                <a:gd name="connsiteX1393" fmla="*/ 9216074 w 12192001"/>
                <a:gd name="connsiteY1393" fmla="*/ 4042697 h 6523037"/>
                <a:gd name="connsiteX1394" fmla="*/ 9483305 w 12192001"/>
                <a:gd name="connsiteY1394" fmla="*/ 4309235 h 6523037"/>
                <a:gd name="connsiteX1395" fmla="*/ 9744147 w 12192001"/>
                <a:gd name="connsiteY1395" fmla="*/ 4309235 h 6523037"/>
                <a:gd name="connsiteX1396" fmla="*/ 9475578 w 12192001"/>
                <a:gd name="connsiteY1396" fmla="*/ 4042051 h 6523037"/>
                <a:gd name="connsiteX1397" fmla="*/ 2354051 w 12192001"/>
                <a:gd name="connsiteY1397" fmla="*/ 3777098 h 6523037"/>
                <a:gd name="connsiteX1398" fmla="*/ 2084461 w 12192001"/>
                <a:gd name="connsiteY1398" fmla="*/ 4047387 h 6523037"/>
                <a:gd name="connsiteX1399" fmla="*/ 2353542 w 12192001"/>
                <a:gd name="connsiteY1399" fmla="*/ 4315775 h 6523037"/>
                <a:gd name="connsiteX1400" fmla="*/ 2616967 w 12192001"/>
                <a:gd name="connsiteY1400" fmla="*/ 4315775 h 6523037"/>
                <a:gd name="connsiteX1401" fmla="*/ 2392140 w 12192001"/>
                <a:gd name="connsiteY1401" fmla="*/ 4091531 h 6523037"/>
                <a:gd name="connsiteX1402" fmla="*/ 2391783 w 12192001"/>
                <a:gd name="connsiteY1402" fmla="*/ 4091531 h 6523037"/>
                <a:gd name="connsiteX1403" fmla="*/ 2347762 w 12192001"/>
                <a:gd name="connsiteY1403" fmla="*/ 4047510 h 6523037"/>
                <a:gd name="connsiteX1404" fmla="*/ 2347884 w 12192001"/>
                <a:gd name="connsiteY1404" fmla="*/ 4047389 h 6523037"/>
                <a:gd name="connsiteX1405" fmla="*/ 2347254 w 12192001"/>
                <a:gd name="connsiteY1405" fmla="*/ 4046760 h 6523037"/>
                <a:gd name="connsiteX1406" fmla="*/ 2347952 w 12192001"/>
                <a:gd name="connsiteY1406" fmla="*/ 4046061 h 6523037"/>
                <a:gd name="connsiteX1407" fmla="*/ 2346555 w 12192001"/>
                <a:gd name="connsiteY1407" fmla="*/ 4044664 h 6523037"/>
                <a:gd name="connsiteX1408" fmla="*/ 2521938 w 12192001"/>
                <a:gd name="connsiteY1408" fmla="*/ 3868581 h 6523037"/>
                <a:gd name="connsiteX1409" fmla="*/ 2526691 w 12192001"/>
                <a:gd name="connsiteY1409" fmla="*/ 3868581 h 6523037"/>
                <a:gd name="connsiteX1410" fmla="*/ 2532230 w 12192001"/>
                <a:gd name="connsiteY1410" fmla="*/ 3863043 h 6523037"/>
                <a:gd name="connsiteX1411" fmla="*/ 2618174 w 12192001"/>
                <a:gd name="connsiteY1411" fmla="*/ 3777098 h 6523037"/>
                <a:gd name="connsiteX1412" fmla="*/ 1804842 w 12192001"/>
                <a:gd name="connsiteY1412" fmla="*/ 3777098 h 6523037"/>
                <a:gd name="connsiteX1413" fmla="*/ 1535948 w 12192001"/>
                <a:gd name="connsiteY1413" fmla="*/ 4046688 h 6523037"/>
                <a:gd name="connsiteX1414" fmla="*/ 1805731 w 12192001"/>
                <a:gd name="connsiteY1414" fmla="*/ 4315775 h 6523037"/>
                <a:gd name="connsiteX1415" fmla="*/ 2069155 w 12192001"/>
                <a:gd name="connsiteY1415" fmla="*/ 4315775 h 6523037"/>
                <a:gd name="connsiteX1416" fmla="*/ 1939190 w 12192001"/>
                <a:gd name="connsiteY1416" fmla="*/ 4185809 h 6523037"/>
                <a:gd name="connsiteX1417" fmla="*/ 1844912 w 12192001"/>
                <a:gd name="connsiteY1417" fmla="*/ 4091531 h 6523037"/>
                <a:gd name="connsiteX1418" fmla="*/ 1841875 w 12192001"/>
                <a:gd name="connsiteY1418" fmla="*/ 4091531 h 6523037"/>
                <a:gd name="connsiteX1419" fmla="*/ 1798553 w 12192001"/>
                <a:gd name="connsiteY1419" fmla="*/ 4048209 h 6523037"/>
                <a:gd name="connsiteX1420" fmla="*/ 1800069 w 12192001"/>
                <a:gd name="connsiteY1420" fmla="*/ 4046689 h 6523037"/>
                <a:gd name="connsiteX1421" fmla="*/ 1798743 w 12192001"/>
                <a:gd name="connsiteY1421" fmla="*/ 4045363 h 6523037"/>
                <a:gd name="connsiteX1422" fmla="*/ 1974825 w 12192001"/>
                <a:gd name="connsiteY1422" fmla="*/ 3868581 h 6523037"/>
                <a:gd name="connsiteX1423" fmla="*/ 1977718 w 12192001"/>
                <a:gd name="connsiteY1423" fmla="*/ 3868581 h 6523037"/>
                <a:gd name="connsiteX1424" fmla="*/ 2068965 w 12192001"/>
                <a:gd name="connsiteY1424" fmla="*/ 3777098 h 6523037"/>
                <a:gd name="connsiteX1425" fmla="*/ 1257031 w 12192001"/>
                <a:gd name="connsiteY1425" fmla="*/ 3777098 h 6523037"/>
                <a:gd name="connsiteX1426" fmla="*/ 987788 w 12192001"/>
                <a:gd name="connsiteY1426" fmla="*/ 4047037 h 6523037"/>
                <a:gd name="connsiteX1427" fmla="*/ 1257220 w 12192001"/>
                <a:gd name="connsiteY1427" fmla="*/ 4315775 h 6523037"/>
                <a:gd name="connsiteX1428" fmla="*/ 1519946 w 12192001"/>
                <a:gd name="connsiteY1428" fmla="*/ 4315775 h 6523037"/>
                <a:gd name="connsiteX1429" fmla="*/ 1294422 w 12192001"/>
                <a:gd name="connsiteY1429" fmla="*/ 4090833 h 6523037"/>
                <a:gd name="connsiteX1430" fmla="*/ 1293365 w 12192001"/>
                <a:gd name="connsiteY1430" fmla="*/ 4090833 h 6523037"/>
                <a:gd name="connsiteX1431" fmla="*/ 1250742 w 12192001"/>
                <a:gd name="connsiteY1431" fmla="*/ 4048209 h 6523037"/>
                <a:gd name="connsiteX1432" fmla="*/ 1251213 w 12192001"/>
                <a:gd name="connsiteY1432" fmla="*/ 4047737 h 6523037"/>
                <a:gd name="connsiteX1433" fmla="*/ 1249534 w 12192001"/>
                <a:gd name="connsiteY1433" fmla="*/ 4046061 h 6523037"/>
                <a:gd name="connsiteX1434" fmla="*/ 1250932 w 12192001"/>
                <a:gd name="connsiteY1434" fmla="*/ 4044664 h 6523037"/>
                <a:gd name="connsiteX1435" fmla="*/ 1426315 w 12192001"/>
                <a:gd name="connsiteY1435" fmla="*/ 3868581 h 6523037"/>
                <a:gd name="connsiteX1436" fmla="*/ 1429907 w 12192001"/>
                <a:gd name="connsiteY1436" fmla="*/ 3868581 h 6523037"/>
                <a:gd name="connsiteX1437" fmla="*/ 1521154 w 12192001"/>
                <a:gd name="connsiteY1437" fmla="*/ 3777098 h 6523037"/>
                <a:gd name="connsiteX1438" fmla="*/ 709219 w 12192001"/>
                <a:gd name="connsiteY1438" fmla="*/ 3777098 h 6523037"/>
                <a:gd name="connsiteX1439" fmla="*/ 438807 w 12192001"/>
                <a:gd name="connsiteY1439" fmla="*/ 4048209 h 6523037"/>
                <a:gd name="connsiteX1440" fmla="*/ 480732 w 12192001"/>
                <a:gd name="connsiteY1440" fmla="*/ 4090134 h 6523037"/>
                <a:gd name="connsiteX1441" fmla="*/ 480499 w 12192001"/>
                <a:gd name="connsiteY1441" fmla="*/ 4090134 h 6523037"/>
                <a:gd name="connsiteX1442" fmla="*/ 708011 w 12192001"/>
                <a:gd name="connsiteY1442" fmla="*/ 4316473 h 6523037"/>
                <a:gd name="connsiteX1443" fmla="*/ 972135 w 12192001"/>
                <a:gd name="connsiteY1443" fmla="*/ 4316473 h 6523037"/>
                <a:gd name="connsiteX1444" fmla="*/ 745211 w 12192001"/>
                <a:gd name="connsiteY1444" fmla="*/ 4090134 h 6523037"/>
                <a:gd name="connsiteX1445" fmla="*/ 744855 w 12192001"/>
                <a:gd name="connsiteY1445" fmla="*/ 4090134 h 6523037"/>
                <a:gd name="connsiteX1446" fmla="*/ 702930 w 12192001"/>
                <a:gd name="connsiteY1446" fmla="*/ 4048209 h 6523037"/>
                <a:gd name="connsiteX1447" fmla="*/ 703053 w 12192001"/>
                <a:gd name="connsiteY1447" fmla="*/ 4048086 h 6523037"/>
                <a:gd name="connsiteX1448" fmla="*/ 701024 w 12192001"/>
                <a:gd name="connsiteY1448" fmla="*/ 4046061 h 6523037"/>
                <a:gd name="connsiteX1449" fmla="*/ 878504 w 12192001"/>
                <a:gd name="connsiteY1449" fmla="*/ 3868581 h 6523037"/>
                <a:gd name="connsiteX1450" fmla="*/ 882095 w 12192001"/>
                <a:gd name="connsiteY1450" fmla="*/ 3868581 h 6523037"/>
                <a:gd name="connsiteX1451" fmla="*/ 973342 w 12192001"/>
                <a:gd name="connsiteY1451" fmla="*/ 3777098 h 6523037"/>
                <a:gd name="connsiteX1452" fmla="*/ 3451072 w 12192001"/>
                <a:gd name="connsiteY1452" fmla="*/ 3775003 h 6523037"/>
                <a:gd name="connsiteX1453" fmla="*/ 3181135 w 12192001"/>
                <a:gd name="connsiteY1453" fmla="*/ 4045639 h 6523037"/>
                <a:gd name="connsiteX1454" fmla="*/ 3312910 w 12192001"/>
                <a:gd name="connsiteY1454" fmla="*/ 4176725 h 6523037"/>
                <a:gd name="connsiteX1455" fmla="*/ 3312910 w 12192001"/>
                <a:gd name="connsiteY1455" fmla="*/ 4177424 h 6523037"/>
                <a:gd name="connsiteX1456" fmla="*/ 3450563 w 12192001"/>
                <a:gd name="connsiteY1456" fmla="*/ 4314377 h 6523037"/>
                <a:gd name="connsiteX1457" fmla="*/ 3714686 w 12192001"/>
                <a:gd name="connsiteY1457" fmla="*/ 4314377 h 6523037"/>
                <a:gd name="connsiteX1458" fmla="*/ 3490444 w 12192001"/>
                <a:gd name="connsiteY1458" fmla="*/ 4090134 h 6523037"/>
                <a:gd name="connsiteX1459" fmla="*/ 3489503 w 12192001"/>
                <a:gd name="connsiteY1459" fmla="*/ 4090134 h 6523037"/>
                <a:gd name="connsiteX1460" fmla="*/ 3444084 w 12192001"/>
                <a:gd name="connsiteY1460" fmla="*/ 4044716 h 6523037"/>
                <a:gd name="connsiteX1461" fmla="*/ 3444556 w 12192001"/>
                <a:gd name="connsiteY1461" fmla="*/ 4044247 h 6523037"/>
                <a:gd name="connsiteX1462" fmla="*/ 3444274 w 12192001"/>
                <a:gd name="connsiteY1462" fmla="*/ 4043965 h 6523037"/>
                <a:gd name="connsiteX1463" fmla="*/ 3618959 w 12192001"/>
                <a:gd name="connsiteY1463" fmla="*/ 3868581 h 6523037"/>
                <a:gd name="connsiteX1464" fmla="*/ 3621132 w 12192001"/>
                <a:gd name="connsiteY1464" fmla="*/ 3868581 h 6523037"/>
                <a:gd name="connsiteX1465" fmla="*/ 3715195 w 12192001"/>
                <a:gd name="connsiteY1465" fmla="*/ 3775003 h 6523037"/>
                <a:gd name="connsiteX1466" fmla="*/ 3999582 w 12192001"/>
                <a:gd name="connsiteY1466" fmla="*/ 3774304 h 6523037"/>
                <a:gd name="connsiteX1467" fmla="*/ 3729642 w 12192001"/>
                <a:gd name="connsiteY1467" fmla="*/ 4044941 h 6523037"/>
                <a:gd name="connsiteX1468" fmla="*/ 3999073 w 12192001"/>
                <a:gd name="connsiteY1468" fmla="*/ 4313678 h 6523037"/>
                <a:gd name="connsiteX1469" fmla="*/ 4263197 w 12192001"/>
                <a:gd name="connsiteY1469" fmla="*/ 4313678 h 6523037"/>
                <a:gd name="connsiteX1470" fmla="*/ 4039076 w 12192001"/>
                <a:gd name="connsiteY1470" fmla="*/ 4090134 h 6523037"/>
                <a:gd name="connsiteX1471" fmla="*/ 4038711 w 12192001"/>
                <a:gd name="connsiteY1471" fmla="*/ 4090134 h 6523037"/>
                <a:gd name="connsiteX1472" fmla="*/ 3992595 w 12192001"/>
                <a:gd name="connsiteY1472" fmla="*/ 4044017 h 6523037"/>
                <a:gd name="connsiteX1473" fmla="*/ 3992717 w 12192001"/>
                <a:gd name="connsiteY1473" fmla="*/ 4043895 h 6523037"/>
                <a:gd name="connsiteX1474" fmla="*/ 3992086 w 12192001"/>
                <a:gd name="connsiteY1474" fmla="*/ 4043266 h 6523037"/>
                <a:gd name="connsiteX1475" fmla="*/ 4166770 w 12192001"/>
                <a:gd name="connsiteY1475" fmla="*/ 3868581 h 6523037"/>
                <a:gd name="connsiteX1476" fmla="*/ 4168939 w 12192001"/>
                <a:gd name="connsiteY1476" fmla="*/ 3868581 h 6523037"/>
                <a:gd name="connsiteX1477" fmla="*/ 4263707 w 12192001"/>
                <a:gd name="connsiteY1477" fmla="*/ 3774304 h 6523037"/>
                <a:gd name="connsiteX1478" fmla="*/ 4547394 w 12192001"/>
                <a:gd name="connsiteY1478" fmla="*/ 3773605 h 6523037"/>
                <a:gd name="connsiteX1479" fmla="*/ 4277804 w 12192001"/>
                <a:gd name="connsiteY1479" fmla="*/ 4043891 h 6523037"/>
                <a:gd name="connsiteX1480" fmla="*/ 4410631 w 12192001"/>
                <a:gd name="connsiteY1480" fmla="*/ 4176026 h 6523037"/>
                <a:gd name="connsiteX1481" fmla="*/ 4547585 w 12192001"/>
                <a:gd name="connsiteY1481" fmla="*/ 4312979 h 6523037"/>
                <a:gd name="connsiteX1482" fmla="*/ 4809681 w 12192001"/>
                <a:gd name="connsiteY1482" fmla="*/ 4312979 h 6523037"/>
                <a:gd name="connsiteX1483" fmla="*/ 4665187 w 12192001"/>
                <a:gd name="connsiteY1483" fmla="*/ 4169168 h 6523037"/>
                <a:gd name="connsiteX1484" fmla="*/ 4665187 w 12192001"/>
                <a:gd name="connsiteY1484" fmla="*/ 4166459 h 6523037"/>
                <a:gd name="connsiteX1485" fmla="*/ 4588162 w 12192001"/>
                <a:gd name="connsiteY1485" fmla="*/ 4089435 h 6523037"/>
                <a:gd name="connsiteX1486" fmla="*/ 4587920 w 12192001"/>
                <a:gd name="connsiteY1486" fmla="*/ 4089435 h 6523037"/>
                <a:gd name="connsiteX1487" fmla="*/ 4541105 w 12192001"/>
                <a:gd name="connsiteY1487" fmla="*/ 4043318 h 6523037"/>
                <a:gd name="connsiteX1488" fmla="*/ 4541576 w 12192001"/>
                <a:gd name="connsiteY1488" fmla="*/ 4042849 h 6523037"/>
                <a:gd name="connsiteX1489" fmla="*/ 4541295 w 12192001"/>
                <a:gd name="connsiteY1489" fmla="*/ 4042567 h 6523037"/>
                <a:gd name="connsiteX1490" fmla="*/ 4542692 w 12192001"/>
                <a:gd name="connsiteY1490" fmla="*/ 4041170 h 6523037"/>
                <a:gd name="connsiteX1491" fmla="*/ 4660106 w 12192001"/>
                <a:gd name="connsiteY1491" fmla="*/ 3923279 h 6523037"/>
                <a:gd name="connsiteX1492" fmla="*/ 4660106 w 12192001"/>
                <a:gd name="connsiteY1492" fmla="*/ 3920469 h 6523037"/>
                <a:gd name="connsiteX1493" fmla="*/ 4806969 w 12192001"/>
                <a:gd name="connsiteY1493" fmla="*/ 3773605 h 6523037"/>
                <a:gd name="connsiteX1494" fmla="*/ 7014157 w 12192001"/>
                <a:gd name="connsiteY1494" fmla="*/ 3772336 h 6523037"/>
                <a:gd name="connsiteX1495" fmla="*/ 6744567 w 12192001"/>
                <a:gd name="connsiteY1495" fmla="*/ 4042625 h 6523037"/>
                <a:gd name="connsiteX1496" fmla="*/ 7013649 w 12192001"/>
                <a:gd name="connsiteY1496" fmla="*/ 4311013 h 6523037"/>
                <a:gd name="connsiteX1497" fmla="*/ 7277073 w 12192001"/>
                <a:gd name="connsiteY1497" fmla="*/ 4311013 h 6523037"/>
                <a:gd name="connsiteX1498" fmla="*/ 7052246 w 12192001"/>
                <a:gd name="connsiteY1498" fmla="*/ 4086769 h 6523037"/>
                <a:gd name="connsiteX1499" fmla="*/ 7051889 w 12192001"/>
                <a:gd name="connsiteY1499" fmla="*/ 4086769 h 6523037"/>
                <a:gd name="connsiteX1500" fmla="*/ 7007868 w 12192001"/>
                <a:gd name="connsiteY1500" fmla="*/ 4042748 h 6523037"/>
                <a:gd name="connsiteX1501" fmla="*/ 7007990 w 12192001"/>
                <a:gd name="connsiteY1501" fmla="*/ 4042627 h 6523037"/>
                <a:gd name="connsiteX1502" fmla="*/ 7007360 w 12192001"/>
                <a:gd name="connsiteY1502" fmla="*/ 4041998 h 6523037"/>
                <a:gd name="connsiteX1503" fmla="*/ 7008058 w 12192001"/>
                <a:gd name="connsiteY1503" fmla="*/ 4041299 h 6523037"/>
                <a:gd name="connsiteX1504" fmla="*/ 7006662 w 12192001"/>
                <a:gd name="connsiteY1504" fmla="*/ 4039902 h 6523037"/>
                <a:gd name="connsiteX1505" fmla="*/ 7182045 w 12192001"/>
                <a:gd name="connsiteY1505" fmla="*/ 3863819 h 6523037"/>
                <a:gd name="connsiteX1506" fmla="*/ 7186797 w 12192001"/>
                <a:gd name="connsiteY1506" fmla="*/ 3863819 h 6523037"/>
                <a:gd name="connsiteX1507" fmla="*/ 7192337 w 12192001"/>
                <a:gd name="connsiteY1507" fmla="*/ 3858281 h 6523037"/>
                <a:gd name="connsiteX1508" fmla="*/ 7278280 w 12192001"/>
                <a:gd name="connsiteY1508" fmla="*/ 3772336 h 6523037"/>
                <a:gd name="connsiteX1509" fmla="*/ 6464948 w 12192001"/>
                <a:gd name="connsiteY1509" fmla="*/ 3772336 h 6523037"/>
                <a:gd name="connsiteX1510" fmla="*/ 6196054 w 12192001"/>
                <a:gd name="connsiteY1510" fmla="*/ 4041926 h 6523037"/>
                <a:gd name="connsiteX1511" fmla="*/ 6465837 w 12192001"/>
                <a:gd name="connsiteY1511" fmla="*/ 4311013 h 6523037"/>
                <a:gd name="connsiteX1512" fmla="*/ 6729262 w 12192001"/>
                <a:gd name="connsiteY1512" fmla="*/ 4311013 h 6523037"/>
                <a:gd name="connsiteX1513" fmla="*/ 6599296 w 12192001"/>
                <a:gd name="connsiteY1513" fmla="*/ 4181047 h 6523037"/>
                <a:gd name="connsiteX1514" fmla="*/ 6505018 w 12192001"/>
                <a:gd name="connsiteY1514" fmla="*/ 4086769 h 6523037"/>
                <a:gd name="connsiteX1515" fmla="*/ 6501982 w 12192001"/>
                <a:gd name="connsiteY1515" fmla="*/ 4086769 h 6523037"/>
                <a:gd name="connsiteX1516" fmla="*/ 6458659 w 12192001"/>
                <a:gd name="connsiteY1516" fmla="*/ 4043447 h 6523037"/>
                <a:gd name="connsiteX1517" fmla="*/ 6460176 w 12192001"/>
                <a:gd name="connsiteY1517" fmla="*/ 4041927 h 6523037"/>
                <a:gd name="connsiteX1518" fmla="*/ 6458849 w 12192001"/>
                <a:gd name="connsiteY1518" fmla="*/ 4040601 h 6523037"/>
                <a:gd name="connsiteX1519" fmla="*/ 6634931 w 12192001"/>
                <a:gd name="connsiteY1519" fmla="*/ 3863819 h 6523037"/>
                <a:gd name="connsiteX1520" fmla="*/ 6637824 w 12192001"/>
                <a:gd name="connsiteY1520" fmla="*/ 3863819 h 6523037"/>
                <a:gd name="connsiteX1521" fmla="*/ 6729071 w 12192001"/>
                <a:gd name="connsiteY1521" fmla="*/ 3772336 h 6523037"/>
                <a:gd name="connsiteX1522" fmla="*/ 5917138 w 12192001"/>
                <a:gd name="connsiteY1522" fmla="*/ 3772336 h 6523037"/>
                <a:gd name="connsiteX1523" fmla="*/ 5647895 w 12192001"/>
                <a:gd name="connsiteY1523" fmla="*/ 4042275 h 6523037"/>
                <a:gd name="connsiteX1524" fmla="*/ 5917326 w 12192001"/>
                <a:gd name="connsiteY1524" fmla="*/ 4311013 h 6523037"/>
                <a:gd name="connsiteX1525" fmla="*/ 6180052 w 12192001"/>
                <a:gd name="connsiteY1525" fmla="*/ 4311013 h 6523037"/>
                <a:gd name="connsiteX1526" fmla="*/ 5954528 w 12192001"/>
                <a:gd name="connsiteY1526" fmla="*/ 4086071 h 6523037"/>
                <a:gd name="connsiteX1527" fmla="*/ 5953471 w 12192001"/>
                <a:gd name="connsiteY1527" fmla="*/ 4086071 h 6523037"/>
                <a:gd name="connsiteX1528" fmla="*/ 5910849 w 12192001"/>
                <a:gd name="connsiteY1528" fmla="*/ 4043447 h 6523037"/>
                <a:gd name="connsiteX1529" fmla="*/ 5911320 w 12192001"/>
                <a:gd name="connsiteY1529" fmla="*/ 4042975 h 6523037"/>
                <a:gd name="connsiteX1530" fmla="*/ 5909641 w 12192001"/>
                <a:gd name="connsiteY1530" fmla="*/ 4041299 h 6523037"/>
                <a:gd name="connsiteX1531" fmla="*/ 5911038 w 12192001"/>
                <a:gd name="connsiteY1531" fmla="*/ 4039902 h 6523037"/>
                <a:gd name="connsiteX1532" fmla="*/ 6086421 w 12192001"/>
                <a:gd name="connsiteY1532" fmla="*/ 3863819 h 6523037"/>
                <a:gd name="connsiteX1533" fmla="*/ 6090013 w 12192001"/>
                <a:gd name="connsiteY1533" fmla="*/ 3863819 h 6523037"/>
                <a:gd name="connsiteX1534" fmla="*/ 6181261 w 12192001"/>
                <a:gd name="connsiteY1534" fmla="*/ 3772336 h 6523037"/>
                <a:gd name="connsiteX1535" fmla="*/ 5369326 w 12192001"/>
                <a:gd name="connsiteY1535" fmla="*/ 3772336 h 6523037"/>
                <a:gd name="connsiteX1536" fmla="*/ 5098913 w 12192001"/>
                <a:gd name="connsiteY1536" fmla="*/ 4043447 h 6523037"/>
                <a:gd name="connsiteX1537" fmla="*/ 5140838 w 12192001"/>
                <a:gd name="connsiteY1537" fmla="*/ 4085372 h 6523037"/>
                <a:gd name="connsiteX1538" fmla="*/ 5140605 w 12192001"/>
                <a:gd name="connsiteY1538" fmla="*/ 4085372 h 6523037"/>
                <a:gd name="connsiteX1539" fmla="*/ 5368118 w 12192001"/>
                <a:gd name="connsiteY1539" fmla="*/ 4311711 h 6523037"/>
                <a:gd name="connsiteX1540" fmla="*/ 5632241 w 12192001"/>
                <a:gd name="connsiteY1540" fmla="*/ 4311711 h 6523037"/>
                <a:gd name="connsiteX1541" fmla="*/ 5405317 w 12192001"/>
                <a:gd name="connsiteY1541" fmla="*/ 4085372 h 6523037"/>
                <a:gd name="connsiteX1542" fmla="*/ 5404961 w 12192001"/>
                <a:gd name="connsiteY1542" fmla="*/ 4085372 h 6523037"/>
                <a:gd name="connsiteX1543" fmla="*/ 5363036 w 12192001"/>
                <a:gd name="connsiteY1543" fmla="*/ 4043447 h 6523037"/>
                <a:gd name="connsiteX1544" fmla="*/ 5363159 w 12192001"/>
                <a:gd name="connsiteY1544" fmla="*/ 4043324 h 6523037"/>
                <a:gd name="connsiteX1545" fmla="*/ 5361131 w 12192001"/>
                <a:gd name="connsiteY1545" fmla="*/ 4041299 h 6523037"/>
                <a:gd name="connsiteX1546" fmla="*/ 5538610 w 12192001"/>
                <a:gd name="connsiteY1546" fmla="*/ 3863819 h 6523037"/>
                <a:gd name="connsiteX1547" fmla="*/ 5542201 w 12192001"/>
                <a:gd name="connsiteY1547" fmla="*/ 3863819 h 6523037"/>
                <a:gd name="connsiteX1548" fmla="*/ 5633449 w 12192001"/>
                <a:gd name="connsiteY1548" fmla="*/ 3772336 h 6523037"/>
                <a:gd name="connsiteX1549" fmla="*/ 4821872 w 12192001"/>
                <a:gd name="connsiteY1549" fmla="*/ 3771639 h 6523037"/>
                <a:gd name="connsiteX1550" fmla="*/ 4555828 w 12192001"/>
                <a:gd name="connsiteY1550" fmla="*/ 4038375 h 6523037"/>
                <a:gd name="connsiteX1551" fmla="*/ 4816942 w 12192001"/>
                <a:gd name="connsiteY1551" fmla="*/ 4038375 h 6523037"/>
                <a:gd name="connsiteX1552" fmla="*/ 4991497 w 12192001"/>
                <a:gd name="connsiteY1552" fmla="*/ 3863819 h 6523037"/>
                <a:gd name="connsiteX1553" fmla="*/ 4991595 w 12192001"/>
                <a:gd name="connsiteY1553" fmla="*/ 3863819 h 6523037"/>
                <a:gd name="connsiteX1554" fmla="*/ 5082144 w 12192001"/>
                <a:gd name="connsiteY1554" fmla="*/ 3773035 h 6523037"/>
                <a:gd name="connsiteX1555" fmla="*/ 4885799 w 12192001"/>
                <a:gd name="connsiteY1555" fmla="*/ 3773035 h 6523037"/>
                <a:gd name="connsiteX1556" fmla="*/ 4886497 w 12192001"/>
                <a:gd name="connsiteY1556" fmla="*/ 3771639 h 6523037"/>
                <a:gd name="connsiteX1557" fmla="*/ 8111178 w 12192001"/>
                <a:gd name="connsiteY1557" fmla="*/ 3770241 h 6523037"/>
                <a:gd name="connsiteX1558" fmla="*/ 7841241 w 12192001"/>
                <a:gd name="connsiteY1558" fmla="*/ 4040877 h 6523037"/>
                <a:gd name="connsiteX1559" fmla="*/ 7973016 w 12192001"/>
                <a:gd name="connsiteY1559" fmla="*/ 4171963 h 6523037"/>
                <a:gd name="connsiteX1560" fmla="*/ 7973016 w 12192001"/>
                <a:gd name="connsiteY1560" fmla="*/ 4172662 h 6523037"/>
                <a:gd name="connsiteX1561" fmla="*/ 8110669 w 12192001"/>
                <a:gd name="connsiteY1561" fmla="*/ 4309615 h 6523037"/>
                <a:gd name="connsiteX1562" fmla="*/ 8374792 w 12192001"/>
                <a:gd name="connsiteY1562" fmla="*/ 4309615 h 6523037"/>
                <a:gd name="connsiteX1563" fmla="*/ 8150550 w 12192001"/>
                <a:gd name="connsiteY1563" fmla="*/ 4085372 h 6523037"/>
                <a:gd name="connsiteX1564" fmla="*/ 8149609 w 12192001"/>
                <a:gd name="connsiteY1564" fmla="*/ 4085372 h 6523037"/>
                <a:gd name="connsiteX1565" fmla="*/ 8104190 w 12192001"/>
                <a:gd name="connsiteY1565" fmla="*/ 4039954 h 6523037"/>
                <a:gd name="connsiteX1566" fmla="*/ 8104662 w 12192001"/>
                <a:gd name="connsiteY1566" fmla="*/ 4039485 h 6523037"/>
                <a:gd name="connsiteX1567" fmla="*/ 8104380 w 12192001"/>
                <a:gd name="connsiteY1567" fmla="*/ 4039203 h 6523037"/>
                <a:gd name="connsiteX1568" fmla="*/ 8279065 w 12192001"/>
                <a:gd name="connsiteY1568" fmla="*/ 3863819 h 6523037"/>
                <a:gd name="connsiteX1569" fmla="*/ 8281238 w 12192001"/>
                <a:gd name="connsiteY1569" fmla="*/ 3863819 h 6523037"/>
                <a:gd name="connsiteX1570" fmla="*/ 8375301 w 12192001"/>
                <a:gd name="connsiteY1570" fmla="*/ 3770241 h 6523037"/>
                <a:gd name="connsiteX1571" fmla="*/ 8659688 w 12192001"/>
                <a:gd name="connsiteY1571" fmla="*/ 3769542 h 6523037"/>
                <a:gd name="connsiteX1572" fmla="*/ 8389748 w 12192001"/>
                <a:gd name="connsiteY1572" fmla="*/ 4040179 h 6523037"/>
                <a:gd name="connsiteX1573" fmla="*/ 8659179 w 12192001"/>
                <a:gd name="connsiteY1573" fmla="*/ 4308916 h 6523037"/>
                <a:gd name="connsiteX1574" fmla="*/ 8923303 w 12192001"/>
                <a:gd name="connsiteY1574" fmla="*/ 4308916 h 6523037"/>
                <a:gd name="connsiteX1575" fmla="*/ 8699182 w 12192001"/>
                <a:gd name="connsiteY1575" fmla="*/ 4085372 h 6523037"/>
                <a:gd name="connsiteX1576" fmla="*/ 8698817 w 12192001"/>
                <a:gd name="connsiteY1576" fmla="*/ 4085372 h 6523037"/>
                <a:gd name="connsiteX1577" fmla="*/ 8652701 w 12192001"/>
                <a:gd name="connsiteY1577" fmla="*/ 4039255 h 6523037"/>
                <a:gd name="connsiteX1578" fmla="*/ 8652823 w 12192001"/>
                <a:gd name="connsiteY1578" fmla="*/ 4039133 h 6523037"/>
                <a:gd name="connsiteX1579" fmla="*/ 8652192 w 12192001"/>
                <a:gd name="connsiteY1579" fmla="*/ 4038504 h 6523037"/>
                <a:gd name="connsiteX1580" fmla="*/ 8826876 w 12192001"/>
                <a:gd name="connsiteY1580" fmla="*/ 3863819 h 6523037"/>
                <a:gd name="connsiteX1581" fmla="*/ 8829045 w 12192001"/>
                <a:gd name="connsiteY1581" fmla="*/ 3863819 h 6523037"/>
                <a:gd name="connsiteX1582" fmla="*/ 8923812 w 12192001"/>
                <a:gd name="connsiteY1582" fmla="*/ 3769542 h 6523037"/>
                <a:gd name="connsiteX1583" fmla="*/ 11674574 w 12192001"/>
                <a:gd name="connsiteY1583" fmla="*/ 3769161 h 6523037"/>
                <a:gd name="connsiteX1584" fmla="*/ 11404984 w 12192001"/>
                <a:gd name="connsiteY1584" fmla="*/ 4039450 h 6523037"/>
                <a:gd name="connsiteX1585" fmla="*/ 11674065 w 12192001"/>
                <a:gd name="connsiteY1585" fmla="*/ 4307838 h 6523037"/>
                <a:gd name="connsiteX1586" fmla="*/ 11937490 w 12192001"/>
                <a:gd name="connsiteY1586" fmla="*/ 4307838 h 6523037"/>
                <a:gd name="connsiteX1587" fmla="*/ 11712663 w 12192001"/>
                <a:gd name="connsiteY1587" fmla="*/ 4083594 h 6523037"/>
                <a:gd name="connsiteX1588" fmla="*/ 11712306 w 12192001"/>
                <a:gd name="connsiteY1588" fmla="*/ 4083594 h 6523037"/>
                <a:gd name="connsiteX1589" fmla="*/ 11668285 w 12192001"/>
                <a:gd name="connsiteY1589" fmla="*/ 4039573 h 6523037"/>
                <a:gd name="connsiteX1590" fmla="*/ 11668407 w 12192001"/>
                <a:gd name="connsiteY1590" fmla="*/ 4039452 h 6523037"/>
                <a:gd name="connsiteX1591" fmla="*/ 11667777 w 12192001"/>
                <a:gd name="connsiteY1591" fmla="*/ 4038823 h 6523037"/>
                <a:gd name="connsiteX1592" fmla="*/ 11668475 w 12192001"/>
                <a:gd name="connsiteY1592" fmla="*/ 4038124 h 6523037"/>
                <a:gd name="connsiteX1593" fmla="*/ 11667078 w 12192001"/>
                <a:gd name="connsiteY1593" fmla="*/ 4036727 h 6523037"/>
                <a:gd name="connsiteX1594" fmla="*/ 11842461 w 12192001"/>
                <a:gd name="connsiteY1594" fmla="*/ 3860644 h 6523037"/>
                <a:gd name="connsiteX1595" fmla="*/ 11847214 w 12192001"/>
                <a:gd name="connsiteY1595" fmla="*/ 3860644 h 6523037"/>
                <a:gd name="connsiteX1596" fmla="*/ 11852753 w 12192001"/>
                <a:gd name="connsiteY1596" fmla="*/ 3855106 h 6523037"/>
                <a:gd name="connsiteX1597" fmla="*/ 11938697 w 12192001"/>
                <a:gd name="connsiteY1597" fmla="*/ 3769161 h 6523037"/>
                <a:gd name="connsiteX1598" fmla="*/ 11125365 w 12192001"/>
                <a:gd name="connsiteY1598" fmla="*/ 3769161 h 6523037"/>
                <a:gd name="connsiteX1599" fmla="*/ 10856471 w 12192001"/>
                <a:gd name="connsiteY1599" fmla="*/ 4038751 h 6523037"/>
                <a:gd name="connsiteX1600" fmla="*/ 11126254 w 12192001"/>
                <a:gd name="connsiteY1600" fmla="*/ 4307838 h 6523037"/>
                <a:gd name="connsiteX1601" fmla="*/ 11389678 w 12192001"/>
                <a:gd name="connsiteY1601" fmla="*/ 4307838 h 6523037"/>
                <a:gd name="connsiteX1602" fmla="*/ 11259713 w 12192001"/>
                <a:gd name="connsiteY1602" fmla="*/ 4177872 h 6523037"/>
                <a:gd name="connsiteX1603" fmla="*/ 11165435 w 12192001"/>
                <a:gd name="connsiteY1603" fmla="*/ 4083594 h 6523037"/>
                <a:gd name="connsiteX1604" fmla="*/ 11162398 w 12192001"/>
                <a:gd name="connsiteY1604" fmla="*/ 4083594 h 6523037"/>
                <a:gd name="connsiteX1605" fmla="*/ 11119076 w 12192001"/>
                <a:gd name="connsiteY1605" fmla="*/ 4040272 h 6523037"/>
                <a:gd name="connsiteX1606" fmla="*/ 11120592 w 12192001"/>
                <a:gd name="connsiteY1606" fmla="*/ 4038752 h 6523037"/>
                <a:gd name="connsiteX1607" fmla="*/ 11119266 w 12192001"/>
                <a:gd name="connsiteY1607" fmla="*/ 4037426 h 6523037"/>
                <a:gd name="connsiteX1608" fmla="*/ 11295348 w 12192001"/>
                <a:gd name="connsiteY1608" fmla="*/ 3860644 h 6523037"/>
                <a:gd name="connsiteX1609" fmla="*/ 11298241 w 12192001"/>
                <a:gd name="connsiteY1609" fmla="*/ 3860644 h 6523037"/>
                <a:gd name="connsiteX1610" fmla="*/ 11389488 w 12192001"/>
                <a:gd name="connsiteY1610" fmla="*/ 3769161 h 6523037"/>
                <a:gd name="connsiteX1611" fmla="*/ 10577554 w 12192001"/>
                <a:gd name="connsiteY1611" fmla="*/ 3769161 h 6523037"/>
                <a:gd name="connsiteX1612" fmla="*/ 10308311 w 12192001"/>
                <a:gd name="connsiteY1612" fmla="*/ 4039100 h 6523037"/>
                <a:gd name="connsiteX1613" fmla="*/ 10577743 w 12192001"/>
                <a:gd name="connsiteY1613" fmla="*/ 4307838 h 6523037"/>
                <a:gd name="connsiteX1614" fmla="*/ 10840469 w 12192001"/>
                <a:gd name="connsiteY1614" fmla="*/ 4307838 h 6523037"/>
                <a:gd name="connsiteX1615" fmla="*/ 10614945 w 12192001"/>
                <a:gd name="connsiteY1615" fmla="*/ 4082896 h 6523037"/>
                <a:gd name="connsiteX1616" fmla="*/ 10613888 w 12192001"/>
                <a:gd name="connsiteY1616" fmla="*/ 4082896 h 6523037"/>
                <a:gd name="connsiteX1617" fmla="*/ 10571265 w 12192001"/>
                <a:gd name="connsiteY1617" fmla="*/ 4040272 h 6523037"/>
                <a:gd name="connsiteX1618" fmla="*/ 10571736 w 12192001"/>
                <a:gd name="connsiteY1618" fmla="*/ 4039800 h 6523037"/>
                <a:gd name="connsiteX1619" fmla="*/ 10570057 w 12192001"/>
                <a:gd name="connsiteY1619" fmla="*/ 4038124 h 6523037"/>
                <a:gd name="connsiteX1620" fmla="*/ 10571455 w 12192001"/>
                <a:gd name="connsiteY1620" fmla="*/ 4036727 h 6523037"/>
                <a:gd name="connsiteX1621" fmla="*/ 10746838 w 12192001"/>
                <a:gd name="connsiteY1621" fmla="*/ 3860644 h 6523037"/>
                <a:gd name="connsiteX1622" fmla="*/ 10750430 w 12192001"/>
                <a:gd name="connsiteY1622" fmla="*/ 3860644 h 6523037"/>
                <a:gd name="connsiteX1623" fmla="*/ 10841677 w 12192001"/>
                <a:gd name="connsiteY1623" fmla="*/ 3769161 h 6523037"/>
                <a:gd name="connsiteX1624" fmla="*/ 10029742 w 12192001"/>
                <a:gd name="connsiteY1624" fmla="*/ 3769161 h 6523037"/>
                <a:gd name="connsiteX1625" fmla="*/ 9759330 w 12192001"/>
                <a:gd name="connsiteY1625" fmla="*/ 4040272 h 6523037"/>
                <a:gd name="connsiteX1626" fmla="*/ 9801255 w 12192001"/>
                <a:gd name="connsiteY1626" fmla="*/ 4082197 h 6523037"/>
                <a:gd name="connsiteX1627" fmla="*/ 9801022 w 12192001"/>
                <a:gd name="connsiteY1627" fmla="*/ 4082197 h 6523037"/>
                <a:gd name="connsiteX1628" fmla="*/ 10028534 w 12192001"/>
                <a:gd name="connsiteY1628" fmla="*/ 4308536 h 6523037"/>
                <a:gd name="connsiteX1629" fmla="*/ 10292658 w 12192001"/>
                <a:gd name="connsiteY1629" fmla="*/ 4308536 h 6523037"/>
                <a:gd name="connsiteX1630" fmla="*/ 10065734 w 12192001"/>
                <a:gd name="connsiteY1630" fmla="*/ 4082197 h 6523037"/>
                <a:gd name="connsiteX1631" fmla="*/ 10065378 w 12192001"/>
                <a:gd name="connsiteY1631" fmla="*/ 4082197 h 6523037"/>
                <a:gd name="connsiteX1632" fmla="*/ 10023453 w 12192001"/>
                <a:gd name="connsiteY1632" fmla="*/ 4040272 h 6523037"/>
                <a:gd name="connsiteX1633" fmla="*/ 10023576 w 12192001"/>
                <a:gd name="connsiteY1633" fmla="*/ 4040149 h 6523037"/>
                <a:gd name="connsiteX1634" fmla="*/ 10021547 w 12192001"/>
                <a:gd name="connsiteY1634" fmla="*/ 4038124 h 6523037"/>
                <a:gd name="connsiteX1635" fmla="*/ 10199027 w 12192001"/>
                <a:gd name="connsiteY1635" fmla="*/ 3860644 h 6523037"/>
                <a:gd name="connsiteX1636" fmla="*/ 10202618 w 12192001"/>
                <a:gd name="connsiteY1636" fmla="*/ 3860644 h 6523037"/>
                <a:gd name="connsiteX1637" fmla="*/ 10293865 w 12192001"/>
                <a:gd name="connsiteY1637" fmla="*/ 3769161 h 6523037"/>
                <a:gd name="connsiteX1638" fmla="*/ 9207500 w 12192001"/>
                <a:gd name="connsiteY1638" fmla="*/ 3768843 h 6523037"/>
                <a:gd name="connsiteX1639" fmla="*/ 8937910 w 12192001"/>
                <a:gd name="connsiteY1639" fmla="*/ 4039129 h 6523037"/>
                <a:gd name="connsiteX1640" fmla="*/ 9070736 w 12192001"/>
                <a:gd name="connsiteY1640" fmla="*/ 4171264 h 6523037"/>
                <a:gd name="connsiteX1641" fmla="*/ 9207690 w 12192001"/>
                <a:gd name="connsiteY1641" fmla="*/ 4308217 h 6523037"/>
                <a:gd name="connsiteX1642" fmla="*/ 9468504 w 12192001"/>
                <a:gd name="connsiteY1642" fmla="*/ 4308217 h 6523037"/>
                <a:gd name="connsiteX1643" fmla="*/ 9325603 w 12192001"/>
                <a:gd name="connsiteY1643" fmla="*/ 4165993 h 6523037"/>
                <a:gd name="connsiteX1644" fmla="*/ 9325603 w 12192001"/>
                <a:gd name="connsiteY1644" fmla="*/ 4162008 h 6523037"/>
                <a:gd name="connsiteX1645" fmla="*/ 9248268 w 12192001"/>
                <a:gd name="connsiteY1645" fmla="*/ 4084673 h 6523037"/>
                <a:gd name="connsiteX1646" fmla="*/ 9248026 w 12192001"/>
                <a:gd name="connsiteY1646" fmla="*/ 4084673 h 6523037"/>
                <a:gd name="connsiteX1647" fmla="*/ 9201211 w 12192001"/>
                <a:gd name="connsiteY1647" fmla="*/ 4038556 h 6523037"/>
                <a:gd name="connsiteX1648" fmla="*/ 9201682 w 12192001"/>
                <a:gd name="connsiteY1648" fmla="*/ 4038087 h 6523037"/>
                <a:gd name="connsiteX1649" fmla="*/ 9201400 w 12192001"/>
                <a:gd name="connsiteY1649" fmla="*/ 4037805 h 6523037"/>
                <a:gd name="connsiteX1650" fmla="*/ 9202798 w 12192001"/>
                <a:gd name="connsiteY1650" fmla="*/ 4036408 h 6523037"/>
                <a:gd name="connsiteX1651" fmla="*/ 9320523 w 12192001"/>
                <a:gd name="connsiteY1651" fmla="*/ 3918204 h 6523037"/>
                <a:gd name="connsiteX1652" fmla="*/ 9320523 w 12192001"/>
                <a:gd name="connsiteY1652" fmla="*/ 3917294 h 6523037"/>
                <a:gd name="connsiteX1653" fmla="*/ 9468973 w 12192001"/>
                <a:gd name="connsiteY1653" fmla="*/ 3768843 h 6523037"/>
                <a:gd name="connsiteX1654" fmla="*/ 9480395 w 12192001"/>
                <a:gd name="connsiteY1654" fmla="*/ 3768464 h 6523037"/>
                <a:gd name="connsiteX1655" fmla="*/ 9215934 w 12192001"/>
                <a:gd name="connsiteY1655" fmla="*/ 4033613 h 6523037"/>
                <a:gd name="connsiteX1656" fmla="*/ 9478102 w 12192001"/>
                <a:gd name="connsiteY1656" fmla="*/ 4033613 h 6523037"/>
                <a:gd name="connsiteX1657" fmla="*/ 9488582 w 12192001"/>
                <a:gd name="connsiteY1657" fmla="*/ 4023132 h 6523037"/>
                <a:gd name="connsiteX1658" fmla="*/ 9488582 w 12192001"/>
                <a:gd name="connsiteY1658" fmla="*/ 4023976 h 6523037"/>
                <a:gd name="connsiteX1659" fmla="*/ 9651914 w 12192001"/>
                <a:gd name="connsiteY1659" fmla="*/ 3860644 h 6523037"/>
                <a:gd name="connsiteX1660" fmla="*/ 9652012 w 12192001"/>
                <a:gd name="connsiteY1660" fmla="*/ 3860644 h 6523037"/>
                <a:gd name="connsiteX1661" fmla="*/ 9742561 w 12192001"/>
                <a:gd name="connsiteY1661" fmla="*/ 3769860 h 6523037"/>
                <a:gd name="connsiteX1662" fmla="*/ 9546215 w 12192001"/>
                <a:gd name="connsiteY1662" fmla="*/ 3769860 h 6523037"/>
                <a:gd name="connsiteX1663" fmla="*/ 9546914 w 12192001"/>
                <a:gd name="connsiteY1663" fmla="*/ 3768464 h 6523037"/>
                <a:gd name="connsiteX1664" fmla="*/ 1264018 w 12192001"/>
                <a:gd name="connsiteY1664" fmla="*/ 3501795 h 6523037"/>
                <a:gd name="connsiteX1665" fmla="*/ 1535828 w 12192001"/>
                <a:gd name="connsiteY1665" fmla="*/ 3771509 h 6523037"/>
                <a:gd name="connsiteX1666" fmla="*/ 1266165 w 12192001"/>
                <a:gd name="connsiteY1666" fmla="*/ 4041868 h 6523037"/>
                <a:gd name="connsiteX1667" fmla="*/ 1527632 w 12192001"/>
                <a:gd name="connsiteY1667" fmla="*/ 4041868 h 6523037"/>
                <a:gd name="connsiteX1668" fmla="*/ 1700221 w 12192001"/>
                <a:gd name="connsiteY1668" fmla="*/ 3868581 h 6523037"/>
                <a:gd name="connsiteX1669" fmla="*/ 1702878 w 12192001"/>
                <a:gd name="connsiteY1669" fmla="*/ 3868581 h 6523037"/>
                <a:gd name="connsiteX1670" fmla="*/ 1799252 w 12192001"/>
                <a:gd name="connsiteY1670" fmla="*/ 3772207 h 6523037"/>
                <a:gd name="connsiteX1671" fmla="*/ 1665094 w 12192001"/>
                <a:gd name="connsiteY1671" fmla="*/ 3638748 h 6523037"/>
                <a:gd name="connsiteX1672" fmla="*/ 1528141 w 12192001"/>
                <a:gd name="connsiteY1672" fmla="*/ 3501795 h 6523037"/>
                <a:gd name="connsiteX1673" fmla="*/ 715508 w 12192001"/>
                <a:gd name="connsiteY1673" fmla="*/ 3501795 h 6523037"/>
                <a:gd name="connsiteX1674" fmla="*/ 986618 w 12192001"/>
                <a:gd name="connsiteY1674" fmla="*/ 3772207 h 6523037"/>
                <a:gd name="connsiteX1675" fmla="*/ 716955 w 12192001"/>
                <a:gd name="connsiteY1675" fmla="*/ 4042567 h 6523037"/>
                <a:gd name="connsiteX1676" fmla="*/ 979122 w 12192001"/>
                <a:gd name="connsiteY1676" fmla="*/ 4042567 h 6523037"/>
                <a:gd name="connsiteX1677" fmla="*/ 1067862 w 12192001"/>
                <a:gd name="connsiteY1677" fmla="*/ 3953129 h 6523037"/>
                <a:gd name="connsiteX1678" fmla="*/ 1152410 w 12192001"/>
                <a:gd name="connsiteY1678" fmla="*/ 3868581 h 6523037"/>
                <a:gd name="connsiteX1679" fmla="*/ 1154616 w 12192001"/>
                <a:gd name="connsiteY1679" fmla="*/ 3868581 h 6523037"/>
                <a:gd name="connsiteX1680" fmla="*/ 1250742 w 12192001"/>
                <a:gd name="connsiteY1680" fmla="*/ 3772207 h 6523037"/>
                <a:gd name="connsiteX1681" fmla="*/ 979631 w 12192001"/>
                <a:gd name="connsiteY1681" fmla="*/ 3501795 h 6523037"/>
                <a:gd name="connsiteX1682" fmla="*/ 165601 w 12192001"/>
                <a:gd name="connsiteY1682" fmla="*/ 3501795 h 6523037"/>
                <a:gd name="connsiteX1683" fmla="*/ 436711 w 12192001"/>
                <a:gd name="connsiteY1683" fmla="*/ 3772207 h 6523037"/>
                <a:gd name="connsiteX1684" fmla="*/ 438108 w 12192001"/>
                <a:gd name="connsiteY1684" fmla="*/ 3772906 h 6523037"/>
                <a:gd name="connsiteX1685" fmla="*/ 169094 w 12192001"/>
                <a:gd name="connsiteY1685" fmla="*/ 4042619 h 6523037"/>
                <a:gd name="connsiteX1686" fmla="*/ 365440 w 12192001"/>
                <a:gd name="connsiteY1686" fmla="*/ 4042619 h 6523037"/>
                <a:gd name="connsiteX1687" fmla="*/ 365116 w 12192001"/>
                <a:gd name="connsiteY1687" fmla="*/ 4043266 h 6523037"/>
                <a:gd name="connsiteX1688" fmla="*/ 430612 w 12192001"/>
                <a:gd name="connsiteY1688" fmla="*/ 4043266 h 6523037"/>
                <a:gd name="connsiteX1689" fmla="*/ 604598 w 12192001"/>
                <a:gd name="connsiteY1689" fmla="*/ 3868581 h 6523037"/>
                <a:gd name="connsiteX1690" fmla="*/ 606802 w 12192001"/>
                <a:gd name="connsiteY1690" fmla="*/ 3868581 h 6523037"/>
                <a:gd name="connsiteX1691" fmla="*/ 701533 w 12192001"/>
                <a:gd name="connsiteY1691" fmla="*/ 3773605 h 6523037"/>
                <a:gd name="connsiteX1692" fmla="*/ 430423 w 12192001"/>
                <a:gd name="connsiteY1692" fmla="*/ 3503193 h 6523037"/>
                <a:gd name="connsiteX1693" fmla="*/ 362644 w 12192001"/>
                <a:gd name="connsiteY1693" fmla="*/ 3501795 h 6523037"/>
                <a:gd name="connsiteX1694" fmla="*/ 2361039 w 12192001"/>
                <a:gd name="connsiteY1694" fmla="*/ 3501097 h 6523037"/>
                <a:gd name="connsiteX1695" fmla="*/ 2631451 w 12192001"/>
                <a:gd name="connsiteY1695" fmla="*/ 3770111 h 6523037"/>
                <a:gd name="connsiteX1696" fmla="*/ 2628655 w 12192001"/>
                <a:gd name="connsiteY1696" fmla="*/ 3772906 h 6523037"/>
                <a:gd name="connsiteX1697" fmla="*/ 2538519 w 12192001"/>
                <a:gd name="connsiteY1697" fmla="*/ 3863743 h 6523037"/>
                <a:gd name="connsiteX1698" fmla="*/ 2361789 w 12192001"/>
                <a:gd name="connsiteY1698" fmla="*/ 4040472 h 6523037"/>
                <a:gd name="connsiteX1699" fmla="*/ 2624653 w 12192001"/>
                <a:gd name="connsiteY1699" fmla="*/ 4040472 h 6523037"/>
                <a:gd name="connsiteX1700" fmla="*/ 2795844 w 12192001"/>
                <a:gd name="connsiteY1700" fmla="*/ 3868581 h 6523037"/>
                <a:gd name="connsiteX1701" fmla="*/ 2797802 w 12192001"/>
                <a:gd name="connsiteY1701" fmla="*/ 3868581 h 6523037"/>
                <a:gd name="connsiteX1702" fmla="*/ 2895574 w 12192001"/>
                <a:gd name="connsiteY1702" fmla="*/ 3770810 h 6523037"/>
                <a:gd name="connsiteX1703" fmla="*/ 2625162 w 12192001"/>
                <a:gd name="connsiteY1703" fmla="*/ 3501097 h 6523037"/>
                <a:gd name="connsiteX1704" fmla="*/ 1812528 w 12192001"/>
                <a:gd name="connsiteY1704" fmla="*/ 3501097 h 6523037"/>
                <a:gd name="connsiteX1705" fmla="*/ 1813926 w 12192001"/>
                <a:gd name="connsiteY1705" fmla="*/ 3502494 h 6523037"/>
                <a:gd name="connsiteX1706" fmla="*/ 2083639 w 12192001"/>
                <a:gd name="connsiteY1706" fmla="*/ 3771509 h 6523037"/>
                <a:gd name="connsiteX1707" fmla="*/ 1814673 w 12192001"/>
                <a:gd name="connsiteY1707" fmla="*/ 4041170 h 6523037"/>
                <a:gd name="connsiteX1708" fmla="*/ 2076143 w 12192001"/>
                <a:gd name="connsiteY1708" fmla="*/ 4041170 h 6523037"/>
                <a:gd name="connsiteX1709" fmla="*/ 2248033 w 12192001"/>
                <a:gd name="connsiteY1709" fmla="*/ 3868581 h 6523037"/>
                <a:gd name="connsiteX1710" fmla="*/ 2250940 w 12192001"/>
                <a:gd name="connsiteY1710" fmla="*/ 3868581 h 6523037"/>
                <a:gd name="connsiteX1711" fmla="*/ 2347762 w 12192001"/>
                <a:gd name="connsiteY1711" fmla="*/ 3771509 h 6523037"/>
                <a:gd name="connsiteX1712" fmla="*/ 2342173 w 12192001"/>
                <a:gd name="connsiteY1712" fmla="*/ 3766618 h 6523037"/>
                <a:gd name="connsiteX1713" fmla="*/ 2076652 w 12192001"/>
                <a:gd name="connsiteY1713" fmla="*/ 3501097 h 6523037"/>
                <a:gd name="connsiteX1714" fmla="*/ 4005871 w 12192001"/>
                <a:gd name="connsiteY1714" fmla="*/ 3499001 h 6523037"/>
                <a:gd name="connsiteX1715" fmla="*/ 4277680 w 12192001"/>
                <a:gd name="connsiteY1715" fmla="*/ 3768713 h 6523037"/>
                <a:gd name="connsiteX1716" fmla="*/ 4008016 w 12192001"/>
                <a:gd name="connsiteY1716" fmla="*/ 4039074 h 6523037"/>
                <a:gd name="connsiteX1717" fmla="*/ 4270183 w 12192001"/>
                <a:gd name="connsiteY1717" fmla="*/ 4039074 h 6523037"/>
                <a:gd name="connsiteX1718" fmla="*/ 4359622 w 12192001"/>
                <a:gd name="connsiteY1718" fmla="*/ 3949635 h 6523037"/>
                <a:gd name="connsiteX1719" fmla="*/ 4440677 w 12192001"/>
                <a:gd name="connsiteY1719" fmla="*/ 3868581 h 6523037"/>
                <a:gd name="connsiteX1720" fmla="*/ 4441937 w 12192001"/>
                <a:gd name="connsiteY1720" fmla="*/ 3868581 h 6523037"/>
                <a:gd name="connsiteX1721" fmla="*/ 4541105 w 12192001"/>
                <a:gd name="connsiteY1721" fmla="*/ 3769413 h 6523037"/>
                <a:gd name="connsiteX1722" fmla="*/ 4406948 w 12192001"/>
                <a:gd name="connsiteY1722" fmla="*/ 3635954 h 6523037"/>
                <a:gd name="connsiteX1723" fmla="*/ 4269994 w 12192001"/>
                <a:gd name="connsiteY1723" fmla="*/ 3499001 h 6523037"/>
                <a:gd name="connsiteX1724" fmla="*/ 4554381 w 12192001"/>
                <a:gd name="connsiteY1724" fmla="*/ 3498302 h 6523037"/>
                <a:gd name="connsiteX1725" fmla="*/ 4555778 w 12192001"/>
                <a:gd name="connsiteY1725" fmla="*/ 3499699 h 6523037"/>
                <a:gd name="connsiteX1726" fmla="*/ 4820723 w 12192001"/>
                <a:gd name="connsiteY1726" fmla="*/ 3763951 h 6523037"/>
                <a:gd name="connsiteX1727" fmla="*/ 5083541 w 12192001"/>
                <a:gd name="connsiteY1727" fmla="*/ 3763951 h 6523037"/>
                <a:gd name="connsiteX1728" fmla="*/ 4954274 w 12192001"/>
                <a:gd name="connsiteY1728" fmla="*/ 3635384 h 6523037"/>
                <a:gd name="connsiteX1729" fmla="*/ 4816513 w 12192001"/>
                <a:gd name="connsiteY1729" fmla="*/ 3498302 h 6523037"/>
                <a:gd name="connsiteX1730" fmla="*/ 3721484 w 12192001"/>
                <a:gd name="connsiteY1730" fmla="*/ 3498302 h 6523037"/>
                <a:gd name="connsiteX1731" fmla="*/ 3457360 w 12192001"/>
                <a:gd name="connsiteY1731" fmla="*/ 3499001 h 6523037"/>
                <a:gd name="connsiteX1732" fmla="*/ 3728471 w 12192001"/>
                <a:gd name="connsiteY1732" fmla="*/ 3769413 h 6523037"/>
                <a:gd name="connsiteX1733" fmla="*/ 3458808 w 12192001"/>
                <a:gd name="connsiteY1733" fmla="*/ 4039773 h 6523037"/>
                <a:gd name="connsiteX1734" fmla="*/ 3721674 w 12192001"/>
                <a:gd name="connsiteY1734" fmla="*/ 4039773 h 6523037"/>
                <a:gd name="connsiteX1735" fmla="*/ 3892166 w 12192001"/>
                <a:gd name="connsiteY1735" fmla="*/ 3867883 h 6523037"/>
                <a:gd name="connsiteX1736" fmla="*/ 3893935 w 12192001"/>
                <a:gd name="connsiteY1736" fmla="*/ 3867883 h 6523037"/>
                <a:gd name="connsiteX1737" fmla="*/ 3992595 w 12192001"/>
                <a:gd name="connsiteY1737" fmla="*/ 3768713 h 6523037"/>
                <a:gd name="connsiteX1738" fmla="*/ 5924124 w 12192001"/>
                <a:gd name="connsiteY1738" fmla="*/ 3497033 h 6523037"/>
                <a:gd name="connsiteX1739" fmla="*/ 6195934 w 12192001"/>
                <a:gd name="connsiteY1739" fmla="*/ 3766747 h 6523037"/>
                <a:gd name="connsiteX1740" fmla="*/ 5926271 w 12192001"/>
                <a:gd name="connsiteY1740" fmla="*/ 4037106 h 6523037"/>
                <a:gd name="connsiteX1741" fmla="*/ 6187739 w 12192001"/>
                <a:gd name="connsiteY1741" fmla="*/ 4037106 h 6523037"/>
                <a:gd name="connsiteX1742" fmla="*/ 6360328 w 12192001"/>
                <a:gd name="connsiteY1742" fmla="*/ 3863819 h 6523037"/>
                <a:gd name="connsiteX1743" fmla="*/ 6362985 w 12192001"/>
                <a:gd name="connsiteY1743" fmla="*/ 3863819 h 6523037"/>
                <a:gd name="connsiteX1744" fmla="*/ 6459359 w 12192001"/>
                <a:gd name="connsiteY1744" fmla="*/ 3767445 h 6523037"/>
                <a:gd name="connsiteX1745" fmla="*/ 6325200 w 12192001"/>
                <a:gd name="connsiteY1745" fmla="*/ 3633986 h 6523037"/>
                <a:gd name="connsiteX1746" fmla="*/ 6188247 w 12192001"/>
                <a:gd name="connsiteY1746" fmla="*/ 3497033 h 6523037"/>
                <a:gd name="connsiteX1747" fmla="*/ 5375615 w 12192001"/>
                <a:gd name="connsiteY1747" fmla="*/ 3497033 h 6523037"/>
                <a:gd name="connsiteX1748" fmla="*/ 5646724 w 12192001"/>
                <a:gd name="connsiteY1748" fmla="*/ 3767445 h 6523037"/>
                <a:gd name="connsiteX1749" fmla="*/ 5377062 w 12192001"/>
                <a:gd name="connsiteY1749" fmla="*/ 4037805 h 6523037"/>
                <a:gd name="connsiteX1750" fmla="*/ 5639228 w 12192001"/>
                <a:gd name="connsiteY1750" fmla="*/ 4037805 h 6523037"/>
                <a:gd name="connsiteX1751" fmla="*/ 5727968 w 12192001"/>
                <a:gd name="connsiteY1751" fmla="*/ 3948367 h 6523037"/>
                <a:gd name="connsiteX1752" fmla="*/ 5812516 w 12192001"/>
                <a:gd name="connsiteY1752" fmla="*/ 3863819 h 6523037"/>
                <a:gd name="connsiteX1753" fmla="*/ 5814722 w 12192001"/>
                <a:gd name="connsiteY1753" fmla="*/ 3863819 h 6523037"/>
                <a:gd name="connsiteX1754" fmla="*/ 5910849 w 12192001"/>
                <a:gd name="connsiteY1754" fmla="*/ 3767445 h 6523037"/>
                <a:gd name="connsiteX1755" fmla="*/ 5639738 w 12192001"/>
                <a:gd name="connsiteY1755" fmla="*/ 3497033 h 6523037"/>
                <a:gd name="connsiteX1756" fmla="*/ 4825707 w 12192001"/>
                <a:gd name="connsiteY1756" fmla="*/ 3497033 h 6523037"/>
                <a:gd name="connsiteX1757" fmla="*/ 5096817 w 12192001"/>
                <a:gd name="connsiteY1757" fmla="*/ 3767445 h 6523037"/>
                <a:gd name="connsiteX1758" fmla="*/ 5098215 w 12192001"/>
                <a:gd name="connsiteY1758" fmla="*/ 3768144 h 6523037"/>
                <a:gd name="connsiteX1759" fmla="*/ 4829200 w 12192001"/>
                <a:gd name="connsiteY1759" fmla="*/ 4037857 h 6523037"/>
                <a:gd name="connsiteX1760" fmla="*/ 5025547 w 12192001"/>
                <a:gd name="connsiteY1760" fmla="*/ 4037857 h 6523037"/>
                <a:gd name="connsiteX1761" fmla="*/ 5025222 w 12192001"/>
                <a:gd name="connsiteY1761" fmla="*/ 4038504 h 6523037"/>
                <a:gd name="connsiteX1762" fmla="*/ 5090718 w 12192001"/>
                <a:gd name="connsiteY1762" fmla="*/ 4038504 h 6523037"/>
                <a:gd name="connsiteX1763" fmla="*/ 5264704 w 12192001"/>
                <a:gd name="connsiteY1763" fmla="*/ 3863819 h 6523037"/>
                <a:gd name="connsiteX1764" fmla="*/ 5266909 w 12192001"/>
                <a:gd name="connsiteY1764" fmla="*/ 3863819 h 6523037"/>
                <a:gd name="connsiteX1765" fmla="*/ 5361639 w 12192001"/>
                <a:gd name="connsiteY1765" fmla="*/ 3768843 h 6523037"/>
                <a:gd name="connsiteX1766" fmla="*/ 5090530 w 12192001"/>
                <a:gd name="connsiteY1766" fmla="*/ 3498431 h 6523037"/>
                <a:gd name="connsiteX1767" fmla="*/ 5022750 w 12192001"/>
                <a:gd name="connsiteY1767" fmla="*/ 3497033 h 6523037"/>
                <a:gd name="connsiteX1768" fmla="*/ 7021145 w 12192001"/>
                <a:gd name="connsiteY1768" fmla="*/ 3496335 h 6523037"/>
                <a:gd name="connsiteX1769" fmla="*/ 7291557 w 12192001"/>
                <a:gd name="connsiteY1769" fmla="*/ 3765349 h 6523037"/>
                <a:gd name="connsiteX1770" fmla="*/ 7288761 w 12192001"/>
                <a:gd name="connsiteY1770" fmla="*/ 3768144 h 6523037"/>
                <a:gd name="connsiteX1771" fmla="*/ 7198625 w 12192001"/>
                <a:gd name="connsiteY1771" fmla="*/ 3858981 h 6523037"/>
                <a:gd name="connsiteX1772" fmla="*/ 7021895 w 12192001"/>
                <a:gd name="connsiteY1772" fmla="*/ 4035710 h 6523037"/>
                <a:gd name="connsiteX1773" fmla="*/ 7284759 w 12192001"/>
                <a:gd name="connsiteY1773" fmla="*/ 4035710 h 6523037"/>
                <a:gd name="connsiteX1774" fmla="*/ 7455950 w 12192001"/>
                <a:gd name="connsiteY1774" fmla="*/ 3863819 h 6523037"/>
                <a:gd name="connsiteX1775" fmla="*/ 7457908 w 12192001"/>
                <a:gd name="connsiteY1775" fmla="*/ 3863819 h 6523037"/>
                <a:gd name="connsiteX1776" fmla="*/ 7555680 w 12192001"/>
                <a:gd name="connsiteY1776" fmla="*/ 3766048 h 6523037"/>
                <a:gd name="connsiteX1777" fmla="*/ 7285268 w 12192001"/>
                <a:gd name="connsiteY1777" fmla="*/ 3496335 h 6523037"/>
                <a:gd name="connsiteX1778" fmla="*/ 6472634 w 12192001"/>
                <a:gd name="connsiteY1778" fmla="*/ 3496335 h 6523037"/>
                <a:gd name="connsiteX1779" fmla="*/ 6474032 w 12192001"/>
                <a:gd name="connsiteY1779" fmla="*/ 3497732 h 6523037"/>
                <a:gd name="connsiteX1780" fmla="*/ 6743745 w 12192001"/>
                <a:gd name="connsiteY1780" fmla="*/ 3766747 h 6523037"/>
                <a:gd name="connsiteX1781" fmla="*/ 6474780 w 12192001"/>
                <a:gd name="connsiteY1781" fmla="*/ 4036408 h 6523037"/>
                <a:gd name="connsiteX1782" fmla="*/ 6736249 w 12192001"/>
                <a:gd name="connsiteY1782" fmla="*/ 4036408 h 6523037"/>
                <a:gd name="connsiteX1783" fmla="*/ 6908140 w 12192001"/>
                <a:gd name="connsiteY1783" fmla="*/ 3863819 h 6523037"/>
                <a:gd name="connsiteX1784" fmla="*/ 6911046 w 12192001"/>
                <a:gd name="connsiteY1784" fmla="*/ 3863819 h 6523037"/>
                <a:gd name="connsiteX1785" fmla="*/ 7007868 w 12192001"/>
                <a:gd name="connsiteY1785" fmla="*/ 3766747 h 6523037"/>
                <a:gd name="connsiteX1786" fmla="*/ 7002279 w 12192001"/>
                <a:gd name="connsiteY1786" fmla="*/ 3761856 h 6523037"/>
                <a:gd name="connsiteX1787" fmla="*/ 6736759 w 12192001"/>
                <a:gd name="connsiteY1787" fmla="*/ 3496335 h 6523037"/>
                <a:gd name="connsiteX1788" fmla="*/ 8665977 w 12192001"/>
                <a:gd name="connsiteY1788" fmla="*/ 3494239 h 6523037"/>
                <a:gd name="connsiteX1789" fmla="*/ 8937786 w 12192001"/>
                <a:gd name="connsiteY1789" fmla="*/ 3763951 h 6523037"/>
                <a:gd name="connsiteX1790" fmla="*/ 8668122 w 12192001"/>
                <a:gd name="connsiteY1790" fmla="*/ 4034312 h 6523037"/>
                <a:gd name="connsiteX1791" fmla="*/ 8930289 w 12192001"/>
                <a:gd name="connsiteY1791" fmla="*/ 4034312 h 6523037"/>
                <a:gd name="connsiteX1792" fmla="*/ 9019728 w 12192001"/>
                <a:gd name="connsiteY1792" fmla="*/ 3944873 h 6523037"/>
                <a:gd name="connsiteX1793" fmla="*/ 9100782 w 12192001"/>
                <a:gd name="connsiteY1793" fmla="*/ 3863819 h 6523037"/>
                <a:gd name="connsiteX1794" fmla="*/ 9102043 w 12192001"/>
                <a:gd name="connsiteY1794" fmla="*/ 3863819 h 6523037"/>
                <a:gd name="connsiteX1795" fmla="*/ 9201211 w 12192001"/>
                <a:gd name="connsiteY1795" fmla="*/ 3764651 h 6523037"/>
                <a:gd name="connsiteX1796" fmla="*/ 9067053 w 12192001"/>
                <a:gd name="connsiteY1796" fmla="*/ 3631192 h 6523037"/>
                <a:gd name="connsiteX1797" fmla="*/ 8930100 w 12192001"/>
                <a:gd name="connsiteY1797" fmla="*/ 3494239 h 6523037"/>
                <a:gd name="connsiteX1798" fmla="*/ 10584541 w 12192001"/>
                <a:gd name="connsiteY1798" fmla="*/ 3493858 h 6523037"/>
                <a:gd name="connsiteX1799" fmla="*/ 10856351 w 12192001"/>
                <a:gd name="connsiteY1799" fmla="*/ 3763572 h 6523037"/>
                <a:gd name="connsiteX1800" fmla="*/ 10586688 w 12192001"/>
                <a:gd name="connsiteY1800" fmla="*/ 4033931 h 6523037"/>
                <a:gd name="connsiteX1801" fmla="*/ 10848155 w 12192001"/>
                <a:gd name="connsiteY1801" fmla="*/ 4033931 h 6523037"/>
                <a:gd name="connsiteX1802" fmla="*/ 11020744 w 12192001"/>
                <a:gd name="connsiteY1802" fmla="*/ 3860644 h 6523037"/>
                <a:gd name="connsiteX1803" fmla="*/ 11023401 w 12192001"/>
                <a:gd name="connsiteY1803" fmla="*/ 3860644 h 6523037"/>
                <a:gd name="connsiteX1804" fmla="*/ 11119775 w 12192001"/>
                <a:gd name="connsiteY1804" fmla="*/ 3764270 h 6523037"/>
                <a:gd name="connsiteX1805" fmla="*/ 10985617 w 12192001"/>
                <a:gd name="connsiteY1805" fmla="*/ 3630811 h 6523037"/>
                <a:gd name="connsiteX1806" fmla="*/ 10848664 w 12192001"/>
                <a:gd name="connsiteY1806" fmla="*/ 3493858 h 6523037"/>
                <a:gd name="connsiteX1807" fmla="*/ 10036031 w 12192001"/>
                <a:gd name="connsiteY1807" fmla="*/ 3493858 h 6523037"/>
                <a:gd name="connsiteX1808" fmla="*/ 10307141 w 12192001"/>
                <a:gd name="connsiteY1808" fmla="*/ 3764270 h 6523037"/>
                <a:gd name="connsiteX1809" fmla="*/ 10037478 w 12192001"/>
                <a:gd name="connsiteY1809" fmla="*/ 4034630 h 6523037"/>
                <a:gd name="connsiteX1810" fmla="*/ 10299645 w 12192001"/>
                <a:gd name="connsiteY1810" fmla="*/ 4034630 h 6523037"/>
                <a:gd name="connsiteX1811" fmla="*/ 10388385 w 12192001"/>
                <a:gd name="connsiteY1811" fmla="*/ 3945192 h 6523037"/>
                <a:gd name="connsiteX1812" fmla="*/ 10472933 w 12192001"/>
                <a:gd name="connsiteY1812" fmla="*/ 3860644 h 6523037"/>
                <a:gd name="connsiteX1813" fmla="*/ 10475139 w 12192001"/>
                <a:gd name="connsiteY1813" fmla="*/ 3860644 h 6523037"/>
                <a:gd name="connsiteX1814" fmla="*/ 10571265 w 12192001"/>
                <a:gd name="connsiteY1814" fmla="*/ 3764270 h 6523037"/>
                <a:gd name="connsiteX1815" fmla="*/ 10300154 w 12192001"/>
                <a:gd name="connsiteY1815" fmla="*/ 3493858 h 6523037"/>
                <a:gd name="connsiteX1816" fmla="*/ 9486124 w 12192001"/>
                <a:gd name="connsiteY1816" fmla="*/ 3493858 h 6523037"/>
                <a:gd name="connsiteX1817" fmla="*/ 9757234 w 12192001"/>
                <a:gd name="connsiteY1817" fmla="*/ 3764270 h 6523037"/>
                <a:gd name="connsiteX1818" fmla="*/ 9758631 w 12192001"/>
                <a:gd name="connsiteY1818" fmla="*/ 3764969 h 6523037"/>
                <a:gd name="connsiteX1819" fmla="*/ 9489617 w 12192001"/>
                <a:gd name="connsiteY1819" fmla="*/ 4034682 h 6523037"/>
                <a:gd name="connsiteX1820" fmla="*/ 9685963 w 12192001"/>
                <a:gd name="connsiteY1820" fmla="*/ 4034682 h 6523037"/>
                <a:gd name="connsiteX1821" fmla="*/ 9685639 w 12192001"/>
                <a:gd name="connsiteY1821" fmla="*/ 4035329 h 6523037"/>
                <a:gd name="connsiteX1822" fmla="*/ 9751135 w 12192001"/>
                <a:gd name="connsiteY1822" fmla="*/ 4035329 h 6523037"/>
                <a:gd name="connsiteX1823" fmla="*/ 9925121 w 12192001"/>
                <a:gd name="connsiteY1823" fmla="*/ 3860644 h 6523037"/>
                <a:gd name="connsiteX1824" fmla="*/ 9927325 w 12192001"/>
                <a:gd name="connsiteY1824" fmla="*/ 3860644 h 6523037"/>
                <a:gd name="connsiteX1825" fmla="*/ 10022056 w 12192001"/>
                <a:gd name="connsiteY1825" fmla="*/ 3765668 h 6523037"/>
                <a:gd name="connsiteX1826" fmla="*/ 9750946 w 12192001"/>
                <a:gd name="connsiteY1826" fmla="*/ 3495256 h 6523037"/>
                <a:gd name="connsiteX1827" fmla="*/ 9683167 w 12192001"/>
                <a:gd name="connsiteY1827" fmla="*/ 3493858 h 6523037"/>
                <a:gd name="connsiteX1828" fmla="*/ 9214487 w 12192001"/>
                <a:gd name="connsiteY1828" fmla="*/ 3493540 h 6523037"/>
                <a:gd name="connsiteX1829" fmla="*/ 9215884 w 12192001"/>
                <a:gd name="connsiteY1829" fmla="*/ 3494937 h 6523037"/>
                <a:gd name="connsiteX1830" fmla="*/ 9482419 w 12192001"/>
                <a:gd name="connsiteY1830" fmla="*/ 3760776 h 6523037"/>
                <a:gd name="connsiteX1831" fmla="*/ 9743958 w 12192001"/>
                <a:gd name="connsiteY1831" fmla="*/ 3760776 h 6523037"/>
                <a:gd name="connsiteX1832" fmla="*/ 9614691 w 12192001"/>
                <a:gd name="connsiteY1832" fmla="*/ 3632209 h 6523037"/>
                <a:gd name="connsiteX1833" fmla="*/ 9475335 w 12192001"/>
                <a:gd name="connsiteY1833" fmla="*/ 3493540 h 6523037"/>
                <a:gd name="connsiteX1834" fmla="*/ 8381590 w 12192001"/>
                <a:gd name="connsiteY1834" fmla="*/ 3493540 h 6523037"/>
                <a:gd name="connsiteX1835" fmla="*/ 8117466 w 12192001"/>
                <a:gd name="connsiteY1835" fmla="*/ 3494239 h 6523037"/>
                <a:gd name="connsiteX1836" fmla="*/ 8388577 w 12192001"/>
                <a:gd name="connsiteY1836" fmla="*/ 3764651 h 6523037"/>
                <a:gd name="connsiteX1837" fmla="*/ 8118914 w 12192001"/>
                <a:gd name="connsiteY1837" fmla="*/ 4035011 h 6523037"/>
                <a:gd name="connsiteX1838" fmla="*/ 8381780 w 12192001"/>
                <a:gd name="connsiteY1838" fmla="*/ 4035011 h 6523037"/>
                <a:gd name="connsiteX1839" fmla="*/ 8552272 w 12192001"/>
                <a:gd name="connsiteY1839" fmla="*/ 3863121 h 6523037"/>
                <a:gd name="connsiteX1840" fmla="*/ 8554041 w 12192001"/>
                <a:gd name="connsiteY1840" fmla="*/ 3863121 h 6523037"/>
                <a:gd name="connsiteX1841" fmla="*/ 8652701 w 12192001"/>
                <a:gd name="connsiteY1841" fmla="*/ 3763951 h 6523037"/>
                <a:gd name="connsiteX1842" fmla="*/ 11133051 w 12192001"/>
                <a:gd name="connsiteY1842" fmla="*/ 3493160 h 6523037"/>
                <a:gd name="connsiteX1843" fmla="*/ 11134449 w 12192001"/>
                <a:gd name="connsiteY1843" fmla="*/ 3494557 h 6523037"/>
                <a:gd name="connsiteX1844" fmla="*/ 11404162 w 12192001"/>
                <a:gd name="connsiteY1844" fmla="*/ 3763572 h 6523037"/>
                <a:gd name="connsiteX1845" fmla="*/ 11135196 w 12192001"/>
                <a:gd name="connsiteY1845" fmla="*/ 4033233 h 6523037"/>
                <a:gd name="connsiteX1846" fmla="*/ 11396666 w 12192001"/>
                <a:gd name="connsiteY1846" fmla="*/ 4033233 h 6523037"/>
                <a:gd name="connsiteX1847" fmla="*/ 11568556 w 12192001"/>
                <a:gd name="connsiteY1847" fmla="*/ 3860644 h 6523037"/>
                <a:gd name="connsiteX1848" fmla="*/ 11571463 w 12192001"/>
                <a:gd name="connsiteY1848" fmla="*/ 3860644 h 6523037"/>
                <a:gd name="connsiteX1849" fmla="*/ 11668285 w 12192001"/>
                <a:gd name="connsiteY1849" fmla="*/ 3763572 h 6523037"/>
                <a:gd name="connsiteX1850" fmla="*/ 11662696 w 12192001"/>
                <a:gd name="connsiteY1850" fmla="*/ 3758681 h 6523037"/>
                <a:gd name="connsiteX1851" fmla="*/ 11397175 w 12192001"/>
                <a:gd name="connsiteY1851" fmla="*/ 3493160 h 6523037"/>
                <a:gd name="connsiteX1852" fmla="*/ 707821 w 12192001"/>
                <a:gd name="connsiteY1852" fmla="*/ 3228588 h 6523037"/>
                <a:gd name="connsiteX1853" fmla="*/ 437409 w 12192001"/>
                <a:gd name="connsiteY1853" fmla="*/ 3499699 h 6523037"/>
                <a:gd name="connsiteX1854" fmla="*/ 570170 w 12192001"/>
                <a:gd name="connsiteY1854" fmla="*/ 3631761 h 6523037"/>
                <a:gd name="connsiteX1855" fmla="*/ 708520 w 12192001"/>
                <a:gd name="connsiteY1855" fmla="*/ 3769413 h 6523037"/>
                <a:gd name="connsiteX1856" fmla="*/ 972643 w 12192001"/>
                <a:gd name="connsiteY1856" fmla="*/ 3769413 h 6523037"/>
                <a:gd name="connsiteX1857" fmla="*/ 701533 w 12192001"/>
                <a:gd name="connsiteY1857" fmla="*/ 3499001 h 6523037"/>
                <a:gd name="connsiteX1858" fmla="*/ 971945 w 12192001"/>
                <a:gd name="connsiteY1858" fmla="*/ 3228588 h 6523037"/>
                <a:gd name="connsiteX1859" fmla="*/ 1256332 w 12192001"/>
                <a:gd name="connsiteY1859" fmla="*/ 3227890 h 6523037"/>
                <a:gd name="connsiteX1860" fmla="*/ 985920 w 12192001"/>
                <a:gd name="connsiteY1860" fmla="*/ 3499001 h 6523037"/>
                <a:gd name="connsiteX1861" fmla="*/ 1257031 w 12192001"/>
                <a:gd name="connsiteY1861" fmla="*/ 3769413 h 6523037"/>
                <a:gd name="connsiteX1862" fmla="*/ 1521154 w 12192001"/>
                <a:gd name="connsiteY1862" fmla="*/ 3768713 h 6523037"/>
                <a:gd name="connsiteX1863" fmla="*/ 1250043 w 12192001"/>
                <a:gd name="connsiteY1863" fmla="*/ 3498302 h 6523037"/>
                <a:gd name="connsiteX1864" fmla="*/ 1434510 w 12192001"/>
                <a:gd name="connsiteY1864" fmla="*/ 3313835 h 6523037"/>
                <a:gd name="connsiteX1865" fmla="*/ 1520455 w 12192001"/>
                <a:gd name="connsiteY1865" fmla="*/ 3227890 h 6523037"/>
                <a:gd name="connsiteX1866" fmla="*/ 1804143 w 12192001"/>
                <a:gd name="connsiteY1866" fmla="*/ 3227192 h 6523037"/>
                <a:gd name="connsiteX1867" fmla="*/ 1623869 w 12192001"/>
                <a:gd name="connsiteY1867" fmla="*/ 3408165 h 6523037"/>
                <a:gd name="connsiteX1868" fmla="*/ 1534430 w 12192001"/>
                <a:gd name="connsiteY1868" fmla="*/ 3498302 h 6523037"/>
                <a:gd name="connsiteX1869" fmla="*/ 1668588 w 12192001"/>
                <a:gd name="connsiteY1869" fmla="*/ 3631761 h 6523037"/>
                <a:gd name="connsiteX1870" fmla="*/ 1805541 w 12192001"/>
                <a:gd name="connsiteY1870" fmla="*/ 3768713 h 6523037"/>
                <a:gd name="connsiteX1871" fmla="*/ 2069664 w 12192001"/>
                <a:gd name="connsiteY1871" fmla="*/ 3768015 h 6523037"/>
                <a:gd name="connsiteX1872" fmla="*/ 1798553 w 12192001"/>
                <a:gd name="connsiteY1872" fmla="*/ 3497603 h 6523037"/>
                <a:gd name="connsiteX1873" fmla="*/ 1799951 w 12192001"/>
                <a:gd name="connsiteY1873" fmla="*/ 3496206 h 6523037"/>
                <a:gd name="connsiteX1874" fmla="*/ 2068266 w 12192001"/>
                <a:gd name="connsiteY1874" fmla="*/ 3227192 h 6523037"/>
                <a:gd name="connsiteX1875" fmla="*/ 2353352 w 12192001"/>
                <a:gd name="connsiteY1875" fmla="*/ 3226492 h 6523037"/>
                <a:gd name="connsiteX1876" fmla="*/ 2082940 w 12192001"/>
                <a:gd name="connsiteY1876" fmla="*/ 3497603 h 6523037"/>
                <a:gd name="connsiteX1877" fmla="*/ 2354051 w 12192001"/>
                <a:gd name="connsiteY1877" fmla="*/ 3768015 h 6523037"/>
                <a:gd name="connsiteX1878" fmla="*/ 2618174 w 12192001"/>
                <a:gd name="connsiteY1878" fmla="*/ 3768015 h 6523037"/>
                <a:gd name="connsiteX1879" fmla="*/ 2347064 w 12192001"/>
                <a:gd name="connsiteY1879" fmla="*/ 3497603 h 6523037"/>
                <a:gd name="connsiteX1880" fmla="*/ 2617476 w 12192001"/>
                <a:gd name="connsiteY1880" fmla="*/ 3226492 h 6523037"/>
                <a:gd name="connsiteX1881" fmla="*/ 3449674 w 12192001"/>
                <a:gd name="connsiteY1881" fmla="*/ 3225095 h 6523037"/>
                <a:gd name="connsiteX1882" fmla="*/ 3179262 w 12192001"/>
                <a:gd name="connsiteY1882" fmla="*/ 3496206 h 6523037"/>
                <a:gd name="connsiteX1883" fmla="*/ 3450373 w 12192001"/>
                <a:gd name="connsiteY1883" fmla="*/ 3766618 h 6523037"/>
                <a:gd name="connsiteX1884" fmla="*/ 3714496 w 12192001"/>
                <a:gd name="connsiteY1884" fmla="*/ 3766618 h 6523037"/>
                <a:gd name="connsiteX1885" fmla="*/ 3443385 w 12192001"/>
                <a:gd name="connsiteY1885" fmla="*/ 3496206 h 6523037"/>
                <a:gd name="connsiteX1886" fmla="*/ 3713797 w 12192001"/>
                <a:gd name="connsiteY1886" fmla="*/ 3225095 h 6523037"/>
                <a:gd name="connsiteX1887" fmla="*/ 3998184 w 12192001"/>
                <a:gd name="connsiteY1887" fmla="*/ 3224396 h 6523037"/>
                <a:gd name="connsiteX1888" fmla="*/ 3727772 w 12192001"/>
                <a:gd name="connsiteY1888" fmla="*/ 3495507 h 6523037"/>
                <a:gd name="connsiteX1889" fmla="*/ 3998883 w 12192001"/>
                <a:gd name="connsiteY1889" fmla="*/ 3765919 h 6523037"/>
                <a:gd name="connsiteX1890" fmla="*/ 4263007 w 12192001"/>
                <a:gd name="connsiteY1890" fmla="*/ 3765220 h 6523037"/>
                <a:gd name="connsiteX1891" fmla="*/ 3991896 w 12192001"/>
                <a:gd name="connsiteY1891" fmla="*/ 3494808 h 6523037"/>
                <a:gd name="connsiteX1892" fmla="*/ 4176362 w 12192001"/>
                <a:gd name="connsiteY1892" fmla="*/ 3310341 h 6523037"/>
                <a:gd name="connsiteX1893" fmla="*/ 4177062 w 12192001"/>
                <a:gd name="connsiteY1893" fmla="*/ 3310341 h 6523037"/>
                <a:gd name="connsiteX1894" fmla="*/ 4262309 w 12192001"/>
                <a:gd name="connsiteY1894" fmla="*/ 3224396 h 6523037"/>
                <a:gd name="connsiteX1895" fmla="*/ 5367927 w 12192001"/>
                <a:gd name="connsiteY1895" fmla="*/ 3223826 h 6523037"/>
                <a:gd name="connsiteX1896" fmla="*/ 5097515 w 12192001"/>
                <a:gd name="connsiteY1896" fmla="*/ 3494937 h 6523037"/>
                <a:gd name="connsiteX1897" fmla="*/ 5230276 w 12192001"/>
                <a:gd name="connsiteY1897" fmla="*/ 3626999 h 6523037"/>
                <a:gd name="connsiteX1898" fmla="*/ 5368626 w 12192001"/>
                <a:gd name="connsiteY1898" fmla="*/ 3764651 h 6523037"/>
                <a:gd name="connsiteX1899" fmla="*/ 5632749 w 12192001"/>
                <a:gd name="connsiteY1899" fmla="*/ 3764651 h 6523037"/>
                <a:gd name="connsiteX1900" fmla="*/ 5361639 w 12192001"/>
                <a:gd name="connsiteY1900" fmla="*/ 3494239 h 6523037"/>
                <a:gd name="connsiteX1901" fmla="*/ 5632051 w 12192001"/>
                <a:gd name="connsiteY1901" fmla="*/ 3223826 h 6523037"/>
                <a:gd name="connsiteX1902" fmla="*/ 4546696 w 12192001"/>
                <a:gd name="connsiteY1902" fmla="*/ 3223697 h 6523037"/>
                <a:gd name="connsiteX1903" fmla="*/ 4366420 w 12192001"/>
                <a:gd name="connsiteY1903" fmla="*/ 3404671 h 6523037"/>
                <a:gd name="connsiteX1904" fmla="*/ 4365722 w 12192001"/>
                <a:gd name="connsiteY1904" fmla="*/ 3404671 h 6523037"/>
                <a:gd name="connsiteX1905" fmla="*/ 4276283 w 12192001"/>
                <a:gd name="connsiteY1905" fmla="*/ 3494808 h 6523037"/>
                <a:gd name="connsiteX1906" fmla="*/ 4410440 w 12192001"/>
                <a:gd name="connsiteY1906" fmla="*/ 3628267 h 6523037"/>
                <a:gd name="connsiteX1907" fmla="*/ 4547394 w 12192001"/>
                <a:gd name="connsiteY1907" fmla="*/ 3765220 h 6523037"/>
                <a:gd name="connsiteX1908" fmla="*/ 4809493 w 12192001"/>
                <a:gd name="connsiteY1908" fmla="*/ 3765220 h 6523037"/>
                <a:gd name="connsiteX1909" fmla="*/ 4660106 w 12192001"/>
                <a:gd name="connsiteY1909" fmla="*/ 3616519 h 6523037"/>
                <a:gd name="connsiteX1910" fmla="*/ 4660106 w 12192001"/>
                <a:gd name="connsiteY1910" fmla="*/ 3614199 h 6523037"/>
                <a:gd name="connsiteX1911" fmla="*/ 4540406 w 12192001"/>
                <a:gd name="connsiteY1911" fmla="*/ 3494808 h 6523037"/>
                <a:gd name="connsiteX1912" fmla="*/ 4542503 w 12192001"/>
                <a:gd name="connsiteY1912" fmla="*/ 3493410 h 6523037"/>
                <a:gd name="connsiteX1913" fmla="*/ 4660106 w 12192001"/>
                <a:gd name="connsiteY1913" fmla="*/ 3374886 h 6523037"/>
                <a:gd name="connsiteX1914" fmla="*/ 4660106 w 12192001"/>
                <a:gd name="connsiteY1914" fmla="*/ 3371259 h 6523037"/>
                <a:gd name="connsiteX1915" fmla="*/ 4808350 w 12192001"/>
                <a:gd name="connsiteY1915" fmla="*/ 3223697 h 6523037"/>
                <a:gd name="connsiteX1916" fmla="*/ 5916438 w 12192001"/>
                <a:gd name="connsiteY1916" fmla="*/ 3223128 h 6523037"/>
                <a:gd name="connsiteX1917" fmla="*/ 5646026 w 12192001"/>
                <a:gd name="connsiteY1917" fmla="*/ 3494239 h 6523037"/>
                <a:gd name="connsiteX1918" fmla="*/ 5917138 w 12192001"/>
                <a:gd name="connsiteY1918" fmla="*/ 3764651 h 6523037"/>
                <a:gd name="connsiteX1919" fmla="*/ 6181261 w 12192001"/>
                <a:gd name="connsiteY1919" fmla="*/ 3763951 h 6523037"/>
                <a:gd name="connsiteX1920" fmla="*/ 5910149 w 12192001"/>
                <a:gd name="connsiteY1920" fmla="*/ 3493540 h 6523037"/>
                <a:gd name="connsiteX1921" fmla="*/ 6094616 w 12192001"/>
                <a:gd name="connsiteY1921" fmla="*/ 3309073 h 6523037"/>
                <a:gd name="connsiteX1922" fmla="*/ 6180561 w 12192001"/>
                <a:gd name="connsiteY1922" fmla="*/ 3223128 h 6523037"/>
                <a:gd name="connsiteX1923" fmla="*/ 4821874 w 12192001"/>
                <a:gd name="connsiteY1923" fmla="*/ 3223128 h 6523037"/>
                <a:gd name="connsiteX1924" fmla="*/ 4554381 w 12192001"/>
                <a:gd name="connsiteY1924" fmla="*/ 3491315 h 6523037"/>
                <a:gd name="connsiteX1925" fmla="*/ 4815332 w 12192001"/>
                <a:gd name="connsiteY1925" fmla="*/ 3491315 h 6523037"/>
                <a:gd name="connsiteX1926" fmla="*/ 4996199 w 12192001"/>
                <a:gd name="connsiteY1926" fmla="*/ 3309073 h 6523037"/>
                <a:gd name="connsiteX1927" fmla="*/ 5082144 w 12192001"/>
                <a:gd name="connsiteY1927" fmla="*/ 3223128 h 6523037"/>
                <a:gd name="connsiteX1928" fmla="*/ 6464250 w 12192001"/>
                <a:gd name="connsiteY1928" fmla="*/ 3222430 h 6523037"/>
                <a:gd name="connsiteX1929" fmla="*/ 6283976 w 12192001"/>
                <a:gd name="connsiteY1929" fmla="*/ 3403403 h 6523037"/>
                <a:gd name="connsiteX1930" fmla="*/ 6194536 w 12192001"/>
                <a:gd name="connsiteY1930" fmla="*/ 3493540 h 6523037"/>
                <a:gd name="connsiteX1931" fmla="*/ 6328695 w 12192001"/>
                <a:gd name="connsiteY1931" fmla="*/ 3626999 h 6523037"/>
                <a:gd name="connsiteX1932" fmla="*/ 6465647 w 12192001"/>
                <a:gd name="connsiteY1932" fmla="*/ 3763951 h 6523037"/>
                <a:gd name="connsiteX1933" fmla="*/ 6729770 w 12192001"/>
                <a:gd name="connsiteY1933" fmla="*/ 3763253 h 6523037"/>
                <a:gd name="connsiteX1934" fmla="*/ 6458659 w 12192001"/>
                <a:gd name="connsiteY1934" fmla="*/ 3492841 h 6523037"/>
                <a:gd name="connsiteX1935" fmla="*/ 6460057 w 12192001"/>
                <a:gd name="connsiteY1935" fmla="*/ 3491444 h 6523037"/>
                <a:gd name="connsiteX1936" fmla="*/ 6728373 w 12192001"/>
                <a:gd name="connsiteY1936" fmla="*/ 3222430 h 6523037"/>
                <a:gd name="connsiteX1937" fmla="*/ 7013458 w 12192001"/>
                <a:gd name="connsiteY1937" fmla="*/ 3221730 h 6523037"/>
                <a:gd name="connsiteX1938" fmla="*/ 6743046 w 12192001"/>
                <a:gd name="connsiteY1938" fmla="*/ 3492841 h 6523037"/>
                <a:gd name="connsiteX1939" fmla="*/ 7014157 w 12192001"/>
                <a:gd name="connsiteY1939" fmla="*/ 3763253 h 6523037"/>
                <a:gd name="connsiteX1940" fmla="*/ 7278280 w 12192001"/>
                <a:gd name="connsiteY1940" fmla="*/ 3763253 h 6523037"/>
                <a:gd name="connsiteX1941" fmla="*/ 7007170 w 12192001"/>
                <a:gd name="connsiteY1941" fmla="*/ 3492841 h 6523037"/>
                <a:gd name="connsiteX1942" fmla="*/ 7277582 w 12192001"/>
                <a:gd name="connsiteY1942" fmla="*/ 3221730 h 6523037"/>
                <a:gd name="connsiteX1943" fmla="*/ 10028344 w 12192001"/>
                <a:gd name="connsiteY1943" fmla="*/ 3220651 h 6523037"/>
                <a:gd name="connsiteX1944" fmla="*/ 9757932 w 12192001"/>
                <a:gd name="connsiteY1944" fmla="*/ 3491762 h 6523037"/>
                <a:gd name="connsiteX1945" fmla="*/ 9890693 w 12192001"/>
                <a:gd name="connsiteY1945" fmla="*/ 3623824 h 6523037"/>
                <a:gd name="connsiteX1946" fmla="*/ 10029043 w 12192001"/>
                <a:gd name="connsiteY1946" fmla="*/ 3761476 h 6523037"/>
                <a:gd name="connsiteX1947" fmla="*/ 10293166 w 12192001"/>
                <a:gd name="connsiteY1947" fmla="*/ 3761476 h 6523037"/>
                <a:gd name="connsiteX1948" fmla="*/ 10022056 w 12192001"/>
                <a:gd name="connsiteY1948" fmla="*/ 3491064 h 6523037"/>
                <a:gd name="connsiteX1949" fmla="*/ 10292468 w 12192001"/>
                <a:gd name="connsiteY1949" fmla="*/ 3220651 h 6523037"/>
                <a:gd name="connsiteX1950" fmla="*/ 8109780 w 12192001"/>
                <a:gd name="connsiteY1950" fmla="*/ 3220333 h 6523037"/>
                <a:gd name="connsiteX1951" fmla="*/ 7839368 w 12192001"/>
                <a:gd name="connsiteY1951" fmla="*/ 3491444 h 6523037"/>
                <a:gd name="connsiteX1952" fmla="*/ 8110479 w 12192001"/>
                <a:gd name="connsiteY1952" fmla="*/ 3761856 h 6523037"/>
                <a:gd name="connsiteX1953" fmla="*/ 8374602 w 12192001"/>
                <a:gd name="connsiteY1953" fmla="*/ 3761856 h 6523037"/>
                <a:gd name="connsiteX1954" fmla="*/ 8103491 w 12192001"/>
                <a:gd name="connsiteY1954" fmla="*/ 3491444 h 6523037"/>
                <a:gd name="connsiteX1955" fmla="*/ 8373903 w 12192001"/>
                <a:gd name="connsiteY1955" fmla="*/ 3220333 h 6523037"/>
                <a:gd name="connsiteX1956" fmla="*/ 10576855 w 12192001"/>
                <a:gd name="connsiteY1956" fmla="*/ 3219953 h 6523037"/>
                <a:gd name="connsiteX1957" fmla="*/ 10306443 w 12192001"/>
                <a:gd name="connsiteY1957" fmla="*/ 3491064 h 6523037"/>
                <a:gd name="connsiteX1958" fmla="*/ 10577554 w 12192001"/>
                <a:gd name="connsiteY1958" fmla="*/ 3761476 h 6523037"/>
                <a:gd name="connsiteX1959" fmla="*/ 10841677 w 12192001"/>
                <a:gd name="connsiteY1959" fmla="*/ 3760776 h 6523037"/>
                <a:gd name="connsiteX1960" fmla="*/ 10570566 w 12192001"/>
                <a:gd name="connsiteY1960" fmla="*/ 3490365 h 6523037"/>
                <a:gd name="connsiteX1961" fmla="*/ 10755033 w 12192001"/>
                <a:gd name="connsiteY1961" fmla="*/ 3305898 h 6523037"/>
                <a:gd name="connsiteX1962" fmla="*/ 10840978 w 12192001"/>
                <a:gd name="connsiteY1962" fmla="*/ 3219953 h 6523037"/>
                <a:gd name="connsiteX1963" fmla="*/ 9480397 w 12192001"/>
                <a:gd name="connsiteY1963" fmla="*/ 3219953 h 6523037"/>
                <a:gd name="connsiteX1964" fmla="*/ 9214487 w 12192001"/>
                <a:gd name="connsiteY1964" fmla="*/ 3486553 h 6523037"/>
                <a:gd name="connsiteX1965" fmla="*/ 9477324 w 12192001"/>
                <a:gd name="connsiteY1965" fmla="*/ 3486553 h 6523037"/>
                <a:gd name="connsiteX1966" fmla="*/ 9656616 w 12192001"/>
                <a:gd name="connsiteY1966" fmla="*/ 3305898 h 6523037"/>
                <a:gd name="connsiteX1967" fmla="*/ 9742561 w 12192001"/>
                <a:gd name="connsiteY1967" fmla="*/ 3219953 h 6523037"/>
                <a:gd name="connsiteX1968" fmla="*/ 8658290 w 12192001"/>
                <a:gd name="connsiteY1968" fmla="*/ 3219635 h 6523037"/>
                <a:gd name="connsiteX1969" fmla="*/ 8387878 w 12192001"/>
                <a:gd name="connsiteY1969" fmla="*/ 3490745 h 6523037"/>
                <a:gd name="connsiteX1970" fmla="*/ 8658989 w 12192001"/>
                <a:gd name="connsiteY1970" fmla="*/ 3761157 h 6523037"/>
                <a:gd name="connsiteX1971" fmla="*/ 8923113 w 12192001"/>
                <a:gd name="connsiteY1971" fmla="*/ 3760458 h 6523037"/>
                <a:gd name="connsiteX1972" fmla="*/ 8652002 w 12192001"/>
                <a:gd name="connsiteY1972" fmla="*/ 3490046 h 6523037"/>
                <a:gd name="connsiteX1973" fmla="*/ 8836468 w 12192001"/>
                <a:gd name="connsiteY1973" fmla="*/ 3305579 h 6523037"/>
                <a:gd name="connsiteX1974" fmla="*/ 8837168 w 12192001"/>
                <a:gd name="connsiteY1974" fmla="*/ 3305579 h 6523037"/>
                <a:gd name="connsiteX1975" fmla="*/ 8922414 w 12192001"/>
                <a:gd name="connsiteY1975" fmla="*/ 3219635 h 6523037"/>
                <a:gd name="connsiteX1976" fmla="*/ 11124666 w 12192001"/>
                <a:gd name="connsiteY1976" fmla="*/ 3219256 h 6523037"/>
                <a:gd name="connsiteX1977" fmla="*/ 10944392 w 12192001"/>
                <a:gd name="connsiteY1977" fmla="*/ 3400228 h 6523037"/>
                <a:gd name="connsiteX1978" fmla="*/ 10854953 w 12192001"/>
                <a:gd name="connsiteY1978" fmla="*/ 3490365 h 6523037"/>
                <a:gd name="connsiteX1979" fmla="*/ 10989111 w 12192001"/>
                <a:gd name="connsiteY1979" fmla="*/ 3623824 h 6523037"/>
                <a:gd name="connsiteX1980" fmla="*/ 11126064 w 12192001"/>
                <a:gd name="connsiteY1980" fmla="*/ 3760776 h 6523037"/>
                <a:gd name="connsiteX1981" fmla="*/ 11390187 w 12192001"/>
                <a:gd name="connsiteY1981" fmla="*/ 3760078 h 6523037"/>
                <a:gd name="connsiteX1982" fmla="*/ 11119076 w 12192001"/>
                <a:gd name="connsiteY1982" fmla="*/ 3489666 h 6523037"/>
                <a:gd name="connsiteX1983" fmla="*/ 11120474 w 12192001"/>
                <a:gd name="connsiteY1983" fmla="*/ 3488269 h 6523037"/>
                <a:gd name="connsiteX1984" fmla="*/ 11388789 w 12192001"/>
                <a:gd name="connsiteY1984" fmla="*/ 3219256 h 6523037"/>
                <a:gd name="connsiteX1985" fmla="*/ 9206801 w 12192001"/>
                <a:gd name="connsiteY1985" fmla="*/ 3218935 h 6523037"/>
                <a:gd name="connsiteX1986" fmla="*/ 9026526 w 12192001"/>
                <a:gd name="connsiteY1986" fmla="*/ 3399909 h 6523037"/>
                <a:gd name="connsiteX1987" fmla="*/ 9025828 w 12192001"/>
                <a:gd name="connsiteY1987" fmla="*/ 3399909 h 6523037"/>
                <a:gd name="connsiteX1988" fmla="*/ 8936388 w 12192001"/>
                <a:gd name="connsiteY1988" fmla="*/ 3490046 h 6523037"/>
                <a:gd name="connsiteX1989" fmla="*/ 9070546 w 12192001"/>
                <a:gd name="connsiteY1989" fmla="*/ 3623505 h 6523037"/>
                <a:gd name="connsiteX1990" fmla="*/ 9207500 w 12192001"/>
                <a:gd name="connsiteY1990" fmla="*/ 3760458 h 6523037"/>
                <a:gd name="connsiteX1991" fmla="*/ 9468315 w 12192001"/>
                <a:gd name="connsiteY1991" fmla="*/ 3760458 h 6523037"/>
                <a:gd name="connsiteX1992" fmla="*/ 9320523 w 12192001"/>
                <a:gd name="connsiteY1992" fmla="*/ 3613344 h 6523037"/>
                <a:gd name="connsiteX1993" fmla="*/ 9320523 w 12192001"/>
                <a:gd name="connsiteY1993" fmla="*/ 3609748 h 6523037"/>
                <a:gd name="connsiteX1994" fmla="*/ 9200512 w 12192001"/>
                <a:gd name="connsiteY1994" fmla="*/ 3490046 h 6523037"/>
                <a:gd name="connsiteX1995" fmla="*/ 9202609 w 12192001"/>
                <a:gd name="connsiteY1995" fmla="*/ 3488648 h 6523037"/>
                <a:gd name="connsiteX1996" fmla="*/ 9320523 w 12192001"/>
                <a:gd name="connsiteY1996" fmla="*/ 3369810 h 6523037"/>
                <a:gd name="connsiteX1997" fmla="*/ 9320523 w 12192001"/>
                <a:gd name="connsiteY1997" fmla="*/ 3368084 h 6523037"/>
                <a:gd name="connsiteX1998" fmla="*/ 9459449 w 12192001"/>
                <a:gd name="connsiteY1998" fmla="*/ 3229795 h 6523037"/>
                <a:gd name="connsiteX1999" fmla="*/ 9470225 w 12192001"/>
                <a:gd name="connsiteY1999" fmla="*/ 3218935 h 6523037"/>
                <a:gd name="connsiteX2000" fmla="*/ 11673875 w 12192001"/>
                <a:gd name="connsiteY2000" fmla="*/ 3218555 h 6523037"/>
                <a:gd name="connsiteX2001" fmla="*/ 11403463 w 12192001"/>
                <a:gd name="connsiteY2001" fmla="*/ 3489666 h 6523037"/>
                <a:gd name="connsiteX2002" fmla="*/ 11674574 w 12192001"/>
                <a:gd name="connsiteY2002" fmla="*/ 3760078 h 6523037"/>
                <a:gd name="connsiteX2003" fmla="*/ 11938697 w 12192001"/>
                <a:gd name="connsiteY2003" fmla="*/ 3760078 h 6523037"/>
                <a:gd name="connsiteX2004" fmla="*/ 11667587 w 12192001"/>
                <a:gd name="connsiteY2004" fmla="*/ 3489666 h 6523037"/>
                <a:gd name="connsiteX2005" fmla="*/ 11937999 w 12192001"/>
                <a:gd name="connsiteY2005" fmla="*/ 3218555 h 6523037"/>
                <a:gd name="connsiteX2006" fmla="*/ 1263319 w 12192001"/>
                <a:gd name="connsiteY2006" fmla="*/ 2953984 h 6523037"/>
                <a:gd name="connsiteX2007" fmla="*/ 1534430 w 12192001"/>
                <a:gd name="connsiteY2007" fmla="*/ 3223697 h 6523037"/>
                <a:gd name="connsiteX2008" fmla="*/ 1531636 w 12192001"/>
                <a:gd name="connsiteY2008" fmla="*/ 3226492 h 6523037"/>
                <a:gd name="connsiteX2009" fmla="*/ 1441498 w 12192001"/>
                <a:gd name="connsiteY2009" fmla="*/ 3317328 h 6523037"/>
                <a:gd name="connsiteX2010" fmla="*/ 1264018 w 12192001"/>
                <a:gd name="connsiteY2010" fmla="*/ 3494808 h 6523037"/>
                <a:gd name="connsiteX2011" fmla="*/ 1528141 w 12192001"/>
                <a:gd name="connsiteY2011" fmla="*/ 3494808 h 6523037"/>
                <a:gd name="connsiteX2012" fmla="*/ 1617580 w 12192001"/>
                <a:gd name="connsiteY2012" fmla="*/ 3405369 h 6523037"/>
                <a:gd name="connsiteX2013" fmla="*/ 1798553 w 12192001"/>
                <a:gd name="connsiteY2013" fmla="*/ 3224396 h 6523037"/>
                <a:gd name="connsiteX2014" fmla="*/ 1527442 w 12192001"/>
                <a:gd name="connsiteY2014" fmla="*/ 2953984 h 6523037"/>
                <a:gd name="connsiteX2015" fmla="*/ 714809 w 12192001"/>
                <a:gd name="connsiteY2015" fmla="*/ 2953984 h 6523037"/>
                <a:gd name="connsiteX2016" fmla="*/ 843377 w 12192001"/>
                <a:gd name="connsiteY2016" fmla="*/ 3082552 h 6523037"/>
                <a:gd name="connsiteX2017" fmla="*/ 985221 w 12192001"/>
                <a:gd name="connsiteY2017" fmla="*/ 3224396 h 6523037"/>
                <a:gd name="connsiteX2018" fmla="*/ 714809 w 12192001"/>
                <a:gd name="connsiteY2018" fmla="*/ 3495507 h 6523037"/>
                <a:gd name="connsiteX2019" fmla="*/ 978932 w 12192001"/>
                <a:gd name="connsiteY2019" fmla="*/ 3495507 h 6523037"/>
                <a:gd name="connsiteX2020" fmla="*/ 1249344 w 12192001"/>
                <a:gd name="connsiteY2020" fmla="*/ 3224396 h 6523037"/>
                <a:gd name="connsiteX2021" fmla="*/ 1244453 w 12192001"/>
                <a:gd name="connsiteY2021" fmla="*/ 3219505 h 6523037"/>
                <a:gd name="connsiteX2022" fmla="*/ 978932 w 12192001"/>
                <a:gd name="connsiteY2022" fmla="*/ 2953984 h 6523037"/>
                <a:gd name="connsiteX2023" fmla="*/ 164902 w 12192001"/>
                <a:gd name="connsiteY2023" fmla="*/ 2953984 h 6523037"/>
                <a:gd name="connsiteX2024" fmla="*/ 436013 w 12192001"/>
                <a:gd name="connsiteY2024" fmla="*/ 3223697 h 6523037"/>
                <a:gd name="connsiteX2025" fmla="*/ 433217 w 12192001"/>
                <a:gd name="connsiteY2025" fmla="*/ 3226492 h 6523037"/>
                <a:gd name="connsiteX2026" fmla="*/ 343079 w 12192001"/>
                <a:gd name="connsiteY2026" fmla="*/ 3317328 h 6523037"/>
                <a:gd name="connsiteX2027" fmla="*/ 165601 w 12192001"/>
                <a:gd name="connsiteY2027" fmla="*/ 3494808 h 6523037"/>
                <a:gd name="connsiteX2028" fmla="*/ 429724 w 12192001"/>
                <a:gd name="connsiteY2028" fmla="*/ 3494808 h 6523037"/>
                <a:gd name="connsiteX2029" fmla="*/ 519162 w 12192001"/>
                <a:gd name="connsiteY2029" fmla="*/ 3405369 h 6523037"/>
                <a:gd name="connsiteX2030" fmla="*/ 700136 w 12192001"/>
                <a:gd name="connsiteY2030" fmla="*/ 3224396 h 6523037"/>
                <a:gd name="connsiteX2031" fmla="*/ 429025 w 12192001"/>
                <a:gd name="connsiteY2031" fmla="*/ 2953984 h 6523037"/>
                <a:gd name="connsiteX2032" fmla="*/ 2908151 w 12192001"/>
                <a:gd name="connsiteY2032" fmla="*/ 2953285 h 6523037"/>
                <a:gd name="connsiteX2033" fmla="*/ 3179262 w 12192001"/>
                <a:gd name="connsiteY2033" fmla="*/ 3223697 h 6523037"/>
                <a:gd name="connsiteX2034" fmla="*/ 2908850 w 12192001"/>
                <a:gd name="connsiteY2034" fmla="*/ 3494808 h 6523037"/>
                <a:gd name="connsiteX2035" fmla="*/ 3107292 w 12192001"/>
                <a:gd name="connsiteY2035" fmla="*/ 3494808 h 6523037"/>
                <a:gd name="connsiteX2036" fmla="*/ 3103798 w 12192001"/>
                <a:gd name="connsiteY2036" fmla="*/ 3501795 h 6523037"/>
                <a:gd name="connsiteX2037" fmla="*/ 2908850 w 12192001"/>
                <a:gd name="connsiteY2037" fmla="*/ 3501795 h 6523037"/>
                <a:gd name="connsiteX2038" fmla="*/ 3038815 w 12192001"/>
                <a:gd name="connsiteY2038" fmla="*/ 3631761 h 6523037"/>
                <a:gd name="connsiteX2039" fmla="*/ 3035322 w 12192001"/>
                <a:gd name="connsiteY2039" fmla="*/ 3638748 h 6523037"/>
                <a:gd name="connsiteX2040" fmla="*/ 2894875 w 12192001"/>
                <a:gd name="connsiteY2040" fmla="*/ 3498302 h 6523037"/>
                <a:gd name="connsiteX2041" fmla="*/ 3165287 w 12192001"/>
                <a:gd name="connsiteY2041" fmla="*/ 3227192 h 6523037"/>
                <a:gd name="connsiteX2042" fmla="*/ 2901164 w 12192001"/>
                <a:gd name="connsiteY2042" fmla="*/ 3227192 h 6523037"/>
                <a:gd name="connsiteX2043" fmla="*/ 2630752 w 12192001"/>
                <a:gd name="connsiteY2043" fmla="*/ 3498302 h 6523037"/>
                <a:gd name="connsiteX2044" fmla="*/ 2901863 w 12192001"/>
                <a:gd name="connsiteY2044" fmla="*/ 3768713 h 6523037"/>
                <a:gd name="connsiteX2045" fmla="*/ 2970339 w 12192001"/>
                <a:gd name="connsiteY2045" fmla="*/ 3768713 h 6523037"/>
                <a:gd name="connsiteX2046" fmla="*/ 2966846 w 12192001"/>
                <a:gd name="connsiteY2046" fmla="*/ 3775701 h 6523037"/>
                <a:gd name="connsiteX2047" fmla="*/ 2901863 w 12192001"/>
                <a:gd name="connsiteY2047" fmla="*/ 3775701 h 6523037"/>
                <a:gd name="connsiteX2048" fmla="*/ 2721588 w 12192001"/>
                <a:gd name="connsiteY2048" fmla="*/ 3956675 h 6523037"/>
                <a:gd name="connsiteX2049" fmla="*/ 2633317 w 12192001"/>
                <a:gd name="connsiteY2049" fmla="*/ 4045637 h 6523037"/>
                <a:gd name="connsiteX2050" fmla="*/ 2902751 w 12192001"/>
                <a:gd name="connsiteY2050" fmla="*/ 4314377 h 6523037"/>
                <a:gd name="connsiteX2051" fmla="*/ 3165477 w 12192001"/>
                <a:gd name="connsiteY2051" fmla="*/ 4314377 h 6523037"/>
                <a:gd name="connsiteX2052" fmla="*/ 3036210 w 12192001"/>
                <a:gd name="connsiteY2052" fmla="*/ 4185111 h 6523037"/>
                <a:gd name="connsiteX2053" fmla="*/ 3036909 w 12192001"/>
                <a:gd name="connsiteY2053" fmla="*/ 4184412 h 6523037"/>
                <a:gd name="connsiteX2054" fmla="*/ 2942163 w 12192001"/>
                <a:gd name="connsiteY2054" fmla="*/ 4090134 h 6523037"/>
                <a:gd name="connsiteX2055" fmla="*/ 2940992 w 12192001"/>
                <a:gd name="connsiteY2055" fmla="*/ 4090134 h 6523037"/>
                <a:gd name="connsiteX2056" fmla="*/ 2896273 w 12192001"/>
                <a:gd name="connsiteY2056" fmla="*/ 4045415 h 6523037"/>
                <a:gd name="connsiteX2057" fmla="*/ 2896745 w 12192001"/>
                <a:gd name="connsiteY2057" fmla="*/ 4044942 h 6523037"/>
                <a:gd name="connsiteX2058" fmla="*/ 2895764 w 12192001"/>
                <a:gd name="connsiteY2058" fmla="*/ 4043965 h 6523037"/>
                <a:gd name="connsiteX2059" fmla="*/ 3070448 w 12192001"/>
                <a:gd name="connsiteY2059" fmla="*/ 3868581 h 6523037"/>
                <a:gd name="connsiteX2060" fmla="*/ 3072651 w 12192001"/>
                <a:gd name="connsiteY2060" fmla="*/ 3868581 h 6523037"/>
                <a:gd name="connsiteX2061" fmla="*/ 3165986 w 12192001"/>
                <a:gd name="connsiteY2061" fmla="*/ 3775003 h 6523037"/>
                <a:gd name="connsiteX2062" fmla="*/ 2967543 w 12192001"/>
                <a:gd name="connsiteY2062" fmla="*/ 3775003 h 6523037"/>
                <a:gd name="connsiteX2063" fmla="*/ 2971038 w 12192001"/>
                <a:gd name="connsiteY2063" fmla="*/ 3768015 h 6523037"/>
                <a:gd name="connsiteX2064" fmla="*/ 3165986 w 12192001"/>
                <a:gd name="connsiteY2064" fmla="*/ 3768015 h 6523037"/>
                <a:gd name="connsiteX2065" fmla="*/ 3036021 w 12192001"/>
                <a:gd name="connsiteY2065" fmla="*/ 3638050 h 6523037"/>
                <a:gd name="connsiteX2066" fmla="*/ 3039514 w 12192001"/>
                <a:gd name="connsiteY2066" fmla="*/ 3631063 h 6523037"/>
                <a:gd name="connsiteX2067" fmla="*/ 3179961 w 12192001"/>
                <a:gd name="connsiteY2067" fmla="*/ 3771509 h 6523037"/>
                <a:gd name="connsiteX2068" fmla="*/ 2912388 w 12192001"/>
                <a:gd name="connsiteY2068" fmla="*/ 4039773 h 6523037"/>
                <a:gd name="connsiteX2069" fmla="*/ 3173163 w 12192001"/>
                <a:gd name="connsiteY2069" fmla="*/ 4039773 h 6523037"/>
                <a:gd name="connsiteX2070" fmla="*/ 3262601 w 12192001"/>
                <a:gd name="connsiteY2070" fmla="*/ 3950334 h 6523037"/>
                <a:gd name="connsiteX2071" fmla="*/ 3344354 w 12192001"/>
                <a:gd name="connsiteY2071" fmla="*/ 3868581 h 6523037"/>
                <a:gd name="connsiteX2072" fmla="*/ 3347262 w 12192001"/>
                <a:gd name="connsiteY2072" fmla="*/ 3868581 h 6523037"/>
                <a:gd name="connsiteX2073" fmla="*/ 3444084 w 12192001"/>
                <a:gd name="connsiteY2073" fmla="*/ 3771509 h 6523037"/>
                <a:gd name="connsiteX2074" fmla="*/ 3172973 w 12192001"/>
                <a:gd name="connsiteY2074" fmla="*/ 3501795 h 6523037"/>
                <a:gd name="connsiteX2075" fmla="*/ 3104497 w 12192001"/>
                <a:gd name="connsiteY2075" fmla="*/ 3501795 h 6523037"/>
                <a:gd name="connsiteX2076" fmla="*/ 3107990 w 12192001"/>
                <a:gd name="connsiteY2076" fmla="*/ 3494808 h 6523037"/>
                <a:gd name="connsiteX2077" fmla="*/ 3172973 w 12192001"/>
                <a:gd name="connsiteY2077" fmla="*/ 3494808 h 6523037"/>
                <a:gd name="connsiteX2078" fmla="*/ 3443385 w 12192001"/>
                <a:gd name="connsiteY2078" fmla="*/ 3223697 h 6523037"/>
                <a:gd name="connsiteX2079" fmla="*/ 3309227 w 12192001"/>
                <a:gd name="connsiteY2079" fmla="*/ 3090238 h 6523037"/>
                <a:gd name="connsiteX2080" fmla="*/ 3172275 w 12192001"/>
                <a:gd name="connsiteY2080" fmla="*/ 2953285 h 6523037"/>
                <a:gd name="connsiteX2081" fmla="*/ 1811829 w 12192001"/>
                <a:gd name="connsiteY2081" fmla="*/ 2952586 h 6523037"/>
                <a:gd name="connsiteX2082" fmla="*/ 1941795 w 12192001"/>
                <a:gd name="connsiteY2082" fmla="*/ 3082552 h 6523037"/>
                <a:gd name="connsiteX2083" fmla="*/ 2082940 w 12192001"/>
                <a:gd name="connsiteY2083" fmla="*/ 3222998 h 6523037"/>
                <a:gd name="connsiteX2084" fmla="*/ 1812528 w 12192001"/>
                <a:gd name="connsiteY2084" fmla="*/ 3494109 h 6523037"/>
                <a:gd name="connsiteX2085" fmla="*/ 2076652 w 12192001"/>
                <a:gd name="connsiteY2085" fmla="*/ 3494109 h 6523037"/>
                <a:gd name="connsiteX2086" fmla="*/ 2347064 w 12192001"/>
                <a:gd name="connsiteY2086" fmla="*/ 3222998 h 6523037"/>
                <a:gd name="connsiteX2087" fmla="*/ 2075953 w 12192001"/>
                <a:gd name="connsiteY2087" fmla="*/ 2952586 h 6523037"/>
                <a:gd name="connsiteX2088" fmla="*/ 2360340 w 12192001"/>
                <a:gd name="connsiteY2088" fmla="*/ 2951889 h 6523037"/>
                <a:gd name="connsiteX2089" fmla="*/ 2631451 w 12192001"/>
                <a:gd name="connsiteY2089" fmla="*/ 3222301 h 6523037"/>
                <a:gd name="connsiteX2090" fmla="*/ 2361039 w 12192001"/>
                <a:gd name="connsiteY2090" fmla="*/ 3493410 h 6523037"/>
                <a:gd name="connsiteX2091" fmla="*/ 2625162 w 12192001"/>
                <a:gd name="connsiteY2091" fmla="*/ 3493410 h 6523037"/>
                <a:gd name="connsiteX2092" fmla="*/ 2895574 w 12192001"/>
                <a:gd name="connsiteY2092" fmla="*/ 3222301 h 6523037"/>
                <a:gd name="connsiteX2093" fmla="*/ 2624463 w 12192001"/>
                <a:gd name="connsiteY2093" fmla="*/ 2951889 h 6523037"/>
                <a:gd name="connsiteX2094" fmla="*/ 4005871 w 12192001"/>
                <a:gd name="connsiteY2094" fmla="*/ 2951190 h 6523037"/>
                <a:gd name="connsiteX2095" fmla="*/ 4275584 w 12192001"/>
                <a:gd name="connsiteY2095" fmla="*/ 3220204 h 6523037"/>
                <a:gd name="connsiteX2096" fmla="*/ 4272789 w 12192001"/>
                <a:gd name="connsiteY2096" fmla="*/ 3222998 h 6523037"/>
                <a:gd name="connsiteX2097" fmla="*/ 4182652 w 12192001"/>
                <a:gd name="connsiteY2097" fmla="*/ 3313835 h 6523037"/>
                <a:gd name="connsiteX2098" fmla="*/ 4181952 w 12192001"/>
                <a:gd name="connsiteY2098" fmla="*/ 3313835 h 6523037"/>
                <a:gd name="connsiteX2099" fmla="*/ 4005172 w 12192001"/>
                <a:gd name="connsiteY2099" fmla="*/ 3491315 h 6523037"/>
                <a:gd name="connsiteX2100" fmla="*/ 4269296 w 12192001"/>
                <a:gd name="connsiteY2100" fmla="*/ 3491315 h 6523037"/>
                <a:gd name="connsiteX2101" fmla="*/ 4358734 w 12192001"/>
                <a:gd name="connsiteY2101" fmla="*/ 3401876 h 6523037"/>
                <a:gd name="connsiteX2102" fmla="*/ 4359432 w 12192001"/>
                <a:gd name="connsiteY2102" fmla="*/ 3401876 h 6523037"/>
                <a:gd name="connsiteX2103" fmla="*/ 4541105 w 12192001"/>
                <a:gd name="connsiteY2103" fmla="*/ 3221602 h 6523037"/>
                <a:gd name="connsiteX2104" fmla="*/ 4269994 w 12192001"/>
                <a:gd name="connsiteY2104" fmla="*/ 2951190 h 6523037"/>
                <a:gd name="connsiteX2105" fmla="*/ 3457360 w 12192001"/>
                <a:gd name="connsiteY2105" fmla="*/ 2951190 h 6523037"/>
                <a:gd name="connsiteX2106" fmla="*/ 3458059 w 12192001"/>
                <a:gd name="connsiteY2106" fmla="*/ 2951889 h 6523037"/>
                <a:gd name="connsiteX2107" fmla="*/ 3458758 w 12192001"/>
                <a:gd name="connsiteY2107" fmla="*/ 2951889 h 6523037"/>
                <a:gd name="connsiteX2108" fmla="*/ 3727772 w 12192001"/>
                <a:gd name="connsiteY2108" fmla="*/ 3220903 h 6523037"/>
                <a:gd name="connsiteX2109" fmla="*/ 3457360 w 12192001"/>
                <a:gd name="connsiteY2109" fmla="*/ 3492014 h 6523037"/>
                <a:gd name="connsiteX2110" fmla="*/ 3721484 w 12192001"/>
                <a:gd name="connsiteY2110" fmla="*/ 3492014 h 6523037"/>
                <a:gd name="connsiteX2111" fmla="*/ 3991896 w 12192001"/>
                <a:gd name="connsiteY2111" fmla="*/ 3221602 h 6523037"/>
                <a:gd name="connsiteX2112" fmla="*/ 3987005 w 12192001"/>
                <a:gd name="connsiteY2112" fmla="*/ 3216011 h 6523037"/>
                <a:gd name="connsiteX2113" fmla="*/ 3721484 w 12192001"/>
                <a:gd name="connsiteY2113" fmla="*/ 2951190 h 6523037"/>
                <a:gd name="connsiteX2114" fmla="*/ 4554381 w 12192001"/>
                <a:gd name="connsiteY2114" fmla="*/ 2949792 h 6523037"/>
                <a:gd name="connsiteX2115" fmla="*/ 4684346 w 12192001"/>
                <a:gd name="connsiteY2115" fmla="*/ 3079757 h 6523037"/>
                <a:gd name="connsiteX2116" fmla="*/ 4820732 w 12192001"/>
                <a:gd name="connsiteY2116" fmla="*/ 3216141 h 6523037"/>
                <a:gd name="connsiteX2117" fmla="*/ 5082144 w 12192001"/>
                <a:gd name="connsiteY2117" fmla="*/ 3216141 h 6523037"/>
                <a:gd name="connsiteX2118" fmla="*/ 4815107 w 12192001"/>
                <a:gd name="connsiteY2118" fmla="*/ 2949792 h 6523037"/>
                <a:gd name="connsiteX2119" fmla="*/ 5923425 w 12192001"/>
                <a:gd name="connsiteY2119" fmla="*/ 2949222 h 6523037"/>
                <a:gd name="connsiteX2120" fmla="*/ 6194536 w 12192001"/>
                <a:gd name="connsiteY2120" fmla="*/ 3218935 h 6523037"/>
                <a:gd name="connsiteX2121" fmla="*/ 6191742 w 12192001"/>
                <a:gd name="connsiteY2121" fmla="*/ 3221730 h 6523037"/>
                <a:gd name="connsiteX2122" fmla="*/ 6101604 w 12192001"/>
                <a:gd name="connsiteY2122" fmla="*/ 3312566 h 6523037"/>
                <a:gd name="connsiteX2123" fmla="*/ 5924124 w 12192001"/>
                <a:gd name="connsiteY2123" fmla="*/ 3490046 h 6523037"/>
                <a:gd name="connsiteX2124" fmla="*/ 6188247 w 12192001"/>
                <a:gd name="connsiteY2124" fmla="*/ 3490046 h 6523037"/>
                <a:gd name="connsiteX2125" fmla="*/ 6277687 w 12192001"/>
                <a:gd name="connsiteY2125" fmla="*/ 3400607 h 6523037"/>
                <a:gd name="connsiteX2126" fmla="*/ 6458659 w 12192001"/>
                <a:gd name="connsiteY2126" fmla="*/ 3219635 h 6523037"/>
                <a:gd name="connsiteX2127" fmla="*/ 6187548 w 12192001"/>
                <a:gd name="connsiteY2127" fmla="*/ 2949222 h 6523037"/>
                <a:gd name="connsiteX2128" fmla="*/ 5374915 w 12192001"/>
                <a:gd name="connsiteY2128" fmla="*/ 2949222 h 6523037"/>
                <a:gd name="connsiteX2129" fmla="*/ 5503483 w 12192001"/>
                <a:gd name="connsiteY2129" fmla="*/ 3077790 h 6523037"/>
                <a:gd name="connsiteX2130" fmla="*/ 5645327 w 12192001"/>
                <a:gd name="connsiteY2130" fmla="*/ 3219635 h 6523037"/>
                <a:gd name="connsiteX2131" fmla="*/ 5374915 w 12192001"/>
                <a:gd name="connsiteY2131" fmla="*/ 3490745 h 6523037"/>
                <a:gd name="connsiteX2132" fmla="*/ 5639038 w 12192001"/>
                <a:gd name="connsiteY2132" fmla="*/ 3490745 h 6523037"/>
                <a:gd name="connsiteX2133" fmla="*/ 5909450 w 12192001"/>
                <a:gd name="connsiteY2133" fmla="*/ 3219635 h 6523037"/>
                <a:gd name="connsiteX2134" fmla="*/ 5904559 w 12192001"/>
                <a:gd name="connsiteY2134" fmla="*/ 3214743 h 6523037"/>
                <a:gd name="connsiteX2135" fmla="*/ 5639038 w 12192001"/>
                <a:gd name="connsiteY2135" fmla="*/ 2949222 h 6523037"/>
                <a:gd name="connsiteX2136" fmla="*/ 4825009 w 12192001"/>
                <a:gd name="connsiteY2136" fmla="*/ 2949222 h 6523037"/>
                <a:gd name="connsiteX2137" fmla="*/ 5096119 w 12192001"/>
                <a:gd name="connsiteY2137" fmla="*/ 3218935 h 6523037"/>
                <a:gd name="connsiteX2138" fmla="*/ 5093323 w 12192001"/>
                <a:gd name="connsiteY2138" fmla="*/ 3221730 h 6523037"/>
                <a:gd name="connsiteX2139" fmla="*/ 5003186 w 12192001"/>
                <a:gd name="connsiteY2139" fmla="*/ 3312566 h 6523037"/>
                <a:gd name="connsiteX2140" fmla="*/ 4825707 w 12192001"/>
                <a:gd name="connsiteY2140" fmla="*/ 3490046 h 6523037"/>
                <a:gd name="connsiteX2141" fmla="*/ 5089830 w 12192001"/>
                <a:gd name="connsiteY2141" fmla="*/ 3490046 h 6523037"/>
                <a:gd name="connsiteX2142" fmla="*/ 5179268 w 12192001"/>
                <a:gd name="connsiteY2142" fmla="*/ 3400607 h 6523037"/>
                <a:gd name="connsiteX2143" fmla="*/ 5360242 w 12192001"/>
                <a:gd name="connsiteY2143" fmla="*/ 3219635 h 6523037"/>
                <a:gd name="connsiteX2144" fmla="*/ 5089132 w 12192001"/>
                <a:gd name="connsiteY2144" fmla="*/ 2949222 h 6523037"/>
                <a:gd name="connsiteX2145" fmla="*/ 7568257 w 12192001"/>
                <a:gd name="connsiteY2145" fmla="*/ 2948523 h 6523037"/>
                <a:gd name="connsiteX2146" fmla="*/ 7839368 w 12192001"/>
                <a:gd name="connsiteY2146" fmla="*/ 3218935 h 6523037"/>
                <a:gd name="connsiteX2147" fmla="*/ 7568956 w 12192001"/>
                <a:gd name="connsiteY2147" fmla="*/ 3490046 h 6523037"/>
                <a:gd name="connsiteX2148" fmla="*/ 7767398 w 12192001"/>
                <a:gd name="connsiteY2148" fmla="*/ 3490046 h 6523037"/>
                <a:gd name="connsiteX2149" fmla="*/ 7763904 w 12192001"/>
                <a:gd name="connsiteY2149" fmla="*/ 3497033 h 6523037"/>
                <a:gd name="connsiteX2150" fmla="*/ 7568956 w 12192001"/>
                <a:gd name="connsiteY2150" fmla="*/ 3497033 h 6523037"/>
                <a:gd name="connsiteX2151" fmla="*/ 7698921 w 12192001"/>
                <a:gd name="connsiteY2151" fmla="*/ 3626999 h 6523037"/>
                <a:gd name="connsiteX2152" fmla="*/ 7695428 w 12192001"/>
                <a:gd name="connsiteY2152" fmla="*/ 3633986 h 6523037"/>
                <a:gd name="connsiteX2153" fmla="*/ 7554981 w 12192001"/>
                <a:gd name="connsiteY2153" fmla="*/ 3493540 h 6523037"/>
                <a:gd name="connsiteX2154" fmla="*/ 7825393 w 12192001"/>
                <a:gd name="connsiteY2154" fmla="*/ 3222430 h 6523037"/>
                <a:gd name="connsiteX2155" fmla="*/ 7561270 w 12192001"/>
                <a:gd name="connsiteY2155" fmla="*/ 3222430 h 6523037"/>
                <a:gd name="connsiteX2156" fmla="*/ 7290858 w 12192001"/>
                <a:gd name="connsiteY2156" fmla="*/ 3493540 h 6523037"/>
                <a:gd name="connsiteX2157" fmla="*/ 7561969 w 12192001"/>
                <a:gd name="connsiteY2157" fmla="*/ 3763951 h 6523037"/>
                <a:gd name="connsiteX2158" fmla="*/ 7630445 w 12192001"/>
                <a:gd name="connsiteY2158" fmla="*/ 3763951 h 6523037"/>
                <a:gd name="connsiteX2159" fmla="*/ 7626952 w 12192001"/>
                <a:gd name="connsiteY2159" fmla="*/ 3770939 h 6523037"/>
                <a:gd name="connsiteX2160" fmla="*/ 7561969 w 12192001"/>
                <a:gd name="connsiteY2160" fmla="*/ 3770939 h 6523037"/>
                <a:gd name="connsiteX2161" fmla="*/ 7381694 w 12192001"/>
                <a:gd name="connsiteY2161" fmla="*/ 3951913 h 6523037"/>
                <a:gd name="connsiteX2162" fmla="*/ 7293423 w 12192001"/>
                <a:gd name="connsiteY2162" fmla="*/ 4040875 h 6523037"/>
                <a:gd name="connsiteX2163" fmla="*/ 7562857 w 12192001"/>
                <a:gd name="connsiteY2163" fmla="*/ 4309615 h 6523037"/>
                <a:gd name="connsiteX2164" fmla="*/ 7825583 w 12192001"/>
                <a:gd name="connsiteY2164" fmla="*/ 4309615 h 6523037"/>
                <a:gd name="connsiteX2165" fmla="*/ 7696316 w 12192001"/>
                <a:gd name="connsiteY2165" fmla="*/ 4180349 h 6523037"/>
                <a:gd name="connsiteX2166" fmla="*/ 7697015 w 12192001"/>
                <a:gd name="connsiteY2166" fmla="*/ 4179650 h 6523037"/>
                <a:gd name="connsiteX2167" fmla="*/ 7602269 w 12192001"/>
                <a:gd name="connsiteY2167" fmla="*/ 4085372 h 6523037"/>
                <a:gd name="connsiteX2168" fmla="*/ 7601098 w 12192001"/>
                <a:gd name="connsiteY2168" fmla="*/ 4085372 h 6523037"/>
                <a:gd name="connsiteX2169" fmla="*/ 7556379 w 12192001"/>
                <a:gd name="connsiteY2169" fmla="*/ 4040653 h 6523037"/>
                <a:gd name="connsiteX2170" fmla="*/ 7556851 w 12192001"/>
                <a:gd name="connsiteY2170" fmla="*/ 4040180 h 6523037"/>
                <a:gd name="connsiteX2171" fmla="*/ 7555870 w 12192001"/>
                <a:gd name="connsiteY2171" fmla="*/ 4039203 h 6523037"/>
                <a:gd name="connsiteX2172" fmla="*/ 7730554 w 12192001"/>
                <a:gd name="connsiteY2172" fmla="*/ 3863819 h 6523037"/>
                <a:gd name="connsiteX2173" fmla="*/ 7732757 w 12192001"/>
                <a:gd name="connsiteY2173" fmla="*/ 3863819 h 6523037"/>
                <a:gd name="connsiteX2174" fmla="*/ 7826092 w 12192001"/>
                <a:gd name="connsiteY2174" fmla="*/ 3770241 h 6523037"/>
                <a:gd name="connsiteX2175" fmla="*/ 7627649 w 12192001"/>
                <a:gd name="connsiteY2175" fmla="*/ 3770241 h 6523037"/>
                <a:gd name="connsiteX2176" fmla="*/ 7631144 w 12192001"/>
                <a:gd name="connsiteY2176" fmla="*/ 3763253 h 6523037"/>
                <a:gd name="connsiteX2177" fmla="*/ 7826092 w 12192001"/>
                <a:gd name="connsiteY2177" fmla="*/ 3763253 h 6523037"/>
                <a:gd name="connsiteX2178" fmla="*/ 7696127 w 12192001"/>
                <a:gd name="connsiteY2178" fmla="*/ 3633288 h 6523037"/>
                <a:gd name="connsiteX2179" fmla="*/ 7699620 w 12192001"/>
                <a:gd name="connsiteY2179" fmla="*/ 3626301 h 6523037"/>
                <a:gd name="connsiteX2180" fmla="*/ 7840067 w 12192001"/>
                <a:gd name="connsiteY2180" fmla="*/ 3766747 h 6523037"/>
                <a:gd name="connsiteX2181" fmla="*/ 7572494 w 12192001"/>
                <a:gd name="connsiteY2181" fmla="*/ 4035011 h 6523037"/>
                <a:gd name="connsiteX2182" fmla="*/ 7833269 w 12192001"/>
                <a:gd name="connsiteY2182" fmla="*/ 4035011 h 6523037"/>
                <a:gd name="connsiteX2183" fmla="*/ 7922707 w 12192001"/>
                <a:gd name="connsiteY2183" fmla="*/ 3945572 h 6523037"/>
                <a:gd name="connsiteX2184" fmla="*/ 8004460 w 12192001"/>
                <a:gd name="connsiteY2184" fmla="*/ 3863819 h 6523037"/>
                <a:gd name="connsiteX2185" fmla="*/ 8007368 w 12192001"/>
                <a:gd name="connsiteY2185" fmla="*/ 3863819 h 6523037"/>
                <a:gd name="connsiteX2186" fmla="*/ 8104190 w 12192001"/>
                <a:gd name="connsiteY2186" fmla="*/ 3766747 h 6523037"/>
                <a:gd name="connsiteX2187" fmla="*/ 7833079 w 12192001"/>
                <a:gd name="connsiteY2187" fmla="*/ 3497033 h 6523037"/>
                <a:gd name="connsiteX2188" fmla="*/ 7764603 w 12192001"/>
                <a:gd name="connsiteY2188" fmla="*/ 3497033 h 6523037"/>
                <a:gd name="connsiteX2189" fmla="*/ 7768096 w 12192001"/>
                <a:gd name="connsiteY2189" fmla="*/ 3490046 h 6523037"/>
                <a:gd name="connsiteX2190" fmla="*/ 7833079 w 12192001"/>
                <a:gd name="connsiteY2190" fmla="*/ 3490046 h 6523037"/>
                <a:gd name="connsiteX2191" fmla="*/ 8103491 w 12192001"/>
                <a:gd name="connsiteY2191" fmla="*/ 3218935 h 6523037"/>
                <a:gd name="connsiteX2192" fmla="*/ 7969333 w 12192001"/>
                <a:gd name="connsiteY2192" fmla="*/ 3085476 h 6523037"/>
                <a:gd name="connsiteX2193" fmla="*/ 7832381 w 12192001"/>
                <a:gd name="connsiteY2193" fmla="*/ 2948523 h 6523037"/>
                <a:gd name="connsiteX2194" fmla="*/ 6471935 w 12192001"/>
                <a:gd name="connsiteY2194" fmla="*/ 2947824 h 6523037"/>
                <a:gd name="connsiteX2195" fmla="*/ 6601902 w 12192001"/>
                <a:gd name="connsiteY2195" fmla="*/ 3077790 h 6523037"/>
                <a:gd name="connsiteX2196" fmla="*/ 6743046 w 12192001"/>
                <a:gd name="connsiteY2196" fmla="*/ 3218236 h 6523037"/>
                <a:gd name="connsiteX2197" fmla="*/ 6472634 w 12192001"/>
                <a:gd name="connsiteY2197" fmla="*/ 3489347 h 6523037"/>
                <a:gd name="connsiteX2198" fmla="*/ 6736759 w 12192001"/>
                <a:gd name="connsiteY2198" fmla="*/ 3489347 h 6523037"/>
                <a:gd name="connsiteX2199" fmla="*/ 7007170 w 12192001"/>
                <a:gd name="connsiteY2199" fmla="*/ 3218236 h 6523037"/>
                <a:gd name="connsiteX2200" fmla="*/ 6736059 w 12192001"/>
                <a:gd name="connsiteY2200" fmla="*/ 2947824 h 6523037"/>
                <a:gd name="connsiteX2201" fmla="*/ 7020446 w 12192001"/>
                <a:gd name="connsiteY2201" fmla="*/ 2947127 h 6523037"/>
                <a:gd name="connsiteX2202" fmla="*/ 7291557 w 12192001"/>
                <a:gd name="connsiteY2202" fmla="*/ 3217539 h 6523037"/>
                <a:gd name="connsiteX2203" fmla="*/ 7021145 w 12192001"/>
                <a:gd name="connsiteY2203" fmla="*/ 3488648 h 6523037"/>
                <a:gd name="connsiteX2204" fmla="*/ 7285268 w 12192001"/>
                <a:gd name="connsiteY2204" fmla="*/ 3488648 h 6523037"/>
                <a:gd name="connsiteX2205" fmla="*/ 7555680 w 12192001"/>
                <a:gd name="connsiteY2205" fmla="*/ 3217539 h 6523037"/>
                <a:gd name="connsiteX2206" fmla="*/ 7284569 w 12192001"/>
                <a:gd name="connsiteY2206" fmla="*/ 2947127 h 6523037"/>
                <a:gd name="connsiteX2207" fmla="*/ 8665977 w 12192001"/>
                <a:gd name="connsiteY2207" fmla="*/ 2946428 h 6523037"/>
                <a:gd name="connsiteX2208" fmla="*/ 8935690 w 12192001"/>
                <a:gd name="connsiteY2208" fmla="*/ 3215442 h 6523037"/>
                <a:gd name="connsiteX2209" fmla="*/ 8932895 w 12192001"/>
                <a:gd name="connsiteY2209" fmla="*/ 3218236 h 6523037"/>
                <a:gd name="connsiteX2210" fmla="*/ 8842758 w 12192001"/>
                <a:gd name="connsiteY2210" fmla="*/ 3309073 h 6523037"/>
                <a:gd name="connsiteX2211" fmla="*/ 8842058 w 12192001"/>
                <a:gd name="connsiteY2211" fmla="*/ 3309073 h 6523037"/>
                <a:gd name="connsiteX2212" fmla="*/ 8665278 w 12192001"/>
                <a:gd name="connsiteY2212" fmla="*/ 3486553 h 6523037"/>
                <a:gd name="connsiteX2213" fmla="*/ 8929401 w 12192001"/>
                <a:gd name="connsiteY2213" fmla="*/ 3486553 h 6523037"/>
                <a:gd name="connsiteX2214" fmla="*/ 9018840 w 12192001"/>
                <a:gd name="connsiteY2214" fmla="*/ 3397114 h 6523037"/>
                <a:gd name="connsiteX2215" fmla="*/ 9019538 w 12192001"/>
                <a:gd name="connsiteY2215" fmla="*/ 3397114 h 6523037"/>
                <a:gd name="connsiteX2216" fmla="*/ 9201211 w 12192001"/>
                <a:gd name="connsiteY2216" fmla="*/ 3216840 h 6523037"/>
                <a:gd name="connsiteX2217" fmla="*/ 8930100 w 12192001"/>
                <a:gd name="connsiteY2217" fmla="*/ 2946428 h 6523037"/>
                <a:gd name="connsiteX2218" fmla="*/ 8117466 w 12192001"/>
                <a:gd name="connsiteY2218" fmla="*/ 2946428 h 6523037"/>
                <a:gd name="connsiteX2219" fmla="*/ 8118165 w 12192001"/>
                <a:gd name="connsiteY2219" fmla="*/ 2947127 h 6523037"/>
                <a:gd name="connsiteX2220" fmla="*/ 8118864 w 12192001"/>
                <a:gd name="connsiteY2220" fmla="*/ 2947127 h 6523037"/>
                <a:gd name="connsiteX2221" fmla="*/ 8387878 w 12192001"/>
                <a:gd name="connsiteY2221" fmla="*/ 3216141 h 6523037"/>
                <a:gd name="connsiteX2222" fmla="*/ 8117466 w 12192001"/>
                <a:gd name="connsiteY2222" fmla="*/ 3487252 h 6523037"/>
                <a:gd name="connsiteX2223" fmla="*/ 8381590 w 12192001"/>
                <a:gd name="connsiteY2223" fmla="*/ 3487252 h 6523037"/>
                <a:gd name="connsiteX2224" fmla="*/ 8652002 w 12192001"/>
                <a:gd name="connsiteY2224" fmla="*/ 3216840 h 6523037"/>
                <a:gd name="connsiteX2225" fmla="*/ 8647111 w 12192001"/>
                <a:gd name="connsiteY2225" fmla="*/ 3211249 h 6523037"/>
                <a:gd name="connsiteX2226" fmla="*/ 8381590 w 12192001"/>
                <a:gd name="connsiteY2226" fmla="*/ 2946428 h 6523037"/>
                <a:gd name="connsiteX2227" fmla="*/ 10583842 w 12192001"/>
                <a:gd name="connsiteY2227" fmla="*/ 2946047 h 6523037"/>
                <a:gd name="connsiteX2228" fmla="*/ 10854953 w 12192001"/>
                <a:gd name="connsiteY2228" fmla="*/ 3215760 h 6523037"/>
                <a:gd name="connsiteX2229" fmla="*/ 10852159 w 12192001"/>
                <a:gd name="connsiteY2229" fmla="*/ 3218555 h 6523037"/>
                <a:gd name="connsiteX2230" fmla="*/ 10762021 w 12192001"/>
                <a:gd name="connsiteY2230" fmla="*/ 3309391 h 6523037"/>
                <a:gd name="connsiteX2231" fmla="*/ 10584541 w 12192001"/>
                <a:gd name="connsiteY2231" fmla="*/ 3486871 h 6523037"/>
                <a:gd name="connsiteX2232" fmla="*/ 10848664 w 12192001"/>
                <a:gd name="connsiteY2232" fmla="*/ 3486871 h 6523037"/>
                <a:gd name="connsiteX2233" fmla="*/ 10938103 w 12192001"/>
                <a:gd name="connsiteY2233" fmla="*/ 3397432 h 6523037"/>
                <a:gd name="connsiteX2234" fmla="*/ 11119076 w 12192001"/>
                <a:gd name="connsiteY2234" fmla="*/ 3216459 h 6523037"/>
                <a:gd name="connsiteX2235" fmla="*/ 10847965 w 12192001"/>
                <a:gd name="connsiteY2235" fmla="*/ 2946047 h 6523037"/>
                <a:gd name="connsiteX2236" fmla="*/ 10035332 w 12192001"/>
                <a:gd name="connsiteY2236" fmla="*/ 2946047 h 6523037"/>
                <a:gd name="connsiteX2237" fmla="*/ 10163900 w 12192001"/>
                <a:gd name="connsiteY2237" fmla="*/ 3074615 h 6523037"/>
                <a:gd name="connsiteX2238" fmla="*/ 10305744 w 12192001"/>
                <a:gd name="connsiteY2238" fmla="*/ 3216459 h 6523037"/>
                <a:gd name="connsiteX2239" fmla="*/ 10035332 w 12192001"/>
                <a:gd name="connsiteY2239" fmla="*/ 3487570 h 6523037"/>
                <a:gd name="connsiteX2240" fmla="*/ 10299455 w 12192001"/>
                <a:gd name="connsiteY2240" fmla="*/ 3487570 h 6523037"/>
                <a:gd name="connsiteX2241" fmla="*/ 10569867 w 12192001"/>
                <a:gd name="connsiteY2241" fmla="*/ 3216459 h 6523037"/>
                <a:gd name="connsiteX2242" fmla="*/ 10564976 w 12192001"/>
                <a:gd name="connsiteY2242" fmla="*/ 3211568 h 6523037"/>
                <a:gd name="connsiteX2243" fmla="*/ 10299455 w 12192001"/>
                <a:gd name="connsiteY2243" fmla="*/ 2946047 h 6523037"/>
                <a:gd name="connsiteX2244" fmla="*/ 9485425 w 12192001"/>
                <a:gd name="connsiteY2244" fmla="*/ 2946047 h 6523037"/>
                <a:gd name="connsiteX2245" fmla="*/ 9756536 w 12192001"/>
                <a:gd name="connsiteY2245" fmla="*/ 3215760 h 6523037"/>
                <a:gd name="connsiteX2246" fmla="*/ 9753740 w 12192001"/>
                <a:gd name="connsiteY2246" fmla="*/ 3218555 h 6523037"/>
                <a:gd name="connsiteX2247" fmla="*/ 9663602 w 12192001"/>
                <a:gd name="connsiteY2247" fmla="*/ 3309391 h 6523037"/>
                <a:gd name="connsiteX2248" fmla="*/ 9486124 w 12192001"/>
                <a:gd name="connsiteY2248" fmla="*/ 3486871 h 6523037"/>
                <a:gd name="connsiteX2249" fmla="*/ 9750247 w 12192001"/>
                <a:gd name="connsiteY2249" fmla="*/ 3486871 h 6523037"/>
                <a:gd name="connsiteX2250" fmla="*/ 9839685 w 12192001"/>
                <a:gd name="connsiteY2250" fmla="*/ 3397432 h 6523037"/>
                <a:gd name="connsiteX2251" fmla="*/ 10020659 w 12192001"/>
                <a:gd name="connsiteY2251" fmla="*/ 3216459 h 6523037"/>
                <a:gd name="connsiteX2252" fmla="*/ 9749548 w 12192001"/>
                <a:gd name="connsiteY2252" fmla="*/ 2946047 h 6523037"/>
                <a:gd name="connsiteX2253" fmla="*/ 9214487 w 12192001"/>
                <a:gd name="connsiteY2253" fmla="*/ 2945031 h 6523037"/>
                <a:gd name="connsiteX2254" fmla="*/ 9344452 w 12192001"/>
                <a:gd name="connsiteY2254" fmla="*/ 3074995 h 6523037"/>
                <a:gd name="connsiteX2255" fmla="*/ 9482424 w 12192001"/>
                <a:gd name="connsiteY2255" fmla="*/ 3212966 h 6523037"/>
                <a:gd name="connsiteX2256" fmla="*/ 9742561 w 12192001"/>
                <a:gd name="connsiteY2256" fmla="*/ 3212966 h 6523037"/>
                <a:gd name="connsiteX2257" fmla="*/ 9473932 w 12192001"/>
                <a:gd name="connsiteY2257" fmla="*/ 2945031 h 6523037"/>
                <a:gd name="connsiteX2258" fmla="*/ 11132352 w 12192001"/>
                <a:gd name="connsiteY2258" fmla="*/ 2944649 h 6523037"/>
                <a:gd name="connsiteX2259" fmla="*/ 11262318 w 12192001"/>
                <a:gd name="connsiteY2259" fmla="*/ 3074615 h 6523037"/>
                <a:gd name="connsiteX2260" fmla="*/ 11403463 w 12192001"/>
                <a:gd name="connsiteY2260" fmla="*/ 3215061 h 6523037"/>
                <a:gd name="connsiteX2261" fmla="*/ 11133051 w 12192001"/>
                <a:gd name="connsiteY2261" fmla="*/ 3486172 h 6523037"/>
                <a:gd name="connsiteX2262" fmla="*/ 11397175 w 12192001"/>
                <a:gd name="connsiteY2262" fmla="*/ 3486172 h 6523037"/>
                <a:gd name="connsiteX2263" fmla="*/ 11667587 w 12192001"/>
                <a:gd name="connsiteY2263" fmla="*/ 3215061 h 6523037"/>
                <a:gd name="connsiteX2264" fmla="*/ 11396476 w 12192001"/>
                <a:gd name="connsiteY2264" fmla="*/ 2944649 h 6523037"/>
                <a:gd name="connsiteX2265" fmla="*/ 1255633 w 12192001"/>
                <a:gd name="connsiteY2265" fmla="*/ 2679380 h 6523037"/>
                <a:gd name="connsiteX2266" fmla="*/ 985221 w 12192001"/>
                <a:gd name="connsiteY2266" fmla="*/ 2950491 h 6523037"/>
                <a:gd name="connsiteX2267" fmla="*/ 1256332 w 12192001"/>
                <a:gd name="connsiteY2267" fmla="*/ 3220903 h 6523037"/>
                <a:gd name="connsiteX2268" fmla="*/ 1520455 w 12192001"/>
                <a:gd name="connsiteY2268" fmla="*/ 3220903 h 6523037"/>
                <a:gd name="connsiteX2269" fmla="*/ 1249344 w 12192001"/>
                <a:gd name="connsiteY2269" fmla="*/ 2950491 h 6523037"/>
                <a:gd name="connsiteX2270" fmla="*/ 1519757 w 12192001"/>
                <a:gd name="connsiteY2270" fmla="*/ 2679380 h 6523037"/>
                <a:gd name="connsiteX2271" fmla="*/ 1804143 w 12192001"/>
                <a:gd name="connsiteY2271" fmla="*/ 2678681 h 6523037"/>
                <a:gd name="connsiteX2272" fmla="*/ 1533731 w 12192001"/>
                <a:gd name="connsiteY2272" fmla="*/ 2949792 h 6523037"/>
                <a:gd name="connsiteX2273" fmla="*/ 1805541 w 12192001"/>
                <a:gd name="connsiteY2273" fmla="*/ 3220204 h 6523037"/>
                <a:gd name="connsiteX2274" fmla="*/ 2068965 w 12192001"/>
                <a:gd name="connsiteY2274" fmla="*/ 3220204 h 6523037"/>
                <a:gd name="connsiteX2275" fmla="*/ 1938301 w 12192001"/>
                <a:gd name="connsiteY2275" fmla="*/ 3090238 h 6523037"/>
                <a:gd name="connsiteX2276" fmla="*/ 1797854 w 12192001"/>
                <a:gd name="connsiteY2276" fmla="*/ 2949792 h 6523037"/>
                <a:gd name="connsiteX2277" fmla="*/ 2068266 w 12192001"/>
                <a:gd name="connsiteY2277" fmla="*/ 2678681 h 6523037"/>
                <a:gd name="connsiteX2278" fmla="*/ 705027 w 12192001"/>
                <a:gd name="connsiteY2278" fmla="*/ 2678681 h 6523037"/>
                <a:gd name="connsiteX2279" fmla="*/ 434615 w 12192001"/>
                <a:gd name="connsiteY2279" fmla="*/ 2949792 h 6523037"/>
                <a:gd name="connsiteX2280" fmla="*/ 705726 w 12192001"/>
                <a:gd name="connsiteY2280" fmla="*/ 3220204 h 6523037"/>
                <a:gd name="connsiteX2281" fmla="*/ 774202 w 12192001"/>
                <a:gd name="connsiteY2281" fmla="*/ 3220204 h 6523037"/>
                <a:gd name="connsiteX2282" fmla="*/ 773503 w 12192001"/>
                <a:gd name="connsiteY2282" fmla="*/ 3221602 h 6523037"/>
                <a:gd name="connsiteX2283" fmla="*/ 971247 w 12192001"/>
                <a:gd name="connsiteY2283" fmla="*/ 3221602 h 6523037"/>
                <a:gd name="connsiteX2284" fmla="*/ 839884 w 12192001"/>
                <a:gd name="connsiteY2284" fmla="*/ 3090238 h 6523037"/>
                <a:gd name="connsiteX2285" fmla="*/ 699437 w 12192001"/>
                <a:gd name="connsiteY2285" fmla="*/ 2949792 h 6523037"/>
                <a:gd name="connsiteX2286" fmla="*/ 968451 w 12192001"/>
                <a:gd name="connsiteY2286" fmla="*/ 2680079 h 6523037"/>
                <a:gd name="connsiteX2287" fmla="*/ 772105 w 12192001"/>
                <a:gd name="connsiteY2287" fmla="*/ 2680079 h 6523037"/>
                <a:gd name="connsiteX2288" fmla="*/ 772804 w 12192001"/>
                <a:gd name="connsiteY2288" fmla="*/ 2678681 h 6523037"/>
                <a:gd name="connsiteX2289" fmla="*/ 2352653 w 12192001"/>
                <a:gd name="connsiteY2289" fmla="*/ 2677982 h 6523037"/>
                <a:gd name="connsiteX2290" fmla="*/ 2082241 w 12192001"/>
                <a:gd name="connsiteY2290" fmla="*/ 2949093 h 6523037"/>
                <a:gd name="connsiteX2291" fmla="*/ 2353352 w 12192001"/>
                <a:gd name="connsiteY2291" fmla="*/ 3219505 h 6523037"/>
                <a:gd name="connsiteX2292" fmla="*/ 2617476 w 12192001"/>
                <a:gd name="connsiteY2292" fmla="*/ 3219505 h 6523037"/>
                <a:gd name="connsiteX2293" fmla="*/ 2346365 w 12192001"/>
                <a:gd name="connsiteY2293" fmla="*/ 2949093 h 6523037"/>
                <a:gd name="connsiteX2294" fmla="*/ 2616777 w 12192001"/>
                <a:gd name="connsiteY2294" fmla="*/ 2677982 h 6523037"/>
                <a:gd name="connsiteX2295" fmla="*/ 3998184 w 12192001"/>
                <a:gd name="connsiteY2295" fmla="*/ 2675886 h 6523037"/>
                <a:gd name="connsiteX2296" fmla="*/ 3727772 w 12192001"/>
                <a:gd name="connsiteY2296" fmla="*/ 2946997 h 6523037"/>
                <a:gd name="connsiteX2297" fmla="*/ 3998883 w 12192001"/>
                <a:gd name="connsiteY2297" fmla="*/ 3217408 h 6523037"/>
                <a:gd name="connsiteX2298" fmla="*/ 4263007 w 12192001"/>
                <a:gd name="connsiteY2298" fmla="*/ 3217408 h 6523037"/>
                <a:gd name="connsiteX2299" fmla="*/ 3991896 w 12192001"/>
                <a:gd name="connsiteY2299" fmla="*/ 2946997 h 6523037"/>
                <a:gd name="connsiteX2300" fmla="*/ 4262309 w 12192001"/>
                <a:gd name="connsiteY2300" fmla="*/ 2675886 h 6523037"/>
                <a:gd name="connsiteX2301" fmla="*/ 4546696 w 12192001"/>
                <a:gd name="connsiteY2301" fmla="*/ 2675187 h 6523037"/>
                <a:gd name="connsiteX2302" fmla="*/ 4276283 w 12192001"/>
                <a:gd name="connsiteY2302" fmla="*/ 2946297 h 6523037"/>
                <a:gd name="connsiteX2303" fmla="*/ 4547394 w 12192001"/>
                <a:gd name="connsiteY2303" fmla="*/ 3216709 h 6523037"/>
                <a:gd name="connsiteX2304" fmla="*/ 4809087 w 12192001"/>
                <a:gd name="connsiteY2304" fmla="*/ 3216709 h 6523037"/>
                <a:gd name="connsiteX2305" fmla="*/ 4806841 w 12192001"/>
                <a:gd name="connsiteY2305" fmla="*/ 3214743 h 6523037"/>
                <a:gd name="connsiteX2306" fmla="*/ 4660106 w 12192001"/>
                <a:gd name="connsiteY2306" fmla="*/ 3068707 h 6523037"/>
                <a:gd name="connsiteX2307" fmla="*/ 4660106 w 12192001"/>
                <a:gd name="connsiteY2307" fmla="*/ 3065999 h 6523037"/>
                <a:gd name="connsiteX2308" fmla="*/ 4540406 w 12192001"/>
                <a:gd name="connsiteY2308" fmla="*/ 2946297 h 6523037"/>
                <a:gd name="connsiteX2309" fmla="*/ 4660106 w 12192001"/>
                <a:gd name="connsiteY2309" fmla="*/ 2826288 h 6523037"/>
                <a:gd name="connsiteX2310" fmla="*/ 4660106 w 12192001"/>
                <a:gd name="connsiteY2310" fmla="*/ 2822050 h 6523037"/>
                <a:gd name="connsiteX2311" fmla="*/ 4806970 w 12192001"/>
                <a:gd name="connsiteY2311" fmla="*/ 2675187 h 6523037"/>
                <a:gd name="connsiteX2312" fmla="*/ 5915740 w 12192001"/>
                <a:gd name="connsiteY2312" fmla="*/ 2674618 h 6523037"/>
                <a:gd name="connsiteX2313" fmla="*/ 5645327 w 12192001"/>
                <a:gd name="connsiteY2313" fmla="*/ 2945729 h 6523037"/>
                <a:gd name="connsiteX2314" fmla="*/ 5916438 w 12192001"/>
                <a:gd name="connsiteY2314" fmla="*/ 3216141 h 6523037"/>
                <a:gd name="connsiteX2315" fmla="*/ 6180561 w 12192001"/>
                <a:gd name="connsiteY2315" fmla="*/ 3216141 h 6523037"/>
                <a:gd name="connsiteX2316" fmla="*/ 5909450 w 12192001"/>
                <a:gd name="connsiteY2316" fmla="*/ 2945729 h 6523037"/>
                <a:gd name="connsiteX2317" fmla="*/ 6179863 w 12192001"/>
                <a:gd name="connsiteY2317" fmla="*/ 2674618 h 6523037"/>
                <a:gd name="connsiteX2318" fmla="*/ 4821179 w 12192001"/>
                <a:gd name="connsiteY2318" fmla="*/ 2674618 h 6523037"/>
                <a:gd name="connsiteX2319" fmla="*/ 4554381 w 12192001"/>
                <a:gd name="connsiteY2319" fmla="*/ 2942106 h 6523037"/>
                <a:gd name="connsiteX2320" fmla="*/ 4814648 w 12192001"/>
                <a:gd name="connsiteY2320" fmla="*/ 2942106 h 6523037"/>
                <a:gd name="connsiteX2321" fmla="*/ 5081446 w 12192001"/>
                <a:gd name="connsiteY2321" fmla="*/ 2674618 h 6523037"/>
                <a:gd name="connsiteX2322" fmla="*/ 6464250 w 12192001"/>
                <a:gd name="connsiteY2322" fmla="*/ 2673919 h 6523037"/>
                <a:gd name="connsiteX2323" fmla="*/ 6193838 w 12192001"/>
                <a:gd name="connsiteY2323" fmla="*/ 2945031 h 6523037"/>
                <a:gd name="connsiteX2324" fmla="*/ 6465647 w 12192001"/>
                <a:gd name="connsiteY2324" fmla="*/ 3215442 h 6523037"/>
                <a:gd name="connsiteX2325" fmla="*/ 6729071 w 12192001"/>
                <a:gd name="connsiteY2325" fmla="*/ 3215442 h 6523037"/>
                <a:gd name="connsiteX2326" fmla="*/ 6598407 w 12192001"/>
                <a:gd name="connsiteY2326" fmla="*/ 3085476 h 6523037"/>
                <a:gd name="connsiteX2327" fmla="*/ 6457961 w 12192001"/>
                <a:gd name="connsiteY2327" fmla="*/ 2945031 h 6523037"/>
                <a:gd name="connsiteX2328" fmla="*/ 6728373 w 12192001"/>
                <a:gd name="connsiteY2328" fmla="*/ 2673919 h 6523037"/>
                <a:gd name="connsiteX2329" fmla="*/ 5365133 w 12192001"/>
                <a:gd name="connsiteY2329" fmla="*/ 2673919 h 6523037"/>
                <a:gd name="connsiteX2330" fmla="*/ 5094721 w 12192001"/>
                <a:gd name="connsiteY2330" fmla="*/ 2945031 h 6523037"/>
                <a:gd name="connsiteX2331" fmla="*/ 5365832 w 12192001"/>
                <a:gd name="connsiteY2331" fmla="*/ 3215442 h 6523037"/>
                <a:gd name="connsiteX2332" fmla="*/ 5434309 w 12192001"/>
                <a:gd name="connsiteY2332" fmla="*/ 3215442 h 6523037"/>
                <a:gd name="connsiteX2333" fmla="*/ 5433609 w 12192001"/>
                <a:gd name="connsiteY2333" fmla="*/ 3216840 h 6523037"/>
                <a:gd name="connsiteX2334" fmla="*/ 5631353 w 12192001"/>
                <a:gd name="connsiteY2334" fmla="*/ 3216840 h 6523037"/>
                <a:gd name="connsiteX2335" fmla="*/ 5499990 w 12192001"/>
                <a:gd name="connsiteY2335" fmla="*/ 3085476 h 6523037"/>
                <a:gd name="connsiteX2336" fmla="*/ 5359544 w 12192001"/>
                <a:gd name="connsiteY2336" fmla="*/ 2945031 h 6523037"/>
                <a:gd name="connsiteX2337" fmla="*/ 5628558 w 12192001"/>
                <a:gd name="connsiteY2337" fmla="*/ 2675317 h 6523037"/>
                <a:gd name="connsiteX2338" fmla="*/ 5432211 w 12192001"/>
                <a:gd name="connsiteY2338" fmla="*/ 2675317 h 6523037"/>
                <a:gd name="connsiteX2339" fmla="*/ 5432910 w 12192001"/>
                <a:gd name="connsiteY2339" fmla="*/ 2673919 h 6523037"/>
                <a:gd name="connsiteX2340" fmla="*/ 7012759 w 12192001"/>
                <a:gd name="connsiteY2340" fmla="*/ 2673220 h 6523037"/>
                <a:gd name="connsiteX2341" fmla="*/ 6742348 w 12192001"/>
                <a:gd name="connsiteY2341" fmla="*/ 2944331 h 6523037"/>
                <a:gd name="connsiteX2342" fmla="*/ 7013458 w 12192001"/>
                <a:gd name="connsiteY2342" fmla="*/ 3214743 h 6523037"/>
                <a:gd name="connsiteX2343" fmla="*/ 7277582 w 12192001"/>
                <a:gd name="connsiteY2343" fmla="*/ 3214743 h 6523037"/>
                <a:gd name="connsiteX2344" fmla="*/ 7006471 w 12192001"/>
                <a:gd name="connsiteY2344" fmla="*/ 2944331 h 6523037"/>
                <a:gd name="connsiteX2345" fmla="*/ 7276883 w 12192001"/>
                <a:gd name="connsiteY2345" fmla="*/ 2673220 h 6523037"/>
                <a:gd name="connsiteX2346" fmla="*/ 10576156 w 12192001"/>
                <a:gd name="connsiteY2346" fmla="*/ 2671443 h 6523037"/>
                <a:gd name="connsiteX2347" fmla="*/ 10305744 w 12192001"/>
                <a:gd name="connsiteY2347" fmla="*/ 2942554 h 6523037"/>
                <a:gd name="connsiteX2348" fmla="*/ 10576855 w 12192001"/>
                <a:gd name="connsiteY2348" fmla="*/ 3212966 h 6523037"/>
                <a:gd name="connsiteX2349" fmla="*/ 10840978 w 12192001"/>
                <a:gd name="connsiteY2349" fmla="*/ 3212966 h 6523037"/>
                <a:gd name="connsiteX2350" fmla="*/ 10569867 w 12192001"/>
                <a:gd name="connsiteY2350" fmla="*/ 2942554 h 6523037"/>
                <a:gd name="connsiteX2351" fmla="*/ 10840280 w 12192001"/>
                <a:gd name="connsiteY2351" fmla="*/ 2671443 h 6523037"/>
                <a:gd name="connsiteX2352" fmla="*/ 9479701 w 12192001"/>
                <a:gd name="connsiteY2352" fmla="*/ 2671443 h 6523037"/>
                <a:gd name="connsiteX2353" fmla="*/ 9214487 w 12192001"/>
                <a:gd name="connsiteY2353" fmla="*/ 2937344 h 6523037"/>
                <a:gd name="connsiteX2354" fmla="*/ 9476647 w 12192001"/>
                <a:gd name="connsiteY2354" fmla="*/ 2937344 h 6523037"/>
                <a:gd name="connsiteX2355" fmla="*/ 9741862 w 12192001"/>
                <a:gd name="connsiteY2355" fmla="*/ 2671443 h 6523037"/>
                <a:gd name="connsiteX2356" fmla="*/ 8658290 w 12192001"/>
                <a:gd name="connsiteY2356" fmla="*/ 2671124 h 6523037"/>
                <a:gd name="connsiteX2357" fmla="*/ 8387878 w 12192001"/>
                <a:gd name="connsiteY2357" fmla="*/ 2942235 h 6523037"/>
                <a:gd name="connsiteX2358" fmla="*/ 8658989 w 12192001"/>
                <a:gd name="connsiteY2358" fmla="*/ 3212646 h 6523037"/>
                <a:gd name="connsiteX2359" fmla="*/ 8923113 w 12192001"/>
                <a:gd name="connsiteY2359" fmla="*/ 3212646 h 6523037"/>
                <a:gd name="connsiteX2360" fmla="*/ 8652002 w 12192001"/>
                <a:gd name="connsiteY2360" fmla="*/ 2942235 h 6523037"/>
                <a:gd name="connsiteX2361" fmla="*/ 8922414 w 12192001"/>
                <a:gd name="connsiteY2361" fmla="*/ 2671124 h 6523037"/>
                <a:gd name="connsiteX2362" fmla="*/ 11124666 w 12192001"/>
                <a:gd name="connsiteY2362" fmla="*/ 2670744 h 6523037"/>
                <a:gd name="connsiteX2363" fmla="*/ 10854254 w 12192001"/>
                <a:gd name="connsiteY2363" fmla="*/ 2941855 h 6523037"/>
                <a:gd name="connsiteX2364" fmla="*/ 11126064 w 12192001"/>
                <a:gd name="connsiteY2364" fmla="*/ 3212267 h 6523037"/>
                <a:gd name="connsiteX2365" fmla="*/ 11389488 w 12192001"/>
                <a:gd name="connsiteY2365" fmla="*/ 3212267 h 6523037"/>
                <a:gd name="connsiteX2366" fmla="*/ 11258824 w 12192001"/>
                <a:gd name="connsiteY2366" fmla="*/ 3082301 h 6523037"/>
                <a:gd name="connsiteX2367" fmla="*/ 11118377 w 12192001"/>
                <a:gd name="connsiteY2367" fmla="*/ 2941855 h 6523037"/>
                <a:gd name="connsiteX2368" fmla="*/ 11388789 w 12192001"/>
                <a:gd name="connsiteY2368" fmla="*/ 2670744 h 6523037"/>
                <a:gd name="connsiteX2369" fmla="*/ 10025550 w 12192001"/>
                <a:gd name="connsiteY2369" fmla="*/ 2670744 h 6523037"/>
                <a:gd name="connsiteX2370" fmla="*/ 9755138 w 12192001"/>
                <a:gd name="connsiteY2370" fmla="*/ 2941855 h 6523037"/>
                <a:gd name="connsiteX2371" fmla="*/ 10026249 w 12192001"/>
                <a:gd name="connsiteY2371" fmla="*/ 3212267 h 6523037"/>
                <a:gd name="connsiteX2372" fmla="*/ 10094725 w 12192001"/>
                <a:gd name="connsiteY2372" fmla="*/ 3212267 h 6523037"/>
                <a:gd name="connsiteX2373" fmla="*/ 10094026 w 12192001"/>
                <a:gd name="connsiteY2373" fmla="*/ 3213665 h 6523037"/>
                <a:gd name="connsiteX2374" fmla="*/ 10291770 w 12192001"/>
                <a:gd name="connsiteY2374" fmla="*/ 3213665 h 6523037"/>
                <a:gd name="connsiteX2375" fmla="*/ 10160407 w 12192001"/>
                <a:gd name="connsiteY2375" fmla="*/ 3082301 h 6523037"/>
                <a:gd name="connsiteX2376" fmla="*/ 10019960 w 12192001"/>
                <a:gd name="connsiteY2376" fmla="*/ 2941855 h 6523037"/>
                <a:gd name="connsiteX2377" fmla="*/ 10288974 w 12192001"/>
                <a:gd name="connsiteY2377" fmla="*/ 2672142 h 6523037"/>
                <a:gd name="connsiteX2378" fmla="*/ 10092628 w 12192001"/>
                <a:gd name="connsiteY2378" fmla="*/ 2672142 h 6523037"/>
                <a:gd name="connsiteX2379" fmla="*/ 10093327 w 12192001"/>
                <a:gd name="connsiteY2379" fmla="*/ 2670744 h 6523037"/>
                <a:gd name="connsiteX2380" fmla="*/ 3517239 w 12192001"/>
                <a:gd name="connsiteY2380" fmla="*/ 2670723 h 6523037"/>
                <a:gd name="connsiteX2381" fmla="*/ 3513958 w 12192001"/>
                <a:gd name="connsiteY2381" fmla="*/ 2677283 h 6523037"/>
                <a:gd name="connsiteX2382" fmla="*/ 3448975 w 12192001"/>
                <a:gd name="connsiteY2382" fmla="*/ 2677283 h 6523037"/>
                <a:gd name="connsiteX2383" fmla="*/ 3268701 w 12192001"/>
                <a:gd name="connsiteY2383" fmla="*/ 2858257 h 6523037"/>
                <a:gd name="connsiteX2384" fmla="*/ 3179262 w 12192001"/>
                <a:gd name="connsiteY2384" fmla="*/ 2947695 h 6523037"/>
                <a:gd name="connsiteX2385" fmla="*/ 3312721 w 12192001"/>
                <a:gd name="connsiteY2385" fmla="*/ 3081853 h 6523037"/>
                <a:gd name="connsiteX2386" fmla="*/ 3451072 w 12192001"/>
                <a:gd name="connsiteY2386" fmla="*/ 3215313 h 6523037"/>
                <a:gd name="connsiteX2387" fmla="*/ 3715195 w 12192001"/>
                <a:gd name="connsiteY2387" fmla="*/ 3215313 h 6523037"/>
                <a:gd name="connsiteX2388" fmla="*/ 3444084 w 12192001"/>
                <a:gd name="connsiteY2388" fmla="*/ 2944901 h 6523037"/>
                <a:gd name="connsiteX2389" fmla="*/ 3445482 w 12192001"/>
                <a:gd name="connsiteY2389" fmla="*/ 2943503 h 6523037"/>
                <a:gd name="connsiteX2390" fmla="*/ 3713797 w 12192001"/>
                <a:gd name="connsiteY2390" fmla="*/ 2674489 h 6523037"/>
                <a:gd name="connsiteX2391" fmla="*/ 3515356 w 12192001"/>
                <a:gd name="connsiteY2391" fmla="*/ 2674489 h 6523037"/>
                <a:gd name="connsiteX2392" fmla="*/ 9206801 w 12192001"/>
                <a:gd name="connsiteY2392" fmla="*/ 2670425 h 6523037"/>
                <a:gd name="connsiteX2393" fmla="*/ 8936388 w 12192001"/>
                <a:gd name="connsiteY2393" fmla="*/ 2941535 h 6523037"/>
                <a:gd name="connsiteX2394" fmla="*/ 9207500 w 12192001"/>
                <a:gd name="connsiteY2394" fmla="*/ 3211947 h 6523037"/>
                <a:gd name="connsiteX2395" fmla="*/ 9467691 w 12192001"/>
                <a:gd name="connsiteY2395" fmla="*/ 3211947 h 6523037"/>
                <a:gd name="connsiteX2396" fmla="*/ 9467258 w 12192001"/>
                <a:gd name="connsiteY2396" fmla="*/ 3211568 h 6523037"/>
                <a:gd name="connsiteX2397" fmla="*/ 9320523 w 12192001"/>
                <a:gd name="connsiteY2397" fmla="*/ 3065532 h 6523037"/>
                <a:gd name="connsiteX2398" fmla="*/ 9320523 w 12192001"/>
                <a:gd name="connsiteY2398" fmla="*/ 3061548 h 6523037"/>
                <a:gd name="connsiteX2399" fmla="*/ 9200512 w 12192001"/>
                <a:gd name="connsiteY2399" fmla="*/ 2941535 h 6523037"/>
                <a:gd name="connsiteX2400" fmla="*/ 9320523 w 12192001"/>
                <a:gd name="connsiteY2400" fmla="*/ 2821214 h 6523037"/>
                <a:gd name="connsiteX2401" fmla="*/ 9320523 w 12192001"/>
                <a:gd name="connsiteY2401" fmla="*/ 2818876 h 6523037"/>
                <a:gd name="connsiteX2402" fmla="*/ 9468974 w 12192001"/>
                <a:gd name="connsiteY2402" fmla="*/ 2670425 h 6523037"/>
                <a:gd name="connsiteX2403" fmla="*/ 11673176 w 12192001"/>
                <a:gd name="connsiteY2403" fmla="*/ 2670045 h 6523037"/>
                <a:gd name="connsiteX2404" fmla="*/ 11402764 w 12192001"/>
                <a:gd name="connsiteY2404" fmla="*/ 2941156 h 6523037"/>
                <a:gd name="connsiteX2405" fmla="*/ 11673875 w 12192001"/>
                <a:gd name="connsiteY2405" fmla="*/ 3211568 h 6523037"/>
                <a:gd name="connsiteX2406" fmla="*/ 11937999 w 12192001"/>
                <a:gd name="connsiteY2406" fmla="*/ 3211568 h 6523037"/>
                <a:gd name="connsiteX2407" fmla="*/ 11666888 w 12192001"/>
                <a:gd name="connsiteY2407" fmla="*/ 2941156 h 6523037"/>
                <a:gd name="connsiteX2408" fmla="*/ 11937300 w 12192001"/>
                <a:gd name="connsiteY2408" fmla="*/ 2670045 h 6523037"/>
                <a:gd name="connsiteX2409" fmla="*/ 8177520 w 12192001"/>
                <a:gd name="connsiteY2409" fmla="*/ 2665610 h 6523037"/>
                <a:gd name="connsiteX2410" fmla="*/ 8174064 w 12192001"/>
                <a:gd name="connsiteY2410" fmla="*/ 2672521 h 6523037"/>
                <a:gd name="connsiteX2411" fmla="*/ 8109081 w 12192001"/>
                <a:gd name="connsiteY2411" fmla="*/ 2672521 h 6523037"/>
                <a:gd name="connsiteX2412" fmla="*/ 7928807 w 12192001"/>
                <a:gd name="connsiteY2412" fmla="*/ 2853496 h 6523037"/>
                <a:gd name="connsiteX2413" fmla="*/ 7839368 w 12192001"/>
                <a:gd name="connsiteY2413" fmla="*/ 2942933 h 6523037"/>
                <a:gd name="connsiteX2414" fmla="*/ 7972827 w 12192001"/>
                <a:gd name="connsiteY2414" fmla="*/ 3077091 h 6523037"/>
                <a:gd name="connsiteX2415" fmla="*/ 8111178 w 12192001"/>
                <a:gd name="connsiteY2415" fmla="*/ 3210551 h 6523037"/>
                <a:gd name="connsiteX2416" fmla="*/ 8375301 w 12192001"/>
                <a:gd name="connsiteY2416" fmla="*/ 3210551 h 6523037"/>
                <a:gd name="connsiteX2417" fmla="*/ 8104190 w 12192001"/>
                <a:gd name="connsiteY2417" fmla="*/ 2940139 h 6523037"/>
                <a:gd name="connsiteX2418" fmla="*/ 8105588 w 12192001"/>
                <a:gd name="connsiteY2418" fmla="*/ 2938741 h 6523037"/>
                <a:gd name="connsiteX2419" fmla="*/ 8373903 w 12192001"/>
                <a:gd name="connsiteY2419" fmla="*/ 2669727 h 6523037"/>
                <a:gd name="connsiteX2420" fmla="*/ 8175462 w 12192001"/>
                <a:gd name="connsiteY2420" fmla="*/ 2669727 h 6523037"/>
                <a:gd name="connsiteX2421" fmla="*/ 164203 w 12192001"/>
                <a:gd name="connsiteY2421" fmla="*/ 2405474 h 6523037"/>
                <a:gd name="connsiteX2422" fmla="*/ 435314 w 12192001"/>
                <a:gd name="connsiteY2422" fmla="*/ 2675886 h 6523037"/>
                <a:gd name="connsiteX2423" fmla="*/ 164902 w 12192001"/>
                <a:gd name="connsiteY2423" fmla="*/ 2946997 h 6523037"/>
                <a:gd name="connsiteX2424" fmla="*/ 429025 w 12192001"/>
                <a:gd name="connsiteY2424" fmla="*/ 2946997 h 6523037"/>
                <a:gd name="connsiteX2425" fmla="*/ 699437 w 12192001"/>
                <a:gd name="connsiteY2425" fmla="*/ 2675886 h 6523037"/>
                <a:gd name="connsiteX2426" fmla="*/ 428326 w 12192001"/>
                <a:gd name="connsiteY2426" fmla="*/ 2405474 h 6523037"/>
                <a:gd name="connsiteX2427" fmla="*/ 1811131 w 12192001"/>
                <a:gd name="connsiteY2427" fmla="*/ 2404775 h 6523037"/>
                <a:gd name="connsiteX2428" fmla="*/ 2082940 w 12192001"/>
                <a:gd name="connsiteY2428" fmla="*/ 2675187 h 6523037"/>
                <a:gd name="connsiteX2429" fmla="*/ 1812528 w 12192001"/>
                <a:gd name="connsiteY2429" fmla="*/ 2946297 h 6523037"/>
                <a:gd name="connsiteX2430" fmla="*/ 2075953 w 12192001"/>
                <a:gd name="connsiteY2430" fmla="*/ 2946297 h 6523037"/>
                <a:gd name="connsiteX2431" fmla="*/ 2346365 w 12192001"/>
                <a:gd name="connsiteY2431" fmla="*/ 2675187 h 6523037"/>
                <a:gd name="connsiteX2432" fmla="*/ 2212208 w 12192001"/>
                <a:gd name="connsiteY2432" fmla="*/ 2541728 h 6523037"/>
                <a:gd name="connsiteX2433" fmla="*/ 2075254 w 12192001"/>
                <a:gd name="connsiteY2433" fmla="*/ 2404775 h 6523037"/>
                <a:gd name="connsiteX2434" fmla="*/ 1262620 w 12192001"/>
                <a:gd name="connsiteY2434" fmla="*/ 2404775 h 6523037"/>
                <a:gd name="connsiteX2435" fmla="*/ 1533731 w 12192001"/>
                <a:gd name="connsiteY2435" fmla="*/ 2675187 h 6523037"/>
                <a:gd name="connsiteX2436" fmla="*/ 1263319 w 12192001"/>
                <a:gd name="connsiteY2436" fmla="*/ 2946297 h 6523037"/>
                <a:gd name="connsiteX2437" fmla="*/ 1527442 w 12192001"/>
                <a:gd name="connsiteY2437" fmla="*/ 2946297 h 6523037"/>
                <a:gd name="connsiteX2438" fmla="*/ 1797854 w 12192001"/>
                <a:gd name="connsiteY2438" fmla="*/ 2675187 h 6523037"/>
                <a:gd name="connsiteX2439" fmla="*/ 1526744 w 12192001"/>
                <a:gd name="connsiteY2439" fmla="*/ 2404775 h 6523037"/>
                <a:gd name="connsiteX2440" fmla="*/ 2359641 w 12192001"/>
                <a:gd name="connsiteY2440" fmla="*/ 2404076 h 6523037"/>
                <a:gd name="connsiteX2441" fmla="*/ 2361039 w 12192001"/>
                <a:gd name="connsiteY2441" fmla="*/ 2405474 h 6523037"/>
                <a:gd name="connsiteX2442" fmla="*/ 2629354 w 12192001"/>
                <a:gd name="connsiteY2442" fmla="*/ 2673790 h 6523037"/>
                <a:gd name="connsiteX2443" fmla="*/ 2358942 w 12192001"/>
                <a:gd name="connsiteY2443" fmla="*/ 2944901 h 6523037"/>
                <a:gd name="connsiteX2444" fmla="*/ 2623065 w 12192001"/>
                <a:gd name="connsiteY2444" fmla="*/ 2944901 h 6523037"/>
                <a:gd name="connsiteX2445" fmla="*/ 2893477 w 12192001"/>
                <a:gd name="connsiteY2445" fmla="*/ 2673790 h 6523037"/>
                <a:gd name="connsiteX2446" fmla="*/ 2888586 w 12192001"/>
                <a:gd name="connsiteY2446" fmla="*/ 2668899 h 6523037"/>
                <a:gd name="connsiteX2447" fmla="*/ 2906055 w 12192001"/>
                <a:gd name="connsiteY2447" fmla="*/ 2677283 h 6523037"/>
                <a:gd name="connsiteX2448" fmla="*/ 2900465 w 12192001"/>
                <a:gd name="connsiteY2448" fmla="*/ 2677283 h 6523037"/>
                <a:gd name="connsiteX2449" fmla="*/ 2630053 w 12192001"/>
                <a:gd name="connsiteY2449" fmla="*/ 2948394 h 6523037"/>
                <a:gd name="connsiteX2450" fmla="*/ 2901164 w 12192001"/>
                <a:gd name="connsiteY2450" fmla="*/ 3218806 h 6523037"/>
                <a:gd name="connsiteX2451" fmla="*/ 3165287 w 12192001"/>
                <a:gd name="connsiteY2451" fmla="*/ 3218806 h 6523037"/>
                <a:gd name="connsiteX2452" fmla="*/ 2894875 w 12192001"/>
                <a:gd name="connsiteY2452" fmla="*/ 2947695 h 6523037"/>
                <a:gd name="connsiteX2453" fmla="*/ 3079343 w 12192001"/>
                <a:gd name="connsiteY2453" fmla="*/ 2763229 h 6523037"/>
                <a:gd name="connsiteX2454" fmla="*/ 3165287 w 12192001"/>
                <a:gd name="connsiteY2454" fmla="*/ 2677283 h 6523037"/>
                <a:gd name="connsiteX2455" fmla="*/ 2906754 w 12192001"/>
                <a:gd name="connsiteY2455" fmla="*/ 2677283 h 6523037"/>
                <a:gd name="connsiteX2456" fmla="*/ 2889285 w 12192001"/>
                <a:gd name="connsiteY2456" fmla="*/ 2668899 h 6523037"/>
                <a:gd name="connsiteX2457" fmla="*/ 2623764 w 12192001"/>
                <a:gd name="connsiteY2457" fmla="*/ 2404076 h 6523037"/>
                <a:gd name="connsiteX2458" fmla="*/ 713412 w 12192001"/>
                <a:gd name="connsiteY2458" fmla="*/ 2404076 h 6523037"/>
                <a:gd name="connsiteX2459" fmla="*/ 844775 w 12192001"/>
                <a:gd name="connsiteY2459" fmla="*/ 2535440 h 6523037"/>
                <a:gd name="connsiteX2460" fmla="*/ 985221 w 12192001"/>
                <a:gd name="connsiteY2460" fmla="*/ 2675886 h 6523037"/>
                <a:gd name="connsiteX2461" fmla="*/ 716206 w 12192001"/>
                <a:gd name="connsiteY2461" fmla="*/ 2945599 h 6523037"/>
                <a:gd name="connsiteX2462" fmla="*/ 912552 w 12192001"/>
                <a:gd name="connsiteY2462" fmla="*/ 2945599 h 6523037"/>
                <a:gd name="connsiteX2463" fmla="*/ 911853 w 12192001"/>
                <a:gd name="connsiteY2463" fmla="*/ 2946997 h 6523037"/>
                <a:gd name="connsiteX2464" fmla="*/ 978932 w 12192001"/>
                <a:gd name="connsiteY2464" fmla="*/ 2946997 h 6523037"/>
                <a:gd name="connsiteX2465" fmla="*/ 1248646 w 12192001"/>
                <a:gd name="connsiteY2465" fmla="*/ 2675886 h 6523037"/>
                <a:gd name="connsiteX2466" fmla="*/ 1113090 w 12192001"/>
                <a:gd name="connsiteY2466" fmla="*/ 2541029 h 6523037"/>
                <a:gd name="connsiteX2467" fmla="*/ 1094923 w 12192001"/>
                <a:gd name="connsiteY2467" fmla="*/ 2522863 h 6523037"/>
                <a:gd name="connsiteX2468" fmla="*/ 977535 w 12192001"/>
                <a:gd name="connsiteY2468" fmla="*/ 2406173 h 6523037"/>
                <a:gd name="connsiteX2469" fmla="*/ 909058 w 12192001"/>
                <a:gd name="connsiteY2469" fmla="*/ 2406173 h 6523037"/>
                <a:gd name="connsiteX2470" fmla="*/ 909757 w 12192001"/>
                <a:gd name="connsiteY2470" fmla="*/ 2404775 h 6523037"/>
                <a:gd name="connsiteX2471" fmla="*/ 2907452 w 12192001"/>
                <a:gd name="connsiteY2471" fmla="*/ 2402679 h 6523037"/>
                <a:gd name="connsiteX2472" fmla="*/ 3178563 w 12192001"/>
                <a:gd name="connsiteY2472" fmla="*/ 2673091 h 6523037"/>
                <a:gd name="connsiteX2473" fmla="*/ 3175769 w 12192001"/>
                <a:gd name="connsiteY2473" fmla="*/ 2675886 h 6523037"/>
                <a:gd name="connsiteX2474" fmla="*/ 3085631 w 12192001"/>
                <a:gd name="connsiteY2474" fmla="*/ 2766722 h 6523037"/>
                <a:gd name="connsiteX2475" fmla="*/ 2908151 w 12192001"/>
                <a:gd name="connsiteY2475" fmla="*/ 2944202 h 6523037"/>
                <a:gd name="connsiteX2476" fmla="*/ 3172275 w 12192001"/>
                <a:gd name="connsiteY2476" fmla="*/ 2944202 h 6523037"/>
                <a:gd name="connsiteX2477" fmla="*/ 3262412 w 12192001"/>
                <a:gd name="connsiteY2477" fmla="*/ 2854763 h 6523037"/>
                <a:gd name="connsiteX2478" fmla="*/ 3442687 w 12192001"/>
                <a:gd name="connsiteY2478" fmla="*/ 2673091 h 6523037"/>
                <a:gd name="connsiteX2479" fmla="*/ 3171576 w 12192001"/>
                <a:gd name="connsiteY2479" fmla="*/ 2402679 h 6523037"/>
                <a:gd name="connsiteX2480" fmla="*/ 4004473 w 12192001"/>
                <a:gd name="connsiteY2480" fmla="*/ 2401981 h 6523037"/>
                <a:gd name="connsiteX2481" fmla="*/ 4275584 w 12192001"/>
                <a:gd name="connsiteY2481" fmla="*/ 2671694 h 6523037"/>
                <a:gd name="connsiteX2482" fmla="*/ 4005172 w 12192001"/>
                <a:gd name="connsiteY2482" fmla="*/ 2942805 h 6523037"/>
                <a:gd name="connsiteX2483" fmla="*/ 4269296 w 12192001"/>
                <a:gd name="connsiteY2483" fmla="*/ 2942805 h 6523037"/>
                <a:gd name="connsiteX2484" fmla="*/ 4539707 w 12192001"/>
                <a:gd name="connsiteY2484" fmla="*/ 2672393 h 6523037"/>
                <a:gd name="connsiteX2485" fmla="*/ 4268598 w 12192001"/>
                <a:gd name="connsiteY2485" fmla="*/ 2401981 h 6523037"/>
                <a:gd name="connsiteX2486" fmla="*/ 4824309 w 12192001"/>
                <a:gd name="connsiteY2486" fmla="*/ 2400713 h 6523037"/>
                <a:gd name="connsiteX2487" fmla="*/ 5095421 w 12192001"/>
                <a:gd name="connsiteY2487" fmla="*/ 2671124 h 6523037"/>
                <a:gd name="connsiteX2488" fmla="*/ 4825009 w 12192001"/>
                <a:gd name="connsiteY2488" fmla="*/ 2942235 h 6523037"/>
                <a:gd name="connsiteX2489" fmla="*/ 5089132 w 12192001"/>
                <a:gd name="connsiteY2489" fmla="*/ 2942235 h 6523037"/>
                <a:gd name="connsiteX2490" fmla="*/ 5359544 w 12192001"/>
                <a:gd name="connsiteY2490" fmla="*/ 2671124 h 6523037"/>
                <a:gd name="connsiteX2491" fmla="*/ 5088432 w 12192001"/>
                <a:gd name="connsiteY2491" fmla="*/ 2400713 h 6523037"/>
                <a:gd name="connsiteX2492" fmla="*/ 4553683 w 12192001"/>
                <a:gd name="connsiteY2492" fmla="*/ 2400583 h 6523037"/>
                <a:gd name="connsiteX2493" fmla="*/ 4821422 w 12192001"/>
                <a:gd name="connsiteY2493" fmla="*/ 2667631 h 6523037"/>
                <a:gd name="connsiteX2494" fmla="*/ 5082144 w 12192001"/>
                <a:gd name="connsiteY2494" fmla="*/ 2667631 h 6523037"/>
                <a:gd name="connsiteX2495" fmla="*/ 4814405 w 12192001"/>
                <a:gd name="connsiteY2495" fmla="*/ 2400583 h 6523037"/>
                <a:gd name="connsiteX2496" fmla="*/ 6471238 w 12192001"/>
                <a:gd name="connsiteY2496" fmla="*/ 2400013 h 6523037"/>
                <a:gd name="connsiteX2497" fmla="*/ 6743046 w 12192001"/>
                <a:gd name="connsiteY2497" fmla="*/ 2670425 h 6523037"/>
                <a:gd name="connsiteX2498" fmla="*/ 6472634 w 12192001"/>
                <a:gd name="connsiteY2498" fmla="*/ 2941535 h 6523037"/>
                <a:gd name="connsiteX2499" fmla="*/ 6736059 w 12192001"/>
                <a:gd name="connsiteY2499" fmla="*/ 2941535 h 6523037"/>
                <a:gd name="connsiteX2500" fmla="*/ 7006471 w 12192001"/>
                <a:gd name="connsiteY2500" fmla="*/ 2670425 h 6523037"/>
                <a:gd name="connsiteX2501" fmla="*/ 6872314 w 12192001"/>
                <a:gd name="connsiteY2501" fmla="*/ 2536966 h 6523037"/>
                <a:gd name="connsiteX2502" fmla="*/ 6735361 w 12192001"/>
                <a:gd name="connsiteY2502" fmla="*/ 2400013 h 6523037"/>
                <a:gd name="connsiteX2503" fmla="*/ 5922727 w 12192001"/>
                <a:gd name="connsiteY2503" fmla="*/ 2400013 h 6523037"/>
                <a:gd name="connsiteX2504" fmla="*/ 6193838 w 12192001"/>
                <a:gd name="connsiteY2504" fmla="*/ 2670425 h 6523037"/>
                <a:gd name="connsiteX2505" fmla="*/ 5923425 w 12192001"/>
                <a:gd name="connsiteY2505" fmla="*/ 2941535 h 6523037"/>
                <a:gd name="connsiteX2506" fmla="*/ 6187548 w 12192001"/>
                <a:gd name="connsiteY2506" fmla="*/ 2941535 h 6523037"/>
                <a:gd name="connsiteX2507" fmla="*/ 6457961 w 12192001"/>
                <a:gd name="connsiteY2507" fmla="*/ 2670425 h 6523037"/>
                <a:gd name="connsiteX2508" fmla="*/ 6186850 w 12192001"/>
                <a:gd name="connsiteY2508" fmla="*/ 2400013 h 6523037"/>
                <a:gd name="connsiteX2509" fmla="*/ 7019748 w 12192001"/>
                <a:gd name="connsiteY2509" fmla="*/ 2399314 h 6523037"/>
                <a:gd name="connsiteX2510" fmla="*/ 7021145 w 12192001"/>
                <a:gd name="connsiteY2510" fmla="*/ 2400713 h 6523037"/>
                <a:gd name="connsiteX2511" fmla="*/ 7289460 w 12192001"/>
                <a:gd name="connsiteY2511" fmla="*/ 2669028 h 6523037"/>
                <a:gd name="connsiteX2512" fmla="*/ 7019048 w 12192001"/>
                <a:gd name="connsiteY2512" fmla="*/ 2940139 h 6523037"/>
                <a:gd name="connsiteX2513" fmla="*/ 7283171 w 12192001"/>
                <a:gd name="connsiteY2513" fmla="*/ 2940139 h 6523037"/>
                <a:gd name="connsiteX2514" fmla="*/ 7553583 w 12192001"/>
                <a:gd name="connsiteY2514" fmla="*/ 2669028 h 6523037"/>
                <a:gd name="connsiteX2515" fmla="*/ 7548692 w 12192001"/>
                <a:gd name="connsiteY2515" fmla="*/ 2664137 h 6523037"/>
                <a:gd name="connsiteX2516" fmla="*/ 7566161 w 12192001"/>
                <a:gd name="connsiteY2516" fmla="*/ 2672521 h 6523037"/>
                <a:gd name="connsiteX2517" fmla="*/ 7560571 w 12192001"/>
                <a:gd name="connsiteY2517" fmla="*/ 2672521 h 6523037"/>
                <a:gd name="connsiteX2518" fmla="*/ 7290159 w 12192001"/>
                <a:gd name="connsiteY2518" fmla="*/ 2943632 h 6523037"/>
                <a:gd name="connsiteX2519" fmla="*/ 7561270 w 12192001"/>
                <a:gd name="connsiteY2519" fmla="*/ 3214044 h 6523037"/>
                <a:gd name="connsiteX2520" fmla="*/ 7825393 w 12192001"/>
                <a:gd name="connsiteY2520" fmla="*/ 3214044 h 6523037"/>
                <a:gd name="connsiteX2521" fmla="*/ 7554981 w 12192001"/>
                <a:gd name="connsiteY2521" fmla="*/ 2942933 h 6523037"/>
                <a:gd name="connsiteX2522" fmla="*/ 7739449 w 12192001"/>
                <a:gd name="connsiteY2522" fmla="*/ 2758467 h 6523037"/>
                <a:gd name="connsiteX2523" fmla="*/ 7825393 w 12192001"/>
                <a:gd name="connsiteY2523" fmla="*/ 2672521 h 6523037"/>
                <a:gd name="connsiteX2524" fmla="*/ 7566860 w 12192001"/>
                <a:gd name="connsiteY2524" fmla="*/ 2672521 h 6523037"/>
                <a:gd name="connsiteX2525" fmla="*/ 7549391 w 12192001"/>
                <a:gd name="connsiteY2525" fmla="*/ 2664137 h 6523037"/>
                <a:gd name="connsiteX2526" fmla="*/ 7283870 w 12192001"/>
                <a:gd name="connsiteY2526" fmla="*/ 2399314 h 6523037"/>
                <a:gd name="connsiteX2527" fmla="*/ 5373519 w 12192001"/>
                <a:gd name="connsiteY2527" fmla="*/ 2399314 h 6523037"/>
                <a:gd name="connsiteX2528" fmla="*/ 5504881 w 12192001"/>
                <a:gd name="connsiteY2528" fmla="*/ 2530678 h 6523037"/>
                <a:gd name="connsiteX2529" fmla="*/ 5645327 w 12192001"/>
                <a:gd name="connsiteY2529" fmla="*/ 2671124 h 6523037"/>
                <a:gd name="connsiteX2530" fmla="*/ 5376313 w 12192001"/>
                <a:gd name="connsiteY2530" fmla="*/ 2940837 h 6523037"/>
                <a:gd name="connsiteX2531" fmla="*/ 5572659 w 12192001"/>
                <a:gd name="connsiteY2531" fmla="*/ 2940837 h 6523037"/>
                <a:gd name="connsiteX2532" fmla="*/ 5571959 w 12192001"/>
                <a:gd name="connsiteY2532" fmla="*/ 2942235 h 6523037"/>
                <a:gd name="connsiteX2533" fmla="*/ 5639038 w 12192001"/>
                <a:gd name="connsiteY2533" fmla="*/ 2942235 h 6523037"/>
                <a:gd name="connsiteX2534" fmla="*/ 5908752 w 12192001"/>
                <a:gd name="connsiteY2534" fmla="*/ 2671124 h 6523037"/>
                <a:gd name="connsiteX2535" fmla="*/ 5773197 w 12192001"/>
                <a:gd name="connsiteY2535" fmla="*/ 2536267 h 6523037"/>
                <a:gd name="connsiteX2536" fmla="*/ 5755029 w 12192001"/>
                <a:gd name="connsiteY2536" fmla="*/ 2518101 h 6523037"/>
                <a:gd name="connsiteX2537" fmla="*/ 5637642 w 12192001"/>
                <a:gd name="connsiteY2537" fmla="*/ 2401411 h 6523037"/>
                <a:gd name="connsiteX2538" fmla="*/ 5569164 w 12192001"/>
                <a:gd name="connsiteY2538" fmla="*/ 2401411 h 6523037"/>
                <a:gd name="connsiteX2539" fmla="*/ 5569864 w 12192001"/>
                <a:gd name="connsiteY2539" fmla="*/ 2400013 h 6523037"/>
                <a:gd name="connsiteX2540" fmla="*/ 7567558 w 12192001"/>
                <a:gd name="connsiteY2540" fmla="*/ 2397917 h 6523037"/>
                <a:gd name="connsiteX2541" fmla="*/ 7838669 w 12192001"/>
                <a:gd name="connsiteY2541" fmla="*/ 2668329 h 6523037"/>
                <a:gd name="connsiteX2542" fmla="*/ 7835875 w 12192001"/>
                <a:gd name="connsiteY2542" fmla="*/ 2671124 h 6523037"/>
                <a:gd name="connsiteX2543" fmla="*/ 7745737 w 12192001"/>
                <a:gd name="connsiteY2543" fmla="*/ 2761960 h 6523037"/>
                <a:gd name="connsiteX2544" fmla="*/ 7568257 w 12192001"/>
                <a:gd name="connsiteY2544" fmla="*/ 2939440 h 6523037"/>
                <a:gd name="connsiteX2545" fmla="*/ 7832381 w 12192001"/>
                <a:gd name="connsiteY2545" fmla="*/ 2939440 h 6523037"/>
                <a:gd name="connsiteX2546" fmla="*/ 7922518 w 12192001"/>
                <a:gd name="connsiteY2546" fmla="*/ 2850001 h 6523037"/>
                <a:gd name="connsiteX2547" fmla="*/ 8102793 w 12192001"/>
                <a:gd name="connsiteY2547" fmla="*/ 2668329 h 6523037"/>
                <a:gd name="connsiteX2548" fmla="*/ 7831682 w 12192001"/>
                <a:gd name="connsiteY2548" fmla="*/ 2397917 h 6523037"/>
                <a:gd name="connsiteX2549" fmla="*/ 9484726 w 12192001"/>
                <a:gd name="connsiteY2549" fmla="*/ 2397537 h 6523037"/>
                <a:gd name="connsiteX2550" fmla="*/ 9755837 w 12192001"/>
                <a:gd name="connsiteY2550" fmla="*/ 2667949 h 6523037"/>
                <a:gd name="connsiteX2551" fmla="*/ 9485425 w 12192001"/>
                <a:gd name="connsiteY2551" fmla="*/ 2939060 h 6523037"/>
                <a:gd name="connsiteX2552" fmla="*/ 9749548 w 12192001"/>
                <a:gd name="connsiteY2552" fmla="*/ 2939060 h 6523037"/>
                <a:gd name="connsiteX2553" fmla="*/ 10019960 w 12192001"/>
                <a:gd name="connsiteY2553" fmla="*/ 2667949 h 6523037"/>
                <a:gd name="connsiteX2554" fmla="*/ 9748849 w 12192001"/>
                <a:gd name="connsiteY2554" fmla="*/ 2397537 h 6523037"/>
                <a:gd name="connsiteX2555" fmla="*/ 8664579 w 12192001"/>
                <a:gd name="connsiteY2555" fmla="*/ 2397219 h 6523037"/>
                <a:gd name="connsiteX2556" fmla="*/ 8935690 w 12192001"/>
                <a:gd name="connsiteY2556" fmla="*/ 2666932 h 6523037"/>
                <a:gd name="connsiteX2557" fmla="*/ 8665278 w 12192001"/>
                <a:gd name="connsiteY2557" fmla="*/ 2938043 h 6523037"/>
                <a:gd name="connsiteX2558" fmla="*/ 8929401 w 12192001"/>
                <a:gd name="connsiteY2558" fmla="*/ 2938043 h 6523037"/>
                <a:gd name="connsiteX2559" fmla="*/ 9199813 w 12192001"/>
                <a:gd name="connsiteY2559" fmla="*/ 2667631 h 6523037"/>
                <a:gd name="connsiteX2560" fmla="*/ 8928703 w 12192001"/>
                <a:gd name="connsiteY2560" fmla="*/ 2397219 h 6523037"/>
                <a:gd name="connsiteX2561" fmla="*/ 11131654 w 12192001"/>
                <a:gd name="connsiteY2561" fmla="*/ 2396838 h 6523037"/>
                <a:gd name="connsiteX2562" fmla="*/ 11403463 w 12192001"/>
                <a:gd name="connsiteY2562" fmla="*/ 2667250 h 6523037"/>
                <a:gd name="connsiteX2563" fmla="*/ 11133051 w 12192001"/>
                <a:gd name="connsiteY2563" fmla="*/ 2938360 h 6523037"/>
                <a:gd name="connsiteX2564" fmla="*/ 11396476 w 12192001"/>
                <a:gd name="connsiteY2564" fmla="*/ 2938360 h 6523037"/>
                <a:gd name="connsiteX2565" fmla="*/ 11666888 w 12192001"/>
                <a:gd name="connsiteY2565" fmla="*/ 2667250 h 6523037"/>
                <a:gd name="connsiteX2566" fmla="*/ 11532731 w 12192001"/>
                <a:gd name="connsiteY2566" fmla="*/ 2533791 h 6523037"/>
                <a:gd name="connsiteX2567" fmla="*/ 11395777 w 12192001"/>
                <a:gd name="connsiteY2567" fmla="*/ 2396838 h 6523037"/>
                <a:gd name="connsiteX2568" fmla="*/ 10583143 w 12192001"/>
                <a:gd name="connsiteY2568" fmla="*/ 2396838 h 6523037"/>
                <a:gd name="connsiteX2569" fmla="*/ 10854254 w 12192001"/>
                <a:gd name="connsiteY2569" fmla="*/ 2667250 h 6523037"/>
                <a:gd name="connsiteX2570" fmla="*/ 10583842 w 12192001"/>
                <a:gd name="connsiteY2570" fmla="*/ 2938360 h 6523037"/>
                <a:gd name="connsiteX2571" fmla="*/ 10847965 w 12192001"/>
                <a:gd name="connsiteY2571" fmla="*/ 2938360 h 6523037"/>
                <a:gd name="connsiteX2572" fmla="*/ 11118377 w 12192001"/>
                <a:gd name="connsiteY2572" fmla="*/ 2667250 h 6523037"/>
                <a:gd name="connsiteX2573" fmla="*/ 10847267 w 12192001"/>
                <a:gd name="connsiteY2573" fmla="*/ 2396838 h 6523037"/>
                <a:gd name="connsiteX2574" fmla="*/ 10033935 w 12192001"/>
                <a:gd name="connsiteY2574" fmla="*/ 2396139 h 6523037"/>
                <a:gd name="connsiteX2575" fmla="*/ 10165298 w 12192001"/>
                <a:gd name="connsiteY2575" fmla="*/ 2527503 h 6523037"/>
                <a:gd name="connsiteX2576" fmla="*/ 10305744 w 12192001"/>
                <a:gd name="connsiteY2576" fmla="*/ 2667949 h 6523037"/>
                <a:gd name="connsiteX2577" fmla="*/ 10036729 w 12192001"/>
                <a:gd name="connsiteY2577" fmla="*/ 2937662 h 6523037"/>
                <a:gd name="connsiteX2578" fmla="*/ 10233075 w 12192001"/>
                <a:gd name="connsiteY2578" fmla="*/ 2937662 h 6523037"/>
                <a:gd name="connsiteX2579" fmla="*/ 10232376 w 12192001"/>
                <a:gd name="connsiteY2579" fmla="*/ 2939060 h 6523037"/>
                <a:gd name="connsiteX2580" fmla="*/ 10299455 w 12192001"/>
                <a:gd name="connsiteY2580" fmla="*/ 2939060 h 6523037"/>
                <a:gd name="connsiteX2581" fmla="*/ 10569169 w 12192001"/>
                <a:gd name="connsiteY2581" fmla="*/ 2667949 h 6523037"/>
                <a:gd name="connsiteX2582" fmla="*/ 10433613 w 12192001"/>
                <a:gd name="connsiteY2582" fmla="*/ 2533092 h 6523037"/>
                <a:gd name="connsiteX2583" fmla="*/ 10415446 w 12192001"/>
                <a:gd name="connsiteY2583" fmla="*/ 2514926 h 6523037"/>
                <a:gd name="connsiteX2584" fmla="*/ 10298058 w 12192001"/>
                <a:gd name="connsiteY2584" fmla="*/ 2398236 h 6523037"/>
                <a:gd name="connsiteX2585" fmla="*/ 10229581 w 12192001"/>
                <a:gd name="connsiteY2585" fmla="*/ 2398236 h 6523037"/>
                <a:gd name="connsiteX2586" fmla="*/ 10230280 w 12192001"/>
                <a:gd name="connsiteY2586" fmla="*/ 2396838 h 6523037"/>
                <a:gd name="connsiteX2587" fmla="*/ 9213788 w 12192001"/>
                <a:gd name="connsiteY2587" fmla="*/ 2395821 h 6523037"/>
                <a:gd name="connsiteX2588" fmla="*/ 9483119 w 12192001"/>
                <a:gd name="connsiteY2588" fmla="*/ 2664456 h 6523037"/>
                <a:gd name="connsiteX2589" fmla="*/ 9742561 w 12192001"/>
                <a:gd name="connsiteY2589" fmla="*/ 2664456 h 6523037"/>
                <a:gd name="connsiteX2590" fmla="*/ 9473232 w 12192001"/>
                <a:gd name="connsiteY2590" fmla="*/ 2395821 h 6523037"/>
                <a:gd name="connsiteX2591" fmla="*/ 1255633 w 12192001"/>
                <a:gd name="connsiteY2591" fmla="*/ 2130870 h 6523037"/>
                <a:gd name="connsiteX2592" fmla="*/ 985221 w 12192001"/>
                <a:gd name="connsiteY2592" fmla="*/ 2401981 h 6523037"/>
                <a:gd name="connsiteX2593" fmla="*/ 1117282 w 12192001"/>
                <a:gd name="connsiteY2593" fmla="*/ 2534042 h 6523037"/>
                <a:gd name="connsiteX2594" fmla="*/ 1255633 w 12192001"/>
                <a:gd name="connsiteY2594" fmla="*/ 2672393 h 6523037"/>
                <a:gd name="connsiteX2595" fmla="*/ 1519757 w 12192001"/>
                <a:gd name="connsiteY2595" fmla="*/ 2672393 h 6523037"/>
                <a:gd name="connsiteX2596" fmla="*/ 1248646 w 12192001"/>
                <a:gd name="connsiteY2596" fmla="*/ 2401981 h 6523037"/>
                <a:gd name="connsiteX2597" fmla="*/ 1519757 w 12192001"/>
                <a:gd name="connsiteY2597" fmla="*/ 2130870 h 6523037"/>
                <a:gd name="connsiteX2598" fmla="*/ 2351955 w 12192001"/>
                <a:gd name="connsiteY2598" fmla="*/ 2130171 h 6523037"/>
                <a:gd name="connsiteX2599" fmla="*/ 2171680 w 12192001"/>
                <a:gd name="connsiteY2599" fmla="*/ 2311144 h 6523037"/>
                <a:gd name="connsiteX2600" fmla="*/ 2170981 w 12192001"/>
                <a:gd name="connsiteY2600" fmla="*/ 2311144 h 6523037"/>
                <a:gd name="connsiteX2601" fmla="*/ 2081543 w 12192001"/>
                <a:gd name="connsiteY2601" fmla="*/ 2400583 h 6523037"/>
                <a:gd name="connsiteX2602" fmla="*/ 2215701 w 12192001"/>
                <a:gd name="connsiteY2602" fmla="*/ 2534741 h 6523037"/>
                <a:gd name="connsiteX2603" fmla="*/ 2352653 w 12192001"/>
                <a:gd name="connsiteY2603" fmla="*/ 2670995 h 6523037"/>
                <a:gd name="connsiteX2604" fmla="*/ 2616078 w 12192001"/>
                <a:gd name="connsiteY2604" fmla="*/ 2670995 h 6523037"/>
                <a:gd name="connsiteX2605" fmla="*/ 2344968 w 12192001"/>
                <a:gd name="connsiteY2605" fmla="*/ 2400583 h 6523037"/>
                <a:gd name="connsiteX2606" fmla="*/ 2346365 w 12192001"/>
                <a:gd name="connsiteY2606" fmla="*/ 2399185 h 6523037"/>
                <a:gd name="connsiteX2607" fmla="*/ 2347064 w 12192001"/>
                <a:gd name="connsiteY2607" fmla="*/ 2399185 h 6523037"/>
                <a:gd name="connsiteX2608" fmla="*/ 2615379 w 12192001"/>
                <a:gd name="connsiteY2608" fmla="*/ 2130171 h 6523037"/>
                <a:gd name="connsiteX2609" fmla="*/ 1803445 w 12192001"/>
                <a:gd name="connsiteY2609" fmla="*/ 2130171 h 6523037"/>
                <a:gd name="connsiteX2610" fmla="*/ 1533032 w 12192001"/>
                <a:gd name="connsiteY2610" fmla="*/ 2401282 h 6523037"/>
                <a:gd name="connsiteX2611" fmla="*/ 1803445 w 12192001"/>
                <a:gd name="connsiteY2611" fmla="*/ 2670995 h 6523037"/>
                <a:gd name="connsiteX2612" fmla="*/ 2067568 w 12192001"/>
                <a:gd name="connsiteY2612" fmla="*/ 2670995 h 6523037"/>
                <a:gd name="connsiteX2613" fmla="*/ 1796458 w 12192001"/>
                <a:gd name="connsiteY2613" fmla="*/ 2400583 h 6523037"/>
                <a:gd name="connsiteX2614" fmla="*/ 1980924 w 12192001"/>
                <a:gd name="connsiteY2614" fmla="*/ 2216115 h 6523037"/>
                <a:gd name="connsiteX2615" fmla="*/ 1981623 w 12192001"/>
                <a:gd name="connsiteY2615" fmla="*/ 2216115 h 6523037"/>
                <a:gd name="connsiteX2616" fmla="*/ 2067568 w 12192001"/>
                <a:gd name="connsiteY2616" fmla="*/ 2130171 h 6523037"/>
                <a:gd name="connsiteX2617" fmla="*/ 2900465 w 12192001"/>
                <a:gd name="connsiteY2617" fmla="*/ 2129472 h 6523037"/>
                <a:gd name="connsiteX2618" fmla="*/ 2630053 w 12192001"/>
                <a:gd name="connsiteY2618" fmla="*/ 2400583 h 6523037"/>
                <a:gd name="connsiteX2619" fmla="*/ 2901164 w 12192001"/>
                <a:gd name="connsiteY2619" fmla="*/ 2670995 h 6523037"/>
                <a:gd name="connsiteX2620" fmla="*/ 3165287 w 12192001"/>
                <a:gd name="connsiteY2620" fmla="*/ 2670995 h 6523037"/>
                <a:gd name="connsiteX2621" fmla="*/ 2894176 w 12192001"/>
                <a:gd name="connsiteY2621" fmla="*/ 2400583 h 6523037"/>
                <a:gd name="connsiteX2622" fmla="*/ 3164588 w 12192001"/>
                <a:gd name="connsiteY2622" fmla="*/ 2129472 h 6523037"/>
                <a:gd name="connsiteX2623" fmla="*/ 3997486 w 12192001"/>
                <a:gd name="connsiteY2623" fmla="*/ 2128074 h 6523037"/>
                <a:gd name="connsiteX2624" fmla="*/ 3727074 w 12192001"/>
                <a:gd name="connsiteY2624" fmla="*/ 2399185 h 6523037"/>
                <a:gd name="connsiteX2625" fmla="*/ 3998184 w 12192001"/>
                <a:gd name="connsiteY2625" fmla="*/ 2669597 h 6523037"/>
                <a:gd name="connsiteX2626" fmla="*/ 4262309 w 12192001"/>
                <a:gd name="connsiteY2626" fmla="*/ 2669597 h 6523037"/>
                <a:gd name="connsiteX2627" fmla="*/ 3991197 w 12192001"/>
                <a:gd name="connsiteY2627" fmla="*/ 2399185 h 6523037"/>
                <a:gd name="connsiteX2628" fmla="*/ 4261609 w 12192001"/>
                <a:gd name="connsiteY2628" fmla="*/ 2128074 h 6523037"/>
                <a:gd name="connsiteX2629" fmla="*/ 4545996 w 12192001"/>
                <a:gd name="connsiteY2629" fmla="*/ 2127376 h 6523037"/>
                <a:gd name="connsiteX2630" fmla="*/ 4275584 w 12192001"/>
                <a:gd name="connsiteY2630" fmla="*/ 2398486 h 6523037"/>
                <a:gd name="connsiteX2631" fmla="*/ 4545996 w 12192001"/>
                <a:gd name="connsiteY2631" fmla="*/ 2668200 h 6523037"/>
                <a:gd name="connsiteX2632" fmla="*/ 4808096 w 12192001"/>
                <a:gd name="connsiteY2632" fmla="*/ 2668200 h 6523037"/>
                <a:gd name="connsiteX2633" fmla="*/ 4660106 w 12192001"/>
                <a:gd name="connsiteY2633" fmla="*/ 2520896 h 6523037"/>
                <a:gd name="connsiteX2634" fmla="*/ 4660106 w 12192001"/>
                <a:gd name="connsiteY2634" fmla="*/ 2518573 h 6523037"/>
                <a:gd name="connsiteX2635" fmla="*/ 4539009 w 12192001"/>
                <a:gd name="connsiteY2635" fmla="*/ 2397788 h 6523037"/>
                <a:gd name="connsiteX2636" fmla="*/ 4660106 w 12192001"/>
                <a:gd name="connsiteY2636" fmla="*/ 2276691 h 6523037"/>
                <a:gd name="connsiteX2637" fmla="*/ 4660106 w 12192001"/>
                <a:gd name="connsiteY2637" fmla="*/ 2272842 h 6523037"/>
                <a:gd name="connsiteX2638" fmla="*/ 4805573 w 12192001"/>
                <a:gd name="connsiteY2638" fmla="*/ 2127376 h 6523037"/>
                <a:gd name="connsiteX2639" fmla="*/ 5915740 w 12192001"/>
                <a:gd name="connsiteY2639" fmla="*/ 2126108 h 6523037"/>
                <a:gd name="connsiteX2640" fmla="*/ 5645327 w 12192001"/>
                <a:gd name="connsiteY2640" fmla="*/ 2397219 h 6523037"/>
                <a:gd name="connsiteX2641" fmla="*/ 5777388 w 12192001"/>
                <a:gd name="connsiteY2641" fmla="*/ 2529280 h 6523037"/>
                <a:gd name="connsiteX2642" fmla="*/ 5915740 w 12192001"/>
                <a:gd name="connsiteY2642" fmla="*/ 2667631 h 6523037"/>
                <a:gd name="connsiteX2643" fmla="*/ 6179863 w 12192001"/>
                <a:gd name="connsiteY2643" fmla="*/ 2667631 h 6523037"/>
                <a:gd name="connsiteX2644" fmla="*/ 5908752 w 12192001"/>
                <a:gd name="connsiteY2644" fmla="*/ 2397219 h 6523037"/>
                <a:gd name="connsiteX2645" fmla="*/ 6179863 w 12192001"/>
                <a:gd name="connsiteY2645" fmla="*/ 2126108 h 6523037"/>
                <a:gd name="connsiteX2646" fmla="*/ 4821171 w 12192001"/>
                <a:gd name="connsiteY2646" fmla="*/ 2126108 h 6523037"/>
                <a:gd name="connsiteX2647" fmla="*/ 4731163 w 12192001"/>
                <a:gd name="connsiteY2647" fmla="*/ 2216814 h 6523037"/>
                <a:gd name="connsiteX2648" fmla="*/ 4553683 w 12192001"/>
                <a:gd name="connsiteY2648" fmla="*/ 2394294 h 6523037"/>
                <a:gd name="connsiteX2649" fmla="*/ 4813944 w 12192001"/>
                <a:gd name="connsiteY2649" fmla="*/ 2394294 h 6523037"/>
                <a:gd name="connsiteX2650" fmla="*/ 5080746 w 12192001"/>
                <a:gd name="connsiteY2650" fmla="*/ 2126108 h 6523037"/>
                <a:gd name="connsiteX2651" fmla="*/ 7012061 w 12192001"/>
                <a:gd name="connsiteY2651" fmla="*/ 2125409 h 6523037"/>
                <a:gd name="connsiteX2652" fmla="*/ 6831786 w 12192001"/>
                <a:gd name="connsiteY2652" fmla="*/ 2306383 h 6523037"/>
                <a:gd name="connsiteX2653" fmla="*/ 6831088 w 12192001"/>
                <a:gd name="connsiteY2653" fmla="*/ 2306383 h 6523037"/>
                <a:gd name="connsiteX2654" fmla="*/ 6741650 w 12192001"/>
                <a:gd name="connsiteY2654" fmla="*/ 2395821 h 6523037"/>
                <a:gd name="connsiteX2655" fmla="*/ 6875807 w 12192001"/>
                <a:gd name="connsiteY2655" fmla="*/ 2529979 h 6523037"/>
                <a:gd name="connsiteX2656" fmla="*/ 7012759 w 12192001"/>
                <a:gd name="connsiteY2656" fmla="*/ 2666233 h 6523037"/>
                <a:gd name="connsiteX2657" fmla="*/ 7276184 w 12192001"/>
                <a:gd name="connsiteY2657" fmla="*/ 2666233 h 6523037"/>
                <a:gd name="connsiteX2658" fmla="*/ 7005075 w 12192001"/>
                <a:gd name="connsiteY2658" fmla="*/ 2395821 h 6523037"/>
                <a:gd name="connsiteX2659" fmla="*/ 7006471 w 12192001"/>
                <a:gd name="connsiteY2659" fmla="*/ 2394423 h 6523037"/>
                <a:gd name="connsiteX2660" fmla="*/ 7007170 w 12192001"/>
                <a:gd name="connsiteY2660" fmla="*/ 2394423 h 6523037"/>
                <a:gd name="connsiteX2661" fmla="*/ 7275485 w 12192001"/>
                <a:gd name="connsiteY2661" fmla="*/ 2125409 h 6523037"/>
                <a:gd name="connsiteX2662" fmla="*/ 6463552 w 12192001"/>
                <a:gd name="connsiteY2662" fmla="*/ 2125409 h 6523037"/>
                <a:gd name="connsiteX2663" fmla="*/ 6193138 w 12192001"/>
                <a:gd name="connsiteY2663" fmla="*/ 2396520 h 6523037"/>
                <a:gd name="connsiteX2664" fmla="*/ 6463552 w 12192001"/>
                <a:gd name="connsiteY2664" fmla="*/ 2666233 h 6523037"/>
                <a:gd name="connsiteX2665" fmla="*/ 6727675 w 12192001"/>
                <a:gd name="connsiteY2665" fmla="*/ 2666233 h 6523037"/>
                <a:gd name="connsiteX2666" fmla="*/ 6456565 w 12192001"/>
                <a:gd name="connsiteY2666" fmla="*/ 2395821 h 6523037"/>
                <a:gd name="connsiteX2667" fmla="*/ 6641030 w 12192001"/>
                <a:gd name="connsiteY2667" fmla="*/ 2211353 h 6523037"/>
                <a:gd name="connsiteX2668" fmla="*/ 6641730 w 12192001"/>
                <a:gd name="connsiteY2668" fmla="*/ 2211353 h 6523037"/>
                <a:gd name="connsiteX2669" fmla="*/ 6727675 w 12192001"/>
                <a:gd name="connsiteY2669" fmla="*/ 2125409 h 6523037"/>
                <a:gd name="connsiteX2670" fmla="*/ 7560571 w 12192001"/>
                <a:gd name="connsiteY2670" fmla="*/ 2124710 h 6523037"/>
                <a:gd name="connsiteX2671" fmla="*/ 7290159 w 12192001"/>
                <a:gd name="connsiteY2671" fmla="*/ 2395821 h 6523037"/>
                <a:gd name="connsiteX2672" fmla="*/ 7561270 w 12192001"/>
                <a:gd name="connsiteY2672" fmla="*/ 2666233 h 6523037"/>
                <a:gd name="connsiteX2673" fmla="*/ 7825393 w 12192001"/>
                <a:gd name="connsiteY2673" fmla="*/ 2666233 h 6523037"/>
                <a:gd name="connsiteX2674" fmla="*/ 7554282 w 12192001"/>
                <a:gd name="connsiteY2674" fmla="*/ 2395821 h 6523037"/>
                <a:gd name="connsiteX2675" fmla="*/ 7824694 w 12192001"/>
                <a:gd name="connsiteY2675" fmla="*/ 2124710 h 6523037"/>
                <a:gd name="connsiteX2676" fmla="*/ 8657592 w 12192001"/>
                <a:gd name="connsiteY2676" fmla="*/ 2123312 h 6523037"/>
                <a:gd name="connsiteX2677" fmla="*/ 8387180 w 12192001"/>
                <a:gd name="connsiteY2677" fmla="*/ 2394423 h 6523037"/>
                <a:gd name="connsiteX2678" fmla="*/ 8658290 w 12192001"/>
                <a:gd name="connsiteY2678" fmla="*/ 2664835 h 6523037"/>
                <a:gd name="connsiteX2679" fmla="*/ 8922414 w 12192001"/>
                <a:gd name="connsiteY2679" fmla="*/ 2664835 h 6523037"/>
                <a:gd name="connsiteX2680" fmla="*/ 8651303 w 12192001"/>
                <a:gd name="connsiteY2680" fmla="*/ 2394423 h 6523037"/>
                <a:gd name="connsiteX2681" fmla="*/ 8921715 w 12192001"/>
                <a:gd name="connsiteY2681" fmla="*/ 2123312 h 6523037"/>
                <a:gd name="connsiteX2682" fmla="*/ 10576156 w 12192001"/>
                <a:gd name="connsiteY2682" fmla="*/ 2122933 h 6523037"/>
                <a:gd name="connsiteX2683" fmla="*/ 10305744 w 12192001"/>
                <a:gd name="connsiteY2683" fmla="*/ 2394044 h 6523037"/>
                <a:gd name="connsiteX2684" fmla="*/ 10437805 w 12192001"/>
                <a:gd name="connsiteY2684" fmla="*/ 2526105 h 6523037"/>
                <a:gd name="connsiteX2685" fmla="*/ 10576156 w 12192001"/>
                <a:gd name="connsiteY2685" fmla="*/ 2664456 h 6523037"/>
                <a:gd name="connsiteX2686" fmla="*/ 10840280 w 12192001"/>
                <a:gd name="connsiteY2686" fmla="*/ 2664456 h 6523037"/>
                <a:gd name="connsiteX2687" fmla="*/ 10569169 w 12192001"/>
                <a:gd name="connsiteY2687" fmla="*/ 2394044 h 6523037"/>
                <a:gd name="connsiteX2688" fmla="*/ 10840280 w 12192001"/>
                <a:gd name="connsiteY2688" fmla="*/ 2122933 h 6523037"/>
                <a:gd name="connsiteX2689" fmla="*/ 9479702 w 12192001"/>
                <a:gd name="connsiteY2689" fmla="*/ 2122933 h 6523037"/>
                <a:gd name="connsiteX2690" fmla="*/ 9391268 w 12192001"/>
                <a:gd name="connsiteY2690" fmla="*/ 2212052 h 6523037"/>
                <a:gd name="connsiteX2691" fmla="*/ 9213788 w 12192001"/>
                <a:gd name="connsiteY2691" fmla="*/ 2389532 h 6523037"/>
                <a:gd name="connsiteX2692" fmla="*/ 9475939 w 12192001"/>
                <a:gd name="connsiteY2692" fmla="*/ 2389532 h 6523037"/>
                <a:gd name="connsiteX2693" fmla="*/ 9741163 w 12192001"/>
                <a:gd name="connsiteY2693" fmla="*/ 2122933 h 6523037"/>
                <a:gd name="connsiteX2694" fmla="*/ 9206102 w 12192001"/>
                <a:gd name="connsiteY2694" fmla="*/ 2122614 h 6523037"/>
                <a:gd name="connsiteX2695" fmla="*/ 8935690 w 12192001"/>
                <a:gd name="connsiteY2695" fmla="*/ 2393724 h 6523037"/>
                <a:gd name="connsiteX2696" fmla="*/ 9206102 w 12192001"/>
                <a:gd name="connsiteY2696" fmla="*/ 2663438 h 6523037"/>
                <a:gd name="connsiteX2697" fmla="*/ 9466918 w 12192001"/>
                <a:gd name="connsiteY2697" fmla="*/ 2663438 h 6523037"/>
                <a:gd name="connsiteX2698" fmla="*/ 9320523 w 12192001"/>
                <a:gd name="connsiteY2698" fmla="*/ 2517721 h 6523037"/>
                <a:gd name="connsiteX2699" fmla="*/ 9320523 w 12192001"/>
                <a:gd name="connsiteY2699" fmla="*/ 2514122 h 6523037"/>
                <a:gd name="connsiteX2700" fmla="*/ 9199115 w 12192001"/>
                <a:gd name="connsiteY2700" fmla="*/ 2393026 h 6523037"/>
                <a:gd name="connsiteX2701" fmla="*/ 9320523 w 12192001"/>
                <a:gd name="connsiteY2701" fmla="*/ 2271618 h 6523037"/>
                <a:gd name="connsiteX2702" fmla="*/ 9320523 w 12192001"/>
                <a:gd name="connsiteY2702" fmla="*/ 2269668 h 6523037"/>
                <a:gd name="connsiteX2703" fmla="*/ 9467576 w 12192001"/>
                <a:gd name="connsiteY2703" fmla="*/ 2122614 h 6523037"/>
                <a:gd name="connsiteX2704" fmla="*/ 11672478 w 12192001"/>
                <a:gd name="connsiteY2704" fmla="*/ 2122234 h 6523037"/>
                <a:gd name="connsiteX2705" fmla="*/ 11492203 w 12192001"/>
                <a:gd name="connsiteY2705" fmla="*/ 2303207 h 6523037"/>
                <a:gd name="connsiteX2706" fmla="*/ 11491504 w 12192001"/>
                <a:gd name="connsiteY2706" fmla="*/ 2303207 h 6523037"/>
                <a:gd name="connsiteX2707" fmla="*/ 11402066 w 12192001"/>
                <a:gd name="connsiteY2707" fmla="*/ 2392646 h 6523037"/>
                <a:gd name="connsiteX2708" fmla="*/ 11536224 w 12192001"/>
                <a:gd name="connsiteY2708" fmla="*/ 2526804 h 6523037"/>
                <a:gd name="connsiteX2709" fmla="*/ 11673176 w 12192001"/>
                <a:gd name="connsiteY2709" fmla="*/ 2663058 h 6523037"/>
                <a:gd name="connsiteX2710" fmla="*/ 11936601 w 12192001"/>
                <a:gd name="connsiteY2710" fmla="*/ 2663058 h 6523037"/>
                <a:gd name="connsiteX2711" fmla="*/ 11665491 w 12192001"/>
                <a:gd name="connsiteY2711" fmla="*/ 2392646 h 6523037"/>
                <a:gd name="connsiteX2712" fmla="*/ 11666888 w 12192001"/>
                <a:gd name="connsiteY2712" fmla="*/ 2391248 h 6523037"/>
                <a:gd name="connsiteX2713" fmla="*/ 11667587 w 12192001"/>
                <a:gd name="connsiteY2713" fmla="*/ 2391248 h 6523037"/>
                <a:gd name="connsiteX2714" fmla="*/ 11935902 w 12192001"/>
                <a:gd name="connsiteY2714" fmla="*/ 2122234 h 6523037"/>
                <a:gd name="connsiteX2715" fmla="*/ 11123968 w 12192001"/>
                <a:gd name="connsiteY2715" fmla="*/ 2122234 h 6523037"/>
                <a:gd name="connsiteX2716" fmla="*/ 10853555 w 12192001"/>
                <a:gd name="connsiteY2716" fmla="*/ 2393345 h 6523037"/>
                <a:gd name="connsiteX2717" fmla="*/ 11123968 w 12192001"/>
                <a:gd name="connsiteY2717" fmla="*/ 2663058 h 6523037"/>
                <a:gd name="connsiteX2718" fmla="*/ 11388091 w 12192001"/>
                <a:gd name="connsiteY2718" fmla="*/ 2663058 h 6523037"/>
                <a:gd name="connsiteX2719" fmla="*/ 11116981 w 12192001"/>
                <a:gd name="connsiteY2719" fmla="*/ 2392646 h 6523037"/>
                <a:gd name="connsiteX2720" fmla="*/ 11301447 w 12192001"/>
                <a:gd name="connsiteY2720" fmla="*/ 2208178 h 6523037"/>
                <a:gd name="connsiteX2721" fmla="*/ 11302146 w 12192001"/>
                <a:gd name="connsiteY2721" fmla="*/ 2208178 h 6523037"/>
                <a:gd name="connsiteX2722" fmla="*/ 11388091 w 12192001"/>
                <a:gd name="connsiteY2722" fmla="*/ 2122234 h 6523037"/>
                <a:gd name="connsiteX2723" fmla="*/ 1261921 w 12192001"/>
                <a:gd name="connsiteY2723" fmla="*/ 1856964 h 6523037"/>
                <a:gd name="connsiteX2724" fmla="*/ 1262620 w 12192001"/>
                <a:gd name="connsiteY2724" fmla="*/ 1857662 h 6523037"/>
                <a:gd name="connsiteX2725" fmla="*/ 1263319 w 12192001"/>
                <a:gd name="connsiteY2725" fmla="*/ 1857662 h 6523037"/>
                <a:gd name="connsiteX2726" fmla="*/ 1532333 w 12192001"/>
                <a:gd name="connsiteY2726" fmla="*/ 2126677 h 6523037"/>
                <a:gd name="connsiteX2727" fmla="*/ 1261921 w 12192001"/>
                <a:gd name="connsiteY2727" fmla="*/ 2397788 h 6523037"/>
                <a:gd name="connsiteX2728" fmla="*/ 1526046 w 12192001"/>
                <a:gd name="connsiteY2728" fmla="*/ 2397788 h 6523037"/>
                <a:gd name="connsiteX2729" fmla="*/ 1796458 w 12192001"/>
                <a:gd name="connsiteY2729" fmla="*/ 2126677 h 6523037"/>
                <a:gd name="connsiteX2730" fmla="*/ 1791566 w 12192001"/>
                <a:gd name="connsiteY2730" fmla="*/ 2121786 h 6523037"/>
                <a:gd name="connsiteX2731" fmla="*/ 1526046 w 12192001"/>
                <a:gd name="connsiteY2731" fmla="*/ 1856964 h 6523037"/>
                <a:gd name="connsiteX2732" fmla="*/ 164203 w 12192001"/>
                <a:gd name="connsiteY2732" fmla="*/ 1856964 h 6523037"/>
                <a:gd name="connsiteX2733" fmla="*/ 165601 w 12192001"/>
                <a:gd name="connsiteY2733" fmla="*/ 1858361 h 6523037"/>
                <a:gd name="connsiteX2734" fmla="*/ 434615 w 12192001"/>
                <a:gd name="connsiteY2734" fmla="*/ 2127376 h 6523037"/>
                <a:gd name="connsiteX2735" fmla="*/ 164203 w 12192001"/>
                <a:gd name="connsiteY2735" fmla="*/ 2397089 h 6523037"/>
                <a:gd name="connsiteX2736" fmla="*/ 428326 w 12192001"/>
                <a:gd name="connsiteY2736" fmla="*/ 2397089 h 6523037"/>
                <a:gd name="connsiteX2737" fmla="*/ 698738 w 12192001"/>
                <a:gd name="connsiteY2737" fmla="*/ 2125979 h 6523037"/>
                <a:gd name="connsiteX2738" fmla="*/ 695191 w 12192001"/>
                <a:gd name="connsiteY2738" fmla="*/ 2122430 h 6523037"/>
                <a:gd name="connsiteX2739" fmla="*/ 709860 w 12192001"/>
                <a:gd name="connsiteY2739" fmla="*/ 2129472 h 6523037"/>
                <a:gd name="connsiteX2740" fmla="*/ 705726 w 12192001"/>
                <a:gd name="connsiteY2740" fmla="*/ 2129472 h 6523037"/>
                <a:gd name="connsiteX2741" fmla="*/ 435314 w 12192001"/>
                <a:gd name="connsiteY2741" fmla="*/ 2400583 h 6523037"/>
                <a:gd name="connsiteX2742" fmla="*/ 706425 w 12192001"/>
                <a:gd name="connsiteY2742" fmla="*/ 2670995 h 6523037"/>
                <a:gd name="connsiteX2743" fmla="*/ 970548 w 12192001"/>
                <a:gd name="connsiteY2743" fmla="*/ 2670995 h 6523037"/>
                <a:gd name="connsiteX2744" fmla="*/ 699437 w 12192001"/>
                <a:gd name="connsiteY2744" fmla="*/ 2400583 h 6523037"/>
                <a:gd name="connsiteX2745" fmla="*/ 883903 w 12192001"/>
                <a:gd name="connsiteY2745" fmla="*/ 2216115 h 6523037"/>
                <a:gd name="connsiteX2746" fmla="*/ 969849 w 12192001"/>
                <a:gd name="connsiteY2746" fmla="*/ 2130171 h 6523037"/>
                <a:gd name="connsiteX2747" fmla="*/ 711316 w 12192001"/>
                <a:gd name="connsiteY2747" fmla="*/ 2130171 h 6523037"/>
                <a:gd name="connsiteX2748" fmla="*/ 709860 w 12192001"/>
                <a:gd name="connsiteY2748" fmla="*/ 2129472 h 6523037"/>
                <a:gd name="connsiteX2749" fmla="*/ 711316 w 12192001"/>
                <a:gd name="connsiteY2749" fmla="*/ 2129472 h 6523037"/>
                <a:gd name="connsiteX2750" fmla="*/ 693847 w 12192001"/>
                <a:gd name="connsiteY2750" fmla="*/ 2121087 h 6523037"/>
                <a:gd name="connsiteX2751" fmla="*/ 695191 w 12192001"/>
                <a:gd name="connsiteY2751" fmla="*/ 2122430 h 6523037"/>
                <a:gd name="connsiteX2752" fmla="*/ 693847 w 12192001"/>
                <a:gd name="connsiteY2752" fmla="*/ 2121786 h 6523037"/>
                <a:gd name="connsiteX2753" fmla="*/ 428326 w 12192001"/>
                <a:gd name="connsiteY2753" fmla="*/ 1856964 h 6523037"/>
                <a:gd name="connsiteX2754" fmla="*/ 712014 w 12192001"/>
                <a:gd name="connsiteY2754" fmla="*/ 1856265 h 6523037"/>
                <a:gd name="connsiteX2755" fmla="*/ 983125 w 12192001"/>
                <a:gd name="connsiteY2755" fmla="*/ 2125979 h 6523037"/>
                <a:gd name="connsiteX2756" fmla="*/ 980330 w 12192001"/>
                <a:gd name="connsiteY2756" fmla="*/ 2128773 h 6523037"/>
                <a:gd name="connsiteX2757" fmla="*/ 890192 w 12192001"/>
                <a:gd name="connsiteY2757" fmla="*/ 2219610 h 6523037"/>
                <a:gd name="connsiteX2758" fmla="*/ 712713 w 12192001"/>
                <a:gd name="connsiteY2758" fmla="*/ 2397089 h 6523037"/>
                <a:gd name="connsiteX2759" fmla="*/ 976837 w 12192001"/>
                <a:gd name="connsiteY2759" fmla="*/ 2397089 h 6523037"/>
                <a:gd name="connsiteX2760" fmla="*/ 1066275 w 12192001"/>
                <a:gd name="connsiteY2760" fmla="*/ 2307651 h 6523037"/>
                <a:gd name="connsiteX2761" fmla="*/ 1247249 w 12192001"/>
                <a:gd name="connsiteY2761" fmla="*/ 2126677 h 6523037"/>
                <a:gd name="connsiteX2762" fmla="*/ 1114488 w 12192001"/>
                <a:gd name="connsiteY2762" fmla="*/ 1994616 h 6523037"/>
                <a:gd name="connsiteX2763" fmla="*/ 976138 w 12192001"/>
                <a:gd name="connsiteY2763" fmla="*/ 1856265 h 6523037"/>
                <a:gd name="connsiteX2764" fmla="*/ 2359641 w 12192001"/>
                <a:gd name="connsiteY2764" fmla="*/ 1855567 h 6523037"/>
                <a:gd name="connsiteX2765" fmla="*/ 2489606 w 12192001"/>
                <a:gd name="connsiteY2765" fmla="*/ 1985532 h 6523037"/>
                <a:gd name="connsiteX2766" fmla="*/ 2630053 w 12192001"/>
                <a:gd name="connsiteY2766" fmla="*/ 2125979 h 6523037"/>
                <a:gd name="connsiteX2767" fmla="*/ 2359641 w 12192001"/>
                <a:gd name="connsiteY2767" fmla="*/ 2397089 h 6523037"/>
                <a:gd name="connsiteX2768" fmla="*/ 2623764 w 12192001"/>
                <a:gd name="connsiteY2768" fmla="*/ 2397089 h 6523037"/>
                <a:gd name="connsiteX2769" fmla="*/ 2894176 w 12192001"/>
                <a:gd name="connsiteY2769" fmla="*/ 2125979 h 6523037"/>
                <a:gd name="connsiteX2770" fmla="*/ 2623065 w 12192001"/>
                <a:gd name="connsiteY2770" fmla="*/ 1855567 h 6523037"/>
                <a:gd name="connsiteX2771" fmla="*/ 1810432 w 12192001"/>
                <a:gd name="connsiteY2771" fmla="*/ 1855567 h 6523037"/>
                <a:gd name="connsiteX2772" fmla="*/ 2081543 w 12192001"/>
                <a:gd name="connsiteY2772" fmla="*/ 2125979 h 6523037"/>
                <a:gd name="connsiteX2773" fmla="*/ 2078748 w 12192001"/>
                <a:gd name="connsiteY2773" fmla="*/ 2128773 h 6523037"/>
                <a:gd name="connsiteX2774" fmla="*/ 1988611 w 12192001"/>
                <a:gd name="connsiteY2774" fmla="*/ 2219610 h 6523037"/>
                <a:gd name="connsiteX2775" fmla="*/ 1987912 w 12192001"/>
                <a:gd name="connsiteY2775" fmla="*/ 2219610 h 6523037"/>
                <a:gd name="connsiteX2776" fmla="*/ 1811131 w 12192001"/>
                <a:gd name="connsiteY2776" fmla="*/ 2397089 h 6523037"/>
                <a:gd name="connsiteX2777" fmla="*/ 2074555 w 12192001"/>
                <a:gd name="connsiteY2777" fmla="*/ 2396391 h 6523037"/>
                <a:gd name="connsiteX2778" fmla="*/ 2163994 w 12192001"/>
                <a:gd name="connsiteY2778" fmla="*/ 2306952 h 6523037"/>
                <a:gd name="connsiteX2779" fmla="*/ 2164693 w 12192001"/>
                <a:gd name="connsiteY2779" fmla="*/ 2306952 h 6523037"/>
                <a:gd name="connsiteX2780" fmla="*/ 2345666 w 12192001"/>
                <a:gd name="connsiteY2780" fmla="*/ 2125979 h 6523037"/>
                <a:gd name="connsiteX2781" fmla="*/ 2074555 w 12192001"/>
                <a:gd name="connsiteY2781" fmla="*/ 1855567 h 6523037"/>
                <a:gd name="connsiteX2782" fmla="*/ 2907452 w 12192001"/>
                <a:gd name="connsiteY2782" fmla="*/ 1854868 h 6523037"/>
                <a:gd name="connsiteX2783" fmla="*/ 3178563 w 12192001"/>
                <a:gd name="connsiteY2783" fmla="*/ 2125280 h 6523037"/>
                <a:gd name="connsiteX2784" fmla="*/ 2908151 w 12192001"/>
                <a:gd name="connsiteY2784" fmla="*/ 2396391 h 6523037"/>
                <a:gd name="connsiteX2785" fmla="*/ 3172275 w 12192001"/>
                <a:gd name="connsiteY2785" fmla="*/ 2396391 h 6523037"/>
                <a:gd name="connsiteX2786" fmla="*/ 3442687 w 12192001"/>
                <a:gd name="connsiteY2786" fmla="*/ 2125280 h 6523037"/>
                <a:gd name="connsiteX2787" fmla="*/ 3171576 w 12192001"/>
                <a:gd name="connsiteY2787" fmla="*/ 1854868 h 6523037"/>
                <a:gd name="connsiteX2788" fmla="*/ 4552984 w 12192001"/>
                <a:gd name="connsiteY2788" fmla="*/ 1852771 h 6523037"/>
                <a:gd name="connsiteX2789" fmla="*/ 4820022 w 12192001"/>
                <a:gd name="connsiteY2789" fmla="*/ 2119120 h 6523037"/>
                <a:gd name="connsiteX2790" fmla="*/ 5080746 w 12192001"/>
                <a:gd name="connsiteY2790" fmla="*/ 2119120 h 6523037"/>
                <a:gd name="connsiteX2791" fmla="*/ 4813709 w 12192001"/>
                <a:gd name="connsiteY2791" fmla="*/ 1852771 h 6523037"/>
                <a:gd name="connsiteX2792" fmla="*/ 4004473 w 12192001"/>
                <a:gd name="connsiteY2792" fmla="*/ 1852771 h 6523037"/>
                <a:gd name="connsiteX2793" fmla="*/ 4005871 w 12192001"/>
                <a:gd name="connsiteY2793" fmla="*/ 1854169 h 6523037"/>
                <a:gd name="connsiteX2794" fmla="*/ 4274885 w 12192001"/>
                <a:gd name="connsiteY2794" fmla="*/ 2123183 h 6523037"/>
                <a:gd name="connsiteX2795" fmla="*/ 4004473 w 12192001"/>
                <a:gd name="connsiteY2795" fmla="*/ 2394294 h 6523037"/>
                <a:gd name="connsiteX2796" fmla="*/ 4268598 w 12192001"/>
                <a:gd name="connsiteY2796" fmla="*/ 2394294 h 6523037"/>
                <a:gd name="connsiteX2797" fmla="*/ 4539009 w 12192001"/>
                <a:gd name="connsiteY2797" fmla="*/ 2123183 h 6523037"/>
                <a:gd name="connsiteX2798" fmla="*/ 4534118 w 12192001"/>
                <a:gd name="connsiteY2798" fmla="*/ 2118292 h 6523037"/>
                <a:gd name="connsiteX2799" fmla="*/ 4268598 w 12192001"/>
                <a:gd name="connsiteY2799" fmla="*/ 1852771 h 6523037"/>
                <a:gd name="connsiteX2800" fmla="*/ 5922027 w 12192001"/>
                <a:gd name="connsiteY2800" fmla="*/ 1852202 h 6523037"/>
                <a:gd name="connsiteX2801" fmla="*/ 5922727 w 12192001"/>
                <a:gd name="connsiteY2801" fmla="*/ 1852900 h 6523037"/>
                <a:gd name="connsiteX2802" fmla="*/ 5923425 w 12192001"/>
                <a:gd name="connsiteY2802" fmla="*/ 1852900 h 6523037"/>
                <a:gd name="connsiteX2803" fmla="*/ 6192439 w 12192001"/>
                <a:gd name="connsiteY2803" fmla="*/ 2121915 h 6523037"/>
                <a:gd name="connsiteX2804" fmla="*/ 5922027 w 12192001"/>
                <a:gd name="connsiteY2804" fmla="*/ 2393026 h 6523037"/>
                <a:gd name="connsiteX2805" fmla="*/ 6186152 w 12192001"/>
                <a:gd name="connsiteY2805" fmla="*/ 2393026 h 6523037"/>
                <a:gd name="connsiteX2806" fmla="*/ 6456565 w 12192001"/>
                <a:gd name="connsiteY2806" fmla="*/ 2121915 h 6523037"/>
                <a:gd name="connsiteX2807" fmla="*/ 6451672 w 12192001"/>
                <a:gd name="connsiteY2807" fmla="*/ 2117024 h 6523037"/>
                <a:gd name="connsiteX2808" fmla="*/ 6186152 w 12192001"/>
                <a:gd name="connsiteY2808" fmla="*/ 1852202 h 6523037"/>
                <a:gd name="connsiteX2809" fmla="*/ 4824309 w 12192001"/>
                <a:gd name="connsiteY2809" fmla="*/ 1852202 h 6523037"/>
                <a:gd name="connsiteX2810" fmla="*/ 4825707 w 12192001"/>
                <a:gd name="connsiteY2810" fmla="*/ 1853599 h 6523037"/>
                <a:gd name="connsiteX2811" fmla="*/ 5094721 w 12192001"/>
                <a:gd name="connsiteY2811" fmla="*/ 2122614 h 6523037"/>
                <a:gd name="connsiteX2812" fmla="*/ 4824309 w 12192001"/>
                <a:gd name="connsiteY2812" fmla="*/ 2392327 h 6523037"/>
                <a:gd name="connsiteX2813" fmla="*/ 5088432 w 12192001"/>
                <a:gd name="connsiteY2813" fmla="*/ 2392327 h 6523037"/>
                <a:gd name="connsiteX2814" fmla="*/ 5358844 w 12192001"/>
                <a:gd name="connsiteY2814" fmla="*/ 2121217 h 6523037"/>
                <a:gd name="connsiteX2815" fmla="*/ 5355297 w 12192001"/>
                <a:gd name="connsiteY2815" fmla="*/ 2117668 h 6523037"/>
                <a:gd name="connsiteX2816" fmla="*/ 5369967 w 12192001"/>
                <a:gd name="connsiteY2816" fmla="*/ 2124710 h 6523037"/>
                <a:gd name="connsiteX2817" fmla="*/ 5365832 w 12192001"/>
                <a:gd name="connsiteY2817" fmla="*/ 2124710 h 6523037"/>
                <a:gd name="connsiteX2818" fmla="*/ 5095421 w 12192001"/>
                <a:gd name="connsiteY2818" fmla="*/ 2395821 h 6523037"/>
                <a:gd name="connsiteX2819" fmla="*/ 5366532 w 12192001"/>
                <a:gd name="connsiteY2819" fmla="*/ 2666233 h 6523037"/>
                <a:gd name="connsiteX2820" fmla="*/ 5630655 w 12192001"/>
                <a:gd name="connsiteY2820" fmla="*/ 2666233 h 6523037"/>
                <a:gd name="connsiteX2821" fmla="*/ 5359544 w 12192001"/>
                <a:gd name="connsiteY2821" fmla="*/ 2395821 h 6523037"/>
                <a:gd name="connsiteX2822" fmla="*/ 5544009 w 12192001"/>
                <a:gd name="connsiteY2822" fmla="*/ 2211353 h 6523037"/>
                <a:gd name="connsiteX2823" fmla="*/ 5629955 w 12192001"/>
                <a:gd name="connsiteY2823" fmla="*/ 2125409 h 6523037"/>
                <a:gd name="connsiteX2824" fmla="*/ 5371422 w 12192001"/>
                <a:gd name="connsiteY2824" fmla="*/ 2125409 h 6523037"/>
                <a:gd name="connsiteX2825" fmla="*/ 5369967 w 12192001"/>
                <a:gd name="connsiteY2825" fmla="*/ 2124710 h 6523037"/>
                <a:gd name="connsiteX2826" fmla="*/ 5371422 w 12192001"/>
                <a:gd name="connsiteY2826" fmla="*/ 2124710 h 6523037"/>
                <a:gd name="connsiteX2827" fmla="*/ 5353953 w 12192001"/>
                <a:gd name="connsiteY2827" fmla="*/ 2116325 h 6523037"/>
                <a:gd name="connsiteX2828" fmla="*/ 5355297 w 12192001"/>
                <a:gd name="connsiteY2828" fmla="*/ 2117668 h 6523037"/>
                <a:gd name="connsiteX2829" fmla="*/ 5353953 w 12192001"/>
                <a:gd name="connsiteY2829" fmla="*/ 2117024 h 6523037"/>
                <a:gd name="connsiteX2830" fmla="*/ 5088432 w 12192001"/>
                <a:gd name="connsiteY2830" fmla="*/ 1852202 h 6523037"/>
                <a:gd name="connsiteX2831" fmla="*/ 5372120 w 12192001"/>
                <a:gd name="connsiteY2831" fmla="*/ 1851503 h 6523037"/>
                <a:gd name="connsiteX2832" fmla="*/ 5643231 w 12192001"/>
                <a:gd name="connsiteY2832" fmla="*/ 2121217 h 6523037"/>
                <a:gd name="connsiteX2833" fmla="*/ 5640436 w 12192001"/>
                <a:gd name="connsiteY2833" fmla="*/ 2124011 h 6523037"/>
                <a:gd name="connsiteX2834" fmla="*/ 5550298 w 12192001"/>
                <a:gd name="connsiteY2834" fmla="*/ 2214848 h 6523037"/>
                <a:gd name="connsiteX2835" fmla="*/ 5372819 w 12192001"/>
                <a:gd name="connsiteY2835" fmla="*/ 2392327 h 6523037"/>
                <a:gd name="connsiteX2836" fmla="*/ 5636944 w 12192001"/>
                <a:gd name="connsiteY2836" fmla="*/ 2392327 h 6523037"/>
                <a:gd name="connsiteX2837" fmla="*/ 5726382 w 12192001"/>
                <a:gd name="connsiteY2837" fmla="*/ 2302889 h 6523037"/>
                <a:gd name="connsiteX2838" fmla="*/ 5907355 w 12192001"/>
                <a:gd name="connsiteY2838" fmla="*/ 2121915 h 6523037"/>
                <a:gd name="connsiteX2839" fmla="*/ 5774594 w 12192001"/>
                <a:gd name="connsiteY2839" fmla="*/ 1989854 h 6523037"/>
                <a:gd name="connsiteX2840" fmla="*/ 5636244 w 12192001"/>
                <a:gd name="connsiteY2840" fmla="*/ 1851503 h 6523037"/>
                <a:gd name="connsiteX2841" fmla="*/ 7019748 w 12192001"/>
                <a:gd name="connsiteY2841" fmla="*/ 1850805 h 6523037"/>
                <a:gd name="connsiteX2842" fmla="*/ 7149712 w 12192001"/>
                <a:gd name="connsiteY2842" fmla="*/ 1980770 h 6523037"/>
                <a:gd name="connsiteX2843" fmla="*/ 7290159 w 12192001"/>
                <a:gd name="connsiteY2843" fmla="*/ 2121217 h 6523037"/>
                <a:gd name="connsiteX2844" fmla="*/ 7019748 w 12192001"/>
                <a:gd name="connsiteY2844" fmla="*/ 2392327 h 6523037"/>
                <a:gd name="connsiteX2845" fmla="*/ 7283870 w 12192001"/>
                <a:gd name="connsiteY2845" fmla="*/ 2392327 h 6523037"/>
                <a:gd name="connsiteX2846" fmla="*/ 7554282 w 12192001"/>
                <a:gd name="connsiteY2846" fmla="*/ 2121217 h 6523037"/>
                <a:gd name="connsiteX2847" fmla="*/ 7283171 w 12192001"/>
                <a:gd name="connsiteY2847" fmla="*/ 1850805 h 6523037"/>
                <a:gd name="connsiteX2848" fmla="*/ 6470538 w 12192001"/>
                <a:gd name="connsiteY2848" fmla="*/ 1850805 h 6523037"/>
                <a:gd name="connsiteX2849" fmla="*/ 6741650 w 12192001"/>
                <a:gd name="connsiteY2849" fmla="*/ 2121217 h 6523037"/>
                <a:gd name="connsiteX2850" fmla="*/ 6738854 w 12192001"/>
                <a:gd name="connsiteY2850" fmla="*/ 2124011 h 6523037"/>
                <a:gd name="connsiteX2851" fmla="*/ 6648717 w 12192001"/>
                <a:gd name="connsiteY2851" fmla="*/ 2214848 h 6523037"/>
                <a:gd name="connsiteX2852" fmla="*/ 6648019 w 12192001"/>
                <a:gd name="connsiteY2852" fmla="*/ 2214848 h 6523037"/>
                <a:gd name="connsiteX2853" fmla="*/ 6471238 w 12192001"/>
                <a:gd name="connsiteY2853" fmla="*/ 2392327 h 6523037"/>
                <a:gd name="connsiteX2854" fmla="*/ 6734661 w 12192001"/>
                <a:gd name="connsiteY2854" fmla="*/ 2391629 h 6523037"/>
                <a:gd name="connsiteX2855" fmla="*/ 6824100 w 12192001"/>
                <a:gd name="connsiteY2855" fmla="*/ 2302190 h 6523037"/>
                <a:gd name="connsiteX2856" fmla="*/ 6824799 w 12192001"/>
                <a:gd name="connsiteY2856" fmla="*/ 2302190 h 6523037"/>
                <a:gd name="connsiteX2857" fmla="*/ 7005773 w 12192001"/>
                <a:gd name="connsiteY2857" fmla="*/ 2121217 h 6523037"/>
                <a:gd name="connsiteX2858" fmla="*/ 6734661 w 12192001"/>
                <a:gd name="connsiteY2858" fmla="*/ 1850805 h 6523037"/>
                <a:gd name="connsiteX2859" fmla="*/ 7567558 w 12192001"/>
                <a:gd name="connsiteY2859" fmla="*/ 1850106 h 6523037"/>
                <a:gd name="connsiteX2860" fmla="*/ 7838669 w 12192001"/>
                <a:gd name="connsiteY2860" fmla="*/ 2120518 h 6523037"/>
                <a:gd name="connsiteX2861" fmla="*/ 7568257 w 12192001"/>
                <a:gd name="connsiteY2861" fmla="*/ 2391629 h 6523037"/>
                <a:gd name="connsiteX2862" fmla="*/ 7832381 w 12192001"/>
                <a:gd name="connsiteY2862" fmla="*/ 2391629 h 6523037"/>
                <a:gd name="connsiteX2863" fmla="*/ 8102793 w 12192001"/>
                <a:gd name="connsiteY2863" fmla="*/ 2120518 h 6523037"/>
                <a:gd name="connsiteX2864" fmla="*/ 7831682 w 12192001"/>
                <a:gd name="connsiteY2864" fmla="*/ 1850106 h 6523037"/>
                <a:gd name="connsiteX2865" fmla="*/ 10582444 w 12192001"/>
                <a:gd name="connsiteY2865" fmla="*/ 1849027 h 6523037"/>
                <a:gd name="connsiteX2866" fmla="*/ 10583143 w 12192001"/>
                <a:gd name="connsiteY2866" fmla="*/ 1849725 h 6523037"/>
                <a:gd name="connsiteX2867" fmla="*/ 10583842 w 12192001"/>
                <a:gd name="connsiteY2867" fmla="*/ 1849725 h 6523037"/>
                <a:gd name="connsiteX2868" fmla="*/ 10852856 w 12192001"/>
                <a:gd name="connsiteY2868" fmla="*/ 2118740 h 6523037"/>
                <a:gd name="connsiteX2869" fmla="*/ 10582444 w 12192001"/>
                <a:gd name="connsiteY2869" fmla="*/ 2389851 h 6523037"/>
                <a:gd name="connsiteX2870" fmla="*/ 10846569 w 12192001"/>
                <a:gd name="connsiteY2870" fmla="*/ 2389851 h 6523037"/>
                <a:gd name="connsiteX2871" fmla="*/ 11116981 w 12192001"/>
                <a:gd name="connsiteY2871" fmla="*/ 2118740 h 6523037"/>
                <a:gd name="connsiteX2872" fmla="*/ 11112089 w 12192001"/>
                <a:gd name="connsiteY2872" fmla="*/ 2113849 h 6523037"/>
                <a:gd name="connsiteX2873" fmla="*/ 10846569 w 12192001"/>
                <a:gd name="connsiteY2873" fmla="*/ 1849027 h 6523037"/>
                <a:gd name="connsiteX2874" fmla="*/ 9484726 w 12192001"/>
                <a:gd name="connsiteY2874" fmla="*/ 1849027 h 6523037"/>
                <a:gd name="connsiteX2875" fmla="*/ 9486124 w 12192001"/>
                <a:gd name="connsiteY2875" fmla="*/ 1850424 h 6523037"/>
                <a:gd name="connsiteX2876" fmla="*/ 9755138 w 12192001"/>
                <a:gd name="connsiteY2876" fmla="*/ 2119439 h 6523037"/>
                <a:gd name="connsiteX2877" fmla="*/ 9484726 w 12192001"/>
                <a:gd name="connsiteY2877" fmla="*/ 2389152 h 6523037"/>
                <a:gd name="connsiteX2878" fmla="*/ 9748849 w 12192001"/>
                <a:gd name="connsiteY2878" fmla="*/ 2389152 h 6523037"/>
                <a:gd name="connsiteX2879" fmla="*/ 10019261 w 12192001"/>
                <a:gd name="connsiteY2879" fmla="*/ 2118042 h 6523037"/>
                <a:gd name="connsiteX2880" fmla="*/ 10015714 w 12192001"/>
                <a:gd name="connsiteY2880" fmla="*/ 2114494 h 6523037"/>
                <a:gd name="connsiteX2881" fmla="*/ 10030383 w 12192001"/>
                <a:gd name="connsiteY2881" fmla="*/ 2121535 h 6523037"/>
                <a:gd name="connsiteX2882" fmla="*/ 10026249 w 12192001"/>
                <a:gd name="connsiteY2882" fmla="*/ 2121535 h 6523037"/>
                <a:gd name="connsiteX2883" fmla="*/ 9755837 w 12192001"/>
                <a:gd name="connsiteY2883" fmla="*/ 2392646 h 6523037"/>
                <a:gd name="connsiteX2884" fmla="*/ 10026948 w 12192001"/>
                <a:gd name="connsiteY2884" fmla="*/ 2663058 h 6523037"/>
                <a:gd name="connsiteX2885" fmla="*/ 10291071 w 12192001"/>
                <a:gd name="connsiteY2885" fmla="*/ 2663058 h 6523037"/>
                <a:gd name="connsiteX2886" fmla="*/ 10019960 w 12192001"/>
                <a:gd name="connsiteY2886" fmla="*/ 2392646 h 6523037"/>
                <a:gd name="connsiteX2887" fmla="*/ 10204426 w 12192001"/>
                <a:gd name="connsiteY2887" fmla="*/ 2208178 h 6523037"/>
                <a:gd name="connsiteX2888" fmla="*/ 10290372 w 12192001"/>
                <a:gd name="connsiteY2888" fmla="*/ 2122234 h 6523037"/>
                <a:gd name="connsiteX2889" fmla="*/ 10031839 w 12192001"/>
                <a:gd name="connsiteY2889" fmla="*/ 2122234 h 6523037"/>
                <a:gd name="connsiteX2890" fmla="*/ 10030383 w 12192001"/>
                <a:gd name="connsiteY2890" fmla="*/ 2121535 h 6523037"/>
                <a:gd name="connsiteX2891" fmla="*/ 10031839 w 12192001"/>
                <a:gd name="connsiteY2891" fmla="*/ 2121535 h 6523037"/>
                <a:gd name="connsiteX2892" fmla="*/ 10014370 w 12192001"/>
                <a:gd name="connsiteY2892" fmla="*/ 2113150 h 6523037"/>
                <a:gd name="connsiteX2893" fmla="*/ 10015714 w 12192001"/>
                <a:gd name="connsiteY2893" fmla="*/ 2114494 h 6523037"/>
                <a:gd name="connsiteX2894" fmla="*/ 10014370 w 12192001"/>
                <a:gd name="connsiteY2894" fmla="*/ 2113849 h 6523037"/>
                <a:gd name="connsiteX2895" fmla="*/ 9748849 w 12192001"/>
                <a:gd name="connsiteY2895" fmla="*/ 1849027 h 6523037"/>
                <a:gd name="connsiteX2896" fmla="*/ 10032537 w 12192001"/>
                <a:gd name="connsiteY2896" fmla="*/ 1848328 h 6523037"/>
                <a:gd name="connsiteX2897" fmla="*/ 10303648 w 12192001"/>
                <a:gd name="connsiteY2897" fmla="*/ 2118042 h 6523037"/>
                <a:gd name="connsiteX2898" fmla="*/ 10300853 w 12192001"/>
                <a:gd name="connsiteY2898" fmla="*/ 2120836 h 6523037"/>
                <a:gd name="connsiteX2899" fmla="*/ 10210715 w 12192001"/>
                <a:gd name="connsiteY2899" fmla="*/ 2211673 h 6523037"/>
                <a:gd name="connsiteX2900" fmla="*/ 10033236 w 12192001"/>
                <a:gd name="connsiteY2900" fmla="*/ 2389152 h 6523037"/>
                <a:gd name="connsiteX2901" fmla="*/ 10297360 w 12192001"/>
                <a:gd name="connsiteY2901" fmla="*/ 2389152 h 6523037"/>
                <a:gd name="connsiteX2902" fmla="*/ 10386798 w 12192001"/>
                <a:gd name="connsiteY2902" fmla="*/ 2299714 h 6523037"/>
                <a:gd name="connsiteX2903" fmla="*/ 10567772 w 12192001"/>
                <a:gd name="connsiteY2903" fmla="*/ 2118740 h 6523037"/>
                <a:gd name="connsiteX2904" fmla="*/ 10435011 w 12192001"/>
                <a:gd name="connsiteY2904" fmla="*/ 1986679 h 6523037"/>
                <a:gd name="connsiteX2905" fmla="*/ 10296661 w 12192001"/>
                <a:gd name="connsiteY2905" fmla="*/ 1848328 h 6523037"/>
                <a:gd name="connsiteX2906" fmla="*/ 9213090 w 12192001"/>
                <a:gd name="connsiteY2906" fmla="*/ 1848009 h 6523037"/>
                <a:gd name="connsiteX2907" fmla="*/ 9481718 w 12192001"/>
                <a:gd name="connsiteY2907" fmla="*/ 2115945 h 6523037"/>
                <a:gd name="connsiteX2908" fmla="*/ 9741163 w 12192001"/>
                <a:gd name="connsiteY2908" fmla="*/ 2115945 h 6523037"/>
                <a:gd name="connsiteX2909" fmla="*/ 9472534 w 12192001"/>
                <a:gd name="connsiteY2909" fmla="*/ 1848009 h 6523037"/>
                <a:gd name="connsiteX2910" fmla="*/ 8664579 w 12192001"/>
                <a:gd name="connsiteY2910" fmla="*/ 1848009 h 6523037"/>
                <a:gd name="connsiteX2911" fmla="*/ 8665977 w 12192001"/>
                <a:gd name="connsiteY2911" fmla="*/ 1849407 h 6523037"/>
                <a:gd name="connsiteX2912" fmla="*/ 8934991 w 12192001"/>
                <a:gd name="connsiteY2912" fmla="*/ 2118421 h 6523037"/>
                <a:gd name="connsiteX2913" fmla="*/ 8664579 w 12192001"/>
                <a:gd name="connsiteY2913" fmla="*/ 2389532 h 6523037"/>
                <a:gd name="connsiteX2914" fmla="*/ 8928703 w 12192001"/>
                <a:gd name="connsiteY2914" fmla="*/ 2389532 h 6523037"/>
                <a:gd name="connsiteX2915" fmla="*/ 9199115 w 12192001"/>
                <a:gd name="connsiteY2915" fmla="*/ 2118421 h 6523037"/>
                <a:gd name="connsiteX2916" fmla="*/ 9194224 w 12192001"/>
                <a:gd name="connsiteY2916" fmla="*/ 2113530 h 6523037"/>
                <a:gd name="connsiteX2917" fmla="*/ 8928703 w 12192001"/>
                <a:gd name="connsiteY2917" fmla="*/ 1848009 h 6523037"/>
                <a:gd name="connsiteX2918" fmla="*/ 11130955 w 12192001"/>
                <a:gd name="connsiteY2918" fmla="*/ 1847630 h 6523037"/>
                <a:gd name="connsiteX2919" fmla="*/ 11402066 w 12192001"/>
                <a:gd name="connsiteY2919" fmla="*/ 2118042 h 6523037"/>
                <a:gd name="connsiteX2920" fmla="*/ 11399271 w 12192001"/>
                <a:gd name="connsiteY2920" fmla="*/ 2120836 h 6523037"/>
                <a:gd name="connsiteX2921" fmla="*/ 11309134 w 12192001"/>
                <a:gd name="connsiteY2921" fmla="*/ 2211673 h 6523037"/>
                <a:gd name="connsiteX2922" fmla="*/ 11308435 w 12192001"/>
                <a:gd name="connsiteY2922" fmla="*/ 2211673 h 6523037"/>
                <a:gd name="connsiteX2923" fmla="*/ 11131654 w 12192001"/>
                <a:gd name="connsiteY2923" fmla="*/ 2389152 h 6523037"/>
                <a:gd name="connsiteX2924" fmla="*/ 11395078 w 12192001"/>
                <a:gd name="connsiteY2924" fmla="*/ 2388455 h 6523037"/>
                <a:gd name="connsiteX2925" fmla="*/ 11484517 w 12192001"/>
                <a:gd name="connsiteY2925" fmla="*/ 2299015 h 6523037"/>
                <a:gd name="connsiteX2926" fmla="*/ 11485216 w 12192001"/>
                <a:gd name="connsiteY2926" fmla="*/ 2299015 h 6523037"/>
                <a:gd name="connsiteX2927" fmla="*/ 11666189 w 12192001"/>
                <a:gd name="connsiteY2927" fmla="*/ 2118042 h 6523037"/>
                <a:gd name="connsiteX2928" fmla="*/ 11395078 w 12192001"/>
                <a:gd name="connsiteY2928" fmla="*/ 1847630 h 6523037"/>
                <a:gd name="connsiteX2929" fmla="*/ 705027 w 12192001"/>
                <a:gd name="connsiteY2929" fmla="*/ 1582359 h 6523037"/>
                <a:gd name="connsiteX2930" fmla="*/ 434615 w 12192001"/>
                <a:gd name="connsiteY2930" fmla="*/ 1853470 h 6523037"/>
                <a:gd name="connsiteX2931" fmla="*/ 705726 w 12192001"/>
                <a:gd name="connsiteY2931" fmla="*/ 2123882 h 6523037"/>
                <a:gd name="connsiteX2932" fmla="*/ 969849 w 12192001"/>
                <a:gd name="connsiteY2932" fmla="*/ 2123882 h 6523037"/>
                <a:gd name="connsiteX2933" fmla="*/ 698738 w 12192001"/>
                <a:gd name="connsiteY2933" fmla="*/ 1853470 h 6523037"/>
                <a:gd name="connsiteX2934" fmla="*/ 969150 w 12192001"/>
                <a:gd name="connsiteY2934" fmla="*/ 1582359 h 6523037"/>
                <a:gd name="connsiteX2935" fmla="*/ 1802746 w 12192001"/>
                <a:gd name="connsiteY2935" fmla="*/ 1581660 h 6523037"/>
                <a:gd name="connsiteX2936" fmla="*/ 1532333 w 12192001"/>
                <a:gd name="connsiteY2936" fmla="*/ 1852771 h 6523037"/>
                <a:gd name="connsiteX2937" fmla="*/ 1803445 w 12192001"/>
                <a:gd name="connsiteY2937" fmla="*/ 2123183 h 6523037"/>
                <a:gd name="connsiteX2938" fmla="*/ 2067568 w 12192001"/>
                <a:gd name="connsiteY2938" fmla="*/ 2123183 h 6523037"/>
                <a:gd name="connsiteX2939" fmla="*/ 1796458 w 12192001"/>
                <a:gd name="connsiteY2939" fmla="*/ 1852771 h 6523037"/>
                <a:gd name="connsiteX2940" fmla="*/ 2066870 w 12192001"/>
                <a:gd name="connsiteY2940" fmla="*/ 1581660 h 6523037"/>
                <a:gd name="connsiteX2941" fmla="*/ 1252838 w 12192001"/>
                <a:gd name="connsiteY2941" fmla="*/ 1581660 h 6523037"/>
                <a:gd name="connsiteX2942" fmla="*/ 983125 w 12192001"/>
                <a:gd name="connsiteY2942" fmla="*/ 1852771 h 6523037"/>
                <a:gd name="connsiteX2943" fmla="*/ 1183663 w 12192001"/>
                <a:gd name="connsiteY2943" fmla="*/ 2053309 h 6523037"/>
                <a:gd name="connsiteX2944" fmla="*/ 1254236 w 12192001"/>
                <a:gd name="connsiteY2944" fmla="*/ 2123183 h 6523037"/>
                <a:gd name="connsiteX2945" fmla="*/ 1322712 w 12192001"/>
                <a:gd name="connsiteY2945" fmla="*/ 2123183 h 6523037"/>
                <a:gd name="connsiteX2946" fmla="*/ 1322014 w 12192001"/>
                <a:gd name="connsiteY2946" fmla="*/ 2124581 h 6523037"/>
                <a:gd name="connsiteX2947" fmla="*/ 1519058 w 12192001"/>
                <a:gd name="connsiteY2947" fmla="*/ 2124581 h 6523037"/>
                <a:gd name="connsiteX2948" fmla="*/ 1247947 w 12192001"/>
                <a:gd name="connsiteY2948" fmla="*/ 1854169 h 6523037"/>
                <a:gd name="connsiteX2949" fmla="*/ 1248646 w 12192001"/>
                <a:gd name="connsiteY2949" fmla="*/ 1853470 h 6523037"/>
                <a:gd name="connsiteX2950" fmla="*/ 1246550 w 12192001"/>
                <a:gd name="connsiteY2950" fmla="*/ 1852771 h 6523037"/>
                <a:gd name="connsiteX2951" fmla="*/ 1516962 w 12192001"/>
                <a:gd name="connsiteY2951" fmla="*/ 1581660 h 6523037"/>
                <a:gd name="connsiteX2952" fmla="*/ 2899766 w 12192001"/>
                <a:gd name="connsiteY2952" fmla="*/ 1580961 h 6523037"/>
                <a:gd name="connsiteX2953" fmla="*/ 2629354 w 12192001"/>
                <a:gd name="connsiteY2953" fmla="*/ 1852072 h 6523037"/>
                <a:gd name="connsiteX2954" fmla="*/ 2900465 w 12192001"/>
                <a:gd name="connsiteY2954" fmla="*/ 2122484 h 6523037"/>
                <a:gd name="connsiteX2955" fmla="*/ 3164588 w 12192001"/>
                <a:gd name="connsiteY2955" fmla="*/ 2122484 h 6523037"/>
                <a:gd name="connsiteX2956" fmla="*/ 2893477 w 12192001"/>
                <a:gd name="connsiteY2956" fmla="*/ 1852072 h 6523037"/>
                <a:gd name="connsiteX2957" fmla="*/ 3163889 w 12192001"/>
                <a:gd name="connsiteY2957" fmla="*/ 1580961 h 6523037"/>
                <a:gd name="connsiteX2958" fmla="*/ 2351257 w 12192001"/>
                <a:gd name="connsiteY2958" fmla="*/ 1580961 h 6523037"/>
                <a:gd name="connsiteX2959" fmla="*/ 2080844 w 12192001"/>
                <a:gd name="connsiteY2959" fmla="*/ 1852072 h 6523037"/>
                <a:gd name="connsiteX2960" fmla="*/ 2351955 w 12192001"/>
                <a:gd name="connsiteY2960" fmla="*/ 2122484 h 6523037"/>
                <a:gd name="connsiteX2961" fmla="*/ 2615379 w 12192001"/>
                <a:gd name="connsiteY2961" fmla="*/ 2122484 h 6523037"/>
                <a:gd name="connsiteX2962" fmla="*/ 2485414 w 12192001"/>
                <a:gd name="connsiteY2962" fmla="*/ 1992519 h 6523037"/>
                <a:gd name="connsiteX2963" fmla="*/ 2344968 w 12192001"/>
                <a:gd name="connsiteY2963" fmla="*/ 1852072 h 6523037"/>
                <a:gd name="connsiteX2964" fmla="*/ 2615379 w 12192001"/>
                <a:gd name="connsiteY2964" fmla="*/ 1580961 h 6523037"/>
                <a:gd name="connsiteX2965" fmla="*/ 3448276 w 12192001"/>
                <a:gd name="connsiteY2965" fmla="*/ 1580263 h 6523037"/>
                <a:gd name="connsiteX2966" fmla="*/ 3177864 w 12192001"/>
                <a:gd name="connsiteY2966" fmla="*/ 1851373 h 6523037"/>
                <a:gd name="connsiteX2967" fmla="*/ 3448975 w 12192001"/>
                <a:gd name="connsiteY2967" fmla="*/ 2121087 h 6523037"/>
                <a:gd name="connsiteX2968" fmla="*/ 3713099 w 12192001"/>
                <a:gd name="connsiteY2968" fmla="*/ 2121087 h 6523037"/>
                <a:gd name="connsiteX2969" fmla="*/ 3441988 w 12192001"/>
                <a:gd name="connsiteY2969" fmla="*/ 1850676 h 6523037"/>
                <a:gd name="connsiteX2970" fmla="*/ 3626455 w 12192001"/>
                <a:gd name="connsiteY2970" fmla="*/ 1666208 h 6523037"/>
                <a:gd name="connsiteX2971" fmla="*/ 3712400 w 12192001"/>
                <a:gd name="connsiteY2971" fmla="*/ 1580263 h 6523037"/>
                <a:gd name="connsiteX2972" fmla="*/ 4545297 w 12192001"/>
                <a:gd name="connsiteY2972" fmla="*/ 1578866 h 6523037"/>
                <a:gd name="connsiteX2973" fmla="*/ 4274885 w 12192001"/>
                <a:gd name="connsiteY2973" fmla="*/ 1849977 h 6523037"/>
                <a:gd name="connsiteX2974" fmla="*/ 4545996 w 12192001"/>
                <a:gd name="connsiteY2974" fmla="*/ 2119690 h 6523037"/>
                <a:gd name="connsiteX2975" fmla="*/ 4807395 w 12192001"/>
                <a:gd name="connsiteY2975" fmla="*/ 2119690 h 6523037"/>
                <a:gd name="connsiteX2976" fmla="*/ 4676176 w 12192001"/>
                <a:gd name="connsiteY2976" fmla="*/ 1989155 h 6523037"/>
                <a:gd name="connsiteX2977" fmla="*/ 4660106 w 12192001"/>
                <a:gd name="connsiteY2977" fmla="*/ 1973084 h 6523037"/>
                <a:gd name="connsiteX2978" fmla="*/ 4660106 w 12192001"/>
                <a:gd name="connsiteY2978" fmla="*/ 1970063 h 6523037"/>
                <a:gd name="connsiteX2979" fmla="*/ 4539009 w 12192001"/>
                <a:gd name="connsiteY2979" fmla="*/ 1849278 h 6523037"/>
                <a:gd name="connsiteX2980" fmla="*/ 4660106 w 12192001"/>
                <a:gd name="connsiteY2980" fmla="*/ 1728181 h 6523037"/>
                <a:gd name="connsiteX2981" fmla="*/ 4660106 w 12192001"/>
                <a:gd name="connsiteY2981" fmla="*/ 1724332 h 6523037"/>
                <a:gd name="connsiteX2982" fmla="*/ 4805571 w 12192001"/>
                <a:gd name="connsiteY2982" fmla="*/ 1578866 h 6523037"/>
                <a:gd name="connsiteX2983" fmla="*/ 4819782 w 12192001"/>
                <a:gd name="connsiteY2983" fmla="*/ 1578296 h 6523037"/>
                <a:gd name="connsiteX2984" fmla="*/ 4552984 w 12192001"/>
                <a:gd name="connsiteY2984" fmla="*/ 1845784 h 6523037"/>
                <a:gd name="connsiteX2985" fmla="*/ 4813254 w 12192001"/>
                <a:gd name="connsiteY2985" fmla="*/ 1845784 h 6523037"/>
                <a:gd name="connsiteX2986" fmla="*/ 5080048 w 12192001"/>
                <a:gd name="connsiteY2986" fmla="*/ 1578296 h 6523037"/>
                <a:gd name="connsiteX2987" fmla="*/ 5365133 w 12192001"/>
                <a:gd name="connsiteY2987" fmla="*/ 1577597 h 6523037"/>
                <a:gd name="connsiteX2988" fmla="*/ 5094721 w 12192001"/>
                <a:gd name="connsiteY2988" fmla="*/ 1848708 h 6523037"/>
                <a:gd name="connsiteX2989" fmla="*/ 5365832 w 12192001"/>
                <a:gd name="connsiteY2989" fmla="*/ 2119120 h 6523037"/>
                <a:gd name="connsiteX2990" fmla="*/ 5629955 w 12192001"/>
                <a:gd name="connsiteY2990" fmla="*/ 2119120 h 6523037"/>
                <a:gd name="connsiteX2991" fmla="*/ 5358844 w 12192001"/>
                <a:gd name="connsiteY2991" fmla="*/ 1848708 h 6523037"/>
                <a:gd name="connsiteX2992" fmla="*/ 5629256 w 12192001"/>
                <a:gd name="connsiteY2992" fmla="*/ 1577597 h 6523037"/>
                <a:gd name="connsiteX2993" fmla="*/ 6462852 w 12192001"/>
                <a:gd name="connsiteY2993" fmla="*/ 1576898 h 6523037"/>
                <a:gd name="connsiteX2994" fmla="*/ 6192439 w 12192001"/>
                <a:gd name="connsiteY2994" fmla="*/ 1848009 h 6523037"/>
                <a:gd name="connsiteX2995" fmla="*/ 6463552 w 12192001"/>
                <a:gd name="connsiteY2995" fmla="*/ 2118421 h 6523037"/>
                <a:gd name="connsiteX2996" fmla="*/ 6727675 w 12192001"/>
                <a:gd name="connsiteY2996" fmla="*/ 2118421 h 6523037"/>
                <a:gd name="connsiteX2997" fmla="*/ 6456565 w 12192001"/>
                <a:gd name="connsiteY2997" fmla="*/ 1848009 h 6523037"/>
                <a:gd name="connsiteX2998" fmla="*/ 6726977 w 12192001"/>
                <a:gd name="connsiteY2998" fmla="*/ 1576898 h 6523037"/>
                <a:gd name="connsiteX2999" fmla="*/ 5912945 w 12192001"/>
                <a:gd name="connsiteY2999" fmla="*/ 1576898 h 6523037"/>
                <a:gd name="connsiteX3000" fmla="*/ 5643231 w 12192001"/>
                <a:gd name="connsiteY3000" fmla="*/ 1848009 h 6523037"/>
                <a:gd name="connsiteX3001" fmla="*/ 5843769 w 12192001"/>
                <a:gd name="connsiteY3001" fmla="*/ 2048547 h 6523037"/>
                <a:gd name="connsiteX3002" fmla="*/ 5914342 w 12192001"/>
                <a:gd name="connsiteY3002" fmla="*/ 2118421 h 6523037"/>
                <a:gd name="connsiteX3003" fmla="*/ 5982819 w 12192001"/>
                <a:gd name="connsiteY3003" fmla="*/ 2118421 h 6523037"/>
                <a:gd name="connsiteX3004" fmla="*/ 5982120 w 12192001"/>
                <a:gd name="connsiteY3004" fmla="*/ 2119819 h 6523037"/>
                <a:gd name="connsiteX3005" fmla="*/ 6179165 w 12192001"/>
                <a:gd name="connsiteY3005" fmla="*/ 2119819 h 6523037"/>
                <a:gd name="connsiteX3006" fmla="*/ 5908054 w 12192001"/>
                <a:gd name="connsiteY3006" fmla="*/ 1849407 h 6523037"/>
                <a:gd name="connsiteX3007" fmla="*/ 5908752 w 12192001"/>
                <a:gd name="connsiteY3007" fmla="*/ 1848708 h 6523037"/>
                <a:gd name="connsiteX3008" fmla="*/ 5906656 w 12192001"/>
                <a:gd name="connsiteY3008" fmla="*/ 1848009 h 6523037"/>
                <a:gd name="connsiteX3009" fmla="*/ 6177068 w 12192001"/>
                <a:gd name="connsiteY3009" fmla="*/ 1576898 h 6523037"/>
                <a:gd name="connsiteX3010" fmla="*/ 7559872 w 12192001"/>
                <a:gd name="connsiteY3010" fmla="*/ 1576199 h 6523037"/>
                <a:gd name="connsiteX3011" fmla="*/ 7289460 w 12192001"/>
                <a:gd name="connsiteY3011" fmla="*/ 1847310 h 6523037"/>
                <a:gd name="connsiteX3012" fmla="*/ 7560571 w 12192001"/>
                <a:gd name="connsiteY3012" fmla="*/ 2117722 h 6523037"/>
                <a:gd name="connsiteX3013" fmla="*/ 7824694 w 12192001"/>
                <a:gd name="connsiteY3013" fmla="*/ 2117722 h 6523037"/>
                <a:gd name="connsiteX3014" fmla="*/ 7553583 w 12192001"/>
                <a:gd name="connsiteY3014" fmla="*/ 1847310 h 6523037"/>
                <a:gd name="connsiteX3015" fmla="*/ 7823995 w 12192001"/>
                <a:gd name="connsiteY3015" fmla="*/ 1576199 h 6523037"/>
                <a:gd name="connsiteX3016" fmla="*/ 7011363 w 12192001"/>
                <a:gd name="connsiteY3016" fmla="*/ 1576199 h 6523037"/>
                <a:gd name="connsiteX3017" fmla="*/ 6740950 w 12192001"/>
                <a:gd name="connsiteY3017" fmla="*/ 1847310 h 6523037"/>
                <a:gd name="connsiteX3018" fmla="*/ 7012061 w 12192001"/>
                <a:gd name="connsiteY3018" fmla="*/ 2117722 h 6523037"/>
                <a:gd name="connsiteX3019" fmla="*/ 7275485 w 12192001"/>
                <a:gd name="connsiteY3019" fmla="*/ 2117722 h 6523037"/>
                <a:gd name="connsiteX3020" fmla="*/ 7145521 w 12192001"/>
                <a:gd name="connsiteY3020" fmla="*/ 1987757 h 6523037"/>
                <a:gd name="connsiteX3021" fmla="*/ 7005075 w 12192001"/>
                <a:gd name="connsiteY3021" fmla="*/ 1847310 h 6523037"/>
                <a:gd name="connsiteX3022" fmla="*/ 7275485 w 12192001"/>
                <a:gd name="connsiteY3022" fmla="*/ 1576199 h 6523037"/>
                <a:gd name="connsiteX3023" fmla="*/ 8108382 w 12192001"/>
                <a:gd name="connsiteY3023" fmla="*/ 1575501 h 6523037"/>
                <a:gd name="connsiteX3024" fmla="*/ 7837970 w 12192001"/>
                <a:gd name="connsiteY3024" fmla="*/ 1846611 h 6523037"/>
                <a:gd name="connsiteX3025" fmla="*/ 8109081 w 12192001"/>
                <a:gd name="connsiteY3025" fmla="*/ 2116325 h 6523037"/>
                <a:gd name="connsiteX3026" fmla="*/ 8373205 w 12192001"/>
                <a:gd name="connsiteY3026" fmla="*/ 2116325 h 6523037"/>
                <a:gd name="connsiteX3027" fmla="*/ 8102094 w 12192001"/>
                <a:gd name="connsiteY3027" fmla="*/ 1845914 h 6523037"/>
                <a:gd name="connsiteX3028" fmla="*/ 8286561 w 12192001"/>
                <a:gd name="connsiteY3028" fmla="*/ 1661446 h 6523037"/>
                <a:gd name="connsiteX3029" fmla="*/ 8372506 w 12192001"/>
                <a:gd name="connsiteY3029" fmla="*/ 1575501 h 6523037"/>
                <a:gd name="connsiteX3030" fmla="*/ 9478306 w 12192001"/>
                <a:gd name="connsiteY3030" fmla="*/ 1575121 h 6523037"/>
                <a:gd name="connsiteX3031" fmla="*/ 9213090 w 12192001"/>
                <a:gd name="connsiteY3031" fmla="*/ 1841022 h 6523037"/>
                <a:gd name="connsiteX3032" fmla="*/ 9475254 w 12192001"/>
                <a:gd name="connsiteY3032" fmla="*/ 1841022 h 6523037"/>
                <a:gd name="connsiteX3033" fmla="*/ 9740464 w 12192001"/>
                <a:gd name="connsiteY3033" fmla="*/ 1575121 h 6523037"/>
                <a:gd name="connsiteX3034" fmla="*/ 10025550 w 12192001"/>
                <a:gd name="connsiteY3034" fmla="*/ 1574422 h 6523037"/>
                <a:gd name="connsiteX3035" fmla="*/ 9755138 w 12192001"/>
                <a:gd name="connsiteY3035" fmla="*/ 1845533 h 6523037"/>
                <a:gd name="connsiteX3036" fmla="*/ 10026249 w 12192001"/>
                <a:gd name="connsiteY3036" fmla="*/ 2115945 h 6523037"/>
                <a:gd name="connsiteX3037" fmla="*/ 10290372 w 12192001"/>
                <a:gd name="connsiteY3037" fmla="*/ 2115945 h 6523037"/>
                <a:gd name="connsiteX3038" fmla="*/ 10019261 w 12192001"/>
                <a:gd name="connsiteY3038" fmla="*/ 1845533 h 6523037"/>
                <a:gd name="connsiteX3039" fmla="*/ 10289673 w 12192001"/>
                <a:gd name="connsiteY3039" fmla="*/ 1574422 h 6523037"/>
                <a:gd name="connsiteX3040" fmla="*/ 9205403 w 12192001"/>
                <a:gd name="connsiteY3040" fmla="*/ 1574104 h 6523037"/>
                <a:gd name="connsiteX3041" fmla="*/ 8934991 w 12192001"/>
                <a:gd name="connsiteY3041" fmla="*/ 1845215 h 6523037"/>
                <a:gd name="connsiteX3042" fmla="*/ 9206102 w 12192001"/>
                <a:gd name="connsiteY3042" fmla="*/ 2114928 h 6523037"/>
                <a:gd name="connsiteX3043" fmla="*/ 9466216 w 12192001"/>
                <a:gd name="connsiteY3043" fmla="*/ 2114928 h 6523037"/>
                <a:gd name="connsiteX3044" fmla="*/ 9336593 w 12192001"/>
                <a:gd name="connsiteY3044" fmla="*/ 1985980 h 6523037"/>
                <a:gd name="connsiteX3045" fmla="*/ 9320523 w 12192001"/>
                <a:gd name="connsiteY3045" fmla="*/ 1969909 h 6523037"/>
                <a:gd name="connsiteX3046" fmla="*/ 9320523 w 12192001"/>
                <a:gd name="connsiteY3046" fmla="*/ 1965612 h 6523037"/>
                <a:gd name="connsiteX3047" fmla="*/ 9199115 w 12192001"/>
                <a:gd name="connsiteY3047" fmla="*/ 1844516 h 6523037"/>
                <a:gd name="connsiteX3048" fmla="*/ 9320523 w 12192001"/>
                <a:gd name="connsiteY3048" fmla="*/ 1723108 h 6523037"/>
                <a:gd name="connsiteX3049" fmla="*/ 9320523 w 12192001"/>
                <a:gd name="connsiteY3049" fmla="*/ 1721157 h 6523037"/>
                <a:gd name="connsiteX3050" fmla="*/ 9467575 w 12192001"/>
                <a:gd name="connsiteY3050" fmla="*/ 1574104 h 6523037"/>
                <a:gd name="connsiteX3051" fmla="*/ 11123269 w 12192001"/>
                <a:gd name="connsiteY3051" fmla="*/ 1573723 h 6523037"/>
                <a:gd name="connsiteX3052" fmla="*/ 10852856 w 12192001"/>
                <a:gd name="connsiteY3052" fmla="*/ 1844834 h 6523037"/>
                <a:gd name="connsiteX3053" fmla="*/ 11123968 w 12192001"/>
                <a:gd name="connsiteY3053" fmla="*/ 2115246 h 6523037"/>
                <a:gd name="connsiteX3054" fmla="*/ 11388091 w 12192001"/>
                <a:gd name="connsiteY3054" fmla="*/ 2115246 h 6523037"/>
                <a:gd name="connsiteX3055" fmla="*/ 11116981 w 12192001"/>
                <a:gd name="connsiteY3055" fmla="*/ 1844834 h 6523037"/>
                <a:gd name="connsiteX3056" fmla="*/ 11387393 w 12192001"/>
                <a:gd name="connsiteY3056" fmla="*/ 1573723 h 6523037"/>
                <a:gd name="connsiteX3057" fmla="*/ 10573361 w 12192001"/>
                <a:gd name="connsiteY3057" fmla="*/ 1573723 h 6523037"/>
                <a:gd name="connsiteX3058" fmla="*/ 10303648 w 12192001"/>
                <a:gd name="connsiteY3058" fmla="*/ 1844834 h 6523037"/>
                <a:gd name="connsiteX3059" fmla="*/ 10504186 w 12192001"/>
                <a:gd name="connsiteY3059" fmla="*/ 2045372 h 6523037"/>
                <a:gd name="connsiteX3060" fmla="*/ 10574759 w 12192001"/>
                <a:gd name="connsiteY3060" fmla="*/ 2115246 h 6523037"/>
                <a:gd name="connsiteX3061" fmla="*/ 10643235 w 12192001"/>
                <a:gd name="connsiteY3061" fmla="*/ 2115246 h 6523037"/>
                <a:gd name="connsiteX3062" fmla="*/ 10642537 w 12192001"/>
                <a:gd name="connsiteY3062" fmla="*/ 2116644 h 6523037"/>
                <a:gd name="connsiteX3063" fmla="*/ 10839581 w 12192001"/>
                <a:gd name="connsiteY3063" fmla="*/ 2116644 h 6523037"/>
                <a:gd name="connsiteX3064" fmla="*/ 10568470 w 12192001"/>
                <a:gd name="connsiteY3064" fmla="*/ 1846232 h 6523037"/>
                <a:gd name="connsiteX3065" fmla="*/ 10569169 w 12192001"/>
                <a:gd name="connsiteY3065" fmla="*/ 1845533 h 6523037"/>
                <a:gd name="connsiteX3066" fmla="*/ 10567073 w 12192001"/>
                <a:gd name="connsiteY3066" fmla="*/ 1844834 h 6523037"/>
                <a:gd name="connsiteX3067" fmla="*/ 10837485 w 12192001"/>
                <a:gd name="connsiteY3067" fmla="*/ 1573723 h 6523037"/>
                <a:gd name="connsiteX3068" fmla="*/ 11671780 w 12192001"/>
                <a:gd name="connsiteY3068" fmla="*/ 1573024 h 6523037"/>
                <a:gd name="connsiteX3069" fmla="*/ 11401367 w 12192001"/>
                <a:gd name="connsiteY3069" fmla="*/ 1844135 h 6523037"/>
                <a:gd name="connsiteX3070" fmla="*/ 11672478 w 12192001"/>
                <a:gd name="connsiteY3070" fmla="*/ 2114547 h 6523037"/>
                <a:gd name="connsiteX3071" fmla="*/ 11935902 w 12192001"/>
                <a:gd name="connsiteY3071" fmla="*/ 2114547 h 6523037"/>
                <a:gd name="connsiteX3072" fmla="*/ 11805937 w 12192001"/>
                <a:gd name="connsiteY3072" fmla="*/ 1984582 h 6523037"/>
                <a:gd name="connsiteX3073" fmla="*/ 11665491 w 12192001"/>
                <a:gd name="connsiteY3073" fmla="*/ 1844135 h 6523037"/>
                <a:gd name="connsiteX3074" fmla="*/ 11935902 w 12192001"/>
                <a:gd name="connsiteY3074" fmla="*/ 1573024 h 6523037"/>
                <a:gd name="connsiteX3075" fmla="*/ 164203 w 12192001"/>
                <a:gd name="connsiteY3075" fmla="*/ 1308454 h 6523037"/>
                <a:gd name="connsiteX3076" fmla="*/ 294168 w 12192001"/>
                <a:gd name="connsiteY3076" fmla="*/ 1438419 h 6523037"/>
                <a:gd name="connsiteX3077" fmla="*/ 434615 w 12192001"/>
                <a:gd name="connsiteY3077" fmla="*/ 1578866 h 6523037"/>
                <a:gd name="connsiteX3078" fmla="*/ 164203 w 12192001"/>
                <a:gd name="connsiteY3078" fmla="*/ 1849977 h 6523037"/>
                <a:gd name="connsiteX3079" fmla="*/ 428326 w 12192001"/>
                <a:gd name="connsiteY3079" fmla="*/ 1849977 h 6523037"/>
                <a:gd name="connsiteX3080" fmla="*/ 698738 w 12192001"/>
                <a:gd name="connsiteY3080" fmla="*/ 1578866 h 6523037"/>
                <a:gd name="connsiteX3081" fmla="*/ 427627 w 12192001"/>
                <a:gd name="connsiteY3081" fmla="*/ 1308454 h 6523037"/>
                <a:gd name="connsiteX3082" fmla="*/ 1809733 w 12192001"/>
                <a:gd name="connsiteY3082" fmla="*/ 1307755 h 6523037"/>
                <a:gd name="connsiteX3083" fmla="*/ 2080844 w 12192001"/>
                <a:gd name="connsiteY3083" fmla="*/ 1578167 h 6523037"/>
                <a:gd name="connsiteX3084" fmla="*/ 1810432 w 12192001"/>
                <a:gd name="connsiteY3084" fmla="*/ 1848579 h 6523037"/>
                <a:gd name="connsiteX3085" fmla="*/ 2074555 w 12192001"/>
                <a:gd name="connsiteY3085" fmla="*/ 1848579 h 6523037"/>
                <a:gd name="connsiteX3086" fmla="*/ 2344968 w 12192001"/>
                <a:gd name="connsiteY3086" fmla="*/ 1578167 h 6523037"/>
                <a:gd name="connsiteX3087" fmla="*/ 2073856 w 12192001"/>
                <a:gd name="connsiteY3087" fmla="*/ 1307755 h 6523037"/>
                <a:gd name="connsiteX3088" fmla="*/ 712014 w 12192001"/>
                <a:gd name="connsiteY3088" fmla="*/ 1307755 h 6523037"/>
                <a:gd name="connsiteX3089" fmla="*/ 983125 w 12192001"/>
                <a:gd name="connsiteY3089" fmla="*/ 1578167 h 6523037"/>
                <a:gd name="connsiteX3090" fmla="*/ 712713 w 12192001"/>
                <a:gd name="connsiteY3090" fmla="*/ 1849278 h 6523037"/>
                <a:gd name="connsiteX3091" fmla="*/ 976837 w 12192001"/>
                <a:gd name="connsiteY3091" fmla="*/ 1849278 h 6523037"/>
                <a:gd name="connsiteX3092" fmla="*/ 1247249 w 12192001"/>
                <a:gd name="connsiteY3092" fmla="*/ 1578167 h 6523037"/>
                <a:gd name="connsiteX3093" fmla="*/ 976138 w 12192001"/>
                <a:gd name="connsiteY3093" fmla="*/ 1307755 h 6523037"/>
                <a:gd name="connsiteX3094" fmla="*/ 2358243 w 12192001"/>
                <a:gd name="connsiteY3094" fmla="*/ 1307056 h 6523037"/>
                <a:gd name="connsiteX3095" fmla="*/ 2629354 w 12192001"/>
                <a:gd name="connsiteY3095" fmla="*/ 1577468 h 6523037"/>
                <a:gd name="connsiteX3096" fmla="*/ 2359641 w 12192001"/>
                <a:gd name="connsiteY3096" fmla="*/ 1848579 h 6523037"/>
                <a:gd name="connsiteX3097" fmla="*/ 2623065 w 12192001"/>
                <a:gd name="connsiteY3097" fmla="*/ 1848579 h 6523037"/>
                <a:gd name="connsiteX3098" fmla="*/ 2893477 w 12192001"/>
                <a:gd name="connsiteY3098" fmla="*/ 1577468 h 6523037"/>
                <a:gd name="connsiteX3099" fmla="*/ 2759320 w 12192001"/>
                <a:gd name="connsiteY3099" fmla="*/ 1444009 h 6523037"/>
                <a:gd name="connsiteX3100" fmla="*/ 2622367 w 12192001"/>
                <a:gd name="connsiteY3100" fmla="*/ 1307056 h 6523037"/>
                <a:gd name="connsiteX3101" fmla="*/ 2906754 w 12192001"/>
                <a:gd name="connsiteY3101" fmla="*/ 1306358 h 6523037"/>
                <a:gd name="connsiteX3102" fmla="*/ 2908151 w 12192001"/>
                <a:gd name="connsiteY3102" fmla="*/ 1307755 h 6523037"/>
                <a:gd name="connsiteX3103" fmla="*/ 3177864 w 12192001"/>
                <a:gd name="connsiteY3103" fmla="*/ 1576769 h 6523037"/>
                <a:gd name="connsiteX3104" fmla="*/ 2907452 w 12192001"/>
                <a:gd name="connsiteY3104" fmla="*/ 1847181 h 6523037"/>
                <a:gd name="connsiteX3105" fmla="*/ 3171576 w 12192001"/>
                <a:gd name="connsiteY3105" fmla="*/ 1847181 h 6523037"/>
                <a:gd name="connsiteX3106" fmla="*/ 3441988 w 12192001"/>
                <a:gd name="connsiteY3106" fmla="*/ 1576769 h 6523037"/>
                <a:gd name="connsiteX3107" fmla="*/ 3436398 w 12192001"/>
                <a:gd name="connsiteY3107" fmla="*/ 1571878 h 6523037"/>
                <a:gd name="connsiteX3108" fmla="*/ 3170877 w 12192001"/>
                <a:gd name="connsiteY3108" fmla="*/ 1306358 h 6523037"/>
                <a:gd name="connsiteX3109" fmla="*/ 1525347 w 12192001"/>
                <a:gd name="connsiteY3109" fmla="*/ 1306358 h 6523037"/>
                <a:gd name="connsiteX3110" fmla="*/ 1523949 w 12192001"/>
                <a:gd name="connsiteY3110" fmla="*/ 1307056 h 6523037"/>
                <a:gd name="connsiteX3111" fmla="*/ 1259826 w 12192001"/>
                <a:gd name="connsiteY3111" fmla="*/ 1307056 h 6523037"/>
                <a:gd name="connsiteX3112" fmla="*/ 1530937 w 12192001"/>
                <a:gd name="connsiteY3112" fmla="*/ 1577468 h 6523037"/>
                <a:gd name="connsiteX3113" fmla="*/ 1526744 w 12192001"/>
                <a:gd name="connsiteY3113" fmla="*/ 1581660 h 6523037"/>
                <a:gd name="connsiteX3114" fmla="*/ 1532333 w 12192001"/>
                <a:gd name="connsiteY3114" fmla="*/ 1578866 h 6523037"/>
                <a:gd name="connsiteX3115" fmla="*/ 1261921 w 12192001"/>
                <a:gd name="connsiteY3115" fmla="*/ 1849977 h 6523037"/>
                <a:gd name="connsiteX3116" fmla="*/ 1526046 w 12192001"/>
                <a:gd name="connsiteY3116" fmla="*/ 1849977 h 6523037"/>
                <a:gd name="connsiteX3117" fmla="*/ 1796458 w 12192001"/>
                <a:gd name="connsiteY3117" fmla="*/ 1578866 h 6523037"/>
                <a:gd name="connsiteX3118" fmla="*/ 1525347 w 12192001"/>
                <a:gd name="connsiteY3118" fmla="*/ 1308454 h 6523037"/>
                <a:gd name="connsiteX3119" fmla="*/ 3454565 w 12192001"/>
                <a:gd name="connsiteY3119" fmla="*/ 1305659 h 6523037"/>
                <a:gd name="connsiteX3120" fmla="*/ 3725676 w 12192001"/>
                <a:gd name="connsiteY3120" fmla="*/ 1576071 h 6523037"/>
                <a:gd name="connsiteX3121" fmla="*/ 3722882 w 12192001"/>
                <a:gd name="connsiteY3121" fmla="*/ 1578866 h 6523037"/>
                <a:gd name="connsiteX3122" fmla="*/ 3632744 w 12192001"/>
                <a:gd name="connsiteY3122" fmla="*/ 1669701 h 6523037"/>
                <a:gd name="connsiteX3123" fmla="*/ 3455264 w 12192001"/>
                <a:gd name="connsiteY3123" fmla="*/ 1846482 h 6523037"/>
                <a:gd name="connsiteX3124" fmla="*/ 3719387 w 12192001"/>
                <a:gd name="connsiteY3124" fmla="*/ 1846482 h 6523037"/>
                <a:gd name="connsiteX3125" fmla="*/ 3808826 w 12192001"/>
                <a:gd name="connsiteY3125" fmla="*/ 1757044 h 6523037"/>
                <a:gd name="connsiteX3126" fmla="*/ 3989799 w 12192001"/>
                <a:gd name="connsiteY3126" fmla="*/ 1576071 h 6523037"/>
                <a:gd name="connsiteX3127" fmla="*/ 3718688 w 12192001"/>
                <a:gd name="connsiteY3127" fmla="*/ 1305659 h 6523037"/>
                <a:gd name="connsiteX3128" fmla="*/ 4813703 w 12192001"/>
                <a:gd name="connsiteY3128" fmla="*/ 1304267 h 6523037"/>
                <a:gd name="connsiteX3129" fmla="*/ 4551587 w 12192001"/>
                <a:gd name="connsiteY3129" fmla="*/ 1304960 h 6523037"/>
                <a:gd name="connsiteX3130" fmla="*/ 4819301 w 12192001"/>
                <a:gd name="connsiteY3130" fmla="*/ 1570610 h 6523037"/>
                <a:gd name="connsiteX3131" fmla="*/ 5080048 w 12192001"/>
                <a:gd name="connsiteY3131" fmla="*/ 1570610 h 6523037"/>
                <a:gd name="connsiteX3132" fmla="*/ 4950082 w 12192001"/>
                <a:gd name="connsiteY3132" fmla="*/ 1440645 h 6523037"/>
                <a:gd name="connsiteX3133" fmla="*/ 4824309 w 12192001"/>
                <a:gd name="connsiteY3133" fmla="*/ 1303692 h 6523037"/>
                <a:gd name="connsiteX3134" fmla="*/ 4954274 w 12192001"/>
                <a:gd name="connsiteY3134" fmla="*/ 1433657 h 6523037"/>
                <a:gd name="connsiteX3135" fmla="*/ 5094721 w 12192001"/>
                <a:gd name="connsiteY3135" fmla="*/ 1574104 h 6523037"/>
                <a:gd name="connsiteX3136" fmla="*/ 4824309 w 12192001"/>
                <a:gd name="connsiteY3136" fmla="*/ 1845215 h 6523037"/>
                <a:gd name="connsiteX3137" fmla="*/ 5088432 w 12192001"/>
                <a:gd name="connsiteY3137" fmla="*/ 1845215 h 6523037"/>
                <a:gd name="connsiteX3138" fmla="*/ 5358844 w 12192001"/>
                <a:gd name="connsiteY3138" fmla="*/ 1574104 h 6523037"/>
                <a:gd name="connsiteX3139" fmla="*/ 5087733 w 12192001"/>
                <a:gd name="connsiteY3139" fmla="*/ 1303692 h 6523037"/>
                <a:gd name="connsiteX3140" fmla="*/ 6469839 w 12192001"/>
                <a:gd name="connsiteY3140" fmla="*/ 1302993 h 6523037"/>
                <a:gd name="connsiteX3141" fmla="*/ 6740950 w 12192001"/>
                <a:gd name="connsiteY3141" fmla="*/ 1573405 h 6523037"/>
                <a:gd name="connsiteX3142" fmla="*/ 6470538 w 12192001"/>
                <a:gd name="connsiteY3142" fmla="*/ 1843817 h 6523037"/>
                <a:gd name="connsiteX3143" fmla="*/ 6734661 w 12192001"/>
                <a:gd name="connsiteY3143" fmla="*/ 1843817 h 6523037"/>
                <a:gd name="connsiteX3144" fmla="*/ 7005075 w 12192001"/>
                <a:gd name="connsiteY3144" fmla="*/ 1573405 h 6523037"/>
                <a:gd name="connsiteX3145" fmla="*/ 6733962 w 12192001"/>
                <a:gd name="connsiteY3145" fmla="*/ 1302993 h 6523037"/>
                <a:gd name="connsiteX3146" fmla="*/ 5372120 w 12192001"/>
                <a:gd name="connsiteY3146" fmla="*/ 1302993 h 6523037"/>
                <a:gd name="connsiteX3147" fmla="*/ 5643231 w 12192001"/>
                <a:gd name="connsiteY3147" fmla="*/ 1573405 h 6523037"/>
                <a:gd name="connsiteX3148" fmla="*/ 5372819 w 12192001"/>
                <a:gd name="connsiteY3148" fmla="*/ 1844516 h 6523037"/>
                <a:gd name="connsiteX3149" fmla="*/ 5636944 w 12192001"/>
                <a:gd name="connsiteY3149" fmla="*/ 1844516 h 6523037"/>
                <a:gd name="connsiteX3150" fmla="*/ 5907355 w 12192001"/>
                <a:gd name="connsiteY3150" fmla="*/ 1573405 h 6523037"/>
                <a:gd name="connsiteX3151" fmla="*/ 5636244 w 12192001"/>
                <a:gd name="connsiteY3151" fmla="*/ 1302993 h 6523037"/>
                <a:gd name="connsiteX3152" fmla="*/ 7018349 w 12192001"/>
                <a:gd name="connsiteY3152" fmla="*/ 1302294 h 6523037"/>
                <a:gd name="connsiteX3153" fmla="*/ 7289460 w 12192001"/>
                <a:gd name="connsiteY3153" fmla="*/ 1572706 h 6523037"/>
                <a:gd name="connsiteX3154" fmla="*/ 7019748 w 12192001"/>
                <a:gd name="connsiteY3154" fmla="*/ 1843817 h 6523037"/>
                <a:gd name="connsiteX3155" fmla="*/ 7283171 w 12192001"/>
                <a:gd name="connsiteY3155" fmla="*/ 1843817 h 6523037"/>
                <a:gd name="connsiteX3156" fmla="*/ 7553583 w 12192001"/>
                <a:gd name="connsiteY3156" fmla="*/ 1572706 h 6523037"/>
                <a:gd name="connsiteX3157" fmla="*/ 7419426 w 12192001"/>
                <a:gd name="connsiteY3157" fmla="*/ 1439247 h 6523037"/>
                <a:gd name="connsiteX3158" fmla="*/ 7282473 w 12192001"/>
                <a:gd name="connsiteY3158" fmla="*/ 1302294 h 6523037"/>
                <a:gd name="connsiteX3159" fmla="*/ 7566860 w 12192001"/>
                <a:gd name="connsiteY3159" fmla="*/ 1301596 h 6523037"/>
                <a:gd name="connsiteX3160" fmla="*/ 7568257 w 12192001"/>
                <a:gd name="connsiteY3160" fmla="*/ 1302993 h 6523037"/>
                <a:gd name="connsiteX3161" fmla="*/ 7837970 w 12192001"/>
                <a:gd name="connsiteY3161" fmla="*/ 1572007 h 6523037"/>
                <a:gd name="connsiteX3162" fmla="*/ 7567558 w 12192001"/>
                <a:gd name="connsiteY3162" fmla="*/ 1842419 h 6523037"/>
                <a:gd name="connsiteX3163" fmla="*/ 7831682 w 12192001"/>
                <a:gd name="connsiteY3163" fmla="*/ 1842419 h 6523037"/>
                <a:gd name="connsiteX3164" fmla="*/ 8102094 w 12192001"/>
                <a:gd name="connsiteY3164" fmla="*/ 1572007 h 6523037"/>
                <a:gd name="connsiteX3165" fmla="*/ 8096504 w 12192001"/>
                <a:gd name="connsiteY3165" fmla="*/ 1567116 h 6523037"/>
                <a:gd name="connsiteX3166" fmla="*/ 7830983 w 12192001"/>
                <a:gd name="connsiteY3166" fmla="*/ 1301596 h 6523037"/>
                <a:gd name="connsiteX3167" fmla="*/ 6185454 w 12192001"/>
                <a:gd name="connsiteY3167" fmla="*/ 1301596 h 6523037"/>
                <a:gd name="connsiteX3168" fmla="*/ 6184056 w 12192001"/>
                <a:gd name="connsiteY3168" fmla="*/ 1302294 h 6523037"/>
                <a:gd name="connsiteX3169" fmla="*/ 5919933 w 12192001"/>
                <a:gd name="connsiteY3169" fmla="*/ 1302294 h 6523037"/>
                <a:gd name="connsiteX3170" fmla="*/ 6191043 w 12192001"/>
                <a:gd name="connsiteY3170" fmla="*/ 1572706 h 6523037"/>
                <a:gd name="connsiteX3171" fmla="*/ 6186850 w 12192001"/>
                <a:gd name="connsiteY3171" fmla="*/ 1576898 h 6523037"/>
                <a:gd name="connsiteX3172" fmla="*/ 6192439 w 12192001"/>
                <a:gd name="connsiteY3172" fmla="*/ 1574104 h 6523037"/>
                <a:gd name="connsiteX3173" fmla="*/ 5922027 w 12192001"/>
                <a:gd name="connsiteY3173" fmla="*/ 1845215 h 6523037"/>
                <a:gd name="connsiteX3174" fmla="*/ 6186152 w 12192001"/>
                <a:gd name="connsiteY3174" fmla="*/ 1845215 h 6523037"/>
                <a:gd name="connsiteX3175" fmla="*/ 6456565 w 12192001"/>
                <a:gd name="connsiteY3175" fmla="*/ 1574104 h 6523037"/>
                <a:gd name="connsiteX3176" fmla="*/ 6185454 w 12192001"/>
                <a:gd name="connsiteY3176" fmla="*/ 1303692 h 6523037"/>
                <a:gd name="connsiteX3177" fmla="*/ 8114671 w 12192001"/>
                <a:gd name="connsiteY3177" fmla="*/ 1300897 h 6523037"/>
                <a:gd name="connsiteX3178" fmla="*/ 8385782 w 12192001"/>
                <a:gd name="connsiteY3178" fmla="*/ 1571309 h 6523037"/>
                <a:gd name="connsiteX3179" fmla="*/ 8382988 w 12192001"/>
                <a:gd name="connsiteY3179" fmla="*/ 1574104 h 6523037"/>
                <a:gd name="connsiteX3180" fmla="*/ 8292850 w 12192001"/>
                <a:gd name="connsiteY3180" fmla="*/ 1664939 h 6523037"/>
                <a:gd name="connsiteX3181" fmla="*/ 8115370 w 12192001"/>
                <a:gd name="connsiteY3181" fmla="*/ 1841720 h 6523037"/>
                <a:gd name="connsiteX3182" fmla="*/ 8379493 w 12192001"/>
                <a:gd name="connsiteY3182" fmla="*/ 1841720 h 6523037"/>
                <a:gd name="connsiteX3183" fmla="*/ 8468932 w 12192001"/>
                <a:gd name="connsiteY3183" fmla="*/ 1752282 h 6523037"/>
                <a:gd name="connsiteX3184" fmla="*/ 8649905 w 12192001"/>
                <a:gd name="connsiteY3184" fmla="*/ 1571309 h 6523037"/>
                <a:gd name="connsiteX3185" fmla="*/ 8378794 w 12192001"/>
                <a:gd name="connsiteY3185" fmla="*/ 1300897 h 6523037"/>
                <a:gd name="connsiteX3186" fmla="*/ 9484726 w 12192001"/>
                <a:gd name="connsiteY3186" fmla="*/ 1300517 h 6523037"/>
                <a:gd name="connsiteX3187" fmla="*/ 9614691 w 12192001"/>
                <a:gd name="connsiteY3187" fmla="*/ 1430482 h 6523037"/>
                <a:gd name="connsiteX3188" fmla="*/ 9755138 w 12192001"/>
                <a:gd name="connsiteY3188" fmla="*/ 1570929 h 6523037"/>
                <a:gd name="connsiteX3189" fmla="*/ 9484726 w 12192001"/>
                <a:gd name="connsiteY3189" fmla="*/ 1842040 h 6523037"/>
                <a:gd name="connsiteX3190" fmla="*/ 9748849 w 12192001"/>
                <a:gd name="connsiteY3190" fmla="*/ 1842040 h 6523037"/>
                <a:gd name="connsiteX3191" fmla="*/ 10019261 w 12192001"/>
                <a:gd name="connsiteY3191" fmla="*/ 1570929 h 6523037"/>
                <a:gd name="connsiteX3192" fmla="*/ 9748150 w 12192001"/>
                <a:gd name="connsiteY3192" fmla="*/ 1300517 h 6523037"/>
                <a:gd name="connsiteX3193" fmla="*/ 11130256 w 12192001"/>
                <a:gd name="connsiteY3193" fmla="*/ 1299818 h 6523037"/>
                <a:gd name="connsiteX3194" fmla="*/ 11401367 w 12192001"/>
                <a:gd name="connsiteY3194" fmla="*/ 1570230 h 6523037"/>
                <a:gd name="connsiteX3195" fmla="*/ 11130955 w 12192001"/>
                <a:gd name="connsiteY3195" fmla="*/ 1840642 h 6523037"/>
                <a:gd name="connsiteX3196" fmla="*/ 11395078 w 12192001"/>
                <a:gd name="connsiteY3196" fmla="*/ 1840642 h 6523037"/>
                <a:gd name="connsiteX3197" fmla="*/ 11665491 w 12192001"/>
                <a:gd name="connsiteY3197" fmla="*/ 1570230 h 6523037"/>
                <a:gd name="connsiteX3198" fmla="*/ 11394379 w 12192001"/>
                <a:gd name="connsiteY3198" fmla="*/ 1299818 h 6523037"/>
                <a:gd name="connsiteX3199" fmla="*/ 10032537 w 12192001"/>
                <a:gd name="connsiteY3199" fmla="*/ 1299818 h 6523037"/>
                <a:gd name="connsiteX3200" fmla="*/ 10303648 w 12192001"/>
                <a:gd name="connsiteY3200" fmla="*/ 1570230 h 6523037"/>
                <a:gd name="connsiteX3201" fmla="*/ 10033236 w 12192001"/>
                <a:gd name="connsiteY3201" fmla="*/ 1841341 h 6523037"/>
                <a:gd name="connsiteX3202" fmla="*/ 10297360 w 12192001"/>
                <a:gd name="connsiteY3202" fmla="*/ 1841341 h 6523037"/>
                <a:gd name="connsiteX3203" fmla="*/ 10567772 w 12192001"/>
                <a:gd name="connsiteY3203" fmla="*/ 1570230 h 6523037"/>
                <a:gd name="connsiteX3204" fmla="*/ 10296661 w 12192001"/>
                <a:gd name="connsiteY3204" fmla="*/ 1299818 h 6523037"/>
                <a:gd name="connsiteX3205" fmla="*/ 9472537 w 12192001"/>
                <a:gd name="connsiteY3205" fmla="*/ 1299508 h 6523037"/>
                <a:gd name="connsiteX3206" fmla="*/ 9211692 w 12192001"/>
                <a:gd name="connsiteY3206" fmla="*/ 1300198 h 6523037"/>
                <a:gd name="connsiteX3207" fmla="*/ 9481007 w 12192001"/>
                <a:gd name="connsiteY3207" fmla="*/ 1567435 h 6523037"/>
                <a:gd name="connsiteX3208" fmla="*/ 9740464 w 12192001"/>
                <a:gd name="connsiteY3208" fmla="*/ 1567435 h 6523037"/>
                <a:gd name="connsiteX3209" fmla="*/ 9610499 w 12192001"/>
                <a:gd name="connsiteY3209" fmla="*/ 1437470 h 6523037"/>
                <a:gd name="connsiteX3210" fmla="*/ 10845870 w 12192001"/>
                <a:gd name="connsiteY3210" fmla="*/ 1298421 h 6523037"/>
                <a:gd name="connsiteX3211" fmla="*/ 10844472 w 12192001"/>
                <a:gd name="connsiteY3211" fmla="*/ 1299119 h 6523037"/>
                <a:gd name="connsiteX3212" fmla="*/ 10580349 w 12192001"/>
                <a:gd name="connsiteY3212" fmla="*/ 1299119 h 6523037"/>
                <a:gd name="connsiteX3213" fmla="*/ 10851460 w 12192001"/>
                <a:gd name="connsiteY3213" fmla="*/ 1569531 h 6523037"/>
                <a:gd name="connsiteX3214" fmla="*/ 10847267 w 12192001"/>
                <a:gd name="connsiteY3214" fmla="*/ 1573723 h 6523037"/>
                <a:gd name="connsiteX3215" fmla="*/ 10852856 w 12192001"/>
                <a:gd name="connsiteY3215" fmla="*/ 1570929 h 6523037"/>
                <a:gd name="connsiteX3216" fmla="*/ 10582444 w 12192001"/>
                <a:gd name="connsiteY3216" fmla="*/ 1842040 h 6523037"/>
                <a:gd name="connsiteX3217" fmla="*/ 10846569 w 12192001"/>
                <a:gd name="connsiteY3217" fmla="*/ 1842040 h 6523037"/>
                <a:gd name="connsiteX3218" fmla="*/ 11116981 w 12192001"/>
                <a:gd name="connsiteY3218" fmla="*/ 1570929 h 6523037"/>
                <a:gd name="connsiteX3219" fmla="*/ 10845870 w 12192001"/>
                <a:gd name="connsiteY3219" fmla="*/ 1300517 h 6523037"/>
                <a:gd name="connsiteX3220" fmla="*/ 1802048 w 12192001"/>
                <a:gd name="connsiteY3220" fmla="*/ 1033150 h 6523037"/>
                <a:gd name="connsiteX3221" fmla="*/ 1531636 w 12192001"/>
                <a:gd name="connsiteY3221" fmla="*/ 1304261 h 6523037"/>
                <a:gd name="connsiteX3222" fmla="*/ 1802746 w 12192001"/>
                <a:gd name="connsiteY3222" fmla="*/ 1574673 h 6523037"/>
                <a:gd name="connsiteX3223" fmla="*/ 2066870 w 12192001"/>
                <a:gd name="connsiteY3223" fmla="*/ 1574673 h 6523037"/>
                <a:gd name="connsiteX3224" fmla="*/ 1795759 w 12192001"/>
                <a:gd name="connsiteY3224" fmla="*/ 1304261 h 6523037"/>
                <a:gd name="connsiteX3225" fmla="*/ 2066171 w 12192001"/>
                <a:gd name="connsiteY3225" fmla="*/ 1033150 h 6523037"/>
                <a:gd name="connsiteX3226" fmla="*/ 704328 w 12192001"/>
                <a:gd name="connsiteY3226" fmla="*/ 1033150 h 6523037"/>
                <a:gd name="connsiteX3227" fmla="*/ 433916 w 12192001"/>
                <a:gd name="connsiteY3227" fmla="*/ 1304261 h 6523037"/>
                <a:gd name="connsiteX3228" fmla="*/ 705027 w 12192001"/>
                <a:gd name="connsiteY3228" fmla="*/ 1574673 h 6523037"/>
                <a:gd name="connsiteX3229" fmla="*/ 969150 w 12192001"/>
                <a:gd name="connsiteY3229" fmla="*/ 1574673 h 6523037"/>
                <a:gd name="connsiteX3230" fmla="*/ 698039 w 12192001"/>
                <a:gd name="connsiteY3230" fmla="*/ 1304261 h 6523037"/>
                <a:gd name="connsiteX3231" fmla="*/ 967752 w 12192001"/>
                <a:gd name="connsiteY3231" fmla="*/ 1033150 h 6523037"/>
                <a:gd name="connsiteX3232" fmla="*/ 2899067 w 12192001"/>
                <a:gd name="connsiteY3232" fmla="*/ 1032451 h 6523037"/>
                <a:gd name="connsiteX3233" fmla="*/ 2718793 w 12192001"/>
                <a:gd name="connsiteY3233" fmla="*/ 1212727 h 6523037"/>
                <a:gd name="connsiteX3234" fmla="*/ 2629354 w 12192001"/>
                <a:gd name="connsiteY3234" fmla="*/ 1302864 h 6523037"/>
                <a:gd name="connsiteX3235" fmla="*/ 2763512 w 12192001"/>
                <a:gd name="connsiteY3235" fmla="*/ 1436323 h 6523037"/>
                <a:gd name="connsiteX3236" fmla="*/ 2900465 w 12192001"/>
                <a:gd name="connsiteY3236" fmla="*/ 1573275 h 6523037"/>
                <a:gd name="connsiteX3237" fmla="*/ 3164588 w 12192001"/>
                <a:gd name="connsiteY3237" fmla="*/ 1573275 h 6523037"/>
                <a:gd name="connsiteX3238" fmla="*/ 2893477 w 12192001"/>
                <a:gd name="connsiteY3238" fmla="*/ 1302864 h 6523037"/>
                <a:gd name="connsiteX3239" fmla="*/ 2894875 w 12192001"/>
                <a:gd name="connsiteY3239" fmla="*/ 1301467 h 6523037"/>
                <a:gd name="connsiteX3240" fmla="*/ 3163191 w 12192001"/>
                <a:gd name="connsiteY3240" fmla="*/ 1032451 h 6523037"/>
                <a:gd name="connsiteX3241" fmla="*/ 2350558 w 12192001"/>
                <a:gd name="connsiteY3241" fmla="*/ 1032451 h 6523037"/>
                <a:gd name="connsiteX3242" fmla="*/ 2080145 w 12192001"/>
                <a:gd name="connsiteY3242" fmla="*/ 1303562 h 6523037"/>
                <a:gd name="connsiteX3243" fmla="*/ 2351257 w 12192001"/>
                <a:gd name="connsiteY3243" fmla="*/ 1573974 h 6523037"/>
                <a:gd name="connsiteX3244" fmla="*/ 2615379 w 12192001"/>
                <a:gd name="connsiteY3244" fmla="*/ 1573974 h 6523037"/>
                <a:gd name="connsiteX3245" fmla="*/ 2344269 w 12192001"/>
                <a:gd name="connsiteY3245" fmla="*/ 1303562 h 6523037"/>
                <a:gd name="connsiteX3246" fmla="*/ 2528736 w 12192001"/>
                <a:gd name="connsiteY3246" fmla="*/ 1119096 h 6523037"/>
                <a:gd name="connsiteX3247" fmla="*/ 2614681 w 12192001"/>
                <a:gd name="connsiteY3247" fmla="*/ 1033150 h 6523037"/>
                <a:gd name="connsiteX3248" fmla="*/ 2356148 w 12192001"/>
                <a:gd name="connsiteY3248" fmla="*/ 1033150 h 6523037"/>
                <a:gd name="connsiteX3249" fmla="*/ 1252838 w 12192001"/>
                <a:gd name="connsiteY3249" fmla="*/ 1032451 h 6523037"/>
                <a:gd name="connsiteX3250" fmla="*/ 982426 w 12192001"/>
                <a:gd name="connsiteY3250" fmla="*/ 1303562 h 6523037"/>
                <a:gd name="connsiteX3251" fmla="*/ 1253537 w 12192001"/>
                <a:gd name="connsiteY3251" fmla="*/ 1573974 h 6523037"/>
                <a:gd name="connsiteX3252" fmla="*/ 1517660 w 12192001"/>
                <a:gd name="connsiteY3252" fmla="*/ 1573974 h 6523037"/>
                <a:gd name="connsiteX3253" fmla="*/ 1246550 w 12192001"/>
                <a:gd name="connsiteY3253" fmla="*/ 1303562 h 6523037"/>
                <a:gd name="connsiteX3254" fmla="*/ 1431017 w 12192001"/>
                <a:gd name="connsiteY3254" fmla="*/ 1119096 h 6523037"/>
                <a:gd name="connsiteX3255" fmla="*/ 1516962 w 12192001"/>
                <a:gd name="connsiteY3255" fmla="*/ 1032451 h 6523037"/>
                <a:gd name="connsiteX3256" fmla="*/ 3447578 w 12192001"/>
                <a:gd name="connsiteY3256" fmla="*/ 1031753 h 6523037"/>
                <a:gd name="connsiteX3257" fmla="*/ 3177166 w 12192001"/>
                <a:gd name="connsiteY3257" fmla="*/ 1302864 h 6523037"/>
                <a:gd name="connsiteX3258" fmla="*/ 3448276 w 12192001"/>
                <a:gd name="connsiteY3258" fmla="*/ 1573275 h 6523037"/>
                <a:gd name="connsiteX3259" fmla="*/ 3712400 w 12192001"/>
                <a:gd name="connsiteY3259" fmla="*/ 1573275 h 6523037"/>
                <a:gd name="connsiteX3260" fmla="*/ 3441289 w 12192001"/>
                <a:gd name="connsiteY3260" fmla="*/ 1302864 h 6523037"/>
                <a:gd name="connsiteX3261" fmla="*/ 3711701 w 12192001"/>
                <a:gd name="connsiteY3261" fmla="*/ 1031753 h 6523037"/>
                <a:gd name="connsiteX3262" fmla="*/ 4544599 w 12192001"/>
                <a:gd name="connsiteY3262" fmla="*/ 1030356 h 6523037"/>
                <a:gd name="connsiteX3263" fmla="*/ 4274187 w 12192001"/>
                <a:gd name="connsiteY3263" fmla="*/ 1301467 h 6523037"/>
                <a:gd name="connsiteX3264" fmla="*/ 4545297 w 12192001"/>
                <a:gd name="connsiteY3264" fmla="*/ 1571878 h 6523037"/>
                <a:gd name="connsiteX3265" fmla="*/ 4806712 w 12192001"/>
                <a:gd name="connsiteY3265" fmla="*/ 1571878 h 6523037"/>
                <a:gd name="connsiteX3266" fmla="*/ 4660106 w 12192001"/>
                <a:gd name="connsiteY3266" fmla="*/ 1425273 h 6523037"/>
                <a:gd name="connsiteX3267" fmla="*/ 4660106 w 12192001"/>
                <a:gd name="connsiteY3267" fmla="*/ 1422949 h 6523037"/>
                <a:gd name="connsiteX3268" fmla="*/ 4538310 w 12192001"/>
                <a:gd name="connsiteY3268" fmla="*/ 1301467 h 6523037"/>
                <a:gd name="connsiteX3269" fmla="*/ 4660106 w 12192001"/>
                <a:gd name="connsiteY3269" fmla="*/ 1179209 h 6523037"/>
                <a:gd name="connsiteX3270" fmla="*/ 4660106 w 12192001"/>
                <a:gd name="connsiteY3270" fmla="*/ 1175123 h 6523037"/>
                <a:gd name="connsiteX3271" fmla="*/ 4804873 w 12192001"/>
                <a:gd name="connsiteY3271" fmla="*/ 1030356 h 6523037"/>
                <a:gd name="connsiteX3272" fmla="*/ 3995389 w 12192001"/>
                <a:gd name="connsiteY3272" fmla="*/ 1030356 h 6523037"/>
                <a:gd name="connsiteX3273" fmla="*/ 3724977 w 12192001"/>
                <a:gd name="connsiteY3273" fmla="*/ 1301467 h 6523037"/>
                <a:gd name="connsiteX3274" fmla="*/ 3996088 w 12192001"/>
                <a:gd name="connsiteY3274" fmla="*/ 1571878 h 6523037"/>
                <a:gd name="connsiteX3275" fmla="*/ 4064564 w 12192001"/>
                <a:gd name="connsiteY3275" fmla="*/ 1571878 h 6523037"/>
                <a:gd name="connsiteX3276" fmla="*/ 4061071 w 12192001"/>
                <a:gd name="connsiteY3276" fmla="*/ 1578866 h 6523037"/>
                <a:gd name="connsiteX3277" fmla="*/ 3996088 w 12192001"/>
                <a:gd name="connsiteY3277" fmla="*/ 1578866 h 6523037"/>
                <a:gd name="connsiteX3278" fmla="*/ 3815814 w 12192001"/>
                <a:gd name="connsiteY3278" fmla="*/ 1759839 h 6523037"/>
                <a:gd name="connsiteX3279" fmla="*/ 3726375 w 12192001"/>
                <a:gd name="connsiteY3279" fmla="*/ 1849977 h 6523037"/>
                <a:gd name="connsiteX3280" fmla="*/ 3859834 w 12192001"/>
                <a:gd name="connsiteY3280" fmla="*/ 1983435 h 6523037"/>
                <a:gd name="connsiteX3281" fmla="*/ 3857039 w 12192001"/>
                <a:gd name="connsiteY3281" fmla="*/ 1989025 h 6523037"/>
                <a:gd name="connsiteX3282" fmla="*/ 3857739 w 12192001"/>
                <a:gd name="connsiteY3282" fmla="*/ 1989722 h 6523037"/>
                <a:gd name="connsiteX3283" fmla="*/ 3857039 w 12192001"/>
                <a:gd name="connsiteY3283" fmla="*/ 1991122 h 6523037"/>
                <a:gd name="connsiteX3284" fmla="*/ 3720086 w 12192001"/>
                <a:gd name="connsiteY3284" fmla="*/ 1854169 h 6523037"/>
                <a:gd name="connsiteX3285" fmla="*/ 3455963 w 12192001"/>
                <a:gd name="connsiteY3285" fmla="*/ 1854169 h 6523037"/>
                <a:gd name="connsiteX3286" fmla="*/ 3727074 w 12192001"/>
                <a:gd name="connsiteY3286" fmla="*/ 2124581 h 6523037"/>
                <a:gd name="connsiteX3287" fmla="*/ 3456662 w 12192001"/>
                <a:gd name="connsiteY3287" fmla="*/ 2395692 h 6523037"/>
                <a:gd name="connsiteX3288" fmla="*/ 3654754 w 12192001"/>
                <a:gd name="connsiteY3288" fmla="*/ 2395692 h 6523037"/>
                <a:gd name="connsiteX3289" fmla="*/ 3652309 w 12192001"/>
                <a:gd name="connsiteY3289" fmla="*/ 2400583 h 6523037"/>
                <a:gd name="connsiteX3290" fmla="*/ 3652658 w 12192001"/>
                <a:gd name="connsiteY3290" fmla="*/ 2400583 h 6523037"/>
                <a:gd name="connsiteX3291" fmla="*/ 3651610 w 12192001"/>
                <a:gd name="connsiteY3291" fmla="*/ 2402679 h 6523037"/>
                <a:gd name="connsiteX3292" fmla="*/ 3456662 w 12192001"/>
                <a:gd name="connsiteY3292" fmla="*/ 2402679 h 6523037"/>
                <a:gd name="connsiteX3293" fmla="*/ 3586394 w 12192001"/>
                <a:gd name="connsiteY3293" fmla="*/ 2532412 h 6523037"/>
                <a:gd name="connsiteX3294" fmla="*/ 3583832 w 12192001"/>
                <a:gd name="connsiteY3294" fmla="*/ 2537535 h 6523037"/>
                <a:gd name="connsiteX3295" fmla="*/ 3584065 w 12192001"/>
                <a:gd name="connsiteY3295" fmla="*/ 2537768 h 6523037"/>
                <a:gd name="connsiteX3296" fmla="*/ 3583133 w 12192001"/>
                <a:gd name="connsiteY3296" fmla="*/ 2539632 h 6523037"/>
                <a:gd name="connsiteX3297" fmla="*/ 3442687 w 12192001"/>
                <a:gd name="connsiteY3297" fmla="*/ 2399185 h 6523037"/>
                <a:gd name="connsiteX3298" fmla="*/ 3713099 w 12192001"/>
                <a:gd name="connsiteY3298" fmla="*/ 2128074 h 6523037"/>
                <a:gd name="connsiteX3299" fmla="*/ 3448975 w 12192001"/>
                <a:gd name="connsiteY3299" fmla="*/ 2128074 h 6523037"/>
                <a:gd name="connsiteX3300" fmla="*/ 3178563 w 12192001"/>
                <a:gd name="connsiteY3300" fmla="*/ 2399185 h 6523037"/>
                <a:gd name="connsiteX3301" fmla="*/ 3448975 w 12192001"/>
                <a:gd name="connsiteY3301" fmla="*/ 2670296 h 6523037"/>
                <a:gd name="connsiteX3302" fmla="*/ 3517452 w 12192001"/>
                <a:gd name="connsiteY3302" fmla="*/ 2670296 h 6523037"/>
                <a:gd name="connsiteX3303" fmla="*/ 3518849 w 12192001"/>
                <a:gd name="connsiteY3303" fmla="*/ 2667501 h 6523037"/>
                <a:gd name="connsiteX3304" fmla="*/ 3713797 w 12192001"/>
                <a:gd name="connsiteY3304" fmla="*/ 2667501 h 6523037"/>
                <a:gd name="connsiteX3305" fmla="*/ 3584065 w 12192001"/>
                <a:gd name="connsiteY3305" fmla="*/ 2537768 h 6523037"/>
                <a:gd name="connsiteX3306" fmla="*/ 3586627 w 12192001"/>
                <a:gd name="connsiteY3306" fmla="*/ 2532645 h 6523037"/>
                <a:gd name="connsiteX3307" fmla="*/ 3586394 w 12192001"/>
                <a:gd name="connsiteY3307" fmla="*/ 2532412 h 6523037"/>
                <a:gd name="connsiteX3308" fmla="*/ 3587326 w 12192001"/>
                <a:gd name="connsiteY3308" fmla="*/ 2530548 h 6523037"/>
                <a:gd name="connsiteX3309" fmla="*/ 3727772 w 12192001"/>
                <a:gd name="connsiteY3309" fmla="*/ 2670995 h 6523037"/>
                <a:gd name="connsiteX3310" fmla="*/ 3457360 w 12192001"/>
                <a:gd name="connsiteY3310" fmla="*/ 2942106 h 6523037"/>
                <a:gd name="connsiteX3311" fmla="*/ 3721484 w 12192001"/>
                <a:gd name="connsiteY3311" fmla="*/ 2942106 h 6523037"/>
                <a:gd name="connsiteX3312" fmla="*/ 3991896 w 12192001"/>
                <a:gd name="connsiteY3312" fmla="*/ 2670995 h 6523037"/>
                <a:gd name="connsiteX3313" fmla="*/ 3720785 w 12192001"/>
                <a:gd name="connsiteY3313" fmla="*/ 2400583 h 6523037"/>
                <a:gd name="connsiteX3314" fmla="*/ 3652658 w 12192001"/>
                <a:gd name="connsiteY3314" fmla="*/ 2400583 h 6523037"/>
                <a:gd name="connsiteX3315" fmla="*/ 3655103 w 12192001"/>
                <a:gd name="connsiteY3315" fmla="*/ 2395692 h 6523037"/>
                <a:gd name="connsiteX3316" fmla="*/ 3654754 w 12192001"/>
                <a:gd name="connsiteY3316" fmla="*/ 2395692 h 6523037"/>
                <a:gd name="connsiteX3317" fmla="*/ 3655802 w 12192001"/>
                <a:gd name="connsiteY3317" fmla="*/ 2393595 h 6523037"/>
                <a:gd name="connsiteX3318" fmla="*/ 3720785 w 12192001"/>
                <a:gd name="connsiteY3318" fmla="*/ 2393595 h 6523037"/>
                <a:gd name="connsiteX3319" fmla="*/ 3991197 w 12192001"/>
                <a:gd name="connsiteY3319" fmla="*/ 2122484 h 6523037"/>
                <a:gd name="connsiteX3320" fmla="*/ 3857739 w 12192001"/>
                <a:gd name="connsiteY3320" fmla="*/ 1989722 h 6523037"/>
                <a:gd name="connsiteX3321" fmla="*/ 3860533 w 12192001"/>
                <a:gd name="connsiteY3321" fmla="*/ 1984134 h 6523037"/>
                <a:gd name="connsiteX3322" fmla="*/ 3859834 w 12192001"/>
                <a:gd name="connsiteY3322" fmla="*/ 1983435 h 6523037"/>
                <a:gd name="connsiteX3323" fmla="*/ 3860533 w 12192001"/>
                <a:gd name="connsiteY3323" fmla="*/ 1982038 h 6523037"/>
                <a:gd name="connsiteX3324" fmla="*/ 3997486 w 12192001"/>
                <a:gd name="connsiteY3324" fmla="*/ 2118991 h 6523037"/>
                <a:gd name="connsiteX3325" fmla="*/ 4261609 w 12192001"/>
                <a:gd name="connsiteY3325" fmla="*/ 2118991 h 6523037"/>
                <a:gd name="connsiteX3326" fmla="*/ 3990498 w 12192001"/>
                <a:gd name="connsiteY3326" fmla="*/ 1848579 h 6523037"/>
                <a:gd name="connsiteX3327" fmla="*/ 3991896 w 12192001"/>
                <a:gd name="connsiteY3327" fmla="*/ 1847181 h 6523037"/>
                <a:gd name="connsiteX3328" fmla="*/ 4260212 w 12192001"/>
                <a:gd name="connsiteY3328" fmla="*/ 1578167 h 6523037"/>
                <a:gd name="connsiteX3329" fmla="*/ 4061770 w 12192001"/>
                <a:gd name="connsiteY3329" fmla="*/ 1578167 h 6523037"/>
                <a:gd name="connsiteX3330" fmla="*/ 4065263 w 12192001"/>
                <a:gd name="connsiteY3330" fmla="*/ 1571180 h 6523037"/>
                <a:gd name="connsiteX3331" fmla="*/ 4260212 w 12192001"/>
                <a:gd name="connsiteY3331" fmla="*/ 1571180 h 6523037"/>
                <a:gd name="connsiteX3332" fmla="*/ 4130246 w 12192001"/>
                <a:gd name="connsiteY3332" fmla="*/ 1441215 h 6523037"/>
                <a:gd name="connsiteX3333" fmla="*/ 4133739 w 12192001"/>
                <a:gd name="connsiteY3333" fmla="*/ 1434227 h 6523037"/>
                <a:gd name="connsiteX3334" fmla="*/ 4274187 w 12192001"/>
                <a:gd name="connsiteY3334" fmla="*/ 1574673 h 6523037"/>
                <a:gd name="connsiteX3335" fmla="*/ 4003774 w 12192001"/>
                <a:gd name="connsiteY3335" fmla="*/ 1845784 h 6523037"/>
                <a:gd name="connsiteX3336" fmla="*/ 4267898 w 12192001"/>
                <a:gd name="connsiteY3336" fmla="*/ 1845784 h 6523037"/>
                <a:gd name="connsiteX3337" fmla="*/ 4538310 w 12192001"/>
                <a:gd name="connsiteY3337" fmla="*/ 1574673 h 6523037"/>
                <a:gd name="connsiteX3338" fmla="*/ 4267200 w 12192001"/>
                <a:gd name="connsiteY3338" fmla="*/ 1304960 h 6523037"/>
                <a:gd name="connsiteX3339" fmla="*/ 4198724 w 12192001"/>
                <a:gd name="connsiteY3339" fmla="*/ 1304960 h 6523037"/>
                <a:gd name="connsiteX3340" fmla="*/ 4003774 w 12192001"/>
                <a:gd name="connsiteY3340" fmla="*/ 1304960 h 6523037"/>
                <a:gd name="connsiteX3341" fmla="*/ 4133040 w 12192001"/>
                <a:gd name="connsiteY3341" fmla="*/ 1434926 h 6523037"/>
                <a:gd name="connsiteX3342" fmla="*/ 4129547 w 12192001"/>
                <a:gd name="connsiteY3342" fmla="*/ 1441912 h 6523037"/>
                <a:gd name="connsiteX3343" fmla="*/ 3989100 w 12192001"/>
                <a:gd name="connsiteY3343" fmla="*/ 1301467 h 6523037"/>
                <a:gd name="connsiteX3344" fmla="*/ 4259512 w 12192001"/>
                <a:gd name="connsiteY3344" fmla="*/ 1030356 h 6523037"/>
                <a:gd name="connsiteX3345" fmla="*/ 4819080 w 12192001"/>
                <a:gd name="connsiteY3345" fmla="*/ 1029786 h 6523037"/>
                <a:gd name="connsiteX3346" fmla="*/ 4551587 w 12192001"/>
                <a:gd name="connsiteY3346" fmla="*/ 1297972 h 6523037"/>
                <a:gd name="connsiteX3347" fmla="*/ 4811861 w 12192001"/>
                <a:gd name="connsiteY3347" fmla="*/ 1297972 h 6523037"/>
                <a:gd name="connsiteX3348" fmla="*/ 5080048 w 12192001"/>
                <a:gd name="connsiteY3348" fmla="*/ 1029786 h 6523037"/>
                <a:gd name="connsiteX3349" fmla="*/ 6462154 w 12192001"/>
                <a:gd name="connsiteY3349" fmla="*/ 1028388 h 6523037"/>
                <a:gd name="connsiteX3350" fmla="*/ 6191742 w 12192001"/>
                <a:gd name="connsiteY3350" fmla="*/ 1299499 h 6523037"/>
                <a:gd name="connsiteX3351" fmla="*/ 6462852 w 12192001"/>
                <a:gd name="connsiteY3351" fmla="*/ 1569911 h 6523037"/>
                <a:gd name="connsiteX3352" fmla="*/ 6726977 w 12192001"/>
                <a:gd name="connsiteY3352" fmla="*/ 1569911 h 6523037"/>
                <a:gd name="connsiteX3353" fmla="*/ 6455865 w 12192001"/>
                <a:gd name="connsiteY3353" fmla="*/ 1299499 h 6523037"/>
                <a:gd name="connsiteX3354" fmla="*/ 6726277 w 12192001"/>
                <a:gd name="connsiteY3354" fmla="*/ 1028388 h 6523037"/>
                <a:gd name="connsiteX3355" fmla="*/ 5364435 w 12192001"/>
                <a:gd name="connsiteY3355" fmla="*/ 1028388 h 6523037"/>
                <a:gd name="connsiteX3356" fmla="*/ 5094022 w 12192001"/>
                <a:gd name="connsiteY3356" fmla="*/ 1299499 h 6523037"/>
                <a:gd name="connsiteX3357" fmla="*/ 5365133 w 12192001"/>
                <a:gd name="connsiteY3357" fmla="*/ 1569911 h 6523037"/>
                <a:gd name="connsiteX3358" fmla="*/ 5629256 w 12192001"/>
                <a:gd name="connsiteY3358" fmla="*/ 1569911 h 6523037"/>
                <a:gd name="connsiteX3359" fmla="*/ 5358145 w 12192001"/>
                <a:gd name="connsiteY3359" fmla="*/ 1299499 h 6523037"/>
                <a:gd name="connsiteX3360" fmla="*/ 5627858 w 12192001"/>
                <a:gd name="connsiteY3360" fmla="*/ 1028388 h 6523037"/>
                <a:gd name="connsiteX3361" fmla="*/ 7559173 w 12192001"/>
                <a:gd name="connsiteY3361" fmla="*/ 1027689 h 6523037"/>
                <a:gd name="connsiteX3362" fmla="*/ 7378899 w 12192001"/>
                <a:gd name="connsiteY3362" fmla="*/ 1207965 h 6523037"/>
                <a:gd name="connsiteX3363" fmla="*/ 7289460 w 12192001"/>
                <a:gd name="connsiteY3363" fmla="*/ 1298102 h 6523037"/>
                <a:gd name="connsiteX3364" fmla="*/ 7423618 w 12192001"/>
                <a:gd name="connsiteY3364" fmla="*/ 1431561 h 6523037"/>
                <a:gd name="connsiteX3365" fmla="*/ 7560571 w 12192001"/>
                <a:gd name="connsiteY3365" fmla="*/ 1568513 h 6523037"/>
                <a:gd name="connsiteX3366" fmla="*/ 7824694 w 12192001"/>
                <a:gd name="connsiteY3366" fmla="*/ 1568513 h 6523037"/>
                <a:gd name="connsiteX3367" fmla="*/ 7553583 w 12192001"/>
                <a:gd name="connsiteY3367" fmla="*/ 1298102 h 6523037"/>
                <a:gd name="connsiteX3368" fmla="*/ 7554981 w 12192001"/>
                <a:gd name="connsiteY3368" fmla="*/ 1296705 h 6523037"/>
                <a:gd name="connsiteX3369" fmla="*/ 7823297 w 12192001"/>
                <a:gd name="connsiteY3369" fmla="*/ 1027689 h 6523037"/>
                <a:gd name="connsiteX3370" fmla="*/ 7010664 w 12192001"/>
                <a:gd name="connsiteY3370" fmla="*/ 1027689 h 6523037"/>
                <a:gd name="connsiteX3371" fmla="*/ 6740251 w 12192001"/>
                <a:gd name="connsiteY3371" fmla="*/ 1298800 h 6523037"/>
                <a:gd name="connsiteX3372" fmla="*/ 7011363 w 12192001"/>
                <a:gd name="connsiteY3372" fmla="*/ 1569212 h 6523037"/>
                <a:gd name="connsiteX3373" fmla="*/ 7275485 w 12192001"/>
                <a:gd name="connsiteY3373" fmla="*/ 1569212 h 6523037"/>
                <a:gd name="connsiteX3374" fmla="*/ 7004375 w 12192001"/>
                <a:gd name="connsiteY3374" fmla="*/ 1298800 h 6523037"/>
                <a:gd name="connsiteX3375" fmla="*/ 7188842 w 12192001"/>
                <a:gd name="connsiteY3375" fmla="*/ 1114334 h 6523037"/>
                <a:gd name="connsiteX3376" fmla="*/ 7274787 w 12192001"/>
                <a:gd name="connsiteY3376" fmla="*/ 1028388 h 6523037"/>
                <a:gd name="connsiteX3377" fmla="*/ 7016254 w 12192001"/>
                <a:gd name="connsiteY3377" fmla="*/ 1028388 h 6523037"/>
                <a:gd name="connsiteX3378" fmla="*/ 5912945 w 12192001"/>
                <a:gd name="connsiteY3378" fmla="*/ 1027689 h 6523037"/>
                <a:gd name="connsiteX3379" fmla="*/ 5642533 w 12192001"/>
                <a:gd name="connsiteY3379" fmla="*/ 1298800 h 6523037"/>
                <a:gd name="connsiteX3380" fmla="*/ 5913643 w 12192001"/>
                <a:gd name="connsiteY3380" fmla="*/ 1569212 h 6523037"/>
                <a:gd name="connsiteX3381" fmla="*/ 6177766 w 12192001"/>
                <a:gd name="connsiteY3381" fmla="*/ 1569212 h 6523037"/>
                <a:gd name="connsiteX3382" fmla="*/ 5906656 w 12192001"/>
                <a:gd name="connsiteY3382" fmla="*/ 1298800 h 6523037"/>
                <a:gd name="connsiteX3383" fmla="*/ 6091123 w 12192001"/>
                <a:gd name="connsiteY3383" fmla="*/ 1114334 h 6523037"/>
                <a:gd name="connsiteX3384" fmla="*/ 6177068 w 12192001"/>
                <a:gd name="connsiteY3384" fmla="*/ 1027689 h 6523037"/>
                <a:gd name="connsiteX3385" fmla="*/ 8107684 w 12192001"/>
                <a:gd name="connsiteY3385" fmla="*/ 1026991 h 6523037"/>
                <a:gd name="connsiteX3386" fmla="*/ 7837272 w 12192001"/>
                <a:gd name="connsiteY3386" fmla="*/ 1298102 h 6523037"/>
                <a:gd name="connsiteX3387" fmla="*/ 8108382 w 12192001"/>
                <a:gd name="connsiteY3387" fmla="*/ 1568513 h 6523037"/>
                <a:gd name="connsiteX3388" fmla="*/ 8372506 w 12192001"/>
                <a:gd name="connsiteY3388" fmla="*/ 1568513 h 6523037"/>
                <a:gd name="connsiteX3389" fmla="*/ 8101395 w 12192001"/>
                <a:gd name="connsiteY3389" fmla="*/ 1298102 h 6523037"/>
                <a:gd name="connsiteX3390" fmla="*/ 8371807 w 12192001"/>
                <a:gd name="connsiteY3390" fmla="*/ 1026991 h 6523037"/>
                <a:gd name="connsiteX3391" fmla="*/ 9477604 w 12192001"/>
                <a:gd name="connsiteY3391" fmla="*/ 1026611 h 6523037"/>
                <a:gd name="connsiteX3392" fmla="*/ 9211692 w 12192001"/>
                <a:gd name="connsiteY3392" fmla="*/ 1293210 h 6523037"/>
                <a:gd name="connsiteX3393" fmla="*/ 9473865 w 12192001"/>
                <a:gd name="connsiteY3393" fmla="*/ 1293210 h 6523037"/>
                <a:gd name="connsiteX3394" fmla="*/ 9740464 w 12192001"/>
                <a:gd name="connsiteY3394" fmla="*/ 1026611 h 6523037"/>
                <a:gd name="connsiteX3395" fmla="*/ 9204704 w 12192001"/>
                <a:gd name="connsiteY3395" fmla="*/ 1025594 h 6523037"/>
                <a:gd name="connsiteX3396" fmla="*/ 8934292 w 12192001"/>
                <a:gd name="connsiteY3396" fmla="*/ 1296705 h 6523037"/>
                <a:gd name="connsiteX3397" fmla="*/ 9205403 w 12192001"/>
                <a:gd name="connsiteY3397" fmla="*/ 1567116 h 6523037"/>
                <a:gd name="connsiteX3398" fmla="*/ 9465541 w 12192001"/>
                <a:gd name="connsiteY3398" fmla="*/ 1567116 h 6523037"/>
                <a:gd name="connsiteX3399" fmla="*/ 9320523 w 12192001"/>
                <a:gd name="connsiteY3399" fmla="*/ 1422098 h 6523037"/>
                <a:gd name="connsiteX3400" fmla="*/ 9320523 w 12192001"/>
                <a:gd name="connsiteY3400" fmla="*/ 1418497 h 6523037"/>
                <a:gd name="connsiteX3401" fmla="*/ 9198416 w 12192001"/>
                <a:gd name="connsiteY3401" fmla="*/ 1296705 h 6523037"/>
                <a:gd name="connsiteX3402" fmla="*/ 9320523 w 12192001"/>
                <a:gd name="connsiteY3402" fmla="*/ 1174135 h 6523037"/>
                <a:gd name="connsiteX3403" fmla="*/ 9320523 w 12192001"/>
                <a:gd name="connsiteY3403" fmla="*/ 1171948 h 6523037"/>
                <a:gd name="connsiteX3404" fmla="*/ 9466877 w 12192001"/>
                <a:gd name="connsiteY3404" fmla="*/ 1025594 h 6523037"/>
                <a:gd name="connsiteX3405" fmla="*/ 8655495 w 12192001"/>
                <a:gd name="connsiteY3405" fmla="*/ 1025594 h 6523037"/>
                <a:gd name="connsiteX3406" fmla="*/ 8385083 w 12192001"/>
                <a:gd name="connsiteY3406" fmla="*/ 1296705 h 6523037"/>
                <a:gd name="connsiteX3407" fmla="*/ 8656194 w 12192001"/>
                <a:gd name="connsiteY3407" fmla="*/ 1567116 h 6523037"/>
                <a:gd name="connsiteX3408" fmla="*/ 8724670 w 12192001"/>
                <a:gd name="connsiteY3408" fmla="*/ 1567116 h 6523037"/>
                <a:gd name="connsiteX3409" fmla="*/ 8721177 w 12192001"/>
                <a:gd name="connsiteY3409" fmla="*/ 1574104 h 6523037"/>
                <a:gd name="connsiteX3410" fmla="*/ 8656194 w 12192001"/>
                <a:gd name="connsiteY3410" fmla="*/ 1574104 h 6523037"/>
                <a:gd name="connsiteX3411" fmla="*/ 8475920 w 12192001"/>
                <a:gd name="connsiteY3411" fmla="*/ 1755077 h 6523037"/>
                <a:gd name="connsiteX3412" fmla="*/ 8386481 w 12192001"/>
                <a:gd name="connsiteY3412" fmla="*/ 1845215 h 6523037"/>
                <a:gd name="connsiteX3413" fmla="*/ 8519940 w 12192001"/>
                <a:gd name="connsiteY3413" fmla="*/ 1978673 h 6523037"/>
                <a:gd name="connsiteX3414" fmla="*/ 8517145 w 12192001"/>
                <a:gd name="connsiteY3414" fmla="*/ 1984263 h 6523037"/>
                <a:gd name="connsiteX3415" fmla="*/ 8517845 w 12192001"/>
                <a:gd name="connsiteY3415" fmla="*/ 1984960 h 6523037"/>
                <a:gd name="connsiteX3416" fmla="*/ 8517145 w 12192001"/>
                <a:gd name="connsiteY3416" fmla="*/ 1986360 h 6523037"/>
                <a:gd name="connsiteX3417" fmla="*/ 8380192 w 12192001"/>
                <a:gd name="connsiteY3417" fmla="*/ 1849407 h 6523037"/>
                <a:gd name="connsiteX3418" fmla="*/ 8116069 w 12192001"/>
                <a:gd name="connsiteY3418" fmla="*/ 1849407 h 6523037"/>
                <a:gd name="connsiteX3419" fmla="*/ 8387180 w 12192001"/>
                <a:gd name="connsiteY3419" fmla="*/ 2119819 h 6523037"/>
                <a:gd name="connsiteX3420" fmla="*/ 8116768 w 12192001"/>
                <a:gd name="connsiteY3420" fmla="*/ 2390930 h 6523037"/>
                <a:gd name="connsiteX3421" fmla="*/ 8314860 w 12192001"/>
                <a:gd name="connsiteY3421" fmla="*/ 2390930 h 6523037"/>
                <a:gd name="connsiteX3422" fmla="*/ 8312415 w 12192001"/>
                <a:gd name="connsiteY3422" fmla="*/ 2395821 h 6523037"/>
                <a:gd name="connsiteX3423" fmla="*/ 8312764 w 12192001"/>
                <a:gd name="connsiteY3423" fmla="*/ 2395821 h 6523037"/>
                <a:gd name="connsiteX3424" fmla="*/ 8311716 w 12192001"/>
                <a:gd name="connsiteY3424" fmla="*/ 2397917 h 6523037"/>
                <a:gd name="connsiteX3425" fmla="*/ 8116768 w 12192001"/>
                <a:gd name="connsiteY3425" fmla="*/ 2397917 h 6523037"/>
                <a:gd name="connsiteX3426" fmla="*/ 8246500 w 12192001"/>
                <a:gd name="connsiteY3426" fmla="*/ 2527650 h 6523037"/>
                <a:gd name="connsiteX3427" fmla="*/ 8243938 w 12192001"/>
                <a:gd name="connsiteY3427" fmla="*/ 2532773 h 6523037"/>
                <a:gd name="connsiteX3428" fmla="*/ 8244171 w 12192001"/>
                <a:gd name="connsiteY3428" fmla="*/ 2533006 h 6523037"/>
                <a:gd name="connsiteX3429" fmla="*/ 8243239 w 12192001"/>
                <a:gd name="connsiteY3429" fmla="*/ 2534870 h 6523037"/>
                <a:gd name="connsiteX3430" fmla="*/ 8102793 w 12192001"/>
                <a:gd name="connsiteY3430" fmla="*/ 2394423 h 6523037"/>
                <a:gd name="connsiteX3431" fmla="*/ 8373205 w 12192001"/>
                <a:gd name="connsiteY3431" fmla="*/ 2123312 h 6523037"/>
                <a:gd name="connsiteX3432" fmla="*/ 8109081 w 12192001"/>
                <a:gd name="connsiteY3432" fmla="*/ 2123312 h 6523037"/>
                <a:gd name="connsiteX3433" fmla="*/ 7838669 w 12192001"/>
                <a:gd name="connsiteY3433" fmla="*/ 2394423 h 6523037"/>
                <a:gd name="connsiteX3434" fmla="*/ 8109081 w 12192001"/>
                <a:gd name="connsiteY3434" fmla="*/ 2665534 h 6523037"/>
                <a:gd name="connsiteX3435" fmla="*/ 8177558 w 12192001"/>
                <a:gd name="connsiteY3435" fmla="*/ 2665534 h 6523037"/>
                <a:gd name="connsiteX3436" fmla="*/ 8178955 w 12192001"/>
                <a:gd name="connsiteY3436" fmla="*/ 2662739 h 6523037"/>
                <a:gd name="connsiteX3437" fmla="*/ 8373903 w 12192001"/>
                <a:gd name="connsiteY3437" fmla="*/ 2662739 h 6523037"/>
                <a:gd name="connsiteX3438" fmla="*/ 8244171 w 12192001"/>
                <a:gd name="connsiteY3438" fmla="*/ 2533006 h 6523037"/>
                <a:gd name="connsiteX3439" fmla="*/ 8246733 w 12192001"/>
                <a:gd name="connsiteY3439" fmla="*/ 2527883 h 6523037"/>
                <a:gd name="connsiteX3440" fmla="*/ 8246500 w 12192001"/>
                <a:gd name="connsiteY3440" fmla="*/ 2527650 h 6523037"/>
                <a:gd name="connsiteX3441" fmla="*/ 8247432 w 12192001"/>
                <a:gd name="connsiteY3441" fmla="*/ 2525786 h 6523037"/>
                <a:gd name="connsiteX3442" fmla="*/ 8387878 w 12192001"/>
                <a:gd name="connsiteY3442" fmla="*/ 2666233 h 6523037"/>
                <a:gd name="connsiteX3443" fmla="*/ 8117466 w 12192001"/>
                <a:gd name="connsiteY3443" fmla="*/ 2937344 h 6523037"/>
                <a:gd name="connsiteX3444" fmla="*/ 8381590 w 12192001"/>
                <a:gd name="connsiteY3444" fmla="*/ 2937344 h 6523037"/>
                <a:gd name="connsiteX3445" fmla="*/ 8652002 w 12192001"/>
                <a:gd name="connsiteY3445" fmla="*/ 2666233 h 6523037"/>
                <a:gd name="connsiteX3446" fmla="*/ 8380891 w 12192001"/>
                <a:gd name="connsiteY3446" fmla="*/ 2395821 h 6523037"/>
                <a:gd name="connsiteX3447" fmla="*/ 8312764 w 12192001"/>
                <a:gd name="connsiteY3447" fmla="*/ 2395821 h 6523037"/>
                <a:gd name="connsiteX3448" fmla="*/ 8315209 w 12192001"/>
                <a:gd name="connsiteY3448" fmla="*/ 2390930 h 6523037"/>
                <a:gd name="connsiteX3449" fmla="*/ 8314860 w 12192001"/>
                <a:gd name="connsiteY3449" fmla="*/ 2390930 h 6523037"/>
                <a:gd name="connsiteX3450" fmla="*/ 8315908 w 12192001"/>
                <a:gd name="connsiteY3450" fmla="*/ 2388833 h 6523037"/>
                <a:gd name="connsiteX3451" fmla="*/ 8380891 w 12192001"/>
                <a:gd name="connsiteY3451" fmla="*/ 2388833 h 6523037"/>
                <a:gd name="connsiteX3452" fmla="*/ 8651303 w 12192001"/>
                <a:gd name="connsiteY3452" fmla="*/ 2117722 h 6523037"/>
                <a:gd name="connsiteX3453" fmla="*/ 8517845 w 12192001"/>
                <a:gd name="connsiteY3453" fmla="*/ 1984960 h 6523037"/>
                <a:gd name="connsiteX3454" fmla="*/ 8520639 w 12192001"/>
                <a:gd name="connsiteY3454" fmla="*/ 1979372 h 6523037"/>
                <a:gd name="connsiteX3455" fmla="*/ 8519940 w 12192001"/>
                <a:gd name="connsiteY3455" fmla="*/ 1978673 h 6523037"/>
                <a:gd name="connsiteX3456" fmla="*/ 8520639 w 12192001"/>
                <a:gd name="connsiteY3456" fmla="*/ 1977276 h 6523037"/>
                <a:gd name="connsiteX3457" fmla="*/ 8657592 w 12192001"/>
                <a:gd name="connsiteY3457" fmla="*/ 2114230 h 6523037"/>
                <a:gd name="connsiteX3458" fmla="*/ 8921715 w 12192001"/>
                <a:gd name="connsiteY3458" fmla="*/ 2114230 h 6523037"/>
                <a:gd name="connsiteX3459" fmla="*/ 8650604 w 12192001"/>
                <a:gd name="connsiteY3459" fmla="*/ 1843817 h 6523037"/>
                <a:gd name="connsiteX3460" fmla="*/ 8652002 w 12192001"/>
                <a:gd name="connsiteY3460" fmla="*/ 1842419 h 6523037"/>
                <a:gd name="connsiteX3461" fmla="*/ 8920317 w 12192001"/>
                <a:gd name="connsiteY3461" fmla="*/ 1573405 h 6523037"/>
                <a:gd name="connsiteX3462" fmla="*/ 8721876 w 12192001"/>
                <a:gd name="connsiteY3462" fmla="*/ 1573405 h 6523037"/>
                <a:gd name="connsiteX3463" fmla="*/ 8725369 w 12192001"/>
                <a:gd name="connsiteY3463" fmla="*/ 1566418 h 6523037"/>
                <a:gd name="connsiteX3464" fmla="*/ 8920317 w 12192001"/>
                <a:gd name="connsiteY3464" fmla="*/ 1566418 h 6523037"/>
                <a:gd name="connsiteX3465" fmla="*/ 8790352 w 12192001"/>
                <a:gd name="connsiteY3465" fmla="*/ 1436453 h 6523037"/>
                <a:gd name="connsiteX3466" fmla="*/ 8793845 w 12192001"/>
                <a:gd name="connsiteY3466" fmla="*/ 1429465 h 6523037"/>
                <a:gd name="connsiteX3467" fmla="*/ 8934292 w 12192001"/>
                <a:gd name="connsiteY3467" fmla="*/ 1569911 h 6523037"/>
                <a:gd name="connsiteX3468" fmla="*/ 8663880 w 12192001"/>
                <a:gd name="connsiteY3468" fmla="*/ 1841022 h 6523037"/>
                <a:gd name="connsiteX3469" fmla="*/ 8928004 w 12192001"/>
                <a:gd name="connsiteY3469" fmla="*/ 1841022 h 6523037"/>
                <a:gd name="connsiteX3470" fmla="*/ 9198416 w 12192001"/>
                <a:gd name="connsiteY3470" fmla="*/ 1569911 h 6523037"/>
                <a:gd name="connsiteX3471" fmla="*/ 8927305 w 12192001"/>
                <a:gd name="connsiteY3471" fmla="*/ 1300198 h 6523037"/>
                <a:gd name="connsiteX3472" fmla="*/ 8858829 w 12192001"/>
                <a:gd name="connsiteY3472" fmla="*/ 1300198 h 6523037"/>
                <a:gd name="connsiteX3473" fmla="*/ 8663880 w 12192001"/>
                <a:gd name="connsiteY3473" fmla="*/ 1300198 h 6523037"/>
                <a:gd name="connsiteX3474" fmla="*/ 8793146 w 12192001"/>
                <a:gd name="connsiteY3474" fmla="*/ 1430164 h 6523037"/>
                <a:gd name="connsiteX3475" fmla="*/ 8789653 w 12192001"/>
                <a:gd name="connsiteY3475" fmla="*/ 1437150 h 6523037"/>
                <a:gd name="connsiteX3476" fmla="*/ 8649206 w 12192001"/>
                <a:gd name="connsiteY3476" fmla="*/ 1296705 h 6523037"/>
                <a:gd name="connsiteX3477" fmla="*/ 8919618 w 12192001"/>
                <a:gd name="connsiteY3477" fmla="*/ 1025594 h 6523037"/>
                <a:gd name="connsiteX3478" fmla="*/ 11122571 w 12192001"/>
                <a:gd name="connsiteY3478" fmla="*/ 1025213 h 6523037"/>
                <a:gd name="connsiteX3479" fmla="*/ 10852159 w 12192001"/>
                <a:gd name="connsiteY3479" fmla="*/ 1296324 h 6523037"/>
                <a:gd name="connsiteX3480" fmla="*/ 11123269 w 12192001"/>
                <a:gd name="connsiteY3480" fmla="*/ 1566736 h 6523037"/>
                <a:gd name="connsiteX3481" fmla="*/ 11387393 w 12192001"/>
                <a:gd name="connsiteY3481" fmla="*/ 1566736 h 6523037"/>
                <a:gd name="connsiteX3482" fmla="*/ 11116282 w 12192001"/>
                <a:gd name="connsiteY3482" fmla="*/ 1296324 h 6523037"/>
                <a:gd name="connsiteX3483" fmla="*/ 11386694 w 12192001"/>
                <a:gd name="connsiteY3483" fmla="*/ 1025213 h 6523037"/>
                <a:gd name="connsiteX3484" fmla="*/ 10024851 w 12192001"/>
                <a:gd name="connsiteY3484" fmla="*/ 1025213 h 6523037"/>
                <a:gd name="connsiteX3485" fmla="*/ 9754439 w 12192001"/>
                <a:gd name="connsiteY3485" fmla="*/ 1296324 h 6523037"/>
                <a:gd name="connsiteX3486" fmla="*/ 10025550 w 12192001"/>
                <a:gd name="connsiteY3486" fmla="*/ 1566736 h 6523037"/>
                <a:gd name="connsiteX3487" fmla="*/ 10289673 w 12192001"/>
                <a:gd name="connsiteY3487" fmla="*/ 1566736 h 6523037"/>
                <a:gd name="connsiteX3488" fmla="*/ 10018562 w 12192001"/>
                <a:gd name="connsiteY3488" fmla="*/ 1296324 h 6523037"/>
                <a:gd name="connsiteX3489" fmla="*/ 10288275 w 12192001"/>
                <a:gd name="connsiteY3489" fmla="*/ 1025213 h 6523037"/>
                <a:gd name="connsiteX3490" fmla="*/ 11671081 w 12192001"/>
                <a:gd name="connsiteY3490" fmla="*/ 1024514 h 6523037"/>
                <a:gd name="connsiteX3491" fmla="*/ 11400668 w 12192001"/>
                <a:gd name="connsiteY3491" fmla="*/ 1295625 h 6523037"/>
                <a:gd name="connsiteX3492" fmla="*/ 11671780 w 12192001"/>
                <a:gd name="connsiteY3492" fmla="*/ 1566037 h 6523037"/>
                <a:gd name="connsiteX3493" fmla="*/ 11935902 w 12192001"/>
                <a:gd name="connsiteY3493" fmla="*/ 1566037 h 6523037"/>
                <a:gd name="connsiteX3494" fmla="*/ 11664792 w 12192001"/>
                <a:gd name="connsiteY3494" fmla="*/ 1295625 h 6523037"/>
                <a:gd name="connsiteX3495" fmla="*/ 11849259 w 12192001"/>
                <a:gd name="connsiteY3495" fmla="*/ 1111159 h 6523037"/>
                <a:gd name="connsiteX3496" fmla="*/ 11935204 w 12192001"/>
                <a:gd name="connsiteY3496" fmla="*/ 1025213 h 6523037"/>
                <a:gd name="connsiteX3497" fmla="*/ 11676671 w 12192001"/>
                <a:gd name="connsiteY3497" fmla="*/ 1025213 h 6523037"/>
                <a:gd name="connsiteX3498" fmla="*/ 10573361 w 12192001"/>
                <a:gd name="connsiteY3498" fmla="*/ 1024514 h 6523037"/>
                <a:gd name="connsiteX3499" fmla="*/ 10302949 w 12192001"/>
                <a:gd name="connsiteY3499" fmla="*/ 1295625 h 6523037"/>
                <a:gd name="connsiteX3500" fmla="*/ 10574060 w 12192001"/>
                <a:gd name="connsiteY3500" fmla="*/ 1566037 h 6523037"/>
                <a:gd name="connsiteX3501" fmla="*/ 10838183 w 12192001"/>
                <a:gd name="connsiteY3501" fmla="*/ 1566037 h 6523037"/>
                <a:gd name="connsiteX3502" fmla="*/ 10567073 w 12192001"/>
                <a:gd name="connsiteY3502" fmla="*/ 1295625 h 6523037"/>
                <a:gd name="connsiteX3503" fmla="*/ 10751540 w 12192001"/>
                <a:gd name="connsiteY3503" fmla="*/ 1111159 h 6523037"/>
                <a:gd name="connsiteX3504" fmla="*/ 10837485 w 12192001"/>
                <a:gd name="connsiteY3504" fmla="*/ 1024514 h 6523037"/>
                <a:gd name="connsiteX3505" fmla="*/ 162805 w 12192001"/>
                <a:gd name="connsiteY3505" fmla="*/ 759944 h 6523037"/>
                <a:gd name="connsiteX3506" fmla="*/ 433916 w 12192001"/>
                <a:gd name="connsiteY3506" fmla="*/ 1030356 h 6523037"/>
                <a:gd name="connsiteX3507" fmla="*/ 164203 w 12192001"/>
                <a:gd name="connsiteY3507" fmla="*/ 1301467 h 6523037"/>
                <a:gd name="connsiteX3508" fmla="*/ 427627 w 12192001"/>
                <a:gd name="connsiteY3508" fmla="*/ 1301467 h 6523037"/>
                <a:gd name="connsiteX3509" fmla="*/ 698039 w 12192001"/>
                <a:gd name="connsiteY3509" fmla="*/ 1030356 h 6523037"/>
                <a:gd name="connsiteX3510" fmla="*/ 563881 w 12192001"/>
                <a:gd name="connsiteY3510" fmla="*/ 896896 h 6523037"/>
                <a:gd name="connsiteX3511" fmla="*/ 426928 w 12192001"/>
                <a:gd name="connsiteY3511" fmla="*/ 759944 h 6523037"/>
                <a:gd name="connsiteX3512" fmla="*/ 1809035 w 12192001"/>
                <a:gd name="connsiteY3512" fmla="*/ 759245 h 6523037"/>
                <a:gd name="connsiteX3513" fmla="*/ 1937603 w 12192001"/>
                <a:gd name="connsiteY3513" fmla="*/ 887813 h 6523037"/>
                <a:gd name="connsiteX3514" fmla="*/ 2079447 w 12192001"/>
                <a:gd name="connsiteY3514" fmla="*/ 1029657 h 6523037"/>
                <a:gd name="connsiteX3515" fmla="*/ 1809035 w 12192001"/>
                <a:gd name="connsiteY3515" fmla="*/ 1300768 h 6523037"/>
                <a:gd name="connsiteX3516" fmla="*/ 2073158 w 12192001"/>
                <a:gd name="connsiteY3516" fmla="*/ 1300768 h 6523037"/>
                <a:gd name="connsiteX3517" fmla="*/ 2343570 w 12192001"/>
                <a:gd name="connsiteY3517" fmla="*/ 1029657 h 6523037"/>
                <a:gd name="connsiteX3518" fmla="*/ 2338678 w 12192001"/>
                <a:gd name="connsiteY3518" fmla="*/ 1024766 h 6523037"/>
                <a:gd name="connsiteX3519" fmla="*/ 2073158 w 12192001"/>
                <a:gd name="connsiteY3519" fmla="*/ 759245 h 6523037"/>
                <a:gd name="connsiteX3520" fmla="*/ 2357544 w 12192001"/>
                <a:gd name="connsiteY3520" fmla="*/ 758546 h 6523037"/>
                <a:gd name="connsiteX3521" fmla="*/ 2628655 w 12192001"/>
                <a:gd name="connsiteY3521" fmla="*/ 1028259 h 6523037"/>
                <a:gd name="connsiteX3522" fmla="*/ 2625861 w 12192001"/>
                <a:gd name="connsiteY3522" fmla="*/ 1031055 h 6523037"/>
                <a:gd name="connsiteX3523" fmla="*/ 2535723 w 12192001"/>
                <a:gd name="connsiteY3523" fmla="*/ 1121890 h 6523037"/>
                <a:gd name="connsiteX3524" fmla="*/ 2358243 w 12192001"/>
                <a:gd name="connsiteY3524" fmla="*/ 1299370 h 6523037"/>
                <a:gd name="connsiteX3525" fmla="*/ 2622367 w 12192001"/>
                <a:gd name="connsiteY3525" fmla="*/ 1299370 h 6523037"/>
                <a:gd name="connsiteX3526" fmla="*/ 2711805 w 12192001"/>
                <a:gd name="connsiteY3526" fmla="*/ 1209931 h 6523037"/>
                <a:gd name="connsiteX3527" fmla="*/ 2892779 w 12192001"/>
                <a:gd name="connsiteY3527" fmla="*/ 1028958 h 6523037"/>
                <a:gd name="connsiteX3528" fmla="*/ 2621668 w 12192001"/>
                <a:gd name="connsiteY3528" fmla="*/ 758546 h 6523037"/>
                <a:gd name="connsiteX3529" fmla="*/ 1259127 w 12192001"/>
                <a:gd name="connsiteY3529" fmla="*/ 758546 h 6523037"/>
                <a:gd name="connsiteX3530" fmla="*/ 1530238 w 12192001"/>
                <a:gd name="connsiteY3530" fmla="*/ 1028259 h 6523037"/>
                <a:gd name="connsiteX3531" fmla="*/ 1527442 w 12192001"/>
                <a:gd name="connsiteY3531" fmla="*/ 1031055 h 6523037"/>
                <a:gd name="connsiteX3532" fmla="*/ 1437306 w 12192001"/>
                <a:gd name="connsiteY3532" fmla="*/ 1121890 h 6523037"/>
                <a:gd name="connsiteX3533" fmla="*/ 1259826 w 12192001"/>
                <a:gd name="connsiteY3533" fmla="*/ 1299370 h 6523037"/>
                <a:gd name="connsiteX3534" fmla="*/ 1523949 w 12192001"/>
                <a:gd name="connsiteY3534" fmla="*/ 1299370 h 6523037"/>
                <a:gd name="connsiteX3535" fmla="*/ 1613388 w 12192001"/>
                <a:gd name="connsiteY3535" fmla="*/ 1209931 h 6523037"/>
                <a:gd name="connsiteX3536" fmla="*/ 1794361 w 12192001"/>
                <a:gd name="connsiteY3536" fmla="*/ 1028958 h 6523037"/>
                <a:gd name="connsiteX3537" fmla="*/ 1523250 w 12192001"/>
                <a:gd name="connsiteY3537" fmla="*/ 758546 h 6523037"/>
                <a:gd name="connsiteX3538" fmla="*/ 710617 w 12192001"/>
                <a:gd name="connsiteY3538" fmla="*/ 758546 h 6523037"/>
                <a:gd name="connsiteX3539" fmla="*/ 712014 w 12192001"/>
                <a:gd name="connsiteY3539" fmla="*/ 759944 h 6523037"/>
                <a:gd name="connsiteX3540" fmla="*/ 981727 w 12192001"/>
                <a:gd name="connsiteY3540" fmla="*/ 1028958 h 6523037"/>
                <a:gd name="connsiteX3541" fmla="*/ 711316 w 12192001"/>
                <a:gd name="connsiteY3541" fmla="*/ 1300069 h 6523037"/>
                <a:gd name="connsiteX3542" fmla="*/ 975439 w 12192001"/>
                <a:gd name="connsiteY3542" fmla="*/ 1300069 h 6523037"/>
                <a:gd name="connsiteX3543" fmla="*/ 1245851 w 12192001"/>
                <a:gd name="connsiteY3543" fmla="*/ 1028958 h 6523037"/>
                <a:gd name="connsiteX3544" fmla="*/ 1240261 w 12192001"/>
                <a:gd name="connsiteY3544" fmla="*/ 1024067 h 6523037"/>
                <a:gd name="connsiteX3545" fmla="*/ 974740 w 12192001"/>
                <a:gd name="connsiteY3545" fmla="*/ 758546 h 6523037"/>
                <a:gd name="connsiteX3546" fmla="*/ 2906055 w 12192001"/>
                <a:gd name="connsiteY3546" fmla="*/ 757847 h 6523037"/>
                <a:gd name="connsiteX3547" fmla="*/ 3036720 w 12192001"/>
                <a:gd name="connsiteY3547" fmla="*/ 887114 h 6523037"/>
                <a:gd name="connsiteX3548" fmla="*/ 3177166 w 12192001"/>
                <a:gd name="connsiteY3548" fmla="*/ 1027560 h 6523037"/>
                <a:gd name="connsiteX3549" fmla="*/ 2906754 w 12192001"/>
                <a:gd name="connsiteY3549" fmla="*/ 1298671 h 6523037"/>
                <a:gd name="connsiteX3550" fmla="*/ 3170877 w 12192001"/>
                <a:gd name="connsiteY3550" fmla="*/ 1298671 h 6523037"/>
                <a:gd name="connsiteX3551" fmla="*/ 3441289 w 12192001"/>
                <a:gd name="connsiteY3551" fmla="*/ 1028259 h 6523037"/>
                <a:gd name="connsiteX3552" fmla="*/ 3170178 w 12192001"/>
                <a:gd name="connsiteY3552" fmla="*/ 757847 h 6523037"/>
                <a:gd name="connsiteX3553" fmla="*/ 3454565 w 12192001"/>
                <a:gd name="connsiteY3553" fmla="*/ 757148 h 6523037"/>
                <a:gd name="connsiteX3554" fmla="*/ 3725676 w 12192001"/>
                <a:gd name="connsiteY3554" fmla="*/ 1027560 h 6523037"/>
                <a:gd name="connsiteX3555" fmla="*/ 3455264 w 12192001"/>
                <a:gd name="connsiteY3555" fmla="*/ 1298671 h 6523037"/>
                <a:gd name="connsiteX3556" fmla="*/ 3719387 w 12192001"/>
                <a:gd name="connsiteY3556" fmla="*/ 1298671 h 6523037"/>
                <a:gd name="connsiteX3557" fmla="*/ 3989799 w 12192001"/>
                <a:gd name="connsiteY3557" fmla="*/ 1027560 h 6523037"/>
                <a:gd name="connsiteX3558" fmla="*/ 3718688 w 12192001"/>
                <a:gd name="connsiteY3558" fmla="*/ 757148 h 6523037"/>
                <a:gd name="connsiteX3559" fmla="*/ 4003075 w 12192001"/>
                <a:gd name="connsiteY3559" fmla="*/ 756449 h 6523037"/>
                <a:gd name="connsiteX3560" fmla="*/ 4274187 w 12192001"/>
                <a:gd name="connsiteY3560" fmla="*/ 1026861 h 6523037"/>
                <a:gd name="connsiteX3561" fmla="*/ 4003774 w 12192001"/>
                <a:gd name="connsiteY3561" fmla="*/ 1297972 h 6523037"/>
                <a:gd name="connsiteX3562" fmla="*/ 4202216 w 12192001"/>
                <a:gd name="connsiteY3562" fmla="*/ 1297972 h 6523037"/>
                <a:gd name="connsiteX3563" fmla="*/ 4267200 w 12192001"/>
                <a:gd name="connsiteY3563" fmla="*/ 1297972 h 6523037"/>
                <a:gd name="connsiteX3564" fmla="*/ 4538310 w 12192001"/>
                <a:gd name="connsiteY3564" fmla="*/ 1026861 h 6523037"/>
                <a:gd name="connsiteX3565" fmla="*/ 4404151 w 12192001"/>
                <a:gd name="connsiteY3565" fmla="*/ 893403 h 6523037"/>
                <a:gd name="connsiteX3566" fmla="*/ 4267200 w 12192001"/>
                <a:gd name="connsiteY3566" fmla="*/ 756449 h 6523037"/>
                <a:gd name="connsiteX3567" fmla="*/ 4550188 w 12192001"/>
                <a:gd name="connsiteY3567" fmla="*/ 755751 h 6523037"/>
                <a:gd name="connsiteX3568" fmla="*/ 4817225 w 12192001"/>
                <a:gd name="connsiteY3568" fmla="*/ 1022099 h 6523037"/>
                <a:gd name="connsiteX3569" fmla="*/ 5080048 w 12192001"/>
                <a:gd name="connsiteY3569" fmla="*/ 1022099 h 6523037"/>
                <a:gd name="connsiteX3570" fmla="*/ 4813011 w 12192001"/>
                <a:gd name="connsiteY3570" fmla="*/ 755751 h 6523037"/>
                <a:gd name="connsiteX3571" fmla="*/ 4823396 w 12192001"/>
                <a:gd name="connsiteY3571" fmla="*/ 755182 h 6523037"/>
                <a:gd name="connsiteX3572" fmla="*/ 4823396 w 12192001"/>
                <a:gd name="connsiteY3572" fmla="*/ 755666 h 6523037"/>
                <a:gd name="connsiteX3573" fmla="*/ 5094022 w 12192001"/>
                <a:gd name="connsiteY3573" fmla="*/ 1025594 h 6523037"/>
                <a:gd name="connsiteX3574" fmla="*/ 4824309 w 12192001"/>
                <a:gd name="connsiteY3574" fmla="*/ 1296705 h 6523037"/>
                <a:gd name="connsiteX3575" fmla="*/ 5087733 w 12192001"/>
                <a:gd name="connsiteY3575" fmla="*/ 1296705 h 6523037"/>
                <a:gd name="connsiteX3576" fmla="*/ 5358145 w 12192001"/>
                <a:gd name="connsiteY3576" fmla="*/ 1025594 h 6523037"/>
                <a:gd name="connsiteX3577" fmla="*/ 5223987 w 12192001"/>
                <a:gd name="connsiteY3577" fmla="*/ 892134 h 6523037"/>
                <a:gd name="connsiteX3578" fmla="*/ 5087035 w 12192001"/>
                <a:gd name="connsiteY3578" fmla="*/ 755182 h 6523037"/>
                <a:gd name="connsiteX3579" fmla="*/ 6469141 w 12192001"/>
                <a:gd name="connsiteY3579" fmla="*/ 754483 h 6523037"/>
                <a:gd name="connsiteX3580" fmla="*/ 6597709 w 12192001"/>
                <a:gd name="connsiteY3580" fmla="*/ 883051 h 6523037"/>
                <a:gd name="connsiteX3581" fmla="*/ 6739554 w 12192001"/>
                <a:gd name="connsiteY3581" fmla="*/ 1024895 h 6523037"/>
                <a:gd name="connsiteX3582" fmla="*/ 6469141 w 12192001"/>
                <a:gd name="connsiteY3582" fmla="*/ 1296006 h 6523037"/>
                <a:gd name="connsiteX3583" fmla="*/ 6733264 w 12192001"/>
                <a:gd name="connsiteY3583" fmla="*/ 1296006 h 6523037"/>
                <a:gd name="connsiteX3584" fmla="*/ 7003677 w 12192001"/>
                <a:gd name="connsiteY3584" fmla="*/ 1024895 h 6523037"/>
                <a:gd name="connsiteX3585" fmla="*/ 6998784 w 12192001"/>
                <a:gd name="connsiteY3585" fmla="*/ 1020004 h 6523037"/>
                <a:gd name="connsiteX3586" fmla="*/ 6733264 w 12192001"/>
                <a:gd name="connsiteY3586" fmla="*/ 754483 h 6523037"/>
                <a:gd name="connsiteX3587" fmla="*/ 7017651 w 12192001"/>
                <a:gd name="connsiteY3587" fmla="*/ 753784 h 6523037"/>
                <a:gd name="connsiteX3588" fmla="*/ 7288761 w 12192001"/>
                <a:gd name="connsiteY3588" fmla="*/ 1023497 h 6523037"/>
                <a:gd name="connsiteX3589" fmla="*/ 7285967 w 12192001"/>
                <a:gd name="connsiteY3589" fmla="*/ 1026293 h 6523037"/>
                <a:gd name="connsiteX3590" fmla="*/ 7195829 w 12192001"/>
                <a:gd name="connsiteY3590" fmla="*/ 1117128 h 6523037"/>
                <a:gd name="connsiteX3591" fmla="*/ 7018349 w 12192001"/>
                <a:gd name="connsiteY3591" fmla="*/ 1294608 h 6523037"/>
                <a:gd name="connsiteX3592" fmla="*/ 7282473 w 12192001"/>
                <a:gd name="connsiteY3592" fmla="*/ 1294608 h 6523037"/>
                <a:gd name="connsiteX3593" fmla="*/ 7371911 w 12192001"/>
                <a:gd name="connsiteY3593" fmla="*/ 1205169 h 6523037"/>
                <a:gd name="connsiteX3594" fmla="*/ 7552885 w 12192001"/>
                <a:gd name="connsiteY3594" fmla="*/ 1024196 h 6523037"/>
                <a:gd name="connsiteX3595" fmla="*/ 7281774 w 12192001"/>
                <a:gd name="connsiteY3595" fmla="*/ 753784 h 6523037"/>
                <a:gd name="connsiteX3596" fmla="*/ 5919233 w 12192001"/>
                <a:gd name="connsiteY3596" fmla="*/ 753784 h 6523037"/>
                <a:gd name="connsiteX3597" fmla="*/ 6190345 w 12192001"/>
                <a:gd name="connsiteY3597" fmla="*/ 1023497 h 6523037"/>
                <a:gd name="connsiteX3598" fmla="*/ 6187548 w 12192001"/>
                <a:gd name="connsiteY3598" fmla="*/ 1026293 h 6523037"/>
                <a:gd name="connsiteX3599" fmla="*/ 6097412 w 12192001"/>
                <a:gd name="connsiteY3599" fmla="*/ 1117128 h 6523037"/>
                <a:gd name="connsiteX3600" fmla="*/ 5919933 w 12192001"/>
                <a:gd name="connsiteY3600" fmla="*/ 1294608 h 6523037"/>
                <a:gd name="connsiteX3601" fmla="*/ 6184056 w 12192001"/>
                <a:gd name="connsiteY3601" fmla="*/ 1294608 h 6523037"/>
                <a:gd name="connsiteX3602" fmla="*/ 6273494 w 12192001"/>
                <a:gd name="connsiteY3602" fmla="*/ 1205169 h 6523037"/>
                <a:gd name="connsiteX3603" fmla="*/ 6454468 w 12192001"/>
                <a:gd name="connsiteY3603" fmla="*/ 1024196 h 6523037"/>
                <a:gd name="connsiteX3604" fmla="*/ 6183356 w 12192001"/>
                <a:gd name="connsiteY3604" fmla="*/ 753784 h 6523037"/>
                <a:gd name="connsiteX3605" fmla="*/ 5370723 w 12192001"/>
                <a:gd name="connsiteY3605" fmla="*/ 753784 h 6523037"/>
                <a:gd name="connsiteX3606" fmla="*/ 5372120 w 12192001"/>
                <a:gd name="connsiteY3606" fmla="*/ 755182 h 6523037"/>
                <a:gd name="connsiteX3607" fmla="*/ 5641833 w 12192001"/>
                <a:gd name="connsiteY3607" fmla="*/ 1024196 h 6523037"/>
                <a:gd name="connsiteX3608" fmla="*/ 5371422 w 12192001"/>
                <a:gd name="connsiteY3608" fmla="*/ 1295307 h 6523037"/>
                <a:gd name="connsiteX3609" fmla="*/ 5635545 w 12192001"/>
                <a:gd name="connsiteY3609" fmla="*/ 1295307 h 6523037"/>
                <a:gd name="connsiteX3610" fmla="*/ 5905958 w 12192001"/>
                <a:gd name="connsiteY3610" fmla="*/ 1024196 h 6523037"/>
                <a:gd name="connsiteX3611" fmla="*/ 5900367 w 12192001"/>
                <a:gd name="connsiteY3611" fmla="*/ 1019305 h 6523037"/>
                <a:gd name="connsiteX3612" fmla="*/ 5634846 w 12192001"/>
                <a:gd name="connsiteY3612" fmla="*/ 753784 h 6523037"/>
                <a:gd name="connsiteX3613" fmla="*/ 7566161 w 12192001"/>
                <a:gd name="connsiteY3613" fmla="*/ 753085 h 6523037"/>
                <a:gd name="connsiteX3614" fmla="*/ 7696826 w 12192001"/>
                <a:gd name="connsiteY3614" fmla="*/ 882352 h 6523037"/>
                <a:gd name="connsiteX3615" fmla="*/ 7837272 w 12192001"/>
                <a:gd name="connsiteY3615" fmla="*/ 1022798 h 6523037"/>
                <a:gd name="connsiteX3616" fmla="*/ 7566860 w 12192001"/>
                <a:gd name="connsiteY3616" fmla="*/ 1293909 h 6523037"/>
                <a:gd name="connsiteX3617" fmla="*/ 7830983 w 12192001"/>
                <a:gd name="connsiteY3617" fmla="*/ 1293909 h 6523037"/>
                <a:gd name="connsiteX3618" fmla="*/ 8101395 w 12192001"/>
                <a:gd name="connsiteY3618" fmla="*/ 1023497 h 6523037"/>
                <a:gd name="connsiteX3619" fmla="*/ 7830284 w 12192001"/>
                <a:gd name="connsiteY3619" fmla="*/ 753085 h 6523037"/>
                <a:gd name="connsiteX3620" fmla="*/ 8114671 w 12192001"/>
                <a:gd name="connsiteY3620" fmla="*/ 752386 h 6523037"/>
                <a:gd name="connsiteX3621" fmla="*/ 8385782 w 12192001"/>
                <a:gd name="connsiteY3621" fmla="*/ 1022798 h 6523037"/>
                <a:gd name="connsiteX3622" fmla="*/ 8115370 w 12192001"/>
                <a:gd name="connsiteY3622" fmla="*/ 1293909 h 6523037"/>
                <a:gd name="connsiteX3623" fmla="*/ 8379493 w 12192001"/>
                <a:gd name="connsiteY3623" fmla="*/ 1293909 h 6523037"/>
                <a:gd name="connsiteX3624" fmla="*/ 8649905 w 12192001"/>
                <a:gd name="connsiteY3624" fmla="*/ 1022798 h 6523037"/>
                <a:gd name="connsiteX3625" fmla="*/ 8378794 w 12192001"/>
                <a:gd name="connsiteY3625" fmla="*/ 752386 h 6523037"/>
                <a:gd name="connsiteX3626" fmla="*/ 9483502 w 12192001"/>
                <a:gd name="connsiteY3626" fmla="*/ 752007 h 6523037"/>
                <a:gd name="connsiteX3627" fmla="*/ 9483502 w 12192001"/>
                <a:gd name="connsiteY3627" fmla="*/ 752181 h 6523037"/>
                <a:gd name="connsiteX3628" fmla="*/ 9754439 w 12192001"/>
                <a:gd name="connsiteY3628" fmla="*/ 1022419 h 6523037"/>
                <a:gd name="connsiteX3629" fmla="*/ 9484726 w 12192001"/>
                <a:gd name="connsiteY3629" fmla="*/ 1293530 h 6523037"/>
                <a:gd name="connsiteX3630" fmla="*/ 9748150 w 12192001"/>
                <a:gd name="connsiteY3630" fmla="*/ 1293530 h 6523037"/>
                <a:gd name="connsiteX3631" fmla="*/ 10018562 w 12192001"/>
                <a:gd name="connsiteY3631" fmla="*/ 1022419 h 6523037"/>
                <a:gd name="connsiteX3632" fmla="*/ 9884404 w 12192001"/>
                <a:gd name="connsiteY3632" fmla="*/ 888959 h 6523037"/>
                <a:gd name="connsiteX3633" fmla="*/ 9747451 w 12192001"/>
                <a:gd name="connsiteY3633" fmla="*/ 752007 h 6523037"/>
                <a:gd name="connsiteX3634" fmla="*/ 8663181 w 12192001"/>
                <a:gd name="connsiteY3634" fmla="*/ 751687 h 6523037"/>
                <a:gd name="connsiteX3635" fmla="*/ 8934292 w 12192001"/>
                <a:gd name="connsiteY3635" fmla="*/ 1022099 h 6523037"/>
                <a:gd name="connsiteX3636" fmla="*/ 8663880 w 12192001"/>
                <a:gd name="connsiteY3636" fmla="*/ 1293210 h 6523037"/>
                <a:gd name="connsiteX3637" fmla="*/ 8862322 w 12192001"/>
                <a:gd name="connsiteY3637" fmla="*/ 1293210 h 6523037"/>
                <a:gd name="connsiteX3638" fmla="*/ 8927305 w 12192001"/>
                <a:gd name="connsiteY3638" fmla="*/ 1293210 h 6523037"/>
                <a:gd name="connsiteX3639" fmla="*/ 9198416 w 12192001"/>
                <a:gd name="connsiteY3639" fmla="*/ 1022099 h 6523037"/>
                <a:gd name="connsiteX3640" fmla="*/ 9064257 w 12192001"/>
                <a:gd name="connsiteY3640" fmla="*/ 888641 h 6523037"/>
                <a:gd name="connsiteX3641" fmla="*/ 8927305 w 12192001"/>
                <a:gd name="connsiteY3641" fmla="*/ 751687 h 6523037"/>
                <a:gd name="connsiteX3642" fmla="*/ 11129558 w 12192001"/>
                <a:gd name="connsiteY3642" fmla="*/ 751308 h 6523037"/>
                <a:gd name="connsiteX3643" fmla="*/ 11258126 w 12192001"/>
                <a:gd name="connsiteY3643" fmla="*/ 879876 h 6523037"/>
                <a:gd name="connsiteX3644" fmla="*/ 11399970 w 12192001"/>
                <a:gd name="connsiteY3644" fmla="*/ 1021720 h 6523037"/>
                <a:gd name="connsiteX3645" fmla="*/ 11129558 w 12192001"/>
                <a:gd name="connsiteY3645" fmla="*/ 1292831 h 6523037"/>
                <a:gd name="connsiteX3646" fmla="*/ 11393681 w 12192001"/>
                <a:gd name="connsiteY3646" fmla="*/ 1292831 h 6523037"/>
                <a:gd name="connsiteX3647" fmla="*/ 11664093 w 12192001"/>
                <a:gd name="connsiteY3647" fmla="*/ 1021720 h 6523037"/>
                <a:gd name="connsiteX3648" fmla="*/ 11659201 w 12192001"/>
                <a:gd name="connsiteY3648" fmla="*/ 1016829 h 6523037"/>
                <a:gd name="connsiteX3649" fmla="*/ 11393681 w 12192001"/>
                <a:gd name="connsiteY3649" fmla="*/ 751308 h 6523037"/>
                <a:gd name="connsiteX3650" fmla="*/ 9210294 w 12192001"/>
                <a:gd name="connsiteY3650" fmla="*/ 750989 h 6523037"/>
                <a:gd name="connsiteX3651" fmla="*/ 9478921 w 12192001"/>
                <a:gd name="connsiteY3651" fmla="*/ 1018924 h 6523037"/>
                <a:gd name="connsiteX3652" fmla="*/ 9740464 w 12192001"/>
                <a:gd name="connsiteY3652" fmla="*/ 1018924 h 6523037"/>
                <a:gd name="connsiteX3653" fmla="*/ 9471836 w 12192001"/>
                <a:gd name="connsiteY3653" fmla="*/ 750989 h 6523037"/>
                <a:gd name="connsiteX3654" fmla="*/ 10579650 w 12192001"/>
                <a:gd name="connsiteY3654" fmla="*/ 750609 h 6523037"/>
                <a:gd name="connsiteX3655" fmla="*/ 10850761 w 12192001"/>
                <a:gd name="connsiteY3655" fmla="*/ 1020322 h 6523037"/>
                <a:gd name="connsiteX3656" fmla="*/ 10847965 w 12192001"/>
                <a:gd name="connsiteY3656" fmla="*/ 1023118 h 6523037"/>
                <a:gd name="connsiteX3657" fmla="*/ 10757829 w 12192001"/>
                <a:gd name="connsiteY3657" fmla="*/ 1113953 h 6523037"/>
                <a:gd name="connsiteX3658" fmla="*/ 10580349 w 12192001"/>
                <a:gd name="connsiteY3658" fmla="*/ 1291433 h 6523037"/>
                <a:gd name="connsiteX3659" fmla="*/ 10844472 w 12192001"/>
                <a:gd name="connsiteY3659" fmla="*/ 1291433 h 6523037"/>
                <a:gd name="connsiteX3660" fmla="*/ 10933911 w 12192001"/>
                <a:gd name="connsiteY3660" fmla="*/ 1201994 h 6523037"/>
                <a:gd name="connsiteX3661" fmla="*/ 11114884 w 12192001"/>
                <a:gd name="connsiteY3661" fmla="*/ 1021021 h 6523037"/>
                <a:gd name="connsiteX3662" fmla="*/ 10843773 w 12192001"/>
                <a:gd name="connsiteY3662" fmla="*/ 750609 h 6523037"/>
                <a:gd name="connsiteX3663" fmla="*/ 10031140 w 12192001"/>
                <a:gd name="connsiteY3663" fmla="*/ 750609 h 6523037"/>
                <a:gd name="connsiteX3664" fmla="*/ 10032537 w 12192001"/>
                <a:gd name="connsiteY3664" fmla="*/ 752007 h 6523037"/>
                <a:gd name="connsiteX3665" fmla="*/ 10302250 w 12192001"/>
                <a:gd name="connsiteY3665" fmla="*/ 1021021 h 6523037"/>
                <a:gd name="connsiteX3666" fmla="*/ 10031839 w 12192001"/>
                <a:gd name="connsiteY3666" fmla="*/ 1292132 h 6523037"/>
                <a:gd name="connsiteX3667" fmla="*/ 10295962 w 12192001"/>
                <a:gd name="connsiteY3667" fmla="*/ 1292132 h 6523037"/>
                <a:gd name="connsiteX3668" fmla="*/ 10566374 w 12192001"/>
                <a:gd name="connsiteY3668" fmla="*/ 1021021 h 6523037"/>
                <a:gd name="connsiteX3669" fmla="*/ 10560784 w 12192001"/>
                <a:gd name="connsiteY3669" fmla="*/ 1016130 h 6523037"/>
                <a:gd name="connsiteX3670" fmla="*/ 10295263 w 12192001"/>
                <a:gd name="connsiteY3670" fmla="*/ 750609 h 6523037"/>
                <a:gd name="connsiteX3671" fmla="*/ 702930 w 12192001"/>
                <a:gd name="connsiteY3671" fmla="*/ 484641 h 6523037"/>
                <a:gd name="connsiteX3672" fmla="*/ 522656 w 12192001"/>
                <a:gd name="connsiteY3672" fmla="*/ 665614 h 6523037"/>
                <a:gd name="connsiteX3673" fmla="*/ 433217 w 12192001"/>
                <a:gd name="connsiteY3673" fmla="*/ 755751 h 6523037"/>
                <a:gd name="connsiteX3674" fmla="*/ 567375 w 12192001"/>
                <a:gd name="connsiteY3674" fmla="*/ 889210 h 6523037"/>
                <a:gd name="connsiteX3675" fmla="*/ 704328 w 12192001"/>
                <a:gd name="connsiteY3675" fmla="*/ 1026164 h 6523037"/>
                <a:gd name="connsiteX3676" fmla="*/ 968451 w 12192001"/>
                <a:gd name="connsiteY3676" fmla="*/ 1026164 h 6523037"/>
                <a:gd name="connsiteX3677" fmla="*/ 697340 w 12192001"/>
                <a:gd name="connsiteY3677" fmla="*/ 755751 h 6523037"/>
                <a:gd name="connsiteX3678" fmla="*/ 698738 w 12192001"/>
                <a:gd name="connsiteY3678" fmla="*/ 754354 h 6523037"/>
                <a:gd name="connsiteX3679" fmla="*/ 967054 w 12192001"/>
                <a:gd name="connsiteY3679" fmla="*/ 484641 h 6523037"/>
                <a:gd name="connsiteX3680" fmla="*/ 1252140 w 12192001"/>
                <a:gd name="connsiteY3680" fmla="*/ 483942 h 6523037"/>
                <a:gd name="connsiteX3681" fmla="*/ 981727 w 12192001"/>
                <a:gd name="connsiteY3681" fmla="*/ 755053 h 6523037"/>
                <a:gd name="connsiteX3682" fmla="*/ 1252838 w 12192001"/>
                <a:gd name="connsiteY3682" fmla="*/ 1025465 h 6523037"/>
                <a:gd name="connsiteX3683" fmla="*/ 1516962 w 12192001"/>
                <a:gd name="connsiteY3683" fmla="*/ 1025465 h 6523037"/>
                <a:gd name="connsiteX3684" fmla="*/ 1245851 w 12192001"/>
                <a:gd name="connsiteY3684" fmla="*/ 755053 h 6523037"/>
                <a:gd name="connsiteX3685" fmla="*/ 1516263 w 12192001"/>
                <a:gd name="connsiteY3685" fmla="*/ 483942 h 6523037"/>
                <a:gd name="connsiteX3686" fmla="*/ 2899067 w 12192001"/>
                <a:gd name="connsiteY3686" fmla="*/ 483243 h 6523037"/>
                <a:gd name="connsiteX3687" fmla="*/ 2628655 w 12192001"/>
                <a:gd name="connsiteY3687" fmla="*/ 754354 h 6523037"/>
                <a:gd name="connsiteX3688" fmla="*/ 2899766 w 12192001"/>
                <a:gd name="connsiteY3688" fmla="*/ 1024766 h 6523037"/>
                <a:gd name="connsiteX3689" fmla="*/ 3163191 w 12192001"/>
                <a:gd name="connsiteY3689" fmla="*/ 1024766 h 6523037"/>
                <a:gd name="connsiteX3690" fmla="*/ 3032527 w 12192001"/>
                <a:gd name="connsiteY3690" fmla="*/ 894800 h 6523037"/>
                <a:gd name="connsiteX3691" fmla="*/ 2892081 w 12192001"/>
                <a:gd name="connsiteY3691" fmla="*/ 754354 h 6523037"/>
                <a:gd name="connsiteX3692" fmla="*/ 3163191 w 12192001"/>
                <a:gd name="connsiteY3692" fmla="*/ 483243 h 6523037"/>
                <a:gd name="connsiteX3693" fmla="*/ 1799951 w 12192001"/>
                <a:gd name="connsiteY3693" fmla="*/ 483243 h 6523037"/>
                <a:gd name="connsiteX3694" fmla="*/ 1529539 w 12192001"/>
                <a:gd name="connsiteY3694" fmla="*/ 754354 h 6523037"/>
                <a:gd name="connsiteX3695" fmla="*/ 1800650 w 12192001"/>
                <a:gd name="connsiteY3695" fmla="*/ 1024766 h 6523037"/>
                <a:gd name="connsiteX3696" fmla="*/ 1802048 w 12192001"/>
                <a:gd name="connsiteY3696" fmla="*/ 1026164 h 6523037"/>
                <a:gd name="connsiteX3697" fmla="*/ 2066171 w 12192001"/>
                <a:gd name="connsiteY3697" fmla="*/ 1026164 h 6523037"/>
                <a:gd name="connsiteX3698" fmla="*/ 1934808 w 12192001"/>
                <a:gd name="connsiteY3698" fmla="*/ 894800 h 6523037"/>
                <a:gd name="connsiteX3699" fmla="*/ 1797155 w 12192001"/>
                <a:gd name="connsiteY3699" fmla="*/ 757148 h 6523037"/>
                <a:gd name="connsiteX3700" fmla="*/ 2066171 w 12192001"/>
                <a:gd name="connsiteY3700" fmla="*/ 483243 h 6523037"/>
                <a:gd name="connsiteX3701" fmla="*/ 3446879 w 12192001"/>
                <a:gd name="connsiteY3701" fmla="*/ 482544 h 6523037"/>
                <a:gd name="connsiteX3702" fmla="*/ 3176467 w 12192001"/>
                <a:gd name="connsiteY3702" fmla="*/ 753655 h 6523037"/>
                <a:gd name="connsiteX3703" fmla="*/ 3447578 w 12192001"/>
                <a:gd name="connsiteY3703" fmla="*/ 1024067 h 6523037"/>
                <a:gd name="connsiteX3704" fmla="*/ 3711701 w 12192001"/>
                <a:gd name="connsiteY3704" fmla="*/ 1024067 h 6523037"/>
                <a:gd name="connsiteX3705" fmla="*/ 3440590 w 12192001"/>
                <a:gd name="connsiteY3705" fmla="*/ 753655 h 6523037"/>
                <a:gd name="connsiteX3706" fmla="*/ 3625057 w 12192001"/>
                <a:gd name="connsiteY3706" fmla="*/ 569188 h 6523037"/>
                <a:gd name="connsiteX3707" fmla="*/ 3709605 w 12192001"/>
                <a:gd name="connsiteY3707" fmla="*/ 482544 h 6523037"/>
                <a:gd name="connsiteX3708" fmla="*/ 3995389 w 12192001"/>
                <a:gd name="connsiteY3708" fmla="*/ 481845 h 6523037"/>
                <a:gd name="connsiteX3709" fmla="*/ 3724977 w 12192001"/>
                <a:gd name="connsiteY3709" fmla="*/ 752956 h 6523037"/>
                <a:gd name="connsiteX3710" fmla="*/ 3996088 w 12192001"/>
                <a:gd name="connsiteY3710" fmla="*/ 1023368 h 6523037"/>
                <a:gd name="connsiteX3711" fmla="*/ 4260212 w 12192001"/>
                <a:gd name="connsiteY3711" fmla="*/ 1023368 h 6523037"/>
                <a:gd name="connsiteX3712" fmla="*/ 3989100 w 12192001"/>
                <a:gd name="connsiteY3712" fmla="*/ 752956 h 6523037"/>
                <a:gd name="connsiteX3713" fmla="*/ 3990498 w 12192001"/>
                <a:gd name="connsiteY3713" fmla="*/ 751558 h 6523037"/>
                <a:gd name="connsiteX3714" fmla="*/ 3989799 w 12192001"/>
                <a:gd name="connsiteY3714" fmla="*/ 751558 h 6523037"/>
                <a:gd name="connsiteX3715" fmla="*/ 4258116 w 12192001"/>
                <a:gd name="connsiteY3715" fmla="*/ 482544 h 6523037"/>
                <a:gd name="connsiteX3716" fmla="*/ 3999582 w 12192001"/>
                <a:gd name="connsiteY3716" fmla="*/ 482544 h 6523037"/>
                <a:gd name="connsiteX3717" fmla="*/ 4000979 w 12192001"/>
                <a:gd name="connsiteY3717" fmla="*/ 481845 h 6523037"/>
                <a:gd name="connsiteX3718" fmla="*/ 4818383 w 12192001"/>
                <a:gd name="connsiteY3718" fmla="*/ 481275 h 6523037"/>
                <a:gd name="connsiteX3719" fmla="*/ 4550887 w 12192001"/>
                <a:gd name="connsiteY3719" fmla="*/ 749462 h 6523037"/>
                <a:gd name="connsiteX3720" fmla="*/ 4811162 w 12192001"/>
                <a:gd name="connsiteY3720" fmla="*/ 749462 h 6523037"/>
                <a:gd name="connsiteX3721" fmla="*/ 4993404 w 12192001"/>
                <a:gd name="connsiteY3721" fmla="*/ 567221 h 6523037"/>
                <a:gd name="connsiteX3722" fmla="*/ 5079348 w 12192001"/>
                <a:gd name="connsiteY3722" fmla="*/ 481275 h 6523037"/>
                <a:gd name="connsiteX3723" fmla="*/ 4543201 w 12192001"/>
                <a:gd name="connsiteY3723" fmla="*/ 481146 h 6523037"/>
                <a:gd name="connsiteX3724" fmla="*/ 4362227 w 12192001"/>
                <a:gd name="connsiteY3724" fmla="*/ 662120 h 6523037"/>
                <a:gd name="connsiteX3725" fmla="*/ 4362927 w 12192001"/>
                <a:gd name="connsiteY3725" fmla="*/ 662819 h 6523037"/>
                <a:gd name="connsiteX3726" fmla="*/ 4273487 w 12192001"/>
                <a:gd name="connsiteY3726" fmla="*/ 752956 h 6523037"/>
                <a:gd name="connsiteX3727" fmla="*/ 4407646 w 12192001"/>
                <a:gd name="connsiteY3727" fmla="*/ 886416 h 6523037"/>
                <a:gd name="connsiteX3728" fmla="*/ 4543899 w 12192001"/>
                <a:gd name="connsiteY3728" fmla="*/ 1022669 h 6523037"/>
                <a:gd name="connsiteX3729" fmla="*/ 4805312 w 12192001"/>
                <a:gd name="connsiteY3729" fmla="*/ 1022669 h 6523037"/>
                <a:gd name="connsiteX3730" fmla="*/ 4660106 w 12192001"/>
                <a:gd name="connsiteY3730" fmla="*/ 877461 h 6523037"/>
                <a:gd name="connsiteX3731" fmla="*/ 4660106 w 12192001"/>
                <a:gd name="connsiteY3731" fmla="*/ 875133 h 6523037"/>
                <a:gd name="connsiteX3732" fmla="*/ 4536912 w 12192001"/>
                <a:gd name="connsiteY3732" fmla="*/ 752257 h 6523037"/>
                <a:gd name="connsiteX3733" fmla="*/ 4660106 w 12192001"/>
                <a:gd name="connsiteY3733" fmla="*/ 628745 h 6523037"/>
                <a:gd name="connsiteX3734" fmla="*/ 4660106 w 12192001"/>
                <a:gd name="connsiteY3734" fmla="*/ 625913 h 6523037"/>
                <a:gd name="connsiteX3735" fmla="*/ 4804193 w 12192001"/>
                <a:gd name="connsiteY3735" fmla="*/ 481146 h 6523037"/>
                <a:gd name="connsiteX3736" fmla="*/ 2616078 w 12192001"/>
                <a:gd name="connsiteY3736" fmla="*/ 481146 h 6523037"/>
                <a:gd name="connsiteX3737" fmla="*/ 2349859 w 12192001"/>
                <a:gd name="connsiteY3737" fmla="*/ 483942 h 6523037"/>
                <a:gd name="connsiteX3738" fmla="*/ 2079447 w 12192001"/>
                <a:gd name="connsiteY3738" fmla="*/ 755053 h 6523037"/>
                <a:gd name="connsiteX3739" fmla="*/ 2350558 w 12192001"/>
                <a:gd name="connsiteY3739" fmla="*/ 1025465 h 6523037"/>
                <a:gd name="connsiteX3740" fmla="*/ 2614681 w 12192001"/>
                <a:gd name="connsiteY3740" fmla="*/ 1025465 h 6523037"/>
                <a:gd name="connsiteX3741" fmla="*/ 2343570 w 12192001"/>
                <a:gd name="connsiteY3741" fmla="*/ 755053 h 6523037"/>
                <a:gd name="connsiteX3742" fmla="*/ 5363036 w 12192001"/>
                <a:gd name="connsiteY3742" fmla="*/ 479879 h 6523037"/>
                <a:gd name="connsiteX3743" fmla="*/ 5182762 w 12192001"/>
                <a:gd name="connsiteY3743" fmla="*/ 660852 h 6523037"/>
                <a:gd name="connsiteX3744" fmla="*/ 5093323 w 12192001"/>
                <a:gd name="connsiteY3744" fmla="*/ 750989 h 6523037"/>
                <a:gd name="connsiteX3745" fmla="*/ 5227481 w 12192001"/>
                <a:gd name="connsiteY3745" fmla="*/ 884448 h 6523037"/>
                <a:gd name="connsiteX3746" fmla="*/ 5364435 w 12192001"/>
                <a:gd name="connsiteY3746" fmla="*/ 1021402 h 6523037"/>
                <a:gd name="connsiteX3747" fmla="*/ 5628558 w 12192001"/>
                <a:gd name="connsiteY3747" fmla="*/ 1021402 h 6523037"/>
                <a:gd name="connsiteX3748" fmla="*/ 5357446 w 12192001"/>
                <a:gd name="connsiteY3748" fmla="*/ 750989 h 6523037"/>
                <a:gd name="connsiteX3749" fmla="*/ 5358844 w 12192001"/>
                <a:gd name="connsiteY3749" fmla="*/ 749592 h 6523037"/>
                <a:gd name="connsiteX3750" fmla="*/ 5627160 w 12192001"/>
                <a:gd name="connsiteY3750" fmla="*/ 479879 h 6523037"/>
                <a:gd name="connsiteX3751" fmla="*/ 5912246 w 12192001"/>
                <a:gd name="connsiteY3751" fmla="*/ 479180 h 6523037"/>
                <a:gd name="connsiteX3752" fmla="*/ 5641833 w 12192001"/>
                <a:gd name="connsiteY3752" fmla="*/ 750291 h 6523037"/>
                <a:gd name="connsiteX3753" fmla="*/ 5912945 w 12192001"/>
                <a:gd name="connsiteY3753" fmla="*/ 1020703 h 6523037"/>
                <a:gd name="connsiteX3754" fmla="*/ 6177068 w 12192001"/>
                <a:gd name="connsiteY3754" fmla="*/ 1020703 h 6523037"/>
                <a:gd name="connsiteX3755" fmla="*/ 5905958 w 12192001"/>
                <a:gd name="connsiteY3755" fmla="*/ 750291 h 6523037"/>
                <a:gd name="connsiteX3756" fmla="*/ 6176369 w 12192001"/>
                <a:gd name="connsiteY3756" fmla="*/ 479180 h 6523037"/>
                <a:gd name="connsiteX3757" fmla="*/ 7559173 w 12192001"/>
                <a:gd name="connsiteY3757" fmla="*/ 478481 h 6523037"/>
                <a:gd name="connsiteX3758" fmla="*/ 7288761 w 12192001"/>
                <a:gd name="connsiteY3758" fmla="*/ 749592 h 6523037"/>
                <a:gd name="connsiteX3759" fmla="*/ 7559872 w 12192001"/>
                <a:gd name="connsiteY3759" fmla="*/ 1020004 h 6523037"/>
                <a:gd name="connsiteX3760" fmla="*/ 7823297 w 12192001"/>
                <a:gd name="connsiteY3760" fmla="*/ 1020004 h 6523037"/>
                <a:gd name="connsiteX3761" fmla="*/ 7692633 w 12192001"/>
                <a:gd name="connsiteY3761" fmla="*/ 890038 h 6523037"/>
                <a:gd name="connsiteX3762" fmla="*/ 7552187 w 12192001"/>
                <a:gd name="connsiteY3762" fmla="*/ 749592 h 6523037"/>
                <a:gd name="connsiteX3763" fmla="*/ 7823297 w 12192001"/>
                <a:gd name="connsiteY3763" fmla="*/ 478481 h 6523037"/>
                <a:gd name="connsiteX3764" fmla="*/ 6460057 w 12192001"/>
                <a:gd name="connsiteY3764" fmla="*/ 478481 h 6523037"/>
                <a:gd name="connsiteX3765" fmla="*/ 6189645 w 12192001"/>
                <a:gd name="connsiteY3765" fmla="*/ 749592 h 6523037"/>
                <a:gd name="connsiteX3766" fmla="*/ 6460756 w 12192001"/>
                <a:gd name="connsiteY3766" fmla="*/ 1020004 h 6523037"/>
                <a:gd name="connsiteX3767" fmla="*/ 6462154 w 12192001"/>
                <a:gd name="connsiteY3767" fmla="*/ 1021402 h 6523037"/>
                <a:gd name="connsiteX3768" fmla="*/ 6726277 w 12192001"/>
                <a:gd name="connsiteY3768" fmla="*/ 1021402 h 6523037"/>
                <a:gd name="connsiteX3769" fmla="*/ 6594914 w 12192001"/>
                <a:gd name="connsiteY3769" fmla="*/ 890038 h 6523037"/>
                <a:gd name="connsiteX3770" fmla="*/ 6457261 w 12192001"/>
                <a:gd name="connsiteY3770" fmla="*/ 752386 h 6523037"/>
                <a:gd name="connsiteX3771" fmla="*/ 6726277 w 12192001"/>
                <a:gd name="connsiteY3771" fmla="*/ 478481 h 6523037"/>
                <a:gd name="connsiteX3772" fmla="*/ 9476907 w 12192001"/>
                <a:gd name="connsiteY3772" fmla="*/ 478100 h 6523037"/>
                <a:gd name="connsiteX3773" fmla="*/ 9210993 w 12192001"/>
                <a:gd name="connsiteY3773" fmla="*/ 744700 h 6523037"/>
                <a:gd name="connsiteX3774" fmla="*/ 9473165 w 12192001"/>
                <a:gd name="connsiteY3774" fmla="*/ 744700 h 6523037"/>
                <a:gd name="connsiteX3775" fmla="*/ 9653821 w 12192001"/>
                <a:gd name="connsiteY3775" fmla="*/ 564046 h 6523037"/>
                <a:gd name="connsiteX3776" fmla="*/ 9739765 w 12192001"/>
                <a:gd name="connsiteY3776" fmla="*/ 478100 h 6523037"/>
                <a:gd name="connsiteX3777" fmla="*/ 8106985 w 12192001"/>
                <a:gd name="connsiteY3777" fmla="*/ 477782 h 6523037"/>
                <a:gd name="connsiteX3778" fmla="*/ 7836573 w 12192001"/>
                <a:gd name="connsiteY3778" fmla="*/ 748893 h 6523037"/>
                <a:gd name="connsiteX3779" fmla="*/ 8107684 w 12192001"/>
                <a:gd name="connsiteY3779" fmla="*/ 1019305 h 6523037"/>
                <a:gd name="connsiteX3780" fmla="*/ 8371807 w 12192001"/>
                <a:gd name="connsiteY3780" fmla="*/ 1019305 h 6523037"/>
                <a:gd name="connsiteX3781" fmla="*/ 8100696 w 12192001"/>
                <a:gd name="connsiteY3781" fmla="*/ 748893 h 6523037"/>
                <a:gd name="connsiteX3782" fmla="*/ 8285163 w 12192001"/>
                <a:gd name="connsiteY3782" fmla="*/ 564426 h 6523037"/>
                <a:gd name="connsiteX3783" fmla="*/ 8369711 w 12192001"/>
                <a:gd name="connsiteY3783" fmla="*/ 477782 h 6523037"/>
                <a:gd name="connsiteX3784" fmla="*/ 8655495 w 12192001"/>
                <a:gd name="connsiteY3784" fmla="*/ 477083 h 6523037"/>
                <a:gd name="connsiteX3785" fmla="*/ 8385083 w 12192001"/>
                <a:gd name="connsiteY3785" fmla="*/ 748194 h 6523037"/>
                <a:gd name="connsiteX3786" fmla="*/ 8656194 w 12192001"/>
                <a:gd name="connsiteY3786" fmla="*/ 1018606 h 6523037"/>
                <a:gd name="connsiteX3787" fmla="*/ 8920317 w 12192001"/>
                <a:gd name="connsiteY3787" fmla="*/ 1018606 h 6523037"/>
                <a:gd name="connsiteX3788" fmla="*/ 8649206 w 12192001"/>
                <a:gd name="connsiteY3788" fmla="*/ 748194 h 6523037"/>
                <a:gd name="connsiteX3789" fmla="*/ 8650604 w 12192001"/>
                <a:gd name="connsiteY3789" fmla="*/ 746796 h 6523037"/>
                <a:gd name="connsiteX3790" fmla="*/ 8649905 w 12192001"/>
                <a:gd name="connsiteY3790" fmla="*/ 746796 h 6523037"/>
                <a:gd name="connsiteX3791" fmla="*/ 8918222 w 12192001"/>
                <a:gd name="connsiteY3791" fmla="*/ 477782 h 6523037"/>
                <a:gd name="connsiteX3792" fmla="*/ 8659688 w 12192001"/>
                <a:gd name="connsiteY3792" fmla="*/ 477782 h 6523037"/>
                <a:gd name="connsiteX3793" fmla="*/ 8661085 w 12192001"/>
                <a:gd name="connsiteY3793" fmla="*/ 477083 h 6523037"/>
                <a:gd name="connsiteX3794" fmla="*/ 10023453 w 12192001"/>
                <a:gd name="connsiteY3794" fmla="*/ 476704 h 6523037"/>
                <a:gd name="connsiteX3795" fmla="*/ 9843179 w 12192001"/>
                <a:gd name="connsiteY3795" fmla="*/ 657677 h 6523037"/>
                <a:gd name="connsiteX3796" fmla="*/ 9753740 w 12192001"/>
                <a:gd name="connsiteY3796" fmla="*/ 747814 h 6523037"/>
                <a:gd name="connsiteX3797" fmla="*/ 9887898 w 12192001"/>
                <a:gd name="connsiteY3797" fmla="*/ 881273 h 6523037"/>
                <a:gd name="connsiteX3798" fmla="*/ 10024851 w 12192001"/>
                <a:gd name="connsiteY3798" fmla="*/ 1018227 h 6523037"/>
                <a:gd name="connsiteX3799" fmla="*/ 10288974 w 12192001"/>
                <a:gd name="connsiteY3799" fmla="*/ 1018227 h 6523037"/>
                <a:gd name="connsiteX3800" fmla="*/ 10017863 w 12192001"/>
                <a:gd name="connsiteY3800" fmla="*/ 747814 h 6523037"/>
                <a:gd name="connsiteX3801" fmla="*/ 10019261 w 12192001"/>
                <a:gd name="connsiteY3801" fmla="*/ 746417 h 6523037"/>
                <a:gd name="connsiteX3802" fmla="*/ 10287577 w 12192001"/>
                <a:gd name="connsiteY3802" fmla="*/ 476704 h 6523037"/>
                <a:gd name="connsiteX3803" fmla="*/ 9203307 w 12192001"/>
                <a:gd name="connsiteY3803" fmla="*/ 476384 h 6523037"/>
                <a:gd name="connsiteX3804" fmla="*/ 9022333 w 12192001"/>
                <a:gd name="connsiteY3804" fmla="*/ 657358 h 6523037"/>
                <a:gd name="connsiteX3805" fmla="*/ 9023032 w 12192001"/>
                <a:gd name="connsiteY3805" fmla="*/ 658057 h 6523037"/>
                <a:gd name="connsiteX3806" fmla="*/ 8933593 w 12192001"/>
                <a:gd name="connsiteY3806" fmla="*/ 748194 h 6523037"/>
                <a:gd name="connsiteX3807" fmla="*/ 9067752 w 12192001"/>
                <a:gd name="connsiteY3807" fmla="*/ 881654 h 6523037"/>
                <a:gd name="connsiteX3808" fmla="*/ 9204005 w 12192001"/>
                <a:gd name="connsiteY3808" fmla="*/ 1017907 h 6523037"/>
                <a:gd name="connsiteX3809" fmla="*/ 9464142 w 12192001"/>
                <a:gd name="connsiteY3809" fmla="*/ 1017907 h 6523037"/>
                <a:gd name="connsiteX3810" fmla="*/ 9320523 w 12192001"/>
                <a:gd name="connsiteY3810" fmla="*/ 874286 h 6523037"/>
                <a:gd name="connsiteX3811" fmla="*/ 9320523 w 12192001"/>
                <a:gd name="connsiteY3811" fmla="*/ 870682 h 6523037"/>
                <a:gd name="connsiteX3812" fmla="*/ 9197018 w 12192001"/>
                <a:gd name="connsiteY3812" fmla="*/ 747495 h 6523037"/>
                <a:gd name="connsiteX3813" fmla="*/ 9320523 w 12192001"/>
                <a:gd name="connsiteY3813" fmla="*/ 623671 h 6523037"/>
                <a:gd name="connsiteX3814" fmla="*/ 9320523 w 12192001"/>
                <a:gd name="connsiteY3814" fmla="*/ 622738 h 6523037"/>
                <a:gd name="connsiteX3815" fmla="*/ 9466190 w 12192001"/>
                <a:gd name="connsiteY3815" fmla="*/ 476384 h 6523037"/>
                <a:gd name="connsiteX3816" fmla="*/ 7276184 w 12192001"/>
                <a:gd name="connsiteY3816" fmla="*/ 476384 h 6523037"/>
                <a:gd name="connsiteX3817" fmla="*/ 7009966 w 12192001"/>
                <a:gd name="connsiteY3817" fmla="*/ 479180 h 6523037"/>
                <a:gd name="connsiteX3818" fmla="*/ 6739554 w 12192001"/>
                <a:gd name="connsiteY3818" fmla="*/ 750291 h 6523037"/>
                <a:gd name="connsiteX3819" fmla="*/ 7010664 w 12192001"/>
                <a:gd name="connsiteY3819" fmla="*/ 1020703 h 6523037"/>
                <a:gd name="connsiteX3820" fmla="*/ 7274787 w 12192001"/>
                <a:gd name="connsiteY3820" fmla="*/ 1020703 h 6523037"/>
                <a:gd name="connsiteX3821" fmla="*/ 7003677 w 12192001"/>
                <a:gd name="connsiteY3821" fmla="*/ 750291 h 6523037"/>
                <a:gd name="connsiteX3822" fmla="*/ 10572663 w 12192001"/>
                <a:gd name="connsiteY3822" fmla="*/ 476005 h 6523037"/>
                <a:gd name="connsiteX3823" fmla="*/ 10302250 w 12192001"/>
                <a:gd name="connsiteY3823" fmla="*/ 747116 h 6523037"/>
                <a:gd name="connsiteX3824" fmla="*/ 10573361 w 12192001"/>
                <a:gd name="connsiteY3824" fmla="*/ 1017528 h 6523037"/>
                <a:gd name="connsiteX3825" fmla="*/ 10837485 w 12192001"/>
                <a:gd name="connsiteY3825" fmla="*/ 1017528 h 6523037"/>
                <a:gd name="connsiteX3826" fmla="*/ 10566374 w 12192001"/>
                <a:gd name="connsiteY3826" fmla="*/ 747116 h 6523037"/>
                <a:gd name="connsiteX3827" fmla="*/ 10836786 w 12192001"/>
                <a:gd name="connsiteY3827" fmla="*/ 476005 h 6523037"/>
                <a:gd name="connsiteX3828" fmla="*/ 11120474 w 12192001"/>
                <a:gd name="connsiteY3828" fmla="*/ 475306 h 6523037"/>
                <a:gd name="connsiteX3829" fmla="*/ 10850062 w 12192001"/>
                <a:gd name="connsiteY3829" fmla="*/ 746417 h 6523037"/>
                <a:gd name="connsiteX3830" fmla="*/ 11121173 w 12192001"/>
                <a:gd name="connsiteY3830" fmla="*/ 1016829 h 6523037"/>
                <a:gd name="connsiteX3831" fmla="*/ 11122571 w 12192001"/>
                <a:gd name="connsiteY3831" fmla="*/ 1018227 h 6523037"/>
                <a:gd name="connsiteX3832" fmla="*/ 11386694 w 12192001"/>
                <a:gd name="connsiteY3832" fmla="*/ 1018227 h 6523037"/>
                <a:gd name="connsiteX3833" fmla="*/ 11255331 w 12192001"/>
                <a:gd name="connsiteY3833" fmla="*/ 886863 h 6523037"/>
                <a:gd name="connsiteX3834" fmla="*/ 11117678 w 12192001"/>
                <a:gd name="connsiteY3834" fmla="*/ 749211 h 6523037"/>
                <a:gd name="connsiteX3835" fmla="*/ 11386694 w 12192001"/>
                <a:gd name="connsiteY3835" fmla="*/ 475306 h 6523037"/>
                <a:gd name="connsiteX3836" fmla="*/ 11936601 w 12192001"/>
                <a:gd name="connsiteY3836" fmla="*/ 473209 h 6523037"/>
                <a:gd name="connsiteX3837" fmla="*/ 11670382 w 12192001"/>
                <a:gd name="connsiteY3837" fmla="*/ 476005 h 6523037"/>
                <a:gd name="connsiteX3838" fmla="*/ 11399970 w 12192001"/>
                <a:gd name="connsiteY3838" fmla="*/ 747116 h 6523037"/>
                <a:gd name="connsiteX3839" fmla="*/ 11671081 w 12192001"/>
                <a:gd name="connsiteY3839" fmla="*/ 1017528 h 6523037"/>
                <a:gd name="connsiteX3840" fmla="*/ 11935204 w 12192001"/>
                <a:gd name="connsiteY3840" fmla="*/ 1017528 h 6523037"/>
                <a:gd name="connsiteX3841" fmla="*/ 11664093 w 12192001"/>
                <a:gd name="connsiteY3841" fmla="*/ 747116 h 6523037"/>
                <a:gd name="connsiteX3842" fmla="*/ 161407 w 12192001"/>
                <a:gd name="connsiteY3842" fmla="*/ 211433 h 6523037"/>
                <a:gd name="connsiteX3843" fmla="*/ 432518 w 12192001"/>
                <a:gd name="connsiteY3843" fmla="*/ 481845 h 6523037"/>
                <a:gd name="connsiteX3844" fmla="*/ 429724 w 12192001"/>
                <a:gd name="connsiteY3844" fmla="*/ 484641 h 6523037"/>
                <a:gd name="connsiteX3845" fmla="*/ 339586 w 12192001"/>
                <a:gd name="connsiteY3845" fmla="*/ 575476 h 6523037"/>
                <a:gd name="connsiteX3846" fmla="*/ 162106 w 12192001"/>
                <a:gd name="connsiteY3846" fmla="*/ 752257 h 6523037"/>
                <a:gd name="connsiteX3847" fmla="*/ 426230 w 12192001"/>
                <a:gd name="connsiteY3847" fmla="*/ 752257 h 6523037"/>
                <a:gd name="connsiteX3848" fmla="*/ 515668 w 12192001"/>
                <a:gd name="connsiteY3848" fmla="*/ 662819 h 6523037"/>
                <a:gd name="connsiteX3849" fmla="*/ 696642 w 12192001"/>
                <a:gd name="connsiteY3849" fmla="*/ 481845 h 6523037"/>
                <a:gd name="connsiteX3850" fmla="*/ 425531 w 12192001"/>
                <a:gd name="connsiteY3850" fmla="*/ 211433 h 6523037"/>
                <a:gd name="connsiteX3851" fmla="*/ 710617 w 12192001"/>
                <a:gd name="connsiteY3851" fmla="*/ 210735 h 6523037"/>
                <a:gd name="connsiteX3852" fmla="*/ 840582 w 12192001"/>
                <a:gd name="connsiteY3852" fmla="*/ 340700 h 6523037"/>
                <a:gd name="connsiteX3853" fmla="*/ 981029 w 12192001"/>
                <a:gd name="connsiteY3853" fmla="*/ 480448 h 6523037"/>
                <a:gd name="connsiteX3854" fmla="*/ 710617 w 12192001"/>
                <a:gd name="connsiteY3854" fmla="*/ 751558 h 6523037"/>
                <a:gd name="connsiteX3855" fmla="*/ 974740 w 12192001"/>
                <a:gd name="connsiteY3855" fmla="*/ 751558 h 6523037"/>
                <a:gd name="connsiteX3856" fmla="*/ 1245851 w 12192001"/>
                <a:gd name="connsiteY3856" fmla="*/ 481146 h 6523037"/>
                <a:gd name="connsiteX3857" fmla="*/ 974740 w 12192001"/>
                <a:gd name="connsiteY3857" fmla="*/ 210735 h 6523037"/>
                <a:gd name="connsiteX3858" fmla="*/ 2906055 w 12192001"/>
                <a:gd name="connsiteY3858" fmla="*/ 210036 h 6523037"/>
                <a:gd name="connsiteX3859" fmla="*/ 3035322 w 12192001"/>
                <a:gd name="connsiteY3859" fmla="*/ 337905 h 6523037"/>
                <a:gd name="connsiteX3860" fmla="*/ 3035322 w 12192001"/>
                <a:gd name="connsiteY3860" fmla="*/ 338604 h 6523037"/>
                <a:gd name="connsiteX3861" fmla="*/ 3177166 w 12192001"/>
                <a:gd name="connsiteY3861" fmla="*/ 480448 h 6523037"/>
                <a:gd name="connsiteX3862" fmla="*/ 2906754 w 12192001"/>
                <a:gd name="connsiteY3862" fmla="*/ 751558 h 6523037"/>
                <a:gd name="connsiteX3863" fmla="*/ 3170178 w 12192001"/>
                <a:gd name="connsiteY3863" fmla="*/ 751558 h 6523037"/>
                <a:gd name="connsiteX3864" fmla="*/ 3440590 w 12192001"/>
                <a:gd name="connsiteY3864" fmla="*/ 480448 h 6523037"/>
                <a:gd name="connsiteX3865" fmla="*/ 3435000 w 12192001"/>
                <a:gd name="connsiteY3865" fmla="*/ 474858 h 6523037"/>
                <a:gd name="connsiteX3866" fmla="*/ 3434301 w 12192001"/>
                <a:gd name="connsiteY3866" fmla="*/ 474858 h 6523037"/>
                <a:gd name="connsiteX3867" fmla="*/ 3168781 w 12192001"/>
                <a:gd name="connsiteY3867" fmla="*/ 210036 h 6523037"/>
                <a:gd name="connsiteX3868" fmla="*/ 1808336 w 12192001"/>
                <a:gd name="connsiteY3868" fmla="*/ 210036 h 6523037"/>
                <a:gd name="connsiteX3869" fmla="*/ 1810426 w 12192001"/>
                <a:gd name="connsiteY3869" fmla="*/ 212824 h 6523037"/>
                <a:gd name="connsiteX3870" fmla="*/ 1809733 w 12192001"/>
                <a:gd name="connsiteY3870" fmla="*/ 212132 h 6523037"/>
                <a:gd name="connsiteX3871" fmla="*/ 1810432 w 12192001"/>
                <a:gd name="connsiteY3871" fmla="*/ 212831 h 6523037"/>
                <a:gd name="connsiteX3872" fmla="*/ 1810426 w 12192001"/>
                <a:gd name="connsiteY3872" fmla="*/ 212824 h 6523037"/>
                <a:gd name="connsiteX3873" fmla="*/ 2068965 w 12192001"/>
                <a:gd name="connsiteY3873" fmla="*/ 470666 h 6523037"/>
                <a:gd name="connsiteX3874" fmla="*/ 2078748 w 12192001"/>
                <a:gd name="connsiteY3874" fmla="*/ 479749 h 6523037"/>
                <a:gd name="connsiteX3875" fmla="*/ 2080844 w 12192001"/>
                <a:gd name="connsiteY3875" fmla="*/ 481845 h 6523037"/>
                <a:gd name="connsiteX3876" fmla="*/ 1816022 w 12192001"/>
                <a:gd name="connsiteY3876" fmla="*/ 751558 h 6523037"/>
                <a:gd name="connsiteX3877" fmla="*/ 2075254 w 12192001"/>
                <a:gd name="connsiteY3877" fmla="*/ 752257 h 6523037"/>
                <a:gd name="connsiteX3878" fmla="*/ 2344968 w 12192001"/>
                <a:gd name="connsiteY3878" fmla="*/ 481845 h 6523037"/>
                <a:gd name="connsiteX3879" fmla="*/ 2209412 w 12192001"/>
                <a:gd name="connsiteY3879" fmla="*/ 346988 h 6523037"/>
                <a:gd name="connsiteX3880" fmla="*/ 2192643 w 12192001"/>
                <a:gd name="connsiteY3880" fmla="*/ 330219 h 6523037"/>
                <a:gd name="connsiteX3881" fmla="*/ 2073158 w 12192001"/>
                <a:gd name="connsiteY3881" fmla="*/ 211433 h 6523037"/>
                <a:gd name="connsiteX3882" fmla="*/ 2068965 w 12192001"/>
                <a:gd name="connsiteY3882" fmla="*/ 210036 h 6523037"/>
                <a:gd name="connsiteX3883" fmla="*/ 1258428 w 12192001"/>
                <a:gd name="connsiteY3883" fmla="*/ 210036 h 6523037"/>
                <a:gd name="connsiteX3884" fmla="*/ 1529539 w 12192001"/>
                <a:gd name="connsiteY3884" fmla="*/ 480448 h 6523037"/>
                <a:gd name="connsiteX3885" fmla="*/ 1259127 w 12192001"/>
                <a:gd name="connsiteY3885" fmla="*/ 751558 h 6523037"/>
                <a:gd name="connsiteX3886" fmla="*/ 1523250 w 12192001"/>
                <a:gd name="connsiteY3886" fmla="*/ 751558 h 6523037"/>
                <a:gd name="connsiteX3887" fmla="*/ 1793662 w 12192001"/>
                <a:gd name="connsiteY3887" fmla="*/ 480448 h 6523037"/>
                <a:gd name="connsiteX3888" fmla="*/ 1522551 w 12192001"/>
                <a:gd name="connsiteY3888" fmla="*/ 210036 h 6523037"/>
                <a:gd name="connsiteX3889" fmla="*/ 2621668 w 12192001"/>
                <a:gd name="connsiteY3889" fmla="*/ 208638 h 6523037"/>
                <a:gd name="connsiteX3890" fmla="*/ 2358243 w 12192001"/>
                <a:gd name="connsiteY3890" fmla="*/ 209337 h 6523037"/>
                <a:gd name="connsiteX3891" fmla="*/ 2627259 w 12192001"/>
                <a:gd name="connsiteY3891" fmla="*/ 477653 h 6523037"/>
                <a:gd name="connsiteX3892" fmla="*/ 2626560 w 12192001"/>
                <a:gd name="connsiteY3892" fmla="*/ 478352 h 6523037"/>
                <a:gd name="connsiteX3893" fmla="*/ 2627957 w 12192001"/>
                <a:gd name="connsiteY3893" fmla="*/ 479749 h 6523037"/>
                <a:gd name="connsiteX3894" fmla="*/ 2357544 w 12192001"/>
                <a:gd name="connsiteY3894" fmla="*/ 750860 h 6523037"/>
                <a:gd name="connsiteX3895" fmla="*/ 2621668 w 12192001"/>
                <a:gd name="connsiteY3895" fmla="*/ 750860 h 6523037"/>
                <a:gd name="connsiteX3896" fmla="*/ 2711805 w 12192001"/>
                <a:gd name="connsiteY3896" fmla="*/ 660723 h 6523037"/>
                <a:gd name="connsiteX3897" fmla="*/ 2891382 w 12192001"/>
                <a:gd name="connsiteY3897" fmla="*/ 477653 h 6523037"/>
                <a:gd name="connsiteX3898" fmla="*/ 4550188 w 12192001"/>
                <a:gd name="connsiteY3898" fmla="*/ 207940 h 6523037"/>
                <a:gd name="connsiteX3899" fmla="*/ 4817219 w 12192001"/>
                <a:gd name="connsiteY3899" fmla="*/ 474283 h 6523037"/>
                <a:gd name="connsiteX3900" fmla="*/ 5079348 w 12192001"/>
                <a:gd name="connsiteY3900" fmla="*/ 473590 h 6523037"/>
                <a:gd name="connsiteX3901" fmla="*/ 4813011 w 12192001"/>
                <a:gd name="connsiteY3901" fmla="*/ 207940 h 6523037"/>
                <a:gd name="connsiteX3902" fmla="*/ 4001678 w 12192001"/>
                <a:gd name="connsiteY3902" fmla="*/ 207940 h 6523037"/>
                <a:gd name="connsiteX3903" fmla="*/ 4131644 w 12192001"/>
                <a:gd name="connsiteY3903" fmla="*/ 337206 h 6523037"/>
                <a:gd name="connsiteX3904" fmla="*/ 4272090 w 12192001"/>
                <a:gd name="connsiteY3904" fmla="*/ 477653 h 6523037"/>
                <a:gd name="connsiteX3905" fmla="*/ 4179158 w 12192001"/>
                <a:gd name="connsiteY3905" fmla="*/ 571284 h 6523037"/>
                <a:gd name="connsiteX3906" fmla="*/ 4179856 w 12192001"/>
                <a:gd name="connsiteY3906" fmla="*/ 571983 h 6523037"/>
                <a:gd name="connsiteX3907" fmla="*/ 4003075 w 12192001"/>
                <a:gd name="connsiteY3907" fmla="*/ 749462 h 6523037"/>
                <a:gd name="connsiteX3908" fmla="*/ 4265801 w 12192001"/>
                <a:gd name="connsiteY3908" fmla="*/ 749462 h 6523037"/>
                <a:gd name="connsiteX3909" fmla="*/ 4536213 w 12192001"/>
                <a:gd name="connsiteY3909" fmla="*/ 478352 h 6523037"/>
                <a:gd name="connsiteX3910" fmla="*/ 4265103 w 12192001"/>
                <a:gd name="connsiteY3910" fmla="*/ 207940 h 6523037"/>
                <a:gd name="connsiteX3911" fmla="*/ 3453167 w 12192001"/>
                <a:gd name="connsiteY3911" fmla="*/ 207940 h 6523037"/>
                <a:gd name="connsiteX3912" fmla="*/ 3724278 w 12192001"/>
                <a:gd name="connsiteY3912" fmla="*/ 478352 h 6523037"/>
                <a:gd name="connsiteX3913" fmla="*/ 3724977 w 12192001"/>
                <a:gd name="connsiteY3913" fmla="*/ 479050 h 6523037"/>
                <a:gd name="connsiteX3914" fmla="*/ 3454565 w 12192001"/>
                <a:gd name="connsiteY3914" fmla="*/ 750161 h 6523037"/>
                <a:gd name="connsiteX3915" fmla="*/ 3718688 w 12192001"/>
                <a:gd name="connsiteY3915" fmla="*/ 750161 h 6523037"/>
                <a:gd name="connsiteX3916" fmla="*/ 3808127 w 12192001"/>
                <a:gd name="connsiteY3916" fmla="*/ 660024 h 6523037"/>
                <a:gd name="connsiteX3917" fmla="*/ 3807428 w 12192001"/>
                <a:gd name="connsiteY3917" fmla="*/ 660024 h 6523037"/>
                <a:gd name="connsiteX3918" fmla="*/ 3988403 w 12192001"/>
                <a:gd name="connsiteY3918" fmla="*/ 479050 h 6523037"/>
                <a:gd name="connsiteX3919" fmla="*/ 3983511 w 12192001"/>
                <a:gd name="connsiteY3919" fmla="*/ 473460 h 6523037"/>
                <a:gd name="connsiteX3920" fmla="*/ 3717291 w 12192001"/>
                <a:gd name="connsiteY3920" fmla="*/ 207940 h 6523037"/>
                <a:gd name="connsiteX3921" fmla="*/ 4823396 w 12192001"/>
                <a:gd name="connsiteY3921" fmla="*/ 206671 h 6523037"/>
                <a:gd name="connsiteX3922" fmla="*/ 4823396 w 12192001"/>
                <a:gd name="connsiteY3922" fmla="*/ 208549 h 6523037"/>
                <a:gd name="connsiteX3923" fmla="*/ 5092624 w 12192001"/>
                <a:gd name="connsiteY3923" fmla="*/ 477083 h 6523037"/>
                <a:gd name="connsiteX3924" fmla="*/ 5089830 w 12192001"/>
                <a:gd name="connsiteY3924" fmla="*/ 479879 h 6523037"/>
                <a:gd name="connsiteX3925" fmla="*/ 4999692 w 12192001"/>
                <a:gd name="connsiteY3925" fmla="*/ 570714 h 6523037"/>
                <a:gd name="connsiteX3926" fmla="*/ 4823396 w 12192001"/>
                <a:gd name="connsiteY3926" fmla="*/ 746316 h 6523037"/>
                <a:gd name="connsiteX3927" fmla="*/ 4823396 w 12192001"/>
                <a:gd name="connsiteY3927" fmla="*/ 747495 h 6523037"/>
                <a:gd name="connsiteX3928" fmla="*/ 5086337 w 12192001"/>
                <a:gd name="connsiteY3928" fmla="*/ 747495 h 6523037"/>
                <a:gd name="connsiteX3929" fmla="*/ 5175775 w 12192001"/>
                <a:gd name="connsiteY3929" fmla="*/ 658057 h 6523037"/>
                <a:gd name="connsiteX3930" fmla="*/ 5356748 w 12192001"/>
                <a:gd name="connsiteY3930" fmla="*/ 477083 h 6523037"/>
                <a:gd name="connsiteX3931" fmla="*/ 5085637 w 12192001"/>
                <a:gd name="connsiteY3931" fmla="*/ 206671 h 6523037"/>
                <a:gd name="connsiteX3932" fmla="*/ 5370723 w 12192001"/>
                <a:gd name="connsiteY3932" fmla="*/ 205973 h 6523037"/>
                <a:gd name="connsiteX3933" fmla="*/ 5500688 w 12192001"/>
                <a:gd name="connsiteY3933" fmla="*/ 335938 h 6523037"/>
                <a:gd name="connsiteX3934" fmla="*/ 5641135 w 12192001"/>
                <a:gd name="connsiteY3934" fmla="*/ 475686 h 6523037"/>
                <a:gd name="connsiteX3935" fmla="*/ 5370723 w 12192001"/>
                <a:gd name="connsiteY3935" fmla="*/ 746796 h 6523037"/>
                <a:gd name="connsiteX3936" fmla="*/ 5634846 w 12192001"/>
                <a:gd name="connsiteY3936" fmla="*/ 746796 h 6523037"/>
                <a:gd name="connsiteX3937" fmla="*/ 5905958 w 12192001"/>
                <a:gd name="connsiteY3937" fmla="*/ 476384 h 6523037"/>
                <a:gd name="connsiteX3938" fmla="*/ 5634846 w 12192001"/>
                <a:gd name="connsiteY3938" fmla="*/ 205973 h 6523037"/>
                <a:gd name="connsiteX3939" fmla="*/ 7566161 w 12192001"/>
                <a:gd name="connsiteY3939" fmla="*/ 205274 h 6523037"/>
                <a:gd name="connsiteX3940" fmla="*/ 7695428 w 12192001"/>
                <a:gd name="connsiteY3940" fmla="*/ 333143 h 6523037"/>
                <a:gd name="connsiteX3941" fmla="*/ 7695428 w 12192001"/>
                <a:gd name="connsiteY3941" fmla="*/ 333842 h 6523037"/>
                <a:gd name="connsiteX3942" fmla="*/ 7837272 w 12192001"/>
                <a:gd name="connsiteY3942" fmla="*/ 475686 h 6523037"/>
                <a:gd name="connsiteX3943" fmla="*/ 7566860 w 12192001"/>
                <a:gd name="connsiteY3943" fmla="*/ 746796 h 6523037"/>
                <a:gd name="connsiteX3944" fmla="*/ 7830284 w 12192001"/>
                <a:gd name="connsiteY3944" fmla="*/ 746796 h 6523037"/>
                <a:gd name="connsiteX3945" fmla="*/ 8100696 w 12192001"/>
                <a:gd name="connsiteY3945" fmla="*/ 475686 h 6523037"/>
                <a:gd name="connsiteX3946" fmla="*/ 8095106 w 12192001"/>
                <a:gd name="connsiteY3946" fmla="*/ 470096 h 6523037"/>
                <a:gd name="connsiteX3947" fmla="*/ 8094407 w 12192001"/>
                <a:gd name="connsiteY3947" fmla="*/ 470096 h 6523037"/>
                <a:gd name="connsiteX3948" fmla="*/ 7828887 w 12192001"/>
                <a:gd name="connsiteY3948" fmla="*/ 205274 h 6523037"/>
                <a:gd name="connsiteX3949" fmla="*/ 6468443 w 12192001"/>
                <a:gd name="connsiteY3949" fmla="*/ 205274 h 6523037"/>
                <a:gd name="connsiteX3950" fmla="*/ 6470532 w 12192001"/>
                <a:gd name="connsiteY3950" fmla="*/ 208062 h 6523037"/>
                <a:gd name="connsiteX3951" fmla="*/ 6469839 w 12192001"/>
                <a:gd name="connsiteY3951" fmla="*/ 207370 h 6523037"/>
                <a:gd name="connsiteX3952" fmla="*/ 6470538 w 12192001"/>
                <a:gd name="connsiteY3952" fmla="*/ 208069 h 6523037"/>
                <a:gd name="connsiteX3953" fmla="*/ 6470532 w 12192001"/>
                <a:gd name="connsiteY3953" fmla="*/ 208062 h 6523037"/>
                <a:gd name="connsiteX3954" fmla="*/ 6729071 w 12192001"/>
                <a:gd name="connsiteY3954" fmla="*/ 465904 h 6523037"/>
                <a:gd name="connsiteX3955" fmla="*/ 6738854 w 12192001"/>
                <a:gd name="connsiteY3955" fmla="*/ 474987 h 6523037"/>
                <a:gd name="connsiteX3956" fmla="*/ 6740950 w 12192001"/>
                <a:gd name="connsiteY3956" fmla="*/ 477083 h 6523037"/>
                <a:gd name="connsiteX3957" fmla="*/ 6476128 w 12192001"/>
                <a:gd name="connsiteY3957" fmla="*/ 746796 h 6523037"/>
                <a:gd name="connsiteX3958" fmla="*/ 6735361 w 12192001"/>
                <a:gd name="connsiteY3958" fmla="*/ 747495 h 6523037"/>
                <a:gd name="connsiteX3959" fmla="*/ 7005075 w 12192001"/>
                <a:gd name="connsiteY3959" fmla="*/ 477083 h 6523037"/>
                <a:gd name="connsiteX3960" fmla="*/ 6869518 w 12192001"/>
                <a:gd name="connsiteY3960" fmla="*/ 342226 h 6523037"/>
                <a:gd name="connsiteX3961" fmla="*/ 6852749 w 12192001"/>
                <a:gd name="connsiteY3961" fmla="*/ 325457 h 6523037"/>
                <a:gd name="connsiteX3962" fmla="*/ 6733264 w 12192001"/>
                <a:gd name="connsiteY3962" fmla="*/ 206671 h 6523037"/>
                <a:gd name="connsiteX3963" fmla="*/ 6729071 w 12192001"/>
                <a:gd name="connsiteY3963" fmla="*/ 205274 h 6523037"/>
                <a:gd name="connsiteX3964" fmla="*/ 5918534 w 12192001"/>
                <a:gd name="connsiteY3964" fmla="*/ 205274 h 6523037"/>
                <a:gd name="connsiteX3965" fmla="*/ 6189645 w 12192001"/>
                <a:gd name="connsiteY3965" fmla="*/ 475686 h 6523037"/>
                <a:gd name="connsiteX3966" fmla="*/ 5919233 w 12192001"/>
                <a:gd name="connsiteY3966" fmla="*/ 746796 h 6523037"/>
                <a:gd name="connsiteX3967" fmla="*/ 6183356 w 12192001"/>
                <a:gd name="connsiteY3967" fmla="*/ 746796 h 6523037"/>
                <a:gd name="connsiteX3968" fmla="*/ 6453768 w 12192001"/>
                <a:gd name="connsiteY3968" fmla="*/ 475686 h 6523037"/>
                <a:gd name="connsiteX3969" fmla="*/ 6182657 w 12192001"/>
                <a:gd name="connsiteY3969" fmla="*/ 205274 h 6523037"/>
                <a:gd name="connsiteX3970" fmla="*/ 7281774 w 12192001"/>
                <a:gd name="connsiteY3970" fmla="*/ 203876 h 6523037"/>
                <a:gd name="connsiteX3971" fmla="*/ 7018349 w 12192001"/>
                <a:gd name="connsiteY3971" fmla="*/ 204575 h 6523037"/>
                <a:gd name="connsiteX3972" fmla="*/ 7287365 w 12192001"/>
                <a:gd name="connsiteY3972" fmla="*/ 472891 h 6523037"/>
                <a:gd name="connsiteX3973" fmla="*/ 7286666 w 12192001"/>
                <a:gd name="connsiteY3973" fmla="*/ 473590 h 6523037"/>
                <a:gd name="connsiteX3974" fmla="*/ 7288063 w 12192001"/>
                <a:gd name="connsiteY3974" fmla="*/ 474987 h 6523037"/>
                <a:gd name="connsiteX3975" fmla="*/ 7017651 w 12192001"/>
                <a:gd name="connsiteY3975" fmla="*/ 746098 h 6523037"/>
                <a:gd name="connsiteX3976" fmla="*/ 7281774 w 12192001"/>
                <a:gd name="connsiteY3976" fmla="*/ 746098 h 6523037"/>
                <a:gd name="connsiteX3977" fmla="*/ 7371911 w 12192001"/>
                <a:gd name="connsiteY3977" fmla="*/ 655961 h 6523037"/>
                <a:gd name="connsiteX3978" fmla="*/ 7551488 w 12192001"/>
                <a:gd name="connsiteY3978" fmla="*/ 472891 h 6523037"/>
                <a:gd name="connsiteX3979" fmla="*/ 9483502 w 12192001"/>
                <a:gd name="connsiteY3979" fmla="*/ 203496 h 6523037"/>
                <a:gd name="connsiteX3980" fmla="*/ 9483502 w 12192001"/>
                <a:gd name="connsiteY3980" fmla="*/ 205064 h 6523037"/>
                <a:gd name="connsiteX3981" fmla="*/ 9753041 w 12192001"/>
                <a:gd name="connsiteY3981" fmla="*/ 473908 h 6523037"/>
                <a:gd name="connsiteX3982" fmla="*/ 9750247 w 12192001"/>
                <a:gd name="connsiteY3982" fmla="*/ 476704 h 6523037"/>
                <a:gd name="connsiteX3983" fmla="*/ 9660109 w 12192001"/>
                <a:gd name="connsiteY3983" fmla="*/ 567539 h 6523037"/>
                <a:gd name="connsiteX3984" fmla="*/ 9483502 w 12192001"/>
                <a:gd name="connsiteY3984" fmla="*/ 743451 h 6523037"/>
                <a:gd name="connsiteX3985" fmla="*/ 9483502 w 12192001"/>
                <a:gd name="connsiteY3985" fmla="*/ 744320 h 6523037"/>
                <a:gd name="connsiteX3986" fmla="*/ 9746753 w 12192001"/>
                <a:gd name="connsiteY3986" fmla="*/ 744320 h 6523037"/>
                <a:gd name="connsiteX3987" fmla="*/ 9836191 w 12192001"/>
                <a:gd name="connsiteY3987" fmla="*/ 654882 h 6523037"/>
                <a:gd name="connsiteX3988" fmla="*/ 10017165 w 12192001"/>
                <a:gd name="connsiteY3988" fmla="*/ 473908 h 6523037"/>
                <a:gd name="connsiteX3989" fmla="*/ 9746054 w 12192001"/>
                <a:gd name="connsiteY3989" fmla="*/ 203496 h 6523037"/>
                <a:gd name="connsiteX3990" fmla="*/ 9210294 w 12192001"/>
                <a:gd name="connsiteY3990" fmla="*/ 203178 h 6523037"/>
                <a:gd name="connsiteX3991" fmla="*/ 9478913 w 12192001"/>
                <a:gd name="connsiteY3991" fmla="*/ 471105 h 6523037"/>
                <a:gd name="connsiteX3992" fmla="*/ 9739765 w 12192001"/>
                <a:gd name="connsiteY3992" fmla="*/ 470415 h 6523037"/>
                <a:gd name="connsiteX3993" fmla="*/ 9471837 w 12192001"/>
                <a:gd name="connsiteY3993" fmla="*/ 203178 h 6523037"/>
                <a:gd name="connsiteX3994" fmla="*/ 8661784 w 12192001"/>
                <a:gd name="connsiteY3994" fmla="*/ 203178 h 6523037"/>
                <a:gd name="connsiteX3995" fmla="*/ 8791750 w 12192001"/>
                <a:gd name="connsiteY3995" fmla="*/ 332444 h 6523037"/>
                <a:gd name="connsiteX3996" fmla="*/ 8932196 w 12192001"/>
                <a:gd name="connsiteY3996" fmla="*/ 472891 h 6523037"/>
                <a:gd name="connsiteX3997" fmla="*/ 8839264 w 12192001"/>
                <a:gd name="connsiteY3997" fmla="*/ 566522 h 6523037"/>
                <a:gd name="connsiteX3998" fmla="*/ 8839962 w 12192001"/>
                <a:gd name="connsiteY3998" fmla="*/ 567221 h 6523037"/>
                <a:gd name="connsiteX3999" fmla="*/ 8663181 w 12192001"/>
                <a:gd name="connsiteY3999" fmla="*/ 744700 h 6523037"/>
                <a:gd name="connsiteX4000" fmla="*/ 8925907 w 12192001"/>
                <a:gd name="connsiteY4000" fmla="*/ 744700 h 6523037"/>
                <a:gd name="connsiteX4001" fmla="*/ 9196319 w 12192001"/>
                <a:gd name="connsiteY4001" fmla="*/ 473590 h 6523037"/>
                <a:gd name="connsiteX4002" fmla="*/ 8925208 w 12192001"/>
                <a:gd name="connsiteY4002" fmla="*/ 203178 h 6523037"/>
                <a:gd name="connsiteX4003" fmla="*/ 8113273 w 12192001"/>
                <a:gd name="connsiteY4003" fmla="*/ 203178 h 6523037"/>
                <a:gd name="connsiteX4004" fmla="*/ 8384384 w 12192001"/>
                <a:gd name="connsiteY4004" fmla="*/ 473590 h 6523037"/>
                <a:gd name="connsiteX4005" fmla="*/ 8385083 w 12192001"/>
                <a:gd name="connsiteY4005" fmla="*/ 474288 h 6523037"/>
                <a:gd name="connsiteX4006" fmla="*/ 8114671 w 12192001"/>
                <a:gd name="connsiteY4006" fmla="*/ 745399 h 6523037"/>
                <a:gd name="connsiteX4007" fmla="*/ 8378794 w 12192001"/>
                <a:gd name="connsiteY4007" fmla="*/ 745399 h 6523037"/>
                <a:gd name="connsiteX4008" fmla="*/ 8468233 w 12192001"/>
                <a:gd name="connsiteY4008" fmla="*/ 655262 h 6523037"/>
                <a:gd name="connsiteX4009" fmla="*/ 8467534 w 12192001"/>
                <a:gd name="connsiteY4009" fmla="*/ 655262 h 6523037"/>
                <a:gd name="connsiteX4010" fmla="*/ 8648509 w 12192001"/>
                <a:gd name="connsiteY4010" fmla="*/ 474288 h 6523037"/>
                <a:gd name="connsiteX4011" fmla="*/ 8643617 w 12192001"/>
                <a:gd name="connsiteY4011" fmla="*/ 468698 h 6523037"/>
                <a:gd name="connsiteX4012" fmla="*/ 8377397 w 12192001"/>
                <a:gd name="connsiteY4012" fmla="*/ 203178 h 6523037"/>
                <a:gd name="connsiteX4013" fmla="*/ 10031140 w 12192001"/>
                <a:gd name="connsiteY4013" fmla="*/ 202798 h 6523037"/>
                <a:gd name="connsiteX4014" fmla="*/ 10161105 w 12192001"/>
                <a:gd name="connsiteY4014" fmla="*/ 332763 h 6523037"/>
                <a:gd name="connsiteX4015" fmla="*/ 10301552 w 12192001"/>
                <a:gd name="connsiteY4015" fmla="*/ 472511 h 6523037"/>
                <a:gd name="connsiteX4016" fmla="*/ 10031140 w 12192001"/>
                <a:gd name="connsiteY4016" fmla="*/ 743621 h 6523037"/>
                <a:gd name="connsiteX4017" fmla="*/ 10295263 w 12192001"/>
                <a:gd name="connsiteY4017" fmla="*/ 743621 h 6523037"/>
                <a:gd name="connsiteX4018" fmla="*/ 10566374 w 12192001"/>
                <a:gd name="connsiteY4018" fmla="*/ 473209 h 6523037"/>
                <a:gd name="connsiteX4019" fmla="*/ 10295263 w 12192001"/>
                <a:gd name="connsiteY4019" fmla="*/ 202798 h 6523037"/>
                <a:gd name="connsiteX4020" fmla="*/ 11128859 w 12192001"/>
                <a:gd name="connsiteY4020" fmla="*/ 202099 h 6523037"/>
                <a:gd name="connsiteX4021" fmla="*/ 11130949 w 12192001"/>
                <a:gd name="connsiteY4021" fmla="*/ 204887 h 6523037"/>
                <a:gd name="connsiteX4022" fmla="*/ 11130256 w 12192001"/>
                <a:gd name="connsiteY4022" fmla="*/ 204195 h 6523037"/>
                <a:gd name="connsiteX4023" fmla="*/ 11130955 w 12192001"/>
                <a:gd name="connsiteY4023" fmla="*/ 204894 h 6523037"/>
                <a:gd name="connsiteX4024" fmla="*/ 11130949 w 12192001"/>
                <a:gd name="connsiteY4024" fmla="*/ 204887 h 6523037"/>
                <a:gd name="connsiteX4025" fmla="*/ 11389488 w 12192001"/>
                <a:gd name="connsiteY4025" fmla="*/ 462729 h 6523037"/>
                <a:gd name="connsiteX4026" fmla="*/ 11399271 w 12192001"/>
                <a:gd name="connsiteY4026" fmla="*/ 471812 h 6523037"/>
                <a:gd name="connsiteX4027" fmla="*/ 11401367 w 12192001"/>
                <a:gd name="connsiteY4027" fmla="*/ 473908 h 6523037"/>
                <a:gd name="connsiteX4028" fmla="*/ 11136545 w 12192001"/>
                <a:gd name="connsiteY4028" fmla="*/ 743621 h 6523037"/>
                <a:gd name="connsiteX4029" fmla="*/ 11395777 w 12192001"/>
                <a:gd name="connsiteY4029" fmla="*/ 744320 h 6523037"/>
                <a:gd name="connsiteX4030" fmla="*/ 11665491 w 12192001"/>
                <a:gd name="connsiteY4030" fmla="*/ 473908 h 6523037"/>
                <a:gd name="connsiteX4031" fmla="*/ 11529935 w 12192001"/>
                <a:gd name="connsiteY4031" fmla="*/ 339051 h 6523037"/>
                <a:gd name="connsiteX4032" fmla="*/ 11513166 w 12192001"/>
                <a:gd name="connsiteY4032" fmla="*/ 322282 h 6523037"/>
                <a:gd name="connsiteX4033" fmla="*/ 11393681 w 12192001"/>
                <a:gd name="connsiteY4033" fmla="*/ 203496 h 6523037"/>
                <a:gd name="connsiteX4034" fmla="*/ 11389488 w 12192001"/>
                <a:gd name="connsiteY4034" fmla="*/ 202099 h 6523037"/>
                <a:gd name="connsiteX4035" fmla="*/ 10578951 w 12192001"/>
                <a:gd name="connsiteY4035" fmla="*/ 202099 h 6523037"/>
                <a:gd name="connsiteX4036" fmla="*/ 10850062 w 12192001"/>
                <a:gd name="connsiteY4036" fmla="*/ 472511 h 6523037"/>
                <a:gd name="connsiteX4037" fmla="*/ 10579650 w 12192001"/>
                <a:gd name="connsiteY4037" fmla="*/ 743621 h 6523037"/>
                <a:gd name="connsiteX4038" fmla="*/ 10843773 w 12192001"/>
                <a:gd name="connsiteY4038" fmla="*/ 743621 h 6523037"/>
                <a:gd name="connsiteX4039" fmla="*/ 11114185 w 12192001"/>
                <a:gd name="connsiteY4039" fmla="*/ 472511 h 6523037"/>
                <a:gd name="connsiteX4040" fmla="*/ 10843074 w 12192001"/>
                <a:gd name="connsiteY4040" fmla="*/ 202099 h 6523037"/>
                <a:gd name="connsiteX4041" fmla="*/ 73183 w 12192001"/>
                <a:gd name="connsiteY4041" fmla="*/ 7937 h 6523037"/>
                <a:gd name="connsiteX4042" fmla="*/ 84011 w 12192001"/>
                <a:gd name="connsiteY4042" fmla="*/ 7937 h 6523037"/>
                <a:gd name="connsiteX4043" fmla="*/ 0 w 12192001"/>
                <a:gd name="connsiteY4043" fmla="*/ 91948 h 6523037"/>
                <a:gd name="connsiteX4044" fmla="*/ 0 w 12192001"/>
                <a:gd name="connsiteY4044" fmla="*/ 81467 h 6523037"/>
                <a:gd name="connsiteX4045" fmla="*/ 9393706 w 12192001"/>
                <a:gd name="connsiteY4045" fmla="*/ 0 h 6523037"/>
                <a:gd name="connsiteX4046" fmla="*/ 9404534 w 12192001"/>
                <a:gd name="connsiteY4046" fmla="*/ 0 h 6523037"/>
                <a:gd name="connsiteX4047" fmla="*/ 9401359 w 12192001"/>
                <a:gd name="connsiteY4047" fmla="*/ 3175 h 6523037"/>
                <a:gd name="connsiteX4048" fmla="*/ 9401912 w 12192001"/>
                <a:gd name="connsiteY4048" fmla="*/ 3175 h 6523037"/>
                <a:gd name="connsiteX4049" fmla="*/ 9209595 w 12192001"/>
                <a:gd name="connsiteY4049" fmla="*/ 195492 h 6523037"/>
                <a:gd name="connsiteX4050" fmla="*/ 9473165 w 12192001"/>
                <a:gd name="connsiteY4050" fmla="*/ 195492 h 6523037"/>
                <a:gd name="connsiteX4051" fmla="*/ 9668657 w 12192001"/>
                <a:gd name="connsiteY4051" fmla="*/ 0 h 6523037"/>
                <a:gd name="connsiteX4052" fmla="*/ 9679138 w 12192001"/>
                <a:gd name="connsiteY4052" fmla="*/ 0 h 6523037"/>
                <a:gd name="connsiteX4053" fmla="*/ 9483502 w 12192001"/>
                <a:gd name="connsiteY4053" fmla="*/ 195636 h 6523037"/>
                <a:gd name="connsiteX4054" fmla="*/ 9483502 w 12192001"/>
                <a:gd name="connsiteY4054" fmla="*/ 196191 h 6523037"/>
                <a:gd name="connsiteX4055" fmla="*/ 9483184 w 12192001"/>
                <a:gd name="connsiteY4055" fmla="*/ 196509 h 6523037"/>
                <a:gd name="connsiteX4056" fmla="*/ 9746753 w 12192001"/>
                <a:gd name="connsiteY4056" fmla="*/ 196509 h 6523037"/>
                <a:gd name="connsiteX4057" fmla="*/ 9942755 w 12192001"/>
                <a:gd name="connsiteY4057" fmla="*/ 0 h 6523037"/>
                <a:gd name="connsiteX4058" fmla="*/ 9952529 w 12192001"/>
                <a:gd name="connsiteY4058" fmla="*/ 0 h 6523037"/>
                <a:gd name="connsiteX4059" fmla="*/ 9753041 w 12192001"/>
                <a:gd name="connsiteY4059" fmla="*/ 200003 h 6523037"/>
                <a:gd name="connsiteX4060" fmla="*/ 10024851 w 12192001"/>
                <a:gd name="connsiteY4060" fmla="*/ 470415 h 6523037"/>
                <a:gd name="connsiteX4061" fmla="*/ 10288275 w 12192001"/>
                <a:gd name="connsiteY4061" fmla="*/ 470415 h 6523037"/>
                <a:gd name="connsiteX4062" fmla="*/ 10157612 w 12192001"/>
                <a:gd name="connsiteY4062" fmla="*/ 340449 h 6523037"/>
                <a:gd name="connsiteX4063" fmla="*/ 10017165 w 12192001"/>
                <a:gd name="connsiteY4063" fmla="*/ 200003 h 6523037"/>
                <a:gd name="connsiteX4064" fmla="*/ 10216652 w 12192001"/>
                <a:gd name="connsiteY4064" fmla="*/ 0 h 6523037"/>
                <a:gd name="connsiteX4065" fmla="*/ 10227841 w 12192001"/>
                <a:gd name="connsiteY4065" fmla="*/ 0 h 6523037"/>
                <a:gd name="connsiteX4066" fmla="*/ 10031839 w 12192001"/>
                <a:gd name="connsiteY4066" fmla="*/ 196509 h 6523037"/>
                <a:gd name="connsiteX4067" fmla="*/ 10295263 w 12192001"/>
                <a:gd name="connsiteY4067" fmla="*/ 196509 h 6523037"/>
                <a:gd name="connsiteX4068" fmla="*/ 10491265 w 12192001"/>
                <a:gd name="connsiteY4068" fmla="*/ 0 h 6523037"/>
                <a:gd name="connsiteX4069" fmla="*/ 10500342 w 12192001"/>
                <a:gd name="connsiteY4069" fmla="*/ 0 h 6523037"/>
                <a:gd name="connsiteX4070" fmla="*/ 10301552 w 12192001"/>
                <a:gd name="connsiteY4070" fmla="*/ 199304 h 6523037"/>
                <a:gd name="connsiteX4071" fmla="*/ 10572663 w 12192001"/>
                <a:gd name="connsiteY4071" fmla="*/ 469716 h 6523037"/>
                <a:gd name="connsiteX4072" fmla="*/ 10836786 w 12192001"/>
                <a:gd name="connsiteY4072" fmla="*/ 469716 h 6523037"/>
                <a:gd name="connsiteX4073" fmla="*/ 10565675 w 12192001"/>
                <a:gd name="connsiteY4073" fmla="*/ 199304 h 6523037"/>
                <a:gd name="connsiteX4074" fmla="*/ 10764465 w 12192001"/>
                <a:gd name="connsiteY4074" fmla="*/ 0 h 6523037"/>
                <a:gd name="connsiteX4075" fmla="*/ 10773933 w 12192001"/>
                <a:gd name="connsiteY4075" fmla="*/ 0 h 6523037"/>
                <a:gd name="connsiteX4076" fmla="*/ 10757130 w 12192001"/>
                <a:gd name="connsiteY4076" fmla="*/ 16933 h 6523037"/>
                <a:gd name="connsiteX4077" fmla="*/ 10756431 w 12192001"/>
                <a:gd name="connsiteY4077" fmla="*/ 16933 h 6523037"/>
                <a:gd name="connsiteX4078" fmla="*/ 10578951 w 12192001"/>
                <a:gd name="connsiteY4078" fmla="*/ 195111 h 6523037"/>
                <a:gd name="connsiteX4079" fmla="*/ 10843074 w 12192001"/>
                <a:gd name="connsiteY4079" fmla="*/ 195111 h 6523037"/>
                <a:gd name="connsiteX4080" fmla="*/ 11038186 w 12192001"/>
                <a:gd name="connsiteY4080" fmla="*/ 0 h 6523037"/>
                <a:gd name="connsiteX4081" fmla="*/ 11048947 w 12192001"/>
                <a:gd name="connsiteY4081" fmla="*/ 0 h 6523037"/>
                <a:gd name="connsiteX4082" fmla="*/ 10940899 w 12192001"/>
                <a:gd name="connsiteY4082" fmla="*/ 108468 h 6523037"/>
                <a:gd name="connsiteX4083" fmla="*/ 10940200 w 12192001"/>
                <a:gd name="connsiteY4083" fmla="*/ 108468 h 6523037"/>
                <a:gd name="connsiteX4084" fmla="*/ 10850062 w 12192001"/>
                <a:gd name="connsiteY4084" fmla="*/ 198605 h 6523037"/>
                <a:gd name="connsiteX4085" fmla="*/ 11120474 w 12192001"/>
                <a:gd name="connsiteY4085" fmla="*/ 469716 h 6523037"/>
                <a:gd name="connsiteX4086" fmla="*/ 11384597 w 12192001"/>
                <a:gd name="connsiteY4086" fmla="*/ 469716 h 6523037"/>
                <a:gd name="connsiteX4087" fmla="*/ 11113487 w 12192001"/>
                <a:gd name="connsiteY4087" fmla="*/ 199304 h 6523037"/>
                <a:gd name="connsiteX4088" fmla="*/ 11297954 w 12192001"/>
                <a:gd name="connsiteY4088" fmla="*/ 14837 h 6523037"/>
                <a:gd name="connsiteX4089" fmla="*/ 11298653 w 12192001"/>
                <a:gd name="connsiteY4089" fmla="*/ 14837 h 6523037"/>
                <a:gd name="connsiteX4090" fmla="*/ 11313370 w 12192001"/>
                <a:gd name="connsiteY4090" fmla="*/ 0 h 6523037"/>
                <a:gd name="connsiteX4091" fmla="*/ 11322770 w 12192001"/>
                <a:gd name="connsiteY4091" fmla="*/ 0 h 6523037"/>
                <a:gd name="connsiteX4092" fmla="*/ 11128859 w 12192001"/>
                <a:gd name="connsiteY4092" fmla="*/ 194412 h 6523037"/>
                <a:gd name="connsiteX4093" fmla="*/ 11392284 w 12192001"/>
                <a:gd name="connsiteY4093" fmla="*/ 194412 h 6523037"/>
                <a:gd name="connsiteX4094" fmla="*/ 11586696 w 12192001"/>
                <a:gd name="connsiteY4094" fmla="*/ 0 h 6523037"/>
                <a:gd name="connsiteX4095" fmla="*/ 11598062 w 12192001"/>
                <a:gd name="connsiteY4095" fmla="*/ 0 h 6523037"/>
                <a:gd name="connsiteX4096" fmla="*/ 11399271 w 12192001"/>
                <a:gd name="connsiteY4096" fmla="*/ 199304 h 6523037"/>
                <a:gd name="connsiteX4097" fmla="*/ 11668984 w 12192001"/>
                <a:gd name="connsiteY4097" fmla="*/ 468319 h 6523037"/>
                <a:gd name="connsiteX4098" fmla="*/ 11932409 w 12192001"/>
                <a:gd name="connsiteY4098" fmla="*/ 468319 h 6523037"/>
                <a:gd name="connsiteX4099" fmla="*/ 11663395 w 12192001"/>
                <a:gd name="connsiteY4099" fmla="*/ 199304 h 6523037"/>
                <a:gd name="connsiteX4100" fmla="*/ 11664093 w 12192001"/>
                <a:gd name="connsiteY4100" fmla="*/ 198605 h 6523037"/>
                <a:gd name="connsiteX4101" fmla="*/ 11662696 w 12192001"/>
                <a:gd name="connsiteY4101" fmla="*/ 197208 h 6523037"/>
                <a:gd name="connsiteX4102" fmla="*/ 11859391 w 12192001"/>
                <a:gd name="connsiteY4102" fmla="*/ 0 h 6523037"/>
                <a:gd name="connsiteX4103" fmla="*/ 11872675 w 12192001"/>
                <a:gd name="connsiteY4103" fmla="*/ 0 h 6523037"/>
                <a:gd name="connsiteX4104" fmla="*/ 11678766 w 12192001"/>
                <a:gd name="connsiteY4104" fmla="*/ 194412 h 6523037"/>
                <a:gd name="connsiteX4105" fmla="*/ 11940794 w 12192001"/>
                <a:gd name="connsiteY4105" fmla="*/ 194412 h 6523037"/>
                <a:gd name="connsiteX4106" fmla="*/ 12134704 w 12192001"/>
                <a:gd name="connsiteY4106" fmla="*/ 0 h 6523037"/>
                <a:gd name="connsiteX4107" fmla="*/ 12146063 w 12192001"/>
                <a:gd name="connsiteY4107" fmla="*/ 0 h 6523037"/>
                <a:gd name="connsiteX4108" fmla="*/ 11949178 w 12192001"/>
                <a:gd name="connsiteY4108" fmla="*/ 197906 h 6523037"/>
                <a:gd name="connsiteX4109" fmla="*/ 12192001 w 12192001"/>
                <a:gd name="connsiteY4109" fmla="*/ 440101 h 6523037"/>
                <a:gd name="connsiteX4110" fmla="*/ 12192001 w 12192001"/>
                <a:gd name="connsiteY4110" fmla="*/ 449864 h 6523037"/>
                <a:gd name="connsiteX4111" fmla="*/ 11942191 w 12192001"/>
                <a:gd name="connsiteY4111" fmla="*/ 200701 h 6523037"/>
                <a:gd name="connsiteX4112" fmla="*/ 11678766 w 12192001"/>
                <a:gd name="connsiteY4112" fmla="*/ 201400 h 6523037"/>
                <a:gd name="connsiteX4113" fmla="*/ 11947782 w 12192001"/>
                <a:gd name="connsiteY4113" fmla="*/ 469716 h 6523037"/>
                <a:gd name="connsiteX4114" fmla="*/ 11947083 w 12192001"/>
                <a:gd name="connsiteY4114" fmla="*/ 470415 h 6523037"/>
                <a:gd name="connsiteX4115" fmla="*/ 11948480 w 12192001"/>
                <a:gd name="connsiteY4115" fmla="*/ 471812 h 6523037"/>
                <a:gd name="connsiteX4116" fmla="*/ 11678067 w 12192001"/>
                <a:gd name="connsiteY4116" fmla="*/ 742923 h 6523037"/>
                <a:gd name="connsiteX4117" fmla="*/ 11942191 w 12192001"/>
                <a:gd name="connsiteY4117" fmla="*/ 742923 h 6523037"/>
                <a:gd name="connsiteX4118" fmla="*/ 12032328 w 12192001"/>
                <a:gd name="connsiteY4118" fmla="*/ 652786 h 6523037"/>
                <a:gd name="connsiteX4119" fmla="*/ 12192001 w 12192001"/>
                <a:gd name="connsiteY4119" fmla="*/ 490007 h 6523037"/>
                <a:gd name="connsiteX4120" fmla="*/ 12192001 w 12192001"/>
                <a:gd name="connsiteY4120" fmla="*/ 502966 h 6523037"/>
                <a:gd name="connsiteX4121" fmla="*/ 11949178 w 12192001"/>
                <a:gd name="connsiteY4121" fmla="*/ 746417 h 6523037"/>
                <a:gd name="connsiteX4122" fmla="*/ 12192001 w 12192001"/>
                <a:gd name="connsiteY4122" fmla="*/ 988614 h 6523037"/>
                <a:gd name="connsiteX4123" fmla="*/ 12192001 w 12192001"/>
                <a:gd name="connsiteY4123" fmla="*/ 999775 h 6523037"/>
                <a:gd name="connsiteX4124" fmla="*/ 11942191 w 12192001"/>
                <a:gd name="connsiteY4124" fmla="*/ 750609 h 6523037"/>
                <a:gd name="connsiteX4125" fmla="*/ 11678067 w 12192001"/>
                <a:gd name="connsiteY4125" fmla="*/ 750609 h 6523037"/>
                <a:gd name="connsiteX4126" fmla="*/ 11949178 w 12192001"/>
                <a:gd name="connsiteY4126" fmla="*/ 1020322 h 6523037"/>
                <a:gd name="connsiteX4127" fmla="*/ 11946384 w 12192001"/>
                <a:gd name="connsiteY4127" fmla="*/ 1023118 h 6523037"/>
                <a:gd name="connsiteX4128" fmla="*/ 11856246 w 12192001"/>
                <a:gd name="connsiteY4128" fmla="*/ 1113953 h 6523037"/>
                <a:gd name="connsiteX4129" fmla="*/ 11678766 w 12192001"/>
                <a:gd name="connsiteY4129" fmla="*/ 1291433 h 6523037"/>
                <a:gd name="connsiteX4130" fmla="*/ 11942890 w 12192001"/>
                <a:gd name="connsiteY4130" fmla="*/ 1291433 h 6523037"/>
                <a:gd name="connsiteX4131" fmla="*/ 12032328 w 12192001"/>
                <a:gd name="connsiteY4131" fmla="*/ 1201994 h 6523037"/>
                <a:gd name="connsiteX4132" fmla="*/ 12192001 w 12192001"/>
                <a:gd name="connsiteY4132" fmla="*/ 1042322 h 6523037"/>
                <a:gd name="connsiteX4133" fmla="*/ 12192001 w 12192001"/>
                <a:gd name="connsiteY4133" fmla="*/ 1052103 h 6523037"/>
                <a:gd name="connsiteX4134" fmla="*/ 12039316 w 12192001"/>
                <a:gd name="connsiteY4134" fmla="*/ 1204790 h 6523037"/>
                <a:gd name="connsiteX4135" fmla="*/ 11949877 w 12192001"/>
                <a:gd name="connsiteY4135" fmla="*/ 1294927 h 6523037"/>
                <a:gd name="connsiteX4136" fmla="*/ 12084035 w 12192001"/>
                <a:gd name="connsiteY4136" fmla="*/ 1428386 h 6523037"/>
                <a:gd name="connsiteX4137" fmla="*/ 12192001 w 12192001"/>
                <a:gd name="connsiteY4137" fmla="*/ 1536351 h 6523037"/>
                <a:gd name="connsiteX4138" fmla="*/ 12192001 w 12192001"/>
                <a:gd name="connsiteY4138" fmla="*/ 1547647 h 6523037"/>
                <a:gd name="connsiteX4139" fmla="*/ 12079843 w 12192001"/>
                <a:gd name="connsiteY4139" fmla="*/ 1436072 h 6523037"/>
                <a:gd name="connsiteX4140" fmla="*/ 11942890 w 12192001"/>
                <a:gd name="connsiteY4140" fmla="*/ 1299119 h 6523037"/>
                <a:gd name="connsiteX4141" fmla="*/ 11678766 w 12192001"/>
                <a:gd name="connsiteY4141" fmla="*/ 1299119 h 6523037"/>
                <a:gd name="connsiteX4142" fmla="*/ 11949877 w 12192001"/>
                <a:gd name="connsiteY4142" fmla="*/ 1569531 h 6523037"/>
                <a:gd name="connsiteX4143" fmla="*/ 11680164 w 12192001"/>
                <a:gd name="connsiteY4143" fmla="*/ 1840642 h 6523037"/>
                <a:gd name="connsiteX4144" fmla="*/ 11943588 w 12192001"/>
                <a:gd name="connsiteY4144" fmla="*/ 1840642 h 6523037"/>
                <a:gd name="connsiteX4145" fmla="*/ 12192001 w 12192001"/>
                <a:gd name="connsiteY4145" fmla="*/ 1591587 h 6523037"/>
                <a:gd name="connsiteX4146" fmla="*/ 12192001 w 12192001"/>
                <a:gd name="connsiteY4146" fmla="*/ 1601385 h 6523037"/>
                <a:gd name="connsiteX4147" fmla="*/ 11949877 w 12192001"/>
                <a:gd name="connsiteY4147" fmla="*/ 1844135 h 6523037"/>
                <a:gd name="connsiteX4148" fmla="*/ 12192001 w 12192001"/>
                <a:gd name="connsiteY4148" fmla="*/ 2085635 h 6523037"/>
                <a:gd name="connsiteX4149" fmla="*/ 12192001 w 12192001"/>
                <a:gd name="connsiteY4149" fmla="*/ 2095403 h 6523037"/>
                <a:gd name="connsiteX4150" fmla="*/ 11943588 w 12192001"/>
                <a:gd name="connsiteY4150" fmla="*/ 1847630 h 6523037"/>
                <a:gd name="connsiteX4151" fmla="*/ 11680164 w 12192001"/>
                <a:gd name="connsiteY4151" fmla="*/ 1847630 h 6523037"/>
                <a:gd name="connsiteX4152" fmla="*/ 11810129 w 12192001"/>
                <a:gd name="connsiteY4152" fmla="*/ 1977595 h 6523037"/>
                <a:gd name="connsiteX4153" fmla="*/ 11950576 w 12192001"/>
                <a:gd name="connsiteY4153" fmla="*/ 2118042 h 6523037"/>
                <a:gd name="connsiteX4154" fmla="*/ 11680164 w 12192001"/>
                <a:gd name="connsiteY4154" fmla="*/ 2389152 h 6523037"/>
                <a:gd name="connsiteX4155" fmla="*/ 11944287 w 12192001"/>
                <a:gd name="connsiteY4155" fmla="*/ 2389152 h 6523037"/>
                <a:gd name="connsiteX4156" fmla="*/ 12192001 w 12192001"/>
                <a:gd name="connsiteY4156" fmla="*/ 2140799 h 6523037"/>
                <a:gd name="connsiteX4157" fmla="*/ 12192001 w 12192001"/>
                <a:gd name="connsiteY4157" fmla="*/ 2150597 h 6523037"/>
                <a:gd name="connsiteX4158" fmla="*/ 11950576 w 12192001"/>
                <a:gd name="connsiteY4158" fmla="*/ 2392646 h 6523037"/>
                <a:gd name="connsiteX4159" fmla="*/ 12192001 w 12192001"/>
                <a:gd name="connsiteY4159" fmla="*/ 2633449 h 6523037"/>
                <a:gd name="connsiteX4160" fmla="*/ 12192001 w 12192001"/>
                <a:gd name="connsiteY4160" fmla="*/ 2643202 h 6523037"/>
                <a:gd name="connsiteX4161" fmla="*/ 11944287 w 12192001"/>
                <a:gd name="connsiteY4161" fmla="*/ 2396139 h 6523037"/>
                <a:gd name="connsiteX4162" fmla="*/ 11680164 w 12192001"/>
                <a:gd name="connsiteY4162" fmla="*/ 2396139 h 6523037"/>
                <a:gd name="connsiteX4163" fmla="*/ 11681562 w 12192001"/>
                <a:gd name="connsiteY4163" fmla="*/ 2397537 h 6523037"/>
                <a:gd name="connsiteX4164" fmla="*/ 11949877 w 12192001"/>
                <a:gd name="connsiteY4164" fmla="*/ 2665853 h 6523037"/>
                <a:gd name="connsiteX4165" fmla="*/ 11679465 w 12192001"/>
                <a:gd name="connsiteY4165" fmla="*/ 2936964 h 6523037"/>
                <a:gd name="connsiteX4166" fmla="*/ 11943588 w 12192001"/>
                <a:gd name="connsiteY4166" fmla="*/ 2936964 h 6523037"/>
                <a:gd name="connsiteX4167" fmla="*/ 12192001 w 12192001"/>
                <a:gd name="connsiteY4167" fmla="*/ 2687909 h 6523037"/>
                <a:gd name="connsiteX4168" fmla="*/ 12192001 w 12192001"/>
                <a:gd name="connsiteY4168" fmla="*/ 2698409 h 6523037"/>
                <a:gd name="connsiteX4169" fmla="*/ 11950576 w 12192001"/>
                <a:gd name="connsiteY4169" fmla="*/ 2940457 h 6523037"/>
                <a:gd name="connsiteX4170" fmla="*/ 12192001 w 12192001"/>
                <a:gd name="connsiteY4170" fmla="*/ 3181261 h 6523037"/>
                <a:gd name="connsiteX4171" fmla="*/ 12192001 w 12192001"/>
                <a:gd name="connsiteY4171" fmla="*/ 3190330 h 6523037"/>
                <a:gd name="connsiteX4172" fmla="*/ 11944986 w 12192001"/>
                <a:gd name="connsiteY4172" fmla="*/ 2943952 h 6523037"/>
                <a:gd name="connsiteX4173" fmla="*/ 11680863 w 12192001"/>
                <a:gd name="connsiteY4173" fmla="*/ 2943952 h 6523037"/>
                <a:gd name="connsiteX4174" fmla="*/ 11951974 w 12192001"/>
                <a:gd name="connsiteY4174" fmla="*/ 3214364 h 6523037"/>
                <a:gd name="connsiteX4175" fmla="*/ 11681562 w 12192001"/>
                <a:gd name="connsiteY4175" fmla="*/ 3485473 h 6523037"/>
                <a:gd name="connsiteX4176" fmla="*/ 11945685 w 12192001"/>
                <a:gd name="connsiteY4176" fmla="*/ 3485473 h 6523037"/>
                <a:gd name="connsiteX4177" fmla="*/ 12192001 w 12192001"/>
                <a:gd name="connsiteY4177" fmla="*/ 3238522 h 6523037"/>
                <a:gd name="connsiteX4178" fmla="*/ 12192001 w 12192001"/>
                <a:gd name="connsiteY4178" fmla="*/ 3249019 h 6523037"/>
                <a:gd name="connsiteX4179" fmla="*/ 11951275 w 12192001"/>
                <a:gd name="connsiteY4179" fmla="*/ 3490365 h 6523037"/>
                <a:gd name="connsiteX4180" fmla="*/ 12192001 w 12192001"/>
                <a:gd name="connsiteY4180" fmla="*/ 3730470 h 6523037"/>
                <a:gd name="connsiteX4181" fmla="*/ 12192001 w 12192001"/>
                <a:gd name="connsiteY4181" fmla="*/ 3738839 h 6523037"/>
                <a:gd name="connsiteX4182" fmla="*/ 11945685 w 12192001"/>
                <a:gd name="connsiteY4182" fmla="*/ 3493160 h 6523037"/>
                <a:gd name="connsiteX4183" fmla="*/ 11681562 w 12192001"/>
                <a:gd name="connsiteY4183" fmla="*/ 3493160 h 6523037"/>
                <a:gd name="connsiteX4184" fmla="*/ 11951974 w 12192001"/>
                <a:gd name="connsiteY4184" fmla="*/ 3762174 h 6523037"/>
                <a:gd name="connsiteX4185" fmla="*/ 11949178 w 12192001"/>
                <a:gd name="connsiteY4185" fmla="*/ 3764969 h 6523037"/>
                <a:gd name="connsiteX4186" fmla="*/ 11859042 w 12192001"/>
                <a:gd name="connsiteY4186" fmla="*/ 3855806 h 6523037"/>
                <a:gd name="connsiteX4187" fmla="*/ 11682312 w 12192001"/>
                <a:gd name="connsiteY4187" fmla="*/ 4032535 h 6523037"/>
                <a:gd name="connsiteX4188" fmla="*/ 11945176 w 12192001"/>
                <a:gd name="connsiteY4188" fmla="*/ 4032535 h 6523037"/>
                <a:gd name="connsiteX4189" fmla="*/ 12116367 w 12192001"/>
                <a:gd name="connsiteY4189" fmla="*/ 3860644 h 6523037"/>
                <a:gd name="connsiteX4190" fmla="*/ 12118325 w 12192001"/>
                <a:gd name="connsiteY4190" fmla="*/ 3860644 h 6523037"/>
                <a:gd name="connsiteX4191" fmla="*/ 12192001 w 12192001"/>
                <a:gd name="connsiteY4191" fmla="*/ 3786969 h 6523037"/>
                <a:gd name="connsiteX4192" fmla="*/ 12192001 w 12192001"/>
                <a:gd name="connsiteY4192" fmla="*/ 3798267 h 6523037"/>
                <a:gd name="connsiteX4193" fmla="*/ 12042111 w 12192001"/>
                <a:gd name="connsiteY4193" fmla="*/ 3948738 h 6523037"/>
                <a:gd name="connsiteX4194" fmla="*/ 11953840 w 12192001"/>
                <a:gd name="connsiteY4194" fmla="*/ 4037700 h 6523037"/>
                <a:gd name="connsiteX4195" fmla="*/ 12192001 w 12192001"/>
                <a:gd name="connsiteY4195" fmla="*/ 4275248 h 6523037"/>
                <a:gd name="connsiteX4196" fmla="*/ 12192001 w 12192001"/>
                <a:gd name="connsiteY4196" fmla="*/ 4286404 h 6523037"/>
                <a:gd name="connsiteX4197" fmla="*/ 11988663 w 12192001"/>
                <a:gd name="connsiteY4197" fmla="*/ 4083594 h 6523037"/>
                <a:gd name="connsiteX4198" fmla="*/ 11986910 w 12192001"/>
                <a:gd name="connsiteY4198" fmla="*/ 4083594 h 6523037"/>
                <a:gd name="connsiteX4199" fmla="*/ 11946384 w 12192001"/>
                <a:gd name="connsiteY4199" fmla="*/ 4043068 h 6523037"/>
                <a:gd name="connsiteX4200" fmla="*/ 11683900 w 12192001"/>
                <a:gd name="connsiteY4200" fmla="*/ 4043068 h 6523037"/>
                <a:gd name="connsiteX4201" fmla="*/ 11951465 w 12192001"/>
                <a:gd name="connsiteY4201" fmla="*/ 4310632 h 6523037"/>
                <a:gd name="connsiteX4202" fmla="*/ 11952862 w 12192001"/>
                <a:gd name="connsiteY4202" fmla="*/ 4312030 h 6523037"/>
                <a:gd name="connsiteX4203" fmla="*/ 11683847 w 12192001"/>
                <a:gd name="connsiteY4203" fmla="*/ 4581743 h 6523037"/>
                <a:gd name="connsiteX4204" fmla="*/ 11945875 w 12192001"/>
                <a:gd name="connsiteY4204" fmla="*/ 4581743 h 6523037"/>
                <a:gd name="connsiteX4205" fmla="*/ 12192001 w 12192001"/>
                <a:gd name="connsiteY4205" fmla="*/ 4334979 h 6523037"/>
                <a:gd name="connsiteX4206" fmla="*/ 12192001 w 12192001"/>
                <a:gd name="connsiteY4206" fmla="*/ 4346260 h 6523037"/>
                <a:gd name="connsiteX4207" fmla="*/ 11954259 w 12192001"/>
                <a:gd name="connsiteY4207" fmla="*/ 4585237 h 6523037"/>
                <a:gd name="connsiteX4208" fmla="*/ 12192001 w 12192001"/>
                <a:gd name="connsiteY4208" fmla="*/ 4822363 h 6523037"/>
                <a:gd name="connsiteX4209" fmla="*/ 12192001 w 12192001"/>
                <a:gd name="connsiteY4209" fmla="*/ 4832127 h 6523037"/>
                <a:gd name="connsiteX4210" fmla="*/ 11947272 w 12192001"/>
                <a:gd name="connsiteY4210" fmla="*/ 4588031 h 6523037"/>
                <a:gd name="connsiteX4211" fmla="*/ 11683847 w 12192001"/>
                <a:gd name="connsiteY4211" fmla="*/ 4588730 h 6523037"/>
                <a:gd name="connsiteX4212" fmla="*/ 11952862 w 12192001"/>
                <a:gd name="connsiteY4212" fmla="*/ 4857047 h 6523037"/>
                <a:gd name="connsiteX4213" fmla="*/ 11952164 w 12192001"/>
                <a:gd name="connsiteY4213" fmla="*/ 4857746 h 6523037"/>
                <a:gd name="connsiteX4214" fmla="*/ 11953561 w 12192001"/>
                <a:gd name="connsiteY4214" fmla="*/ 4859142 h 6523037"/>
                <a:gd name="connsiteX4215" fmla="*/ 11683148 w 12192001"/>
                <a:gd name="connsiteY4215" fmla="*/ 5130253 h 6523037"/>
                <a:gd name="connsiteX4216" fmla="*/ 11947272 w 12192001"/>
                <a:gd name="connsiteY4216" fmla="*/ 5130253 h 6523037"/>
                <a:gd name="connsiteX4217" fmla="*/ 12037409 w 12192001"/>
                <a:gd name="connsiteY4217" fmla="*/ 5040116 h 6523037"/>
                <a:gd name="connsiteX4218" fmla="*/ 12192001 w 12192001"/>
                <a:gd name="connsiteY4218" fmla="*/ 4882518 h 6523037"/>
                <a:gd name="connsiteX4219" fmla="*/ 12192001 w 12192001"/>
                <a:gd name="connsiteY4219" fmla="*/ 4895391 h 6523037"/>
                <a:gd name="connsiteX4220" fmla="*/ 11954259 w 12192001"/>
                <a:gd name="connsiteY4220" fmla="*/ 5133747 h 6523037"/>
                <a:gd name="connsiteX4221" fmla="*/ 12192001 w 12192001"/>
                <a:gd name="connsiteY4221" fmla="*/ 5370876 h 6523037"/>
                <a:gd name="connsiteX4222" fmla="*/ 12192001 w 12192001"/>
                <a:gd name="connsiteY4222" fmla="*/ 5382038 h 6523037"/>
                <a:gd name="connsiteX4223" fmla="*/ 11947272 w 12192001"/>
                <a:gd name="connsiteY4223" fmla="*/ 5137939 h 6523037"/>
                <a:gd name="connsiteX4224" fmla="*/ 11683148 w 12192001"/>
                <a:gd name="connsiteY4224" fmla="*/ 5137939 h 6523037"/>
                <a:gd name="connsiteX4225" fmla="*/ 11954259 w 12192001"/>
                <a:gd name="connsiteY4225" fmla="*/ 5407653 h 6523037"/>
                <a:gd name="connsiteX4226" fmla="*/ 11951465 w 12192001"/>
                <a:gd name="connsiteY4226" fmla="*/ 5410448 h 6523037"/>
                <a:gd name="connsiteX4227" fmla="*/ 11861327 w 12192001"/>
                <a:gd name="connsiteY4227" fmla="*/ 5501283 h 6523037"/>
                <a:gd name="connsiteX4228" fmla="*/ 11683847 w 12192001"/>
                <a:gd name="connsiteY4228" fmla="*/ 5678763 h 6523037"/>
                <a:gd name="connsiteX4229" fmla="*/ 11947970 w 12192001"/>
                <a:gd name="connsiteY4229" fmla="*/ 5678763 h 6523037"/>
                <a:gd name="connsiteX4230" fmla="*/ 12037409 w 12192001"/>
                <a:gd name="connsiteY4230" fmla="*/ 5589325 h 6523037"/>
                <a:gd name="connsiteX4231" fmla="*/ 12192001 w 12192001"/>
                <a:gd name="connsiteY4231" fmla="*/ 5434732 h 6523037"/>
                <a:gd name="connsiteX4232" fmla="*/ 12192001 w 12192001"/>
                <a:gd name="connsiteY4232" fmla="*/ 5444515 h 6523037"/>
                <a:gd name="connsiteX4233" fmla="*/ 12044397 w 12192001"/>
                <a:gd name="connsiteY4233" fmla="*/ 5592120 h 6523037"/>
                <a:gd name="connsiteX4234" fmla="*/ 11954958 w 12192001"/>
                <a:gd name="connsiteY4234" fmla="*/ 5682258 h 6523037"/>
                <a:gd name="connsiteX4235" fmla="*/ 12089116 w 12192001"/>
                <a:gd name="connsiteY4235" fmla="*/ 5815716 h 6523037"/>
                <a:gd name="connsiteX4236" fmla="*/ 12192001 w 12192001"/>
                <a:gd name="connsiteY4236" fmla="*/ 5918601 h 6523037"/>
                <a:gd name="connsiteX4237" fmla="*/ 12192001 w 12192001"/>
                <a:gd name="connsiteY4237" fmla="*/ 5929923 h 6523037"/>
                <a:gd name="connsiteX4238" fmla="*/ 12084924 w 12192001"/>
                <a:gd name="connsiteY4238" fmla="*/ 5823402 h 6523037"/>
                <a:gd name="connsiteX4239" fmla="*/ 11947970 w 12192001"/>
                <a:gd name="connsiteY4239" fmla="*/ 5686450 h 6523037"/>
                <a:gd name="connsiteX4240" fmla="*/ 11683847 w 12192001"/>
                <a:gd name="connsiteY4240" fmla="*/ 5686450 h 6523037"/>
                <a:gd name="connsiteX4241" fmla="*/ 11954958 w 12192001"/>
                <a:gd name="connsiteY4241" fmla="*/ 5956862 h 6523037"/>
                <a:gd name="connsiteX4242" fmla="*/ 11685245 w 12192001"/>
                <a:gd name="connsiteY4242" fmla="*/ 6227973 h 6523037"/>
                <a:gd name="connsiteX4243" fmla="*/ 11948669 w 12192001"/>
                <a:gd name="connsiteY4243" fmla="*/ 6227973 h 6523037"/>
                <a:gd name="connsiteX4244" fmla="*/ 12192001 w 12192001"/>
                <a:gd name="connsiteY4244" fmla="*/ 5984012 h 6523037"/>
                <a:gd name="connsiteX4245" fmla="*/ 12192001 w 12192001"/>
                <a:gd name="connsiteY4245" fmla="*/ 5993810 h 6523037"/>
                <a:gd name="connsiteX4246" fmla="*/ 11954958 w 12192001"/>
                <a:gd name="connsiteY4246" fmla="*/ 6231466 h 6523037"/>
                <a:gd name="connsiteX4247" fmla="*/ 12192001 w 12192001"/>
                <a:gd name="connsiteY4247" fmla="*/ 6467898 h 6523037"/>
                <a:gd name="connsiteX4248" fmla="*/ 12192001 w 12192001"/>
                <a:gd name="connsiteY4248" fmla="*/ 6477665 h 6523037"/>
                <a:gd name="connsiteX4249" fmla="*/ 11948669 w 12192001"/>
                <a:gd name="connsiteY4249" fmla="*/ 6234960 h 6523037"/>
                <a:gd name="connsiteX4250" fmla="*/ 11685245 w 12192001"/>
                <a:gd name="connsiteY4250" fmla="*/ 6234960 h 6523037"/>
                <a:gd name="connsiteX4251" fmla="*/ 11815210 w 12192001"/>
                <a:gd name="connsiteY4251" fmla="*/ 6364925 h 6523037"/>
                <a:gd name="connsiteX4252" fmla="*/ 11955657 w 12192001"/>
                <a:gd name="connsiteY4252" fmla="*/ 6505372 h 6523037"/>
                <a:gd name="connsiteX4253" fmla="*/ 11945954 w 12192001"/>
                <a:gd name="connsiteY4253" fmla="*/ 6515100 h 6523037"/>
                <a:gd name="connsiteX4254" fmla="*/ 11935461 w 12192001"/>
                <a:gd name="connsiteY4254" fmla="*/ 6515100 h 6523037"/>
                <a:gd name="connsiteX4255" fmla="*/ 11940983 w 12192001"/>
                <a:gd name="connsiteY4255" fmla="*/ 6509564 h 6523037"/>
                <a:gd name="connsiteX4256" fmla="*/ 11677558 w 12192001"/>
                <a:gd name="connsiteY4256" fmla="*/ 6509564 h 6523037"/>
                <a:gd name="connsiteX4257" fmla="*/ 11672044 w 12192001"/>
                <a:gd name="connsiteY4257" fmla="*/ 6515100 h 6523037"/>
                <a:gd name="connsiteX4258" fmla="*/ 11661542 w 12192001"/>
                <a:gd name="connsiteY4258" fmla="*/ 6515100 h 6523037"/>
                <a:gd name="connsiteX4259" fmla="*/ 11671270 w 12192001"/>
                <a:gd name="connsiteY4259" fmla="*/ 6505372 h 6523037"/>
                <a:gd name="connsiteX4260" fmla="*/ 11400159 w 12192001"/>
                <a:gd name="connsiteY4260" fmla="*/ 6234960 h 6523037"/>
                <a:gd name="connsiteX4261" fmla="*/ 11136036 w 12192001"/>
                <a:gd name="connsiteY4261" fmla="*/ 6234960 h 6523037"/>
                <a:gd name="connsiteX4262" fmla="*/ 11407146 w 12192001"/>
                <a:gd name="connsiteY4262" fmla="*/ 6505372 h 6523037"/>
                <a:gd name="connsiteX4263" fmla="*/ 11404352 w 12192001"/>
                <a:gd name="connsiteY4263" fmla="*/ 6508166 h 6523037"/>
                <a:gd name="connsiteX4264" fmla="*/ 11397471 w 12192001"/>
                <a:gd name="connsiteY4264" fmla="*/ 6515100 h 6523037"/>
                <a:gd name="connsiteX4265" fmla="*/ 11387635 w 12192001"/>
                <a:gd name="connsiteY4265" fmla="*/ 6515100 h 6523037"/>
                <a:gd name="connsiteX4266" fmla="*/ 11393171 w 12192001"/>
                <a:gd name="connsiteY4266" fmla="*/ 6509564 h 6523037"/>
                <a:gd name="connsiteX4267" fmla="*/ 11129049 w 12192001"/>
                <a:gd name="connsiteY4267" fmla="*/ 6509564 h 6523037"/>
                <a:gd name="connsiteX4268" fmla="*/ 11123527 w 12192001"/>
                <a:gd name="connsiteY4268" fmla="*/ 6515100 h 6523037"/>
                <a:gd name="connsiteX4269" fmla="*/ 11113055 w 12192001"/>
                <a:gd name="connsiteY4269" fmla="*/ 6515100 h 6523037"/>
                <a:gd name="connsiteX4270" fmla="*/ 11122062 w 12192001"/>
                <a:gd name="connsiteY4270" fmla="*/ 6506071 h 6523037"/>
                <a:gd name="connsiteX4271" fmla="*/ 11117170 w 12192001"/>
                <a:gd name="connsiteY4271" fmla="*/ 6501179 h 6523037"/>
                <a:gd name="connsiteX4272" fmla="*/ 10851650 w 12192001"/>
                <a:gd name="connsiteY4272" fmla="*/ 6236358 h 6523037"/>
                <a:gd name="connsiteX4273" fmla="*/ 10587525 w 12192001"/>
                <a:gd name="connsiteY4273" fmla="*/ 6236358 h 6523037"/>
                <a:gd name="connsiteX4274" fmla="*/ 10588224 w 12192001"/>
                <a:gd name="connsiteY4274" fmla="*/ 6237056 h 6523037"/>
                <a:gd name="connsiteX4275" fmla="*/ 10588923 w 12192001"/>
                <a:gd name="connsiteY4275" fmla="*/ 6237056 h 6523037"/>
                <a:gd name="connsiteX4276" fmla="*/ 10857937 w 12192001"/>
                <a:gd name="connsiteY4276" fmla="*/ 6506071 h 6523037"/>
                <a:gd name="connsiteX4277" fmla="*/ 10848931 w 12192001"/>
                <a:gd name="connsiteY4277" fmla="*/ 6515100 h 6523037"/>
                <a:gd name="connsiteX4278" fmla="*/ 10840523 w 12192001"/>
                <a:gd name="connsiteY4278" fmla="*/ 6515100 h 6523037"/>
                <a:gd name="connsiteX4279" fmla="*/ 10845361 w 12192001"/>
                <a:gd name="connsiteY4279" fmla="*/ 6510263 h 6523037"/>
                <a:gd name="connsiteX4280" fmla="*/ 10581237 w 12192001"/>
                <a:gd name="connsiteY4280" fmla="*/ 6510263 h 6523037"/>
                <a:gd name="connsiteX4281" fmla="*/ 10576412 w 12192001"/>
                <a:gd name="connsiteY4281" fmla="*/ 6515100 h 6523037"/>
                <a:gd name="connsiteX4282" fmla="*/ 10563823 w 12192001"/>
                <a:gd name="connsiteY4282" fmla="*/ 6515100 h 6523037"/>
                <a:gd name="connsiteX4283" fmla="*/ 10572852 w 12192001"/>
                <a:gd name="connsiteY4283" fmla="*/ 6506071 h 6523037"/>
                <a:gd name="connsiteX4284" fmla="*/ 10440092 w 12192001"/>
                <a:gd name="connsiteY4284" fmla="*/ 6374009 h 6523037"/>
                <a:gd name="connsiteX4285" fmla="*/ 10301742 w 12192001"/>
                <a:gd name="connsiteY4285" fmla="*/ 6235659 h 6523037"/>
                <a:gd name="connsiteX4286" fmla="*/ 10037618 w 12192001"/>
                <a:gd name="connsiteY4286" fmla="*/ 6235659 h 6523037"/>
                <a:gd name="connsiteX4287" fmla="*/ 10308729 w 12192001"/>
                <a:gd name="connsiteY4287" fmla="*/ 6505372 h 6523037"/>
                <a:gd name="connsiteX4288" fmla="*/ 10305934 w 12192001"/>
                <a:gd name="connsiteY4288" fmla="*/ 6508166 h 6523037"/>
                <a:gd name="connsiteX4289" fmla="*/ 10299053 w 12192001"/>
                <a:gd name="connsiteY4289" fmla="*/ 6515100 h 6523037"/>
                <a:gd name="connsiteX4290" fmla="*/ 10289917 w 12192001"/>
                <a:gd name="connsiteY4290" fmla="*/ 6515100 h 6523037"/>
                <a:gd name="connsiteX4291" fmla="*/ 10295453 w 12192001"/>
                <a:gd name="connsiteY4291" fmla="*/ 6509564 h 6523037"/>
                <a:gd name="connsiteX4292" fmla="*/ 10036919 w 12192001"/>
                <a:gd name="connsiteY4292" fmla="*/ 6509564 h 6523037"/>
                <a:gd name="connsiteX4293" fmla="*/ 10035464 w 12192001"/>
                <a:gd name="connsiteY4293" fmla="*/ 6508865 h 6523037"/>
                <a:gd name="connsiteX4294" fmla="*/ 10036919 w 12192001"/>
                <a:gd name="connsiteY4294" fmla="*/ 6508865 h 6523037"/>
                <a:gd name="connsiteX4295" fmla="*/ 10019451 w 12192001"/>
                <a:gd name="connsiteY4295" fmla="*/ 6500480 h 6523037"/>
                <a:gd name="connsiteX4296" fmla="*/ 10020794 w 12192001"/>
                <a:gd name="connsiteY4296" fmla="*/ 6501824 h 6523037"/>
                <a:gd name="connsiteX4297" fmla="*/ 10019451 w 12192001"/>
                <a:gd name="connsiteY4297" fmla="*/ 6501179 h 6523037"/>
                <a:gd name="connsiteX4298" fmla="*/ 9753930 w 12192001"/>
                <a:gd name="connsiteY4298" fmla="*/ 6236358 h 6523037"/>
                <a:gd name="connsiteX4299" fmla="*/ 9489807 w 12192001"/>
                <a:gd name="connsiteY4299" fmla="*/ 6236358 h 6523037"/>
                <a:gd name="connsiteX4300" fmla="*/ 9491204 w 12192001"/>
                <a:gd name="connsiteY4300" fmla="*/ 6237754 h 6523037"/>
                <a:gd name="connsiteX4301" fmla="*/ 9760219 w 12192001"/>
                <a:gd name="connsiteY4301" fmla="*/ 6506770 h 6523037"/>
                <a:gd name="connsiteX4302" fmla="*/ 9751867 w 12192001"/>
                <a:gd name="connsiteY4302" fmla="*/ 6515100 h 6523037"/>
                <a:gd name="connsiteX4303" fmla="*/ 9741431 w 12192001"/>
                <a:gd name="connsiteY4303" fmla="*/ 6515100 h 6523037"/>
                <a:gd name="connsiteX4304" fmla="*/ 9746244 w 12192001"/>
                <a:gd name="connsiteY4304" fmla="*/ 6510263 h 6523037"/>
                <a:gd name="connsiteX4305" fmla="*/ 9484783 w 12192001"/>
                <a:gd name="connsiteY4305" fmla="*/ 6510263 h 6523037"/>
                <a:gd name="connsiteX4306" fmla="*/ 9476833 w 12192001"/>
                <a:gd name="connsiteY4306" fmla="*/ 6518275 h 6523037"/>
                <a:gd name="connsiteX4307" fmla="*/ 9466908 w 12192001"/>
                <a:gd name="connsiteY4307" fmla="*/ 6518275 h 6523037"/>
                <a:gd name="connsiteX4308" fmla="*/ 9470109 w 12192001"/>
                <a:gd name="connsiteY4308" fmla="*/ 6515100 h 6523037"/>
                <a:gd name="connsiteX4309" fmla="*/ 9467501 w 12192001"/>
                <a:gd name="connsiteY4309" fmla="*/ 6515100 h 6523037"/>
                <a:gd name="connsiteX4310" fmla="*/ 9472657 w 12192001"/>
                <a:gd name="connsiteY4310" fmla="*/ 6509945 h 6523037"/>
                <a:gd name="connsiteX4311" fmla="*/ 9211183 w 12192001"/>
                <a:gd name="connsiteY4311" fmla="*/ 6509945 h 6523037"/>
                <a:gd name="connsiteX4312" fmla="*/ 9202874 w 12192001"/>
                <a:gd name="connsiteY4312" fmla="*/ 6518275 h 6523037"/>
                <a:gd name="connsiteX4313" fmla="*/ 9191704 w 12192001"/>
                <a:gd name="connsiteY4313" fmla="*/ 6518275 h 6523037"/>
                <a:gd name="connsiteX4314" fmla="*/ 9204195 w 12192001"/>
                <a:gd name="connsiteY4314" fmla="*/ 6505752 h 6523037"/>
                <a:gd name="connsiteX4315" fmla="*/ 9199304 w 12192001"/>
                <a:gd name="connsiteY4315" fmla="*/ 6500861 h 6523037"/>
                <a:gd name="connsiteX4316" fmla="*/ 8933783 w 12192001"/>
                <a:gd name="connsiteY4316" fmla="*/ 6235340 h 6523037"/>
                <a:gd name="connsiteX4317" fmla="*/ 8669660 w 12192001"/>
                <a:gd name="connsiteY4317" fmla="*/ 6235340 h 6523037"/>
                <a:gd name="connsiteX4318" fmla="*/ 8671058 w 12192001"/>
                <a:gd name="connsiteY4318" fmla="*/ 6236737 h 6523037"/>
                <a:gd name="connsiteX4319" fmla="*/ 8940072 w 12192001"/>
                <a:gd name="connsiteY4319" fmla="*/ 6505752 h 6523037"/>
                <a:gd name="connsiteX4320" fmla="*/ 8927581 w 12192001"/>
                <a:gd name="connsiteY4320" fmla="*/ 6518275 h 6523037"/>
                <a:gd name="connsiteX4321" fmla="*/ 8919183 w 12192001"/>
                <a:gd name="connsiteY4321" fmla="*/ 6518275 h 6523037"/>
                <a:gd name="connsiteX4322" fmla="*/ 8926796 w 12192001"/>
                <a:gd name="connsiteY4322" fmla="*/ 6510643 h 6523037"/>
                <a:gd name="connsiteX4323" fmla="*/ 8662672 w 12192001"/>
                <a:gd name="connsiteY4323" fmla="*/ 6510643 h 6523037"/>
                <a:gd name="connsiteX4324" fmla="*/ 8655060 w 12192001"/>
                <a:gd name="connsiteY4324" fmla="*/ 6518275 h 6523037"/>
                <a:gd name="connsiteX4325" fmla="*/ 8643195 w 12192001"/>
                <a:gd name="connsiteY4325" fmla="*/ 6518275 h 6523037"/>
                <a:gd name="connsiteX4326" fmla="*/ 8656384 w 12192001"/>
                <a:gd name="connsiteY4326" fmla="*/ 6505053 h 6523037"/>
                <a:gd name="connsiteX4327" fmla="*/ 8522925 w 12192001"/>
                <a:gd name="connsiteY4327" fmla="*/ 6372290 h 6523037"/>
                <a:gd name="connsiteX4328" fmla="*/ 8525720 w 12192001"/>
                <a:gd name="connsiteY4328" fmla="*/ 6366702 h 6523037"/>
                <a:gd name="connsiteX4329" fmla="*/ 8525021 w 12192001"/>
                <a:gd name="connsiteY4329" fmla="*/ 6366004 h 6523037"/>
                <a:gd name="connsiteX4330" fmla="*/ 8525720 w 12192001"/>
                <a:gd name="connsiteY4330" fmla="*/ 6364607 h 6523037"/>
                <a:gd name="connsiteX4331" fmla="*/ 8662672 w 12192001"/>
                <a:gd name="connsiteY4331" fmla="*/ 6501560 h 6523037"/>
                <a:gd name="connsiteX4332" fmla="*/ 8926796 w 12192001"/>
                <a:gd name="connsiteY4332" fmla="*/ 6501560 h 6523037"/>
                <a:gd name="connsiteX4333" fmla="*/ 8655685 w 12192001"/>
                <a:gd name="connsiteY4333" fmla="*/ 6231148 h 6523037"/>
                <a:gd name="connsiteX4334" fmla="*/ 8657083 w 12192001"/>
                <a:gd name="connsiteY4334" fmla="*/ 6229750 h 6523037"/>
                <a:gd name="connsiteX4335" fmla="*/ 8925398 w 12192001"/>
                <a:gd name="connsiteY4335" fmla="*/ 5960736 h 6523037"/>
                <a:gd name="connsiteX4336" fmla="*/ 8726957 w 12192001"/>
                <a:gd name="connsiteY4336" fmla="*/ 5960736 h 6523037"/>
                <a:gd name="connsiteX4337" fmla="*/ 8730450 w 12192001"/>
                <a:gd name="connsiteY4337" fmla="*/ 5953748 h 6523037"/>
                <a:gd name="connsiteX4338" fmla="*/ 8925398 w 12192001"/>
                <a:gd name="connsiteY4338" fmla="*/ 5953748 h 6523037"/>
                <a:gd name="connsiteX4339" fmla="*/ 8795433 w 12192001"/>
                <a:gd name="connsiteY4339" fmla="*/ 5823783 h 6523037"/>
                <a:gd name="connsiteX4340" fmla="*/ 8798926 w 12192001"/>
                <a:gd name="connsiteY4340" fmla="*/ 5816795 h 6523037"/>
                <a:gd name="connsiteX4341" fmla="*/ 8939373 w 12192001"/>
                <a:gd name="connsiteY4341" fmla="*/ 5957241 h 6523037"/>
                <a:gd name="connsiteX4342" fmla="*/ 8668961 w 12192001"/>
                <a:gd name="connsiteY4342" fmla="*/ 6228352 h 6523037"/>
                <a:gd name="connsiteX4343" fmla="*/ 8933085 w 12192001"/>
                <a:gd name="connsiteY4343" fmla="*/ 6228352 h 6523037"/>
                <a:gd name="connsiteX4344" fmla="*/ 9203497 w 12192001"/>
                <a:gd name="connsiteY4344" fmla="*/ 5957241 h 6523037"/>
                <a:gd name="connsiteX4345" fmla="*/ 8932386 w 12192001"/>
                <a:gd name="connsiteY4345" fmla="*/ 5687528 h 6523037"/>
                <a:gd name="connsiteX4346" fmla="*/ 8863909 w 12192001"/>
                <a:gd name="connsiteY4346" fmla="*/ 5687528 h 6523037"/>
                <a:gd name="connsiteX4347" fmla="*/ 8668961 w 12192001"/>
                <a:gd name="connsiteY4347" fmla="*/ 5687528 h 6523037"/>
                <a:gd name="connsiteX4348" fmla="*/ 8798227 w 12192001"/>
                <a:gd name="connsiteY4348" fmla="*/ 5817494 h 6523037"/>
                <a:gd name="connsiteX4349" fmla="*/ 8794734 w 12192001"/>
                <a:gd name="connsiteY4349" fmla="*/ 5824481 h 6523037"/>
                <a:gd name="connsiteX4350" fmla="*/ 8654287 w 12192001"/>
                <a:gd name="connsiteY4350" fmla="*/ 5684035 h 6523037"/>
                <a:gd name="connsiteX4351" fmla="*/ 8924699 w 12192001"/>
                <a:gd name="connsiteY4351" fmla="*/ 5412924 h 6523037"/>
                <a:gd name="connsiteX4352" fmla="*/ 8660576 w 12192001"/>
                <a:gd name="connsiteY4352" fmla="*/ 5412924 h 6523037"/>
                <a:gd name="connsiteX4353" fmla="*/ 8390164 w 12192001"/>
                <a:gd name="connsiteY4353" fmla="*/ 5684035 h 6523037"/>
                <a:gd name="connsiteX4354" fmla="*/ 8661275 w 12192001"/>
                <a:gd name="connsiteY4354" fmla="*/ 5954447 h 6523037"/>
                <a:gd name="connsiteX4355" fmla="*/ 8729751 w 12192001"/>
                <a:gd name="connsiteY4355" fmla="*/ 5954447 h 6523037"/>
                <a:gd name="connsiteX4356" fmla="*/ 8726258 w 12192001"/>
                <a:gd name="connsiteY4356" fmla="*/ 5961434 h 6523037"/>
                <a:gd name="connsiteX4357" fmla="*/ 8661275 w 12192001"/>
                <a:gd name="connsiteY4357" fmla="*/ 5961434 h 6523037"/>
                <a:gd name="connsiteX4358" fmla="*/ 8481000 w 12192001"/>
                <a:gd name="connsiteY4358" fmla="*/ 6142408 h 6523037"/>
                <a:gd name="connsiteX4359" fmla="*/ 8391562 w 12192001"/>
                <a:gd name="connsiteY4359" fmla="*/ 6232545 h 6523037"/>
                <a:gd name="connsiteX4360" fmla="*/ 8525021 w 12192001"/>
                <a:gd name="connsiteY4360" fmla="*/ 6366004 h 6523037"/>
                <a:gd name="connsiteX4361" fmla="*/ 8522226 w 12192001"/>
                <a:gd name="connsiteY4361" fmla="*/ 6371593 h 6523037"/>
                <a:gd name="connsiteX4362" fmla="*/ 8522925 w 12192001"/>
                <a:gd name="connsiteY4362" fmla="*/ 6372290 h 6523037"/>
                <a:gd name="connsiteX4363" fmla="*/ 8522226 w 12192001"/>
                <a:gd name="connsiteY4363" fmla="*/ 6373690 h 6523037"/>
                <a:gd name="connsiteX4364" fmla="*/ 8385273 w 12192001"/>
                <a:gd name="connsiteY4364" fmla="*/ 6236737 h 6523037"/>
                <a:gd name="connsiteX4365" fmla="*/ 8121150 w 12192001"/>
                <a:gd name="connsiteY4365" fmla="*/ 6236737 h 6523037"/>
                <a:gd name="connsiteX4366" fmla="*/ 8392260 w 12192001"/>
                <a:gd name="connsiteY4366" fmla="*/ 6507149 h 6523037"/>
                <a:gd name="connsiteX4367" fmla="*/ 8381163 w 12192001"/>
                <a:gd name="connsiteY4367" fmla="*/ 6518275 h 6523037"/>
                <a:gd name="connsiteX4368" fmla="*/ 8370672 w 12192001"/>
                <a:gd name="connsiteY4368" fmla="*/ 6518275 h 6523037"/>
                <a:gd name="connsiteX4369" fmla="*/ 8378285 w 12192001"/>
                <a:gd name="connsiteY4369" fmla="*/ 6510643 h 6523037"/>
                <a:gd name="connsiteX4370" fmla="*/ 8114162 w 12192001"/>
                <a:gd name="connsiteY4370" fmla="*/ 6510643 h 6523037"/>
                <a:gd name="connsiteX4371" fmla="*/ 8106549 w 12192001"/>
                <a:gd name="connsiteY4371" fmla="*/ 6518275 h 6523037"/>
                <a:gd name="connsiteX4372" fmla="*/ 8097473 w 12192001"/>
                <a:gd name="connsiteY4372" fmla="*/ 6518275 h 6523037"/>
                <a:gd name="connsiteX4373" fmla="*/ 8107873 w 12192001"/>
                <a:gd name="connsiteY4373" fmla="*/ 6507848 h 6523037"/>
                <a:gd name="connsiteX4374" fmla="*/ 7836763 w 12192001"/>
                <a:gd name="connsiteY4374" fmla="*/ 6237436 h 6523037"/>
                <a:gd name="connsiteX4375" fmla="*/ 7572639 w 12192001"/>
                <a:gd name="connsiteY4375" fmla="*/ 6237436 h 6523037"/>
                <a:gd name="connsiteX4376" fmla="*/ 7843750 w 12192001"/>
                <a:gd name="connsiteY4376" fmla="*/ 6507848 h 6523037"/>
                <a:gd name="connsiteX4377" fmla="*/ 7833350 w 12192001"/>
                <a:gd name="connsiteY4377" fmla="*/ 6518275 h 6523037"/>
                <a:gd name="connsiteX4378" fmla="*/ 7823556 w 12192001"/>
                <a:gd name="connsiteY4378" fmla="*/ 6518275 h 6523037"/>
                <a:gd name="connsiteX4379" fmla="*/ 7829775 w 12192001"/>
                <a:gd name="connsiteY4379" fmla="*/ 6512040 h 6523037"/>
                <a:gd name="connsiteX4380" fmla="*/ 7565652 w 12192001"/>
                <a:gd name="connsiteY4380" fmla="*/ 6512040 h 6523037"/>
                <a:gd name="connsiteX4381" fmla="*/ 7559433 w 12192001"/>
                <a:gd name="connsiteY4381" fmla="*/ 6518275 h 6523037"/>
                <a:gd name="connsiteX4382" fmla="*/ 7549660 w 12192001"/>
                <a:gd name="connsiteY4382" fmla="*/ 6518275 h 6523037"/>
                <a:gd name="connsiteX4383" fmla="*/ 7559363 w 12192001"/>
                <a:gd name="connsiteY4383" fmla="*/ 6508547 h 6523037"/>
                <a:gd name="connsiteX4384" fmla="*/ 7288252 w 12192001"/>
                <a:gd name="connsiteY4384" fmla="*/ 6238135 h 6523037"/>
                <a:gd name="connsiteX4385" fmla="*/ 7024828 w 12192001"/>
                <a:gd name="connsiteY4385" fmla="*/ 6238135 h 6523037"/>
                <a:gd name="connsiteX4386" fmla="*/ 7154793 w 12192001"/>
                <a:gd name="connsiteY4386" fmla="*/ 6368100 h 6523037"/>
                <a:gd name="connsiteX4387" fmla="*/ 7295240 w 12192001"/>
                <a:gd name="connsiteY4387" fmla="*/ 6508547 h 6523037"/>
                <a:gd name="connsiteX4388" fmla="*/ 7285537 w 12192001"/>
                <a:gd name="connsiteY4388" fmla="*/ 6518275 h 6523037"/>
                <a:gd name="connsiteX4389" fmla="*/ 7275044 w 12192001"/>
                <a:gd name="connsiteY4389" fmla="*/ 6518275 h 6523037"/>
                <a:gd name="connsiteX4390" fmla="*/ 7280566 w 12192001"/>
                <a:gd name="connsiteY4390" fmla="*/ 6512739 h 6523037"/>
                <a:gd name="connsiteX4391" fmla="*/ 7017141 w 12192001"/>
                <a:gd name="connsiteY4391" fmla="*/ 6512739 h 6523037"/>
                <a:gd name="connsiteX4392" fmla="*/ 7011627 w 12192001"/>
                <a:gd name="connsiteY4392" fmla="*/ 6518275 h 6523037"/>
                <a:gd name="connsiteX4393" fmla="*/ 7001125 w 12192001"/>
                <a:gd name="connsiteY4393" fmla="*/ 6518275 h 6523037"/>
                <a:gd name="connsiteX4394" fmla="*/ 7010853 w 12192001"/>
                <a:gd name="connsiteY4394" fmla="*/ 6508547 h 6523037"/>
                <a:gd name="connsiteX4395" fmla="*/ 6739742 w 12192001"/>
                <a:gd name="connsiteY4395" fmla="*/ 6238135 h 6523037"/>
                <a:gd name="connsiteX4396" fmla="*/ 6475619 w 12192001"/>
                <a:gd name="connsiteY4396" fmla="*/ 6238135 h 6523037"/>
                <a:gd name="connsiteX4397" fmla="*/ 6746729 w 12192001"/>
                <a:gd name="connsiteY4397" fmla="*/ 6508547 h 6523037"/>
                <a:gd name="connsiteX4398" fmla="*/ 6743935 w 12192001"/>
                <a:gd name="connsiteY4398" fmla="*/ 6511341 h 6523037"/>
                <a:gd name="connsiteX4399" fmla="*/ 6737054 w 12192001"/>
                <a:gd name="connsiteY4399" fmla="*/ 6518275 h 6523037"/>
                <a:gd name="connsiteX4400" fmla="*/ 6727219 w 12192001"/>
                <a:gd name="connsiteY4400" fmla="*/ 6518275 h 6523037"/>
                <a:gd name="connsiteX4401" fmla="*/ 6732754 w 12192001"/>
                <a:gd name="connsiteY4401" fmla="*/ 6512739 h 6523037"/>
                <a:gd name="connsiteX4402" fmla="*/ 6468632 w 12192001"/>
                <a:gd name="connsiteY4402" fmla="*/ 6512739 h 6523037"/>
                <a:gd name="connsiteX4403" fmla="*/ 6463111 w 12192001"/>
                <a:gd name="connsiteY4403" fmla="*/ 6518275 h 6523037"/>
                <a:gd name="connsiteX4404" fmla="*/ 6452638 w 12192001"/>
                <a:gd name="connsiteY4404" fmla="*/ 6518275 h 6523037"/>
                <a:gd name="connsiteX4405" fmla="*/ 6461645 w 12192001"/>
                <a:gd name="connsiteY4405" fmla="*/ 6509246 h 6523037"/>
                <a:gd name="connsiteX4406" fmla="*/ 6456753 w 12192001"/>
                <a:gd name="connsiteY4406" fmla="*/ 6504354 h 6523037"/>
                <a:gd name="connsiteX4407" fmla="*/ 6191234 w 12192001"/>
                <a:gd name="connsiteY4407" fmla="*/ 6239533 h 6523037"/>
                <a:gd name="connsiteX4408" fmla="*/ 5927108 w 12192001"/>
                <a:gd name="connsiteY4408" fmla="*/ 6239533 h 6523037"/>
                <a:gd name="connsiteX4409" fmla="*/ 5927807 w 12192001"/>
                <a:gd name="connsiteY4409" fmla="*/ 6240231 h 6523037"/>
                <a:gd name="connsiteX4410" fmla="*/ 5928507 w 12192001"/>
                <a:gd name="connsiteY4410" fmla="*/ 6240231 h 6523037"/>
                <a:gd name="connsiteX4411" fmla="*/ 6197521 w 12192001"/>
                <a:gd name="connsiteY4411" fmla="*/ 6509246 h 6523037"/>
                <a:gd name="connsiteX4412" fmla="*/ 6188514 w 12192001"/>
                <a:gd name="connsiteY4412" fmla="*/ 6518275 h 6523037"/>
                <a:gd name="connsiteX4413" fmla="*/ 6180107 w 12192001"/>
                <a:gd name="connsiteY4413" fmla="*/ 6518275 h 6523037"/>
                <a:gd name="connsiteX4414" fmla="*/ 6184944 w 12192001"/>
                <a:gd name="connsiteY4414" fmla="*/ 6513438 h 6523037"/>
                <a:gd name="connsiteX4415" fmla="*/ 5920821 w 12192001"/>
                <a:gd name="connsiteY4415" fmla="*/ 6513438 h 6523037"/>
                <a:gd name="connsiteX4416" fmla="*/ 5915996 w 12192001"/>
                <a:gd name="connsiteY4416" fmla="*/ 6518275 h 6523037"/>
                <a:gd name="connsiteX4417" fmla="*/ 5903406 w 12192001"/>
                <a:gd name="connsiteY4417" fmla="*/ 6518275 h 6523037"/>
                <a:gd name="connsiteX4418" fmla="*/ 5912435 w 12192001"/>
                <a:gd name="connsiteY4418" fmla="*/ 6509246 h 6523037"/>
                <a:gd name="connsiteX4419" fmla="*/ 5779675 w 12192001"/>
                <a:gd name="connsiteY4419" fmla="*/ 6377184 h 6523037"/>
                <a:gd name="connsiteX4420" fmla="*/ 5641325 w 12192001"/>
                <a:gd name="connsiteY4420" fmla="*/ 6238834 h 6523037"/>
                <a:gd name="connsiteX4421" fmla="*/ 5377202 w 12192001"/>
                <a:gd name="connsiteY4421" fmla="*/ 6238834 h 6523037"/>
                <a:gd name="connsiteX4422" fmla="*/ 5648312 w 12192001"/>
                <a:gd name="connsiteY4422" fmla="*/ 6508547 h 6523037"/>
                <a:gd name="connsiteX4423" fmla="*/ 5645518 w 12192001"/>
                <a:gd name="connsiteY4423" fmla="*/ 6511341 h 6523037"/>
                <a:gd name="connsiteX4424" fmla="*/ 5638636 w 12192001"/>
                <a:gd name="connsiteY4424" fmla="*/ 6518275 h 6523037"/>
                <a:gd name="connsiteX4425" fmla="*/ 5629500 w 12192001"/>
                <a:gd name="connsiteY4425" fmla="*/ 6518275 h 6523037"/>
                <a:gd name="connsiteX4426" fmla="*/ 5635036 w 12192001"/>
                <a:gd name="connsiteY4426" fmla="*/ 6512739 h 6523037"/>
                <a:gd name="connsiteX4427" fmla="*/ 5376502 w 12192001"/>
                <a:gd name="connsiteY4427" fmla="*/ 6512739 h 6523037"/>
                <a:gd name="connsiteX4428" fmla="*/ 5375047 w 12192001"/>
                <a:gd name="connsiteY4428" fmla="*/ 6512040 h 6523037"/>
                <a:gd name="connsiteX4429" fmla="*/ 5376502 w 12192001"/>
                <a:gd name="connsiteY4429" fmla="*/ 6512040 h 6523037"/>
                <a:gd name="connsiteX4430" fmla="*/ 5359034 w 12192001"/>
                <a:gd name="connsiteY4430" fmla="*/ 6503655 h 6523037"/>
                <a:gd name="connsiteX4431" fmla="*/ 5360377 w 12192001"/>
                <a:gd name="connsiteY4431" fmla="*/ 6504999 h 6523037"/>
                <a:gd name="connsiteX4432" fmla="*/ 5359034 w 12192001"/>
                <a:gd name="connsiteY4432" fmla="*/ 6504354 h 6523037"/>
                <a:gd name="connsiteX4433" fmla="*/ 5093513 w 12192001"/>
                <a:gd name="connsiteY4433" fmla="*/ 6239533 h 6523037"/>
                <a:gd name="connsiteX4434" fmla="*/ 4829390 w 12192001"/>
                <a:gd name="connsiteY4434" fmla="*/ 6239533 h 6523037"/>
                <a:gd name="connsiteX4435" fmla="*/ 4830788 w 12192001"/>
                <a:gd name="connsiteY4435" fmla="*/ 6240929 h 6523037"/>
                <a:gd name="connsiteX4436" fmla="*/ 5099802 w 12192001"/>
                <a:gd name="connsiteY4436" fmla="*/ 6509945 h 6523037"/>
                <a:gd name="connsiteX4437" fmla="*/ 5091450 w 12192001"/>
                <a:gd name="connsiteY4437" fmla="*/ 6518275 h 6523037"/>
                <a:gd name="connsiteX4438" fmla="*/ 5081014 w 12192001"/>
                <a:gd name="connsiteY4438" fmla="*/ 6518275 h 6523037"/>
                <a:gd name="connsiteX4439" fmla="*/ 5085827 w 12192001"/>
                <a:gd name="connsiteY4439" fmla="*/ 6513438 h 6523037"/>
                <a:gd name="connsiteX4440" fmla="*/ 4826252 w 12192001"/>
                <a:gd name="connsiteY4440" fmla="*/ 6513438 h 6523037"/>
                <a:gd name="connsiteX4441" fmla="*/ 4816727 w 12192001"/>
                <a:gd name="connsiteY4441" fmla="*/ 6523037 h 6523037"/>
                <a:gd name="connsiteX4442" fmla="*/ 4806802 w 12192001"/>
                <a:gd name="connsiteY4442" fmla="*/ 6523037 h 6523037"/>
                <a:gd name="connsiteX4443" fmla="*/ 4811603 w 12192001"/>
                <a:gd name="connsiteY4443" fmla="*/ 6518275 h 6523037"/>
                <a:gd name="connsiteX4444" fmla="*/ 4807085 w 12192001"/>
                <a:gd name="connsiteY4444" fmla="*/ 6518275 h 6523037"/>
                <a:gd name="connsiteX4445" fmla="*/ 4810652 w 12192001"/>
                <a:gd name="connsiteY4445" fmla="*/ 6514707 h 6523037"/>
                <a:gd name="connsiteX4446" fmla="*/ 4551077 w 12192001"/>
                <a:gd name="connsiteY4446" fmla="*/ 6514707 h 6523037"/>
                <a:gd name="connsiteX4447" fmla="*/ 4542768 w 12192001"/>
                <a:gd name="connsiteY4447" fmla="*/ 6523037 h 6523037"/>
                <a:gd name="connsiteX4448" fmla="*/ 4531598 w 12192001"/>
                <a:gd name="connsiteY4448" fmla="*/ 6523037 h 6523037"/>
                <a:gd name="connsiteX4449" fmla="*/ 4544090 w 12192001"/>
                <a:gd name="connsiteY4449" fmla="*/ 6510514 h 6523037"/>
                <a:gd name="connsiteX4450" fmla="*/ 4539199 w 12192001"/>
                <a:gd name="connsiteY4450" fmla="*/ 6505623 h 6523037"/>
                <a:gd name="connsiteX4451" fmla="*/ 4273677 w 12192001"/>
                <a:gd name="connsiteY4451" fmla="*/ 6240102 h 6523037"/>
                <a:gd name="connsiteX4452" fmla="*/ 4009554 w 12192001"/>
                <a:gd name="connsiteY4452" fmla="*/ 6240102 h 6523037"/>
                <a:gd name="connsiteX4453" fmla="*/ 4010952 w 12192001"/>
                <a:gd name="connsiteY4453" fmla="*/ 6241499 h 6523037"/>
                <a:gd name="connsiteX4454" fmla="*/ 4279967 w 12192001"/>
                <a:gd name="connsiteY4454" fmla="*/ 6510514 h 6523037"/>
                <a:gd name="connsiteX4455" fmla="*/ 4267475 w 12192001"/>
                <a:gd name="connsiteY4455" fmla="*/ 6523037 h 6523037"/>
                <a:gd name="connsiteX4456" fmla="*/ 4259077 w 12192001"/>
                <a:gd name="connsiteY4456" fmla="*/ 6523037 h 6523037"/>
                <a:gd name="connsiteX4457" fmla="*/ 4266690 w 12192001"/>
                <a:gd name="connsiteY4457" fmla="*/ 6515405 h 6523037"/>
                <a:gd name="connsiteX4458" fmla="*/ 4002566 w 12192001"/>
                <a:gd name="connsiteY4458" fmla="*/ 6515405 h 6523037"/>
                <a:gd name="connsiteX4459" fmla="*/ 3994954 w 12192001"/>
                <a:gd name="connsiteY4459" fmla="*/ 6523037 h 6523037"/>
                <a:gd name="connsiteX4460" fmla="*/ 3983089 w 12192001"/>
                <a:gd name="connsiteY4460" fmla="*/ 6523037 h 6523037"/>
                <a:gd name="connsiteX4461" fmla="*/ 3996278 w 12192001"/>
                <a:gd name="connsiteY4461" fmla="*/ 6509815 h 6523037"/>
                <a:gd name="connsiteX4462" fmla="*/ 3862819 w 12192001"/>
                <a:gd name="connsiteY4462" fmla="*/ 6377052 h 6523037"/>
                <a:gd name="connsiteX4463" fmla="*/ 3865614 w 12192001"/>
                <a:gd name="connsiteY4463" fmla="*/ 6371464 h 6523037"/>
                <a:gd name="connsiteX4464" fmla="*/ 3864915 w 12192001"/>
                <a:gd name="connsiteY4464" fmla="*/ 6370766 h 6523037"/>
                <a:gd name="connsiteX4465" fmla="*/ 3865614 w 12192001"/>
                <a:gd name="connsiteY4465" fmla="*/ 6369369 h 6523037"/>
                <a:gd name="connsiteX4466" fmla="*/ 4002566 w 12192001"/>
                <a:gd name="connsiteY4466" fmla="*/ 6506322 h 6523037"/>
                <a:gd name="connsiteX4467" fmla="*/ 4266690 w 12192001"/>
                <a:gd name="connsiteY4467" fmla="*/ 6506322 h 6523037"/>
                <a:gd name="connsiteX4468" fmla="*/ 3995579 w 12192001"/>
                <a:gd name="connsiteY4468" fmla="*/ 6235910 h 6523037"/>
                <a:gd name="connsiteX4469" fmla="*/ 3996977 w 12192001"/>
                <a:gd name="connsiteY4469" fmla="*/ 6234512 h 6523037"/>
                <a:gd name="connsiteX4470" fmla="*/ 4265292 w 12192001"/>
                <a:gd name="connsiteY4470" fmla="*/ 5965498 h 6523037"/>
                <a:gd name="connsiteX4471" fmla="*/ 4066851 w 12192001"/>
                <a:gd name="connsiteY4471" fmla="*/ 5965498 h 6523037"/>
                <a:gd name="connsiteX4472" fmla="*/ 4070344 w 12192001"/>
                <a:gd name="connsiteY4472" fmla="*/ 5958510 h 6523037"/>
                <a:gd name="connsiteX4473" fmla="*/ 4265292 w 12192001"/>
                <a:gd name="connsiteY4473" fmla="*/ 5958510 h 6523037"/>
                <a:gd name="connsiteX4474" fmla="*/ 4135327 w 12192001"/>
                <a:gd name="connsiteY4474" fmla="*/ 5828545 h 6523037"/>
                <a:gd name="connsiteX4475" fmla="*/ 4138820 w 12192001"/>
                <a:gd name="connsiteY4475" fmla="*/ 5821557 h 6523037"/>
                <a:gd name="connsiteX4476" fmla="*/ 4279267 w 12192001"/>
                <a:gd name="connsiteY4476" fmla="*/ 5962003 h 6523037"/>
                <a:gd name="connsiteX4477" fmla="*/ 4008855 w 12192001"/>
                <a:gd name="connsiteY4477" fmla="*/ 6233114 h 6523037"/>
                <a:gd name="connsiteX4478" fmla="*/ 4272979 w 12192001"/>
                <a:gd name="connsiteY4478" fmla="*/ 6233114 h 6523037"/>
                <a:gd name="connsiteX4479" fmla="*/ 4543392 w 12192001"/>
                <a:gd name="connsiteY4479" fmla="*/ 5962003 h 6523037"/>
                <a:gd name="connsiteX4480" fmla="*/ 4272281 w 12192001"/>
                <a:gd name="connsiteY4480" fmla="*/ 5692290 h 6523037"/>
                <a:gd name="connsiteX4481" fmla="*/ 4203803 w 12192001"/>
                <a:gd name="connsiteY4481" fmla="*/ 5692290 h 6523037"/>
                <a:gd name="connsiteX4482" fmla="*/ 4008855 w 12192001"/>
                <a:gd name="connsiteY4482" fmla="*/ 5692290 h 6523037"/>
                <a:gd name="connsiteX4483" fmla="*/ 4138121 w 12192001"/>
                <a:gd name="connsiteY4483" fmla="*/ 5822256 h 6523037"/>
                <a:gd name="connsiteX4484" fmla="*/ 4134628 w 12192001"/>
                <a:gd name="connsiteY4484" fmla="*/ 5829243 h 6523037"/>
                <a:gd name="connsiteX4485" fmla="*/ 3994181 w 12192001"/>
                <a:gd name="connsiteY4485" fmla="*/ 5688797 h 6523037"/>
                <a:gd name="connsiteX4486" fmla="*/ 4264593 w 12192001"/>
                <a:gd name="connsiteY4486" fmla="*/ 5417686 h 6523037"/>
                <a:gd name="connsiteX4487" fmla="*/ 4000470 w 12192001"/>
                <a:gd name="connsiteY4487" fmla="*/ 5417686 h 6523037"/>
                <a:gd name="connsiteX4488" fmla="*/ 3730058 w 12192001"/>
                <a:gd name="connsiteY4488" fmla="*/ 5688797 h 6523037"/>
                <a:gd name="connsiteX4489" fmla="*/ 4001169 w 12192001"/>
                <a:gd name="connsiteY4489" fmla="*/ 5959209 h 6523037"/>
                <a:gd name="connsiteX4490" fmla="*/ 4069645 w 12192001"/>
                <a:gd name="connsiteY4490" fmla="*/ 5959209 h 6523037"/>
                <a:gd name="connsiteX4491" fmla="*/ 4066152 w 12192001"/>
                <a:gd name="connsiteY4491" fmla="*/ 5966196 h 6523037"/>
                <a:gd name="connsiteX4492" fmla="*/ 4001169 w 12192001"/>
                <a:gd name="connsiteY4492" fmla="*/ 5966196 h 6523037"/>
                <a:gd name="connsiteX4493" fmla="*/ 3820894 w 12192001"/>
                <a:gd name="connsiteY4493" fmla="*/ 6147170 h 6523037"/>
                <a:gd name="connsiteX4494" fmla="*/ 3731456 w 12192001"/>
                <a:gd name="connsiteY4494" fmla="*/ 6237307 h 6523037"/>
                <a:gd name="connsiteX4495" fmla="*/ 3864915 w 12192001"/>
                <a:gd name="connsiteY4495" fmla="*/ 6370766 h 6523037"/>
                <a:gd name="connsiteX4496" fmla="*/ 3862120 w 12192001"/>
                <a:gd name="connsiteY4496" fmla="*/ 6376355 h 6523037"/>
                <a:gd name="connsiteX4497" fmla="*/ 3862819 w 12192001"/>
                <a:gd name="connsiteY4497" fmla="*/ 6377052 h 6523037"/>
                <a:gd name="connsiteX4498" fmla="*/ 3862120 w 12192001"/>
                <a:gd name="connsiteY4498" fmla="*/ 6378452 h 6523037"/>
                <a:gd name="connsiteX4499" fmla="*/ 3725167 w 12192001"/>
                <a:gd name="connsiteY4499" fmla="*/ 6241499 h 6523037"/>
                <a:gd name="connsiteX4500" fmla="*/ 3461044 w 12192001"/>
                <a:gd name="connsiteY4500" fmla="*/ 6241499 h 6523037"/>
                <a:gd name="connsiteX4501" fmla="*/ 3732154 w 12192001"/>
                <a:gd name="connsiteY4501" fmla="*/ 6511911 h 6523037"/>
                <a:gd name="connsiteX4502" fmla="*/ 3721057 w 12192001"/>
                <a:gd name="connsiteY4502" fmla="*/ 6523037 h 6523037"/>
                <a:gd name="connsiteX4503" fmla="*/ 3710566 w 12192001"/>
                <a:gd name="connsiteY4503" fmla="*/ 6523037 h 6523037"/>
                <a:gd name="connsiteX4504" fmla="*/ 3718179 w 12192001"/>
                <a:gd name="connsiteY4504" fmla="*/ 6515405 h 6523037"/>
                <a:gd name="connsiteX4505" fmla="*/ 3454056 w 12192001"/>
                <a:gd name="connsiteY4505" fmla="*/ 6515405 h 6523037"/>
                <a:gd name="connsiteX4506" fmla="*/ 3446443 w 12192001"/>
                <a:gd name="connsiteY4506" fmla="*/ 6523037 h 6523037"/>
                <a:gd name="connsiteX4507" fmla="*/ 3437367 w 12192001"/>
                <a:gd name="connsiteY4507" fmla="*/ 6523037 h 6523037"/>
                <a:gd name="connsiteX4508" fmla="*/ 3447767 w 12192001"/>
                <a:gd name="connsiteY4508" fmla="*/ 6512610 h 6523037"/>
                <a:gd name="connsiteX4509" fmla="*/ 3176657 w 12192001"/>
                <a:gd name="connsiteY4509" fmla="*/ 6242198 h 6523037"/>
                <a:gd name="connsiteX4510" fmla="*/ 2912533 w 12192001"/>
                <a:gd name="connsiteY4510" fmla="*/ 6242198 h 6523037"/>
                <a:gd name="connsiteX4511" fmla="*/ 3183644 w 12192001"/>
                <a:gd name="connsiteY4511" fmla="*/ 6512610 h 6523037"/>
                <a:gd name="connsiteX4512" fmla="*/ 3173244 w 12192001"/>
                <a:gd name="connsiteY4512" fmla="*/ 6523037 h 6523037"/>
                <a:gd name="connsiteX4513" fmla="*/ 3163450 w 12192001"/>
                <a:gd name="connsiteY4513" fmla="*/ 6523037 h 6523037"/>
                <a:gd name="connsiteX4514" fmla="*/ 3169669 w 12192001"/>
                <a:gd name="connsiteY4514" fmla="*/ 6516802 h 6523037"/>
                <a:gd name="connsiteX4515" fmla="*/ 2905546 w 12192001"/>
                <a:gd name="connsiteY4515" fmla="*/ 6516802 h 6523037"/>
                <a:gd name="connsiteX4516" fmla="*/ 2899327 w 12192001"/>
                <a:gd name="connsiteY4516" fmla="*/ 6523037 h 6523037"/>
                <a:gd name="connsiteX4517" fmla="*/ 2889554 w 12192001"/>
                <a:gd name="connsiteY4517" fmla="*/ 6523037 h 6523037"/>
                <a:gd name="connsiteX4518" fmla="*/ 2899257 w 12192001"/>
                <a:gd name="connsiteY4518" fmla="*/ 6513309 h 6523037"/>
                <a:gd name="connsiteX4519" fmla="*/ 2628146 w 12192001"/>
                <a:gd name="connsiteY4519" fmla="*/ 6242897 h 6523037"/>
                <a:gd name="connsiteX4520" fmla="*/ 2364722 w 12192001"/>
                <a:gd name="connsiteY4520" fmla="*/ 6242897 h 6523037"/>
                <a:gd name="connsiteX4521" fmla="*/ 2494687 w 12192001"/>
                <a:gd name="connsiteY4521" fmla="*/ 6372862 h 6523037"/>
                <a:gd name="connsiteX4522" fmla="*/ 2635134 w 12192001"/>
                <a:gd name="connsiteY4522" fmla="*/ 6513309 h 6523037"/>
                <a:gd name="connsiteX4523" fmla="*/ 2625431 w 12192001"/>
                <a:gd name="connsiteY4523" fmla="*/ 6523037 h 6523037"/>
                <a:gd name="connsiteX4524" fmla="*/ 2614938 w 12192001"/>
                <a:gd name="connsiteY4524" fmla="*/ 6523037 h 6523037"/>
                <a:gd name="connsiteX4525" fmla="*/ 2620460 w 12192001"/>
                <a:gd name="connsiteY4525" fmla="*/ 6517501 h 6523037"/>
                <a:gd name="connsiteX4526" fmla="*/ 2357035 w 12192001"/>
                <a:gd name="connsiteY4526" fmla="*/ 6517501 h 6523037"/>
                <a:gd name="connsiteX4527" fmla="*/ 2351521 w 12192001"/>
                <a:gd name="connsiteY4527" fmla="*/ 6523037 h 6523037"/>
                <a:gd name="connsiteX4528" fmla="*/ 2341019 w 12192001"/>
                <a:gd name="connsiteY4528" fmla="*/ 6523037 h 6523037"/>
                <a:gd name="connsiteX4529" fmla="*/ 2350747 w 12192001"/>
                <a:gd name="connsiteY4529" fmla="*/ 6513309 h 6523037"/>
                <a:gd name="connsiteX4530" fmla="*/ 2079636 w 12192001"/>
                <a:gd name="connsiteY4530" fmla="*/ 6242897 h 6523037"/>
                <a:gd name="connsiteX4531" fmla="*/ 1815513 w 12192001"/>
                <a:gd name="connsiteY4531" fmla="*/ 6242897 h 6523037"/>
                <a:gd name="connsiteX4532" fmla="*/ 2086623 w 12192001"/>
                <a:gd name="connsiteY4532" fmla="*/ 6513309 h 6523037"/>
                <a:gd name="connsiteX4533" fmla="*/ 2083829 w 12192001"/>
                <a:gd name="connsiteY4533" fmla="*/ 6516103 h 6523037"/>
                <a:gd name="connsiteX4534" fmla="*/ 2076948 w 12192001"/>
                <a:gd name="connsiteY4534" fmla="*/ 6523037 h 6523037"/>
                <a:gd name="connsiteX4535" fmla="*/ 2067112 w 12192001"/>
                <a:gd name="connsiteY4535" fmla="*/ 6523037 h 6523037"/>
                <a:gd name="connsiteX4536" fmla="*/ 2072648 w 12192001"/>
                <a:gd name="connsiteY4536" fmla="*/ 6517501 h 6523037"/>
                <a:gd name="connsiteX4537" fmla="*/ 1808526 w 12192001"/>
                <a:gd name="connsiteY4537" fmla="*/ 6517501 h 6523037"/>
                <a:gd name="connsiteX4538" fmla="*/ 1803004 w 12192001"/>
                <a:gd name="connsiteY4538" fmla="*/ 6523037 h 6523037"/>
                <a:gd name="connsiteX4539" fmla="*/ 1792532 w 12192001"/>
                <a:gd name="connsiteY4539" fmla="*/ 6523037 h 6523037"/>
                <a:gd name="connsiteX4540" fmla="*/ 1801539 w 12192001"/>
                <a:gd name="connsiteY4540" fmla="*/ 6514008 h 6523037"/>
                <a:gd name="connsiteX4541" fmla="*/ 1796647 w 12192001"/>
                <a:gd name="connsiteY4541" fmla="*/ 6509116 h 6523037"/>
                <a:gd name="connsiteX4542" fmla="*/ 1531127 w 12192001"/>
                <a:gd name="connsiteY4542" fmla="*/ 6244295 h 6523037"/>
                <a:gd name="connsiteX4543" fmla="*/ 1267002 w 12192001"/>
                <a:gd name="connsiteY4543" fmla="*/ 6244295 h 6523037"/>
                <a:gd name="connsiteX4544" fmla="*/ 1267701 w 12192001"/>
                <a:gd name="connsiteY4544" fmla="*/ 6244993 h 6523037"/>
                <a:gd name="connsiteX4545" fmla="*/ 1268400 w 12192001"/>
                <a:gd name="connsiteY4545" fmla="*/ 6244993 h 6523037"/>
                <a:gd name="connsiteX4546" fmla="*/ 1537414 w 12192001"/>
                <a:gd name="connsiteY4546" fmla="*/ 6514008 h 6523037"/>
                <a:gd name="connsiteX4547" fmla="*/ 1528408 w 12192001"/>
                <a:gd name="connsiteY4547" fmla="*/ 6523037 h 6523037"/>
                <a:gd name="connsiteX4548" fmla="*/ 1520000 w 12192001"/>
                <a:gd name="connsiteY4548" fmla="*/ 6523037 h 6523037"/>
                <a:gd name="connsiteX4549" fmla="*/ 1524838 w 12192001"/>
                <a:gd name="connsiteY4549" fmla="*/ 6518200 h 6523037"/>
                <a:gd name="connsiteX4550" fmla="*/ 1260714 w 12192001"/>
                <a:gd name="connsiteY4550" fmla="*/ 6518200 h 6523037"/>
                <a:gd name="connsiteX4551" fmla="*/ 1255889 w 12192001"/>
                <a:gd name="connsiteY4551" fmla="*/ 6523037 h 6523037"/>
                <a:gd name="connsiteX4552" fmla="*/ 1243300 w 12192001"/>
                <a:gd name="connsiteY4552" fmla="*/ 6523037 h 6523037"/>
                <a:gd name="connsiteX4553" fmla="*/ 1252329 w 12192001"/>
                <a:gd name="connsiteY4553" fmla="*/ 6514008 h 6523037"/>
                <a:gd name="connsiteX4554" fmla="*/ 1119569 w 12192001"/>
                <a:gd name="connsiteY4554" fmla="*/ 6381946 h 6523037"/>
                <a:gd name="connsiteX4555" fmla="*/ 981219 w 12192001"/>
                <a:gd name="connsiteY4555" fmla="*/ 6243596 h 6523037"/>
                <a:gd name="connsiteX4556" fmla="*/ 717095 w 12192001"/>
                <a:gd name="connsiteY4556" fmla="*/ 6243596 h 6523037"/>
                <a:gd name="connsiteX4557" fmla="*/ 988206 w 12192001"/>
                <a:gd name="connsiteY4557" fmla="*/ 6513309 h 6523037"/>
                <a:gd name="connsiteX4558" fmla="*/ 985411 w 12192001"/>
                <a:gd name="connsiteY4558" fmla="*/ 6516103 h 6523037"/>
                <a:gd name="connsiteX4559" fmla="*/ 978530 w 12192001"/>
                <a:gd name="connsiteY4559" fmla="*/ 6523037 h 6523037"/>
                <a:gd name="connsiteX4560" fmla="*/ 969394 w 12192001"/>
                <a:gd name="connsiteY4560" fmla="*/ 6523037 h 6523037"/>
                <a:gd name="connsiteX4561" fmla="*/ 974930 w 12192001"/>
                <a:gd name="connsiteY4561" fmla="*/ 6517501 h 6523037"/>
                <a:gd name="connsiteX4562" fmla="*/ 716396 w 12192001"/>
                <a:gd name="connsiteY4562" fmla="*/ 6517501 h 6523037"/>
                <a:gd name="connsiteX4563" fmla="*/ 714941 w 12192001"/>
                <a:gd name="connsiteY4563" fmla="*/ 6516802 h 6523037"/>
                <a:gd name="connsiteX4564" fmla="*/ 716396 w 12192001"/>
                <a:gd name="connsiteY4564" fmla="*/ 6516802 h 6523037"/>
                <a:gd name="connsiteX4565" fmla="*/ 698928 w 12192001"/>
                <a:gd name="connsiteY4565" fmla="*/ 6508417 h 6523037"/>
                <a:gd name="connsiteX4566" fmla="*/ 700271 w 12192001"/>
                <a:gd name="connsiteY4566" fmla="*/ 6509761 h 6523037"/>
                <a:gd name="connsiteX4567" fmla="*/ 698928 w 12192001"/>
                <a:gd name="connsiteY4567" fmla="*/ 6509116 h 6523037"/>
                <a:gd name="connsiteX4568" fmla="*/ 433407 w 12192001"/>
                <a:gd name="connsiteY4568" fmla="*/ 6244295 h 6523037"/>
                <a:gd name="connsiteX4569" fmla="*/ 169284 w 12192001"/>
                <a:gd name="connsiteY4569" fmla="*/ 6244295 h 6523037"/>
                <a:gd name="connsiteX4570" fmla="*/ 170681 w 12192001"/>
                <a:gd name="connsiteY4570" fmla="*/ 6245691 h 6523037"/>
                <a:gd name="connsiteX4571" fmla="*/ 439696 w 12192001"/>
                <a:gd name="connsiteY4571" fmla="*/ 6514707 h 6523037"/>
                <a:gd name="connsiteX4572" fmla="*/ 431344 w 12192001"/>
                <a:gd name="connsiteY4572" fmla="*/ 6523037 h 6523037"/>
                <a:gd name="connsiteX4573" fmla="*/ 420908 w 12192001"/>
                <a:gd name="connsiteY4573" fmla="*/ 6523037 h 6523037"/>
                <a:gd name="connsiteX4574" fmla="*/ 425721 w 12192001"/>
                <a:gd name="connsiteY4574" fmla="*/ 6518200 h 6523037"/>
                <a:gd name="connsiteX4575" fmla="*/ 161597 w 12192001"/>
                <a:gd name="connsiteY4575" fmla="*/ 6518200 h 6523037"/>
                <a:gd name="connsiteX4576" fmla="*/ 156781 w 12192001"/>
                <a:gd name="connsiteY4576" fmla="*/ 6523037 h 6523037"/>
                <a:gd name="connsiteX4577" fmla="*/ 146978 w 12192001"/>
                <a:gd name="connsiteY4577" fmla="*/ 6523037 h 6523037"/>
                <a:gd name="connsiteX4578" fmla="*/ 155309 w 12192001"/>
                <a:gd name="connsiteY4578" fmla="*/ 6514707 h 6523037"/>
                <a:gd name="connsiteX4579" fmla="*/ 21150 w 12192001"/>
                <a:gd name="connsiteY4579" fmla="*/ 6381247 h 6523037"/>
                <a:gd name="connsiteX4580" fmla="*/ 5080 w 12192001"/>
                <a:gd name="connsiteY4580" fmla="*/ 6365176 h 6523037"/>
                <a:gd name="connsiteX4581" fmla="*/ 5080 w 12192001"/>
                <a:gd name="connsiteY4581" fmla="*/ 6355394 h 6523037"/>
                <a:gd name="connsiteX4582" fmla="*/ 24645 w 12192001"/>
                <a:gd name="connsiteY4582" fmla="*/ 6374959 h 6523037"/>
                <a:gd name="connsiteX4583" fmla="*/ 161597 w 12192001"/>
                <a:gd name="connsiteY4583" fmla="*/ 6511212 h 6523037"/>
                <a:gd name="connsiteX4584" fmla="*/ 425721 w 12192001"/>
                <a:gd name="connsiteY4584" fmla="*/ 6511212 h 6523037"/>
                <a:gd name="connsiteX4585" fmla="*/ 154610 w 12192001"/>
                <a:gd name="connsiteY4585" fmla="*/ 6240800 h 6523037"/>
                <a:gd name="connsiteX4586" fmla="*/ 156008 w 12192001"/>
                <a:gd name="connsiteY4586" fmla="*/ 6239403 h 6523037"/>
                <a:gd name="connsiteX4587" fmla="*/ 156706 w 12192001"/>
                <a:gd name="connsiteY4587" fmla="*/ 6239403 h 6523037"/>
                <a:gd name="connsiteX4588" fmla="*/ 425022 w 12192001"/>
                <a:gd name="connsiteY4588" fmla="*/ 5970389 h 6523037"/>
                <a:gd name="connsiteX4589" fmla="*/ 161597 w 12192001"/>
                <a:gd name="connsiteY4589" fmla="*/ 5970389 h 6523037"/>
                <a:gd name="connsiteX4590" fmla="*/ 5080 w 12192001"/>
                <a:gd name="connsiteY4590" fmla="*/ 6126906 h 6523037"/>
                <a:gd name="connsiteX4591" fmla="*/ 5080 w 12192001"/>
                <a:gd name="connsiteY4591" fmla="*/ 6116425 h 6523037"/>
                <a:gd name="connsiteX4592" fmla="*/ 154610 w 12192001"/>
                <a:gd name="connsiteY4592" fmla="*/ 5966894 h 6523037"/>
                <a:gd name="connsiteX4593" fmla="*/ 5080 w 12192001"/>
                <a:gd name="connsiteY4593" fmla="*/ 5817364 h 6523037"/>
                <a:gd name="connsiteX4594" fmla="*/ 5080 w 12192001"/>
                <a:gd name="connsiteY4594" fmla="*/ 5806884 h 6523037"/>
                <a:gd name="connsiteX4595" fmla="*/ 161597 w 12192001"/>
                <a:gd name="connsiteY4595" fmla="*/ 5962702 h 6523037"/>
                <a:gd name="connsiteX4596" fmla="*/ 425022 w 12192001"/>
                <a:gd name="connsiteY4596" fmla="*/ 5962702 h 6523037"/>
                <a:gd name="connsiteX4597" fmla="*/ 295057 w 12192001"/>
                <a:gd name="connsiteY4597" fmla="*/ 5832737 h 6523037"/>
                <a:gd name="connsiteX4598" fmla="*/ 154610 w 12192001"/>
                <a:gd name="connsiteY4598" fmla="*/ 5692290 h 6523037"/>
                <a:gd name="connsiteX4599" fmla="*/ 425022 w 12192001"/>
                <a:gd name="connsiteY4599" fmla="*/ 5421878 h 6523037"/>
                <a:gd name="connsiteX4600" fmla="*/ 160898 w 12192001"/>
                <a:gd name="connsiteY4600" fmla="*/ 5421878 h 6523037"/>
                <a:gd name="connsiteX4601" fmla="*/ 5080 w 12192001"/>
                <a:gd name="connsiteY4601" fmla="*/ 5577697 h 6523037"/>
                <a:gd name="connsiteX4602" fmla="*/ 5080 w 12192001"/>
                <a:gd name="connsiteY4602" fmla="*/ 5567216 h 6523037"/>
                <a:gd name="connsiteX4603" fmla="*/ 153911 w 12192001"/>
                <a:gd name="connsiteY4603" fmla="*/ 5418385 h 6523037"/>
                <a:gd name="connsiteX4604" fmla="*/ 5080 w 12192001"/>
                <a:gd name="connsiteY4604" fmla="*/ 5269553 h 6523037"/>
                <a:gd name="connsiteX4605" fmla="*/ 5080 w 12192001"/>
                <a:gd name="connsiteY4605" fmla="*/ 5259072 h 6523037"/>
                <a:gd name="connsiteX4606" fmla="*/ 160898 w 12192001"/>
                <a:gd name="connsiteY4606" fmla="*/ 5414192 h 6523037"/>
                <a:gd name="connsiteX4607" fmla="*/ 425022 w 12192001"/>
                <a:gd name="connsiteY4607" fmla="*/ 5414192 h 6523037"/>
                <a:gd name="connsiteX4608" fmla="*/ 153911 w 12192001"/>
                <a:gd name="connsiteY4608" fmla="*/ 5143780 h 6523037"/>
                <a:gd name="connsiteX4609" fmla="*/ 338378 w 12192001"/>
                <a:gd name="connsiteY4609" fmla="*/ 4959313 h 6523037"/>
                <a:gd name="connsiteX4610" fmla="*/ 424323 w 12192001"/>
                <a:gd name="connsiteY4610" fmla="*/ 4873368 h 6523037"/>
                <a:gd name="connsiteX4611" fmla="*/ 160200 w 12192001"/>
                <a:gd name="connsiteY4611" fmla="*/ 4873368 h 6523037"/>
                <a:gd name="connsiteX4612" fmla="*/ 5080 w 12192001"/>
                <a:gd name="connsiteY4612" fmla="*/ 5028489 h 6523037"/>
                <a:gd name="connsiteX4613" fmla="*/ 5080 w 12192001"/>
                <a:gd name="connsiteY4613" fmla="*/ 5018007 h 6523037"/>
                <a:gd name="connsiteX4614" fmla="*/ 153212 w 12192001"/>
                <a:gd name="connsiteY4614" fmla="*/ 4869176 h 6523037"/>
                <a:gd name="connsiteX4615" fmla="*/ 148321 w 12192001"/>
                <a:gd name="connsiteY4615" fmla="*/ 4864285 h 6523037"/>
                <a:gd name="connsiteX4616" fmla="*/ 5080 w 12192001"/>
                <a:gd name="connsiteY4616" fmla="*/ 4721741 h 6523037"/>
                <a:gd name="connsiteX4617" fmla="*/ 5080 w 12192001"/>
                <a:gd name="connsiteY4617" fmla="*/ 4711960 h 6523037"/>
                <a:gd name="connsiteX4618" fmla="*/ 160200 w 12192001"/>
                <a:gd name="connsiteY4618" fmla="*/ 4866380 h 6523037"/>
                <a:gd name="connsiteX4619" fmla="*/ 424323 w 12192001"/>
                <a:gd name="connsiteY4619" fmla="*/ 4865683 h 6523037"/>
                <a:gd name="connsiteX4620" fmla="*/ 153212 w 12192001"/>
                <a:gd name="connsiteY4620" fmla="*/ 4595271 h 6523037"/>
                <a:gd name="connsiteX4621" fmla="*/ 423624 w 12192001"/>
                <a:gd name="connsiteY4621" fmla="*/ 4324859 h 6523037"/>
                <a:gd name="connsiteX4622" fmla="*/ 159501 w 12192001"/>
                <a:gd name="connsiteY4622" fmla="*/ 4324859 h 6523037"/>
                <a:gd name="connsiteX4623" fmla="*/ 5080 w 12192001"/>
                <a:gd name="connsiteY4623" fmla="*/ 4479279 h 6523037"/>
                <a:gd name="connsiteX4624" fmla="*/ 5080 w 12192001"/>
                <a:gd name="connsiteY4624" fmla="*/ 4468799 h 6523037"/>
                <a:gd name="connsiteX4625" fmla="*/ 152513 w 12192001"/>
                <a:gd name="connsiteY4625" fmla="*/ 4320665 h 6523037"/>
                <a:gd name="connsiteX4626" fmla="*/ 5080 w 12192001"/>
                <a:gd name="connsiteY4626" fmla="*/ 4173930 h 6523037"/>
                <a:gd name="connsiteX4627" fmla="*/ 5080 w 12192001"/>
                <a:gd name="connsiteY4627" fmla="*/ 4163449 h 6523037"/>
                <a:gd name="connsiteX4628" fmla="*/ 159501 w 12192001"/>
                <a:gd name="connsiteY4628" fmla="*/ 4317172 h 6523037"/>
                <a:gd name="connsiteX4629" fmla="*/ 423624 w 12192001"/>
                <a:gd name="connsiteY4629" fmla="*/ 4317172 h 6523037"/>
                <a:gd name="connsiteX4630" fmla="*/ 152513 w 12192001"/>
                <a:gd name="connsiteY4630" fmla="*/ 4047459 h 6523037"/>
                <a:gd name="connsiteX4631" fmla="*/ 331391 w 12192001"/>
                <a:gd name="connsiteY4631" fmla="*/ 3868581 h 6523037"/>
                <a:gd name="connsiteX4632" fmla="*/ 331489 w 12192001"/>
                <a:gd name="connsiteY4632" fmla="*/ 3868581 h 6523037"/>
                <a:gd name="connsiteX4633" fmla="*/ 422038 w 12192001"/>
                <a:gd name="connsiteY4633" fmla="*/ 3777797 h 6523037"/>
                <a:gd name="connsiteX4634" fmla="*/ 225692 w 12192001"/>
                <a:gd name="connsiteY4634" fmla="*/ 3777797 h 6523037"/>
                <a:gd name="connsiteX4635" fmla="*/ 226391 w 12192001"/>
                <a:gd name="connsiteY4635" fmla="*/ 3776401 h 6523037"/>
                <a:gd name="connsiteX4636" fmla="*/ 158613 w 12192001"/>
                <a:gd name="connsiteY4636" fmla="*/ 3776401 h 6523037"/>
                <a:gd name="connsiteX4637" fmla="*/ 0 w 12192001"/>
                <a:gd name="connsiteY4637" fmla="*/ 3935012 h 6523037"/>
                <a:gd name="connsiteX4638" fmla="*/ 0 w 12192001"/>
                <a:gd name="connsiteY4638" fmla="*/ 3925231 h 6523037"/>
                <a:gd name="connsiteX4639" fmla="*/ 152324 w 12192001"/>
                <a:gd name="connsiteY4639" fmla="*/ 3772906 h 6523037"/>
                <a:gd name="connsiteX4640" fmla="*/ 0 w 12192001"/>
                <a:gd name="connsiteY4640" fmla="*/ 3621281 h 6523037"/>
                <a:gd name="connsiteX4641" fmla="*/ 0 w 12192001"/>
                <a:gd name="connsiteY4641" fmla="*/ 3610800 h 6523037"/>
                <a:gd name="connsiteX4642" fmla="*/ 159312 w 12192001"/>
                <a:gd name="connsiteY4642" fmla="*/ 3768713 h 6523037"/>
                <a:gd name="connsiteX4643" fmla="*/ 423435 w 12192001"/>
                <a:gd name="connsiteY4643" fmla="*/ 3768713 h 6523037"/>
                <a:gd name="connsiteX4644" fmla="*/ 294168 w 12192001"/>
                <a:gd name="connsiteY4644" fmla="*/ 3640146 h 6523037"/>
                <a:gd name="connsiteX4645" fmla="*/ 152324 w 12192001"/>
                <a:gd name="connsiteY4645" fmla="*/ 3499001 h 6523037"/>
                <a:gd name="connsiteX4646" fmla="*/ 336093 w 12192001"/>
                <a:gd name="connsiteY4646" fmla="*/ 3313835 h 6523037"/>
                <a:gd name="connsiteX4647" fmla="*/ 422038 w 12192001"/>
                <a:gd name="connsiteY4647" fmla="*/ 3227890 h 6523037"/>
                <a:gd name="connsiteX4648" fmla="*/ 157914 w 12192001"/>
                <a:gd name="connsiteY4648" fmla="*/ 3227890 h 6523037"/>
                <a:gd name="connsiteX4649" fmla="*/ 0 w 12192001"/>
                <a:gd name="connsiteY4649" fmla="*/ 3386503 h 6523037"/>
                <a:gd name="connsiteX4650" fmla="*/ 0 w 12192001"/>
                <a:gd name="connsiteY4650" fmla="*/ 3376021 h 6523037"/>
                <a:gd name="connsiteX4651" fmla="*/ 152324 w 12192001"/>
                <a:gd name="connsiteY4651" fmla="*/ 3224396 h 6523037"/>
                <a:gd name="connsiteX4652" fmla="*/ 146735 w 12192001"/>
                <a:gd name="connsiteY4652" fmla="*/ 3219505 h 6523037"/>
                <a:gd name="connsiteX4653" fmla="*/ 0 w 12192001"/>
                <a:gd name="connsiteY4653" fmla="*/ 3073469 h 6523037"/>
                <a:gd name="connsiteX4654" fmla="*/ 0 w 12192001"/>
                <a:gd name="connsiteY4654" fmla="*/ 3062989 h 6523037"/>
                <a:gd name="connsiteX4655" fmla="*/ 157914 w 12192001"/>
                <a:gd name="connsiteY4655" fmla="*/ 3220903 h 6523037"/>
                <a:gd name="connsiteX4656" fmla="*/ 422038 w 12192001"/>
                <a:gd name="connsiteY4656" fmla="*/ 3220903 h 6523037"/>
                <a:gd name="connsiteX4657" fmla="*/ 150927 w 12192001"/>
                <a:gd name="connsiteY4657" fmla="*/ 2950491 h 6523037"/>
                <a:gd name="connsiteX4658" fmla="*/ 421339 w 12192001"/>
                <a:gd name="connsiteY4658" fmla="*/ 2679380 h 6523037"/>
                <a:gd name="connsiteX4659" fmla="*/ 157215 w 12192001"/>
                <a:gd name="connsiteY4659" fmla="*/ 2679380 h 6523037"/>
                <a:gd name="connsiteX4660" fmla="*/ 0 w 12192001"/>
                <a:gd name="connsiteY4660" fmla="*/ 2837294 h 6523037"/>
                <a:gd name="connsiteX4661" fmla="*/ 0 w 12192001"/>
                <a:gd name="connsiteY4661" fmla="*/ 2826812 h 6523037"/>
                <a:gd name="connsiteX4662" fmla="*/ 150927 w 12192001"/>
                <a:gd name="connsiteY4662" fmla="*/ 2675886 h 6523037"/>
                <a:gd name="connsiteX4663" fmla="*/ 0 w 12192001"/>
                <a:gd name="connsiteY4663" fmla="*/ 2525658 h 6523037"/>
                <a:gd name="connsiteX4664" fmla="*/ 0 w 12192001"/>
                <a:gd name="connsiteY4664" fmla="*/ 2515876 h 6523037"/>
                <a:gd name="connsiteX4665" fmla="*/ 157914 w 12192001"/>
                <a:gd name="connsiteY4665" fmla="*/ 2672393 h 6523037"/>
                <a:gd name="connsiteX4666" fmla="*/ 422038 w 12192001"/>
                <a:gd name="connsiteY4666" fmla="*/ 2672393 h 6523037"/>
                <a:gd name="connsiteX4667" fmla="*/ 150927 w 12192001"/>
                <a:gd name="connsiteY4667" fmla="*/ 2401981 h 6523037"/>
                <a:gd name="connsiteX4668" fmla="*/ 420640 w 12192001"/>
                <a:gd name="connsiteY4668" fmla="*/ 2130870 h 6523037"/>
                <a:gd name="connsiteX4669" fmla="*/ 156517 w 12192001"/>
                <a:gd name="connsiteY4669" fmla="*/ 2130870 h 6523037"/>
                <a:gd name="connsiteX4670" fmla="*/ 0 w 12192001"/>
                <a:gd name="connsiteY4670" fmla="*/ 2288085 h 6523037"/>
                <a:gd name="connsiteX4671" fmla="*/ 0 w 12192001"/>
                <a:gd name="connsiteY4671" fmla="*/ 2277604 h 6523037"/>
                <a:gd name="connsiteX4672" fmla="*/ 150228 w 12192001"/>
                <a:gd name="connsiteY4672" fmla="*/ 2127376 h 6523037"/>
                <a:gd name="connsiteX4673" fmla="*/ 16070 w 12192001"/>
                <a:gd name="connsiteY4673" fmla="*/ 1993917 h 6523037"/>
                <a:gd name="connsiteX4674" fmla="*/ 0 w 12192001"/>
                <a:gd name="connsiteY4674" fmla="*/ 1977846 h 6523037"/>
                <a:gd name="connsiteX4675" fmla="*/ 0 w 12192001"/>
                <a:gd name="connsiteY4675" fmla="*/ 1968064 h 6523037"/>
                <a:gd name="connsiteX4676" fmla="*/ 19564 w 12192001"/>
                <a:gd name="connsiteY4676" fmla="*/ 1987628 h 6523037"/>
                <a:gd name="connsiteX4677" fmla="*/ 156517 w 12192001"/>
                <a:gd name="connsiteY4677" fmla="*/ 2123882 h 6523037"/>
                <a:gd name="connsiteX4678" fmla="*/ 420640 w 12192001"/>
                <a:gd name="connsiteY4678" fmla="*/ 2123882 h 6523037"/>
                <a:gd name="connsiteX4679" fmla="*/ 149529 w 12192001"/>
                <a:gd name="connsiteY4679" fmla="*/ 1853470 h 6523037"/>
                <a:gd name="connsiteX4680" fmla="*/ 150927 w 12192001"/>
                <a:gd name="connsiteY4680" fmla="*/ 1852072 h 6523037"/>
                <a:gd name="connsiteX4681" fmla="*/ 151626 w 12192001"/>
                <a:gd name="connsiteY4681" fmla="*/ 1852072 h 6523037"/>
                <a:gd name="connsiteX4682" fmla="*/ 419941 w 12192001"/>
                <a:gd name="connsiteY4682" fmla="*/ 1583058 h 6523037"/>
                <a:gd name="connsiteX4683" fmla="*/ 156517 w 12192001"/>
                <a:gd name="connsiteY4683" fmla="*/ 1583058 h 6523037"/>
                <a:gd name="connsiteX4684" fmla="*/ 0 w 12192001"/>
                <a:gd name="connsiteY4684" fmla="*/ 1739574 h 6523037"/>
                <a:gd name="connsiteX4685" fmla="*/ 0 w 12192001"/>
                <a:gd name="connsiteY4685" fmla="*/ 1729094 h 6523037"/>
                <a:gd name="connsiteX4686" fmla="*/ 149529 w 12192001"/>
                <a:gd name="connsiteY4686" fmla="*/ 1579564 h 6523037"/>
                <a:gd name="connsiteX4687" fmla="*/ 0 w 12192001"/>
                <a:gd name="connsiteY4687" fmla="*/ 1430035 h 6523037"/>
                <a:gd name="connsiteX4688" fmla="*/ 0 w 12192001"/>
                <a:gd name="connsiteY4688" fmla="*/ 1419554 h 6523037"/>
                <a:gd name="connsiteX4689" fmla="*/ 156517 w 12192001"/>
                <a:gd name="connsiteY4689" fmla="*/ 1575372 h 6523037"/>
                <a:gd name="connsiteX4690" fmla="*/ 419941 w 12192001"/>
                <a:gd name="connsiteY4690" fmla="*/ 1575372 h 6523037"/>
                <a:gd name="connsiteX4691" fmla="*/ 289976 w 12192001"/>
                <a:gd name="connsiteY4691" fmla="*/ 1445407 h 6523037"/>
                <a:gd name="connsiteX4692" fmla="*/ 149529 w 12192001"/>
                <a:gd name="connsiteY4692" fmla="*/ 1304960 h 6523037"/>
                <a:gd name="connsiteX4693" fmla="*/ 419941 w 12192001"/>
                <a:gd name="connsiteY4693" fmla="*/ 1034548 h 6523037"/>
                <a:gd name="connsiteX4694" fmla="*/ 155818 w 12192001"/>
                <a:gd name="connsiteY4694" fmla="*/ 1034548 h 6523037"/>
                <a:gd name="connsiteX4695" fmla="*/ 0 w 12192001"/>
                <a:gd name="connsiteY4695" fmla="*/ 1190365 h 6523037"/>
                <a:gd name="connsiteX4696" fmla="*/ 0 w 12192001"/>
                <a:gd name="connsiteY4696" fmla="*/ 1179885 h 6523037"/>
                <a:gd name="connsiteX4697" fmla="*/ 148830 w 12192001"/>
                <a:gd name="connsiteY4697" fmla="*/ 1031055 h 6523037"/>
                <a:gd name="connsiteX4698" fmla="*/ 0 w 12192001"/>
                <a:gd name="connsiteY4698" fmla="*/ 882223 h 6523037"/>
                <a:gd name="connsiteX4699" fmla="*/ 0 w 12192001"/>
                <a:gd name="connsiteY4699" fmla="*/ 871743 h 6523037"/>
                <a:gd name="connsiteX4700" fmla="*/ 155818 w 12192001"/>
                <a:gd name="connsiteY4700" fmla="*/ 1026861 h 6523037"/>
                <a:gd name="connsiteX4701" fmla="*/ 419941 w 12192001"/>
                <a:gd name="connsiteY4701" fmla="*/ 1026861 h 6523037"/>
                <a:gd name="connsiteX4702" fmla="*/ 148830 w 12192001"/>
                <a:gd name="connsiteY4702" fmla="*/ 756449 h 6523037"/>
                <a:gd name="connsiteX4703" fmla="*/ 333298 w 12192001"/>
                <a:gd name="connsiteY4703" fmla="*/ 571983 h 6523037"/>
                <a:gd name="connsiteX4704" fmla="*/ 419242 w 12192001"/>
                <a:gd name="connsiteY4704" fmla="*/ 486037 h 6523037"/>
                <a:gd name="connsiteX4705" fmla="*/ 155119 w 12192001"/>
                <a:gd name="connsiteY4705" fmla="*/ 486037 h 6523037"/>
                <a:gd name="connsiteX4706" fmla="*/ 0 w 12192001"/>
                <a:gd name="connsiteY4706" fmla="*/ 641157 h 6523037"/>
                <a:gd name="connsiteX4707" fmla="*/ 0 w 12192001"/>
                <a:gd name="connsiteY4707" fmla="*/ 630675 h 6523037"/>
                <a:gd name="connsiteX4708" fmla="*/ 148131 w 12192001"/>
                <a:gd name="connsiteY4708" fmla="*/ 481845 h 6523037"/>
                <a:gd name="connsiteX4709" fmla="*/ 143240 w 12192001"/>
                <a:gd name="connsiteY4709" fmla="*/ 476954 h 6523037"/>
                <a:gd name="connsiteX4710" fmla="*/ 0 w 12192001"/>
                <a:gd name="connsiteY4710" fmla="*/ 334412 h 6523037"/>
                <a:gd name="connsiteX4711" fmla="*/ 0 w 12192001"/>
                <a:gd name="connsiteY4711" fmla="*/ 324630 h 6523037"/>
                <a:gd name="connsiteX4712" fmla="*/ 155119 w 12192001"/>
                <a:gd name="connsiteY4712" fmla="*/ 479050 h 6523037"/>
                <a:gd name="connsiteX4713" fmla="*/ 419242 w 12192001"/>
                <a:gd name="connsiteY4713" fmla="*/ 478352 h 6523037"/>
                <a:gd name="connsiteX4714" fmla="*/ 148131 w 12192001"/>
                <a:gd name="connsiteY4714" fmla="*/ 207940 h 6523037"/>
                <a:gd name="connsiteX4715" fmla="*/ 348134 w 12192001"/>
                <a:gd name="connsiteY4715" fmla="*/ 7937 h 6523037"/>
                <a:gd name="connsiteX4716" fmla="*/ 358615 w 12192001"/>
                <a:gd name="connsiteY4716" fmla="*/ 7937 h 6523037"/>
                <a:gd name="connsiteX4717" fmla="*/ 162106 w 12192001"/>
                <a:gd name="connsiteY4717" fmla="*/ 204446 h 6523037"/>
                <a:gd name="connsiteX4718" fmla="*/ 426230 w 12192001"/>
                <a:gd name="connsiteY4718" fmla="*/ 204446 h 6523037"/>
                <a:gd name="connsiteX4719" fmla="*/ 622232 w 12192001"/>
                <a:gd name="connsiteY4719" fmla="*/ 7937 h 6523037"/>
                <a:gd name="connsiteX4720" fmla="*/ 632006 w 12192001"/>
                <a:gd name="connsiteY4720" fmla="*/ 7937 h 6523037"/>
                <a:gd name="connsiteX4721" fmla="*/ 432518 w 12192001"/>
                <a:gd name="connsiteY4721" fmla="*/ 207940 h 6523037"/>
                <a:gd name="connsiteX4722" fmla="*/ 704328 w 12192001"/>
                <a:gd name="connsiteY4722" fmla="*/ 478352 h 6523037"/>
                <a:gd name="connsiteX4723" fmla="*/ 967752 w 12192001"/>
                <a:gd name="connsiteY4723" fmla="*/ 478352 h 6523037"/>
                <a:gd name="connsiteX4724" fmla="*/ 837089 w 12192001"/>
                <a:gd name="connsiteY4724" fmla="*/ 348386 h 6523037"/>
                <a:gd name="connsiteX4725" fmla="*/ 696642 w 12192001"/>
                <a:gd name="connsiteY4725" fmla="*/ 207940 h 6523037"/>
                <a:gd name="connsiteX4726" fmla="*/ 896129 w 12192001"/>
                <a:gd name="connsiteY4726" fmla="*/ 7937 h 6523037"/>
                <a:gd name="connsiteX4727" fmla="*/ 907318 w 12192001"/>
                <a:gd name="connsiteY4727" fmla="*/ 7937 h 6523037"/>
                <a:gd name="connsiteX4728" fmla="*/ 711316 w 12192001"/>
                <a:gd name="connsiteY4728" fmla="*/ 204446 h 6523037"/>
                <a:gd name="connsiteX4729" fmla="*/ 974740 w 12192001"/>
                <a:gd name="connsiteY4729" fmla="*/ 204446 h 6523037"/>
                <a:gd name="connsiteX4730" fmla="*/ 1170742 w 12192001"/>
                <a:gd name="connsiteY4730" fmla="*/ 7937 h 6523037"/>
                <a:gd name="connsiteX4731" fmla="*/ 1179819 w 12192001"/>
                <a:gd name="connsiteY4731" fmla="*/ 7937 h 6523037"/>
                <a:gd name="connsiteX4732" fmla="*/ 981029 w 12192001"/>
                <a:gd name="connsiteY4732" fmla="*/ 207241 h 6523037"/>
                <a:gd name="connsiteX4733" fmla="*/ 1252140 w 12192001"/>
                <a:gd name="connsiteY4733" fmla="*/ 477653 h 6523037"/>
                <a:gd name="connsiteX4734" fmla="*/ 1516263 w 12192001"/>
                <a:gd name="connsiteY4734" fmla="*/ 477653 h 6523037"/>
                <a:gd name="connsiteX4735" fmla="*/ 1245152 w 12192001"/>
                <a:gd name="connsiteY4735" fmla="*/ 207241 h 6523037"/>
                <a:gd name="connsiteX4736" fmla="*/ 1443942 w 12192001"/>
                <a:gd name="connsiteY4736" fmla="*/ 7937 h 6523037"/>
                <a:gd name="connsiteX4737" fmla="*/ 1453410 w 12192001"/>
                <a:gd name="connsiteY4737" fmla="*/ 7937 h 6523037"/>
                <a:gd name="connsiteX4738" fmla="*/ 1436607 w 12192001"/>
                <a:gd name="connsiteY4738" fmla="*/ 24870 h 6523037"/>
                <a:gd name="connsiteX4739" fmla="*/ 1435908 w 12192001"/>
                <a:gd name="connsiteY4739" fmla="*/ 24870 h 6523037"/>
                <a:gd name="connsiteX4740" fmla="*/ 1258428 w 12192001"/>
                <a:gd name="connsiteY4740" fmla="*/ 203048 h 6523037"/>
                <a:gd name="connsiteX4741" fmla="*/ 1522551 w 12192001"/>
                <a:gd name="connsiteY4741" fmla="*/ 203048 h 6523037"/>
                <a:gd name="connsiteX4742" fmla="*/ 1717663 w 12192001"/>
                <a:gd name="connsiteY4742" fmla="*/ 7937 h 6523037"/>
                <a:gd name="connsiteX4743" fmla="*/ 1728424 w 12192001"/>
                <a:gd name="connsiteY4743" fmla="*/ 7937 h 6523037"/>
                <a:gd name="connsiteX4744" fmla="*/ 1620376 w 12192001"/>
                <a:gd name="connsiteY4744" fmla="*/ 116405 h 6523037"/>
                <a:gd name="connsiteX4745" fmla="*/ 1619677 w 12192001"/>
                <a:gd name="connsiteY4745" fmla="*/ 116405 h 6523037"/>
                <a:gd name="connsiteX4746" fmla="*/ 1529539 w 12192001"/>
                <a:gd name="connsiteY4746" fmla="*/ 206542 h 6523037"/>
                <a:gd name="connsiteX4747" fmla="*/ 1799951 w 12192001"/>
                <a:gd name="connsiteY4747" fmla="*/ 477653 h 6523037"/>
                <a:gd name="connsiteX4748" fmla="*/ 2064074 w 12192001"/>
                <a:gd name="connsiteY4748" fmla="*/ 477653 h 6523037"/>
                <a:gd name="connsiteX4749" fmla="*/ 1792964 w 12192001"/>
                <a:gd name="connsiteY4749" fmla="*/ 207241 h 6523037"/>
                <a:gd name="connsiteX4750" fmla="*/ 1977431 w 12192001"/>
                <a:gd name="connsiteY4750" fmla="*/ 22774 h 6523037"/>
                <a:gd name="connsiteX4751" fmla="*/ 1978130 w 12192001"/>
                <a:gd name="connsiteY4751" fmla="*/ 22774 h 6523037"/>
                <a:gd name="connsiteX4752" fmla="*/ 1992847 w 12192001"/>
                <a:gd name="connsiteY4752" fmla="*/ 7937 h 6523037"/>
                <a:gd name="connsiteX4753" fmla="*/ 2002247 w 12192001"/>
                <a:gd name="connsiteY4753" fmla="*/ 7937 h 6523037"/>
                <a:gd name="connsiteX4754" fmla="*/ 1808336 w 12192001"/>
                <a:gd name="connsiteY4754" fmla="*/ 202349 h 6523037"/>
                <a:gd name="connsiteX4755" fmla="*/ 2071761 w 12192001"/>
                <a:gd name="connsiteY4755" fmla="*/ 202349 h 6523037"/>
                <a:gd name="connsiteX4756" fmla="*/ 2266173 w 12192001"/>
                <a:gd name="connsiteY4756" fmla="*/ 7937 h 6523037"/>
                <a:gd name="connsiteX4757" fmla="*/ 2277539 w 12192001"/>
                <a:gd name="connsiteY4757" fmla="*/ 7937 h 6523037"/>
                <a:gd name="connsiteX4758" fmla="*/ 2078748 w 12192001"/>
                <a:gd name="connsiteY4758" fmla="*/ 207241 h 6523037"/>
                <a:gd name="connsiteX4759" fmla="*/ 2348461 w 12192001"/>
                <a:gd name="connsiteY4759" fmla="*/ 476256 h 6523037"/>
                <a:gd name="connsiteX4760" fmla="*/ 2611886 w 12192001"/>
                <a:gd name="connsiteY4760" fmla="*/ 476256 h 6523037"/>
                <a:gd name="connsiteX4761" fmla="*/ 2342872 w 12192001"/>
                <a:gd name="connsiteY4761" fmla="*/ 207241 h 6523037"/>
                <a:gd name="connsiteX4762" fmla="*/ 2343570 w 12192001"/>
                <a:gd name="connsiteY4762" fmla="*/ 206542 h 6523037"/>
                <a:gd name="connsiteX4763" fmla="*/ 2342173 w 12192001"/>
                <a:gd name="connsiteY4763" fmla="*/ 205145 h 6523037"/>
                <a:gd name="connsiteX4764" fmla="*/ 2538868 w 12192001"/>
                <a:gd name="connsiteY4764" fmla="*/ 7937 h 6523037"/>
                <a:gd name="connsiteX4765" fmla="*/ 2552152 w 12192001"/>
                <a:gd name="connsiteY4765" fmla="*/ 7937 h 6523037"/>
                <a:gd name="connsiteX4766" fmla="*/ 2358243 w 12192001"/>
                <a:gd name="connsiteY4766" fmla="*/ 202349 h 6523037"/>
                <a:gd name="connsiteX4767" fmla="*/ 2620271 w 12192001"/>
                <a:gd name="connsiteY4767" fmla="*/ 202349 h 6523037"/>
                <a:gd name="connsiteX4768" fmla="*/ 2814181 w 12192001"/>
                <a:gd name="connsiteY4768" fmla="*/ 7937 h 6523037"/>
                <a:gd name="connsiteX4769" fmla="*/ 2825540 w 12192001"/>
                <a:gd name="connsiteY4769" fmla="*/ 7937 h 6523037"/>
                <a:gd name="connsiteX4770" fmla="*/ 2628655 w 12192001"/>
                <a:gd name="connsiteY4770" fmla="*/ 205843 h 6523037"/>
                <a:gd name="connsiteX4771" fmla="*/ 2898368 w 12192001"/>
                <a:gd name="connsiteY4771" fmla="*/ 474858 h 6523037"/>
                <a:gd name="connsiteX4772" fmla="*/ 3163191 w 12192001"/>
                <a:gd name="connsiteY4772" fmla="*/ 476256 h 6523037"/>
                <a:gd name="connsiteX4773" fmla="*/ 2892081 w 12192001"/>
                <a:gd name="connsiteY4773" fmla="*/ 205843 h 6523037"/>
                <a:gd name="connsiteX4774" fmla="*/ 2890683 w 12192001"/>
                <a:gd name="connsiteY4774" fmla="*/ 204446 h 6523037"/>
                <a:gd name="connsiteX4775" fmla="*/ 3086683 w 12192001"/>
                <a:gd name="connsiteY4775" fmla="*/ 7937 h 6523037"/>
                <a:gd name="connsiteX4776" fmla="*/ 3097556 w 12192001"/>
                <a:gd name="connsiteY4776" fmla="*/ 7937 h 6523037"/>
                <a:gd name="connsiteX4777" fmla="*/ 3082137 w 12192001"/>
                <a:gd name="connsiteY4777" fmla="*/ 23473 h 6523037"/>
                <a:gd name="connsiteX4778" fmla="*/ 3082836 w 12192001"/>
                <a:gd name="connsiteY4778" fmla="*/ 24172 h 6523037"/>
                <a:gd name="connsiteX4779" fmla="*/ 2906754 w 12192001"/>
                <a:gd name="connsiteY4779" fmla="*/ 200254 h 6523037"/>
                <a:gd name="connsiteX4780" fmla="*/ 3103099 w 12192001"/>
                <a:gd name="connsiteY4780" fmla="*/ 200254 h 6523037"/>
                <a:gd name="connsiteX4781" fmla="*/ 3102401 w 12192001"/>
                <a:gd name="connsiteY4781" fmla="*/ 201651 h 6523037"/>
                <a:gd name="connsiteX4782" fmla="*/ 3168083 w 12192001"/>
                <a:gd name="connsiteY4782" fmla="*/ 201651 h 6523037"/>
                <a:gd name="connsiteX4783" fmla="*/ 3361298 w 12192001"/>
                <a:gd name="connsiteY4783" fmla="*/ 7937 h 6523037"/>
                <a:gd name="connsiteX4784" fmla="*/ 3371863 w 12192001"/>
                <a:gd name="connsiteY4784" fmla="*/ 7937 h 6523037"/>
                <a:gd name="connsiteX4785" fmla="*/ 3264508 w 12192001"/>
                <a:gd name="connsiteY4785" fmla="*/ 115706 h 6523037"/>
                <a:gd name="connsiteX4786" fmla="*/ 3265906 w 12192001"/>
                <a:gd name="connsiteY4786" fmla="*/ 116405 h 6523037"/>
                <a:gd name="connsiteX4787" fmla="*/ 3176467 w 12192001"/>
                <a:gd name="connsiteY4787" fmla="*/ 205843 h 6523037"/>
                <a:gd name="connsiteX4788" fmla="*/ 3446879 w 12192001"/>
                <a:gd name="connsiteY4788" fmla="*/ 475557 h 6523037"/>
                <a:gd name="connsiteX4789" fmla="*/ 3710303 w 12192001"/>
                <a:gd name="connsiteY4789" fmla="*/ 475557 h 6523037"/>
                <a:gd name="connsiteX4790" fmla="*/ 3439891 w 12192001"/>
                <a:gd name="connsiteY4790" fmla="*/ 205843 h 6523037"/>
                <a:gd name="connsiteX4791" fmla="*/ 3439193 w 12192001"/>
                <a:gd name="connsiteY4791" fmla="*/ 205145 h 6523037"/>
                <a:gd name="connsiteX4792" fmla="*/ 3635893 w 12192001"/>
                <a:gd name="connsiteY4792" fmla="*/ 7937 h 6523037"/>
                <a:gd name="connsiteX4793" fmla="*/ 3646183 w 12192001"/>
                <a:gd name="connsiteY4793" fmla="*/ 7937 h 6523037"/>
                <a:gd name="connsiteX4794" fmla="*/ 3453167 w 12192001"/>
                <a:gd name="connsiteY4794" fmla="*/ 200953 h 6523037"/>
                <a:gd name="connsiteX4795" fmla="*/ 3717291 w 12192001"/>
                <a:gd name="connsiteY4795" fmla="*/ 200953 h 6523037"/>
                <a:gd name="connsiteX4796" fmla="*/ 3910306 w 12192001"/>
                <a:gd name="connsiteY4796" fmla="*/ 7937 h 6523037"/>
                <a:gd name="connsiteX4797" fmla="*/ 3919582 w 12192001"/>
                <a:gd name="connsiteY4797" fmla="*/ 7937 h 6523037"/>
                <a:gd name="connsiteX4798" fmla="*/ 3723579 w 12192001"/>
                <a:gd name="connsiteY4798" fmla="*/ 204446 h 6523037"/>
                <a:gd name="connsiteX4799" fmla="*/ 3994690 w 12192001"/>
                <a:gd name="connsiteY4799" fmla="*/ 474858 h 6523037"/>
                <a:gd name="connsiteX4800" fmla="*/ 4258116 w 12192001"/>
                <a:gd name="connsiteY4800" fmla="*/ 474858 h 6523037"/>
                <a:gd name="connsiteX4801" fmla="*/ 4128150 w 12192001"/>
                <a:gd name="connsiteY4801" fmla="*/ 344893 h 6523037"/>
                <a:gd name="connsiteX4802" fmla="*/ 3987703 w 12192001"/>
                <a:gd name="connsiteY4802" fmla="*/ 204446 h 6523037"/>
                <a:gd name="connsiteX4803" fmla="*/ 4183705 w 12192001"/>
                <a:gd name="connsiteY4803" fmla="*/ 7937 h 6523037"/>
                <a:gd name="connsiteX4804" fmla="*/ 4194197 w 12192001"/>
                <a:gd name="connsiteY4804" fmla="*/ 7937 h 6523037"/>
                <a:gd name="connsiteX4805" fmla="*/ 4002377 w 12192001"/>
                <a:gd name="connsiteY4805" fmla="*/ 200254 h 6523037"/>
                <a:gd name="connsiteX4806" fmla="*/ 4265801 w 12192001"/>
                <a:gd name="connsiteY4806" fmla="*/ 200254 h 6523037"/>
                <a:gd name="connsiteX4807" fmla="*/ 4457622 w 12192001"/>
                <a:gd name="connsiteY4807" fmla="*/ 7937 h 6523037"/>
                <a:gd name="connsiteX4808" fmla="*/ 4467396 w 12192001"/>
                <a:gd name="connsiteY4808" fmla="*/ 7937 h 6523037"/>
                <a:gd name="connsiteX4809" fmla="*/ 4272090 w 12192001"/>
                <a:gd name="connsiteY4809" fmla="*/ 203747 h 6523037"/>
                <a:gd name="connsiteX4810" fmla="*/ 4543201 w 12192001"/>
                <a:gd name="connsiteY4810" fmla="*/ 474159 h 6523037"/>
                <a:gd name="connsiteX4811" fmla="*/ 4805314 w 12192001"/>
                <a:gd name="connsiteY4811" fmla="*/ 474159 h 6523037"/>
                <a:gd name="connsiteX4812" fmla="*/ 4803346 w 12192001"/>
                <a:gd name="connsiteY4812" fmla="*/ 472192 h 6523037"/>
                <a:gd name="connsiteX4813" fmla="*/ 4660106 w 12192001"/>
                <a:gd name="connsiteY4813" fmla="*/ 329650 h 6523037"/>
                <a:gd name="connsiteX4814" fmla="*/ 4660106 w 12192001"/>
                <a:gd name="connsiteY4814" fmla="*/ 327321 h 6523037"/>
                <a:gd name="connsiteX4815" fmla="*/ 4536213 w 12192001"/>
                <a:gd name="connsiteY4815" fmla="*/ 203747 h 6523037"/>
                <a:gd name="connsiteX4816" fmla="*/ 4660106 w 12192001"/>
                <a:gd name="connsiteY4816" fmla="*/ 79534 h 6523037"/>
                <a:gd name="connsiteX4817" fmla="*/ 4660106 w 12192001"/>
                <a:gd name="connsiteY4817" fmla="*/ 76705 h 6523037"/>
                <a:gd name="connsiteX4818" fmla="*/ 4733289 w 12192001"/>
                <a:gd name="connsiteY4818" fmla="*/ 3175 h 6523037"/>
                <a:gd name="connsiteX4819" fmla="*/ 4744118 w 12192001"/>
                <a:gd name="connsiteY4819" fmla="*/ 3175 h 6523037"/>
                <a:gd name="connsiteX4820" fmla="*/ 4739355 w 12192001"/>
                <a:gd name="connsiteY4820" fmla="*/ 7937 h 6523037"/>
                <a:gd name="connsiteX4821" fmla="*/ 4741807 w 12192001"/>
                <a:gd name="connsiteY4821" fmla="*/ 7937 h 6523037"/>
                <a:gd name="connsiteX4822" fmla="*/ 4549490 w 12192001"/>
                <a:gd name="connsiteY4822" fmla="*/ 200254 h 6523037"/>
                <a:gd name="connsiteX4823" fmla="*/ 4811162 w 12192001"/>
                <a:gd name="connsiteY4823" fmla="*/ 200254 h 6523037"/>
                <a:gd name="connsiteX4824" fmla="*/ 5008241 w 12192001"/>
                <a:gd name="connsiteY4824" fmla="*/ 3175 h 6523037"/>
                <a:gd name="connsiteX4825" fmla="*/ 5018721 w 12192001"/>
                <a:gd name="connsiteY4825" fmla="*/ 3175 h 6523037"/>
                <a:gd name="connsiteX4826" fmla="*/ 4823396 w 12192001"/>
                <a:gd name="connsiteY4826" fmla="*/ 198500 h 6523037"/>
                <a:gd name="connsiteX4827" fmla="*/ 4823396 w 12192001"/>
                <a:gd name="connsiteY4827" fmla="*/ 199684 h 6523037"/>
                <a:gd name="connsiteX4828" fmla="*/ 5086337 w 12192001"/>
                <a:gd name="connsiteY4828" fmla="*/ 199684 h 6523037"/>
                <a:gd name="connsiteX4829" fmla="*/ 5282338 w 12192001"/>
                <a:gd name="connsiteY4829" fmla="*/ 3175 h 6523037"/>
                <a:gd name="connsiteX4830" fmla="*/ 5292112 w 12192001"/>
                <a:gd name="connsiteY4830" fmla="*/ 3175 h 6523037"/>
                <a:gd name="connsiteX4831" fmla="*/ 5092624 w 12192001"/>
                <a:gd name="connsiteY4831" fmla="*/ 203178 h 6523037"/>
                <a:gd name="connsiteX4832" fmla="*/ 5364435 w 12192001"/>
                <a:gd name="connsiteY4832" fmla="*/ 473590 h 6523037"/>
                <a:gd name="connsiteX4833" fmla="*/ 5627858 w 12192001"/>
                <a:gd name="connsiteY4833" fmla="*/ 473590 h 6523037"/>
                <a:gd name="connsiteX4834" fmla="*/ 5497196 w 12192001"/>
                <a:gd name="connsiteY4834" fmla="*/ 343624 h 6523037"/>
                <a:gd name="connsiteX4835" fmla="*/ 5356748 w 12192001"/>
                <a:gd name="connsiteY4835" fmla="*/ 203178 h 6523037"/>
                <a:gd name="connsiteX4836" fmla="*/ 5556235 w 12192001"/>
                <a:gd name="connsiteY4836" fmla="*/ 3175 h 6523037"/>
                <a:gd name="connsiteX4837" fmla="*/ 5567425 w 12192001"/>
                <a:gd name="connsiteY4837" fmla="*/ 3175 h 6523037"/>
                <a:gd name="connsiteX4838" fmla="*/ 5371422 w 12192001"/>
                <a:gd name="connsiteY4838" fmla="*/ 199684 h 6523037"/>
                <a:gd name="connsiteX4839" fmla="*/ 5634846 w 12192001"/>
                <a:gd name="connsiteY4839" fmla="*/ 199684 h 6523037"/>
                <a:gd name="connsiteX4840" fmla="*/ 5830848 w 12192001"/>
                <a:gd name="connsiteY4840" fmla="*/ 3175 h 6523037"/>
                <a:gd name="connsiteX4841" fmla="*/ 5839925 w 12192001"/>
                <a:gd name="connsiteY4841" fmla="*/ 3175 h 6523037"/>
                <a:gd name="connsiteX4842" fmla="*/ 5641135 w 12192001"/>
                <a:gd name="connsiteY4842" fmla="*/ 202479 h 6523037"/>
                <a:gd name="connsiteX4843" fmla="*/ 5912246 w 12192001"/>
                <a:gd name="connsiteY4843" fmla="*/ 472891 h 6523037"/>
                <a:gd name="connsiteX4844" fmla="*/ 6176369 w 12192001"/>
                <a:gd name="connsiteY4844" fmla="*/ 472891 h 6523037"/>
                <a:gd name="connsiteX4845" fmla="*/ 5905258 w 12192001"/>
                <a:gd name="connsiteY4845" fmla="*/ 202479 h 6523037"/>
                <a:gd name="connsiteX4846" fmla="*/ 6104048 w 12192001"/>
                <a:gd name="connsiteY4846" fmla="*/ 3175 h 6523037"/>
                <a:gd name="connsiteX4847" fmla="*/ 6113517 w 12192001"/>
                <a:gd name="connsiteY4847" fmla="*/ 3175 h 6523037"/>
                <a:gd name="connsiteX4848" fmla="*/ 6096713 w 12192001"/>
                <a:gd name="connsiteY4848" fmla="*/ 20108 h 6523037"/>
                <a:gd name="connsiteX4849" fmla="*/ 6096014 w 12192001"/>
                <a:gd name="connsiteY4849" fmla="*/ 20108 h 6523037"/>
                <a:gd name="connsiteX4850" fmla="*/ 5918534 w 12192001"/>
                <a:gd name="connsiteY4850" fmla="*/ 198286 h 6523037"/>
                <a:gd name="connsiteX4851" fmla="*/ 6182657 w 12192001"/>
                <a:gd name="connsiteY4851" fmla="*/ 198286 h 6523037"/>
                <a:gd name="connsiteX4852" fmla="*/ 6377769 w 12192001"/>
                <a:gd name="connsiteY4852" fmla="*/ 3175 h 6523037"/>
                <a:gd name="connsiteX4853" fmla="*/ 6388531 w 12192001"/>
                <a:gd name="connsiteY4853" fmla="*/ 3175 h 6523037"/>
                <a:gd name="connsiteX4854" fmla="*/ 6280482 w 12192001"/>
                <a:gd name="connsiteY4854" fmla="*/ 111643 h 6523037"/>
                <a:gd name="connsiteX4855" fmla="*/ 6279783 w 12192001"/>
                <a:gd name="connsiteY4855" fmla="*/ 111643 h 6523037"/>
                <a:gd name="connsiteX4856" fmla="*/ 6189645 w 12192001"/>
                <a:gd name="connsiteY4856" fmla="*/ 201780 h 6523037"/>
                <a:gd name="connsiteX4857" fmla="*/ 6460057 w 12192001"/>
                <a:gd name="connsiteY4857" fmla="*/ 472891 h 6523037"/>
                <a:gd name="connsiteX4858" fmla="*/ 6724180 w 12192001"/>
                <a:gd name="connsiteY4858" fmla="*/ 472891 h 6523037"/>
                <a:gd name="connsiteX4859" fmla="*/ 6453070 w 12192001"/>
                <a:gd name="connsiteY4859" fmla="*/ 202479 h 6523037"/>
                <a:gd name="connsiteX4860" fmla="*/ 6637537 w 12192001"/>
                <a:gd name="connsiteY4860" fmla="*/ 18012 h 6523037"/>
                <a:gd name="connsiteX4861" fmla="*/ 6638236 w 12192001"/>
                <a:gd name="connsiteY4861" fmla="*/ 18012 h 6523037"/>
                <a:gd name="connsiteX4862" fmla="*/ 6652953 w 12192001"/>
                <a:gd name="connsiteY4862" fmla="*/ 3175 h 6523037"/>
                <a:gd name="connsiteX4863" fmla="*/ 6662353 w 12192001"/>
                <a:gd name="connsiteY4863" fmla="*/ 3175 h 6523037"/>
                <a:gd name="connsiteX4864" fmla="*/ 6468443 w 12192001"/>
                <a:gd name="connsiteY4864" fmla="*/ 197587 h 6523037"/>
                <a:gd name="connsiteX4865" fmla="*/ 6731868 w 12192001"/>
                <a:gd name="connsiteY4865" fmla="*/ 197587 h 6523037"/>
                <a:gd name="connsiteX4866" fmla="*/ 6926279 w 12192001"/>
                <a:gd name="connsiteY4866" fmla="*/ 3175 h 6523037"/>
                <a:gd name="connsiteX4867" fmla="*/ 6937645 w 12192001"/>
                <a:gd name="connsiteY4867" fmla="*/ 3175 h 6523037"/>
                <a:gd name="connsiteX4868" fmla="*/ 6738854 w 12192001"/>
                <a:gd name="connsiteY4868" fmla="*/ 202479 h 6523037"/>
                <a:gd name="connsiteX4869" fmla="*/ 7008567 w 12192001"/>
                <a:gd name="connsiteY4869" fmla="*/ 471494 h 6523037"/>
                <a:gd name="connsiteX4870" fmla="*/ 7271992 w 12192001"/>
                <a:gd name="connsiteY4870" fmla="*/ 471494 h 6523037"/>
                <a:gd name="connsiteX4871" fmla="*/ 7002979 w 12192001"/>
                <a:gd name="connsiteY4871" fmla="*/ 202479 h 6523037"/>
                <a:gd name="connsiteX4872" fmla="*/ 7003677 w 12192001"/>
                <a:gd name="connsiteY4872" fmla="*/ 201780 h 6523037"/>
                <a:gd name="connsiteX4873" fmla="*/ 7002279 w 12192001"/>
                <a:gd name="connsiteY4873" fmla="*/ 200383 h 6523037"/>
                <a:gd name="connsiteX4874" fmla="*/ 7198974 w 12192001"/>
                <a:gd name="connsiteY4874" fmla="*/ 3175 h 6523037"/>
                <a:gd name="connsiteX4875" fmla="*/ 7212258 w 12192001"/>
                <a:gd name="connsiteY4875" fmla="*/ 3175 h 6523037"/>
                <a:gd name="connsiteX4876" fmla="*/ 7018349 w 12192001"/>
                <a:gd name="connsiteY4876" fmla="*/ 197587 h 6523037"/>
                <a:gd name="connsiteX4877" fmla="*/ 7280377 w 12192001"/>
                <a:gd name="connsiteY4877" fmla="*/ 197587 h 6523037"/>
                <a:gd name="connsiteX4878" fmla="*/ 7474287 w 12192001"/>
                <a:gd name="connsiteY4878" fmla="*/ 3175 h 6523037"/>
                <a:gd name="connsiteX4879" fmla="*/ 7485646 w 12192001"/>
                <a:gd name="connsiteY4879" fmla="*/ 3175 h 6523037"/>
                <a:gd name="connsiteX4880" fmla="*/ 7288761 w 12192001"/>
                <a:gd name="connsiteY4880" fmla="*/ 201081 h 6523037"/>
                <a:gd name="connsiteX4881" fmla="*/ 7558474 w 12192001"/>
                <a:gd name="connsiteY4881" fmla="*/ 470096 h 6523037"/>
                <a:gd name="connsiteX4882" fmla="*/ 7823297 w 12192001"/>
                <a:gd name="connsiteY4882" fmla="*/ 471494 h 6523037"/>
                <a:gd name="connsiteX4883" fmla="*/ 7552187 w 12192001"/>
                <a:gd name="connsiteY4883" fmla="*/ 201081 h 6523037"/>
                <a:gd name="connsiteX4884" fmla="*/ 7550789 w 12192001"/>
                <a:gd name="connsiteY4884" fmla="*/ 199684 h 6523037"/>
                <a:gd name="connsiteX4885" fmla="*/ 7746789 w 12192001"/>
                <a:gd name="connsiteY4885" fmla="*/ 3175 h 6523037"/>
                <a:gd name="connsiteX4886" fmla="*/ 7757662 w 12192001"/>
                <a:gd name="connsiteY4886" fmla="*/ 3175 h 6523037"/>
                <a:gd name="connsiteX4887" fmla="*/ 7742243 w 12192001"/>
                <a:gd name="connsiteY4887" fmla="*/ 18711 h 6523037"/>
                <a:gd name="connsiteX4888" fmla="*/ 7742942 w 12192001"/>
                <a:gd name="connsiteY4888" fmla="*/ 19410 h 6523037"/>
                <a:gd name="connsiteX4889" fmla="*/ 7566860 w 12192001"/>
                <a:gd name="connsiteY4889" fmla="*/ 195492 h 6523037"/>
                <a:gd name="connsiteX4890" fmla="*/ 7763205 w 12192001"/>
                <a:gd name="connsiteY4890" fmla="*/ 195492 h 6523037"/>
                <a:gd name="connsiteX4891" fmla="*/ 7762507 w 12192001"/>
                <a:gd name="connsiteY4891" fmla="*/ 196889 h 6523037"/>
                <a:gd name="connsiteX4892" fmla="*/ 7828189 w 12192001"/>
                <a:gd name="connsiteY4892" fmla="*/ 196889 h 6523037"/>
                <a:gd name="connsiteX4893" fmla="*/ 8021404 w 12192001"/>
                <a:gd name="connsiteY4893" fmla="*/ 3175 h 6523037"/>
                <a:gd name="connsiteX4894" fmla="*/ 8031969 w 12192001"/>
                <a:gd name="connsiteY4894" fmla="*/ 3175 h 6523037"/>
                <a:gd name="connsiteX4895" fmla="*/ 7924614 w 12192001"/>
                <a:gd name="connsiteY4895" fmla="*/ 110944 h 6523037"/>
                <a:gd name="connsiteX4896" fmla="*/ 7926012 w 12192001"/>
                <a:gd name="connsiteY4896" fmla="*/ 111643 h 6523037"/>
                <a:gd name="connsiteX4897" fmla="*/ 7836573 w 12192001"/>
                <a:gd name="connsiteY4897" fmla="*/ 201081 h 6523037"/>
                <a:gd name="connsiteX4898" fmla="*/ 8106985 w 12192001"/>
                <a:gd name="connsiteY4898" fmla="*/ 470795 h 6523037"/>
                <a:gd name="connsiteX4899" fmla="*/ 8370409 w 12192001"/>
                <a:gd name="connsiteY4899" fmla="*/ 470795 h 6523037"/>
                <a:gd name="connsiteX4900" fmla="*/ 8099997 w 12192001"/>
                <a:gd name="connsiteY4900" fmla="*/ 201081 h 6523037"/>
                <a:gd name="connsiteX4901" fmla="*/ 8099299 w 12192001"/>
                <a:gd name="connsiteY4901" fmla="*/ 200383 h 6523037"/>
                <a:gd name="connsiteX4902" fmla="*/ 8295999 w 12192001"/>
                <a:gd name="connsiteY4902" fmla="*/ 3175 h 6523037"/>
                <a:gd name="connsiteX4903" fmla="*/ 8306289 w 12192001"/>
                <a:gd name="connsiteY4903" fmla="*/ 3175 h 6523037"/>
                <a:gd name="connsiteX4904" fmla="*/ 8113273 w 12192001"/>
                <a:gd name="connsiteY4904" fmla="*/ 196191 h 6523037"/>
                <a:gd name="connsiteX4905" fmla="*/ 8377397 w 12192001"/>
                <a:gd name="connsiteY4905" fmla="*/ 196191 h 6523037"/>
                <a:gd name="connsiteX4906" fmla="*/ 8570412 w 12192001"/>
                <a:gd name="connsiteY4906" fmla="*/ 3175 h 6523037"/>
                <a:gd name="connsiteX4907" fmla="*/ 8579688 w 12192001"/>
                <a:gd name="connsiteY4907" fmla="*/ 3175 h 6523037"/>
                <a:gd name="connsiteX4908" fmla="*/ 8383685 w 12192001"/>
                <a:gd name="connsiteY4908" fmla="*/ 199684 h 6523037"/>
                <a:gd name="connsiteX4909" fmla="*/ 8654796 w 12192001"/>
                <a:gd name="connsiteY4909" fmla="*/ 470096 h 6523037"/>
                <a:gd name="connsiteX4910" fmla="*/ 8918222 w 12192001"/>
                <a:gd name="connsiteY4910" fmla="*/ 470096 h 6523037"/>
                <a:gd name="connsiteX4911" fmla="*/ 8788256 w 12192001"/>
                <a:gd name="connsiteY4911" fmla="*/ 340131 h 6523037"/>
                <a:gd name="connsiteX4912" fmla="*/ 8647809 w 12192001"/>
                <a:gd name="connsiteY4912" fmla="*/ 199684 h 6523037"/>
                <a:gd name="connsiteX4913" fmla="*/ 8843811 w 12192001"/>
                <a:gd name="connsiteY4913" fmla="*/ 3175 h 6523037"/>
                <a:gd name="connsiteX4914" fmla="*/ 8854303 w 12192001"/>
                <a:gd name="connsiteY4914" fmla="*/ 3175 h 6523037"/>
                <a:gd name="connsiteX4915" fmla="*/ 8662483 w 12192001"/>
                <a:gd name="connsiteY4915" fmla="*/ 195492 h 6523037"/>
                <a:gd name="connsiteX4916" fmla="*/ 8925907 w 12192001"/>
                <a:gd name="connsiteY4916" fmla="*/ 195492 h 6523037"/>
                <a:gd name="connsiteX4917" fmla="*/ 9117728 w 12192001"/>
                <a:gd name="connsiteY4917" fmla="*/ 3175 h 6523037"/>
                <a:gd name="connsiteX4918" fmla="*/ 9127502 w 12192001"/>
                <a:gd name="connsiteY4918" fmla="*/ 3175 h 6523037"/>
                <a:gd name="connsiteX4919" fmla="*/ 8932196 w 12192001"/>
                <a:gd name="connsiteY4919" fmla="*/ 198985 h 6523037"/>
                <a:gd name="connsiteX4920" fmla="*/ 9203307 w 12192001"/>
                <a:gd name="connsiteY4920" fmla="*/ 469397 h 6523037"/>
                <a:gd name="connsiteX4921" fmla="*/ 9464143 w 12192001"/>
                <a:gd name="connsiteY4921" fmla="*/ 469397 h 6523037"/>
                <a:gd name="connsiteX4922" fmla="*/ 9463763 w 12192001"/>
                <a:gd name="connsiteY4922" fmla="*/ 469017 h 6523037"/>
                <a:gd name="connsiteX4923" fmla="*/ 9320523 w 12192001"/>
                <a:gd name="connsiteY4923" fmla="*/ 326475 h 6523037"/>
                <a:gd name="connsiteX4924" fmla="*/ 9320523 w 12192001"/>
                <a:gd name="connsiteY4924" fmla="*/ 322869 h 6523037"/>
                <a:gd name="connsiteX4925" fmla="*/ 9196319 w 12192001"/>
                <a:gd name="connsiteY4925" fmla="*/ 198985 h 6523037"/>
                <a:gd name="connsiteX4926" fmla="*/ 9320523 w 12192001"/>
                <a:gd name="connsiteY4926" fmla="*/ 74460 h 6523037"/>
                <a:gd name="connsiteX4927" fmla="*/ 9320523 w 12192001"/>
                <a:gd name="connsiteY4927" fmla="*/ 73530 h 652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Lst>
              <a:rect l="l" t="t" r="r" b="b"/>
              <a:pathLst>
                <a:path w="12192001" h="6523037">
                  <a:moveTo>
                    <a:pt x="700271" y="6509761"/>
                  </a:moveTo>
                  <a:lnTo>
                    <a:pt x="714941" y="6516802"/>
                  </a:lnTo>
                  <a:lnTo>
                    <a:pt x="710807" y="6516802"/>
                  </a:lnTo>
                  <a:lnTo>
                    <a:pt x="704588" y="6523037"/>
                  </a:lnTo>
                  <a:lnTo>
                    <a:pt x="694116" y="6523037"/>
                  </a:lnTo>
                  <a:lnTo>
                    <a:pt x="703819" y="6513309"/>
                  </a:lnTo>
                  <a:close/>
                  <a:moveTo>
                    <a:pt x="5360377" y="6504999"/>
                  </a:moveTo>
                  <a:lnTo>
                    <a:pt x="5375047" y="6512040"/>
                  </a:lnTo>
                  <a:lnTo>
                    <a:pt x="5370913" y="6512040"/>
                  </a:lnTo>
                  <a:lnTo>
                    <a:pt x="5364694" y="6518275"/>
                  </a:lnTo>
                  <a:lnTo>
                    <a:pt x="5354222" y="6518275"/>
                  </a:lnTo>
                  <a:lnTo>
                    <a:pt x="5363925" y="6508547"/>
                  </a:lnTo>
                  <a:close/>
                  <a:moveTo>
                    <a:pt x="10020794" y="6501824"/>
                  </a:moveTo>
                  <a:lnTo>
                    <a:pt x="10035464" y="6508865"/>
                  </a:lnTo>
                  <a:lnTo>
                    <a:pt x="10031330" y="6508865"/>
                  </a:lnTo>
                  <a:lnTo>
                    <a:pt x="10025111" y="6515100"/>
                  </a:lnTo>
                  <a:lnTo>
                    <a:pt x="10014639" y="6515100"/>
                  </a:lnTo>
                  <a:lnTo>
                    <a:pt x="10024342" y="6505372"/>
                  </a:lnTo>
                  <a:close/>
                  <a:moveTo>
                    <a:pt x="4558064" y="6240102"/>
                  </a:moveTo>
                  <a:lnTo>
                    <a:pt x="4825101" y="6506450"/>
                  </a:lnTo>
                  <a:lnTo>
                    <a:pt x="5085827" y="6506450"/>
                  </a:lnTo>
                  <a:lnTo>
                    <a:pt x="4818791" y="6240102"/>
                  </a:lnTo>
                  <a:close/>
                  <a:moveTo>
                    <a:pt x="9218170" y="6235340"/>
                  </a:moveTo>
                  <a:lnTo>
                    <a:pt x="9486798" y="6503275"/>
                  </a:lnTo>
                  <a:lnTo>
                    <a:pt x="9746244" y="6503275"/>
                  </a:lnTo>
                  <a:lnTo>
                    <a:pt x="9477616" y="6235340"/>
                  </a:lnTo>
                  <a:close/>
                  <a:moveTo>
                    <a:pt x="710108" y="5969690"/>
                  </a:moveTo>
                  <a:lnTo>
                    <a:pt x="439696" y="6240800"/>
                  </a:lnTo>
                  <a:lnTo>
                    <a:pt x="710807" y="6511212"/>
                  </a:lnTo>
                  <a:lnTo>
                    <a:pt x="974930" y="6511212"/>
                  </a:lnTo>
                  <a:lnTo>
                    <a:pt x="703819" y="6240800"/>
                  </a:lnTo>
                  <a:lnTo>
                    <a:pt x="974231" y="5969690"/>
                  </a:lnTo>
                  <a:close/>
                  <a:moveTo>
                    <a:pt x="1807827" y="5968991"/>
                  </a:moveTo>
                  <a:lnTo>
                    <a:pt x="1537414" y="6240102"/>
                  </a:lnTo>
                  <a:lnTo>
                    <a:pt x="1808526" y="6510514"/>
                  </a:lnTo>
                  <a:lnTo>
                    <a:pt x="2072648" y="6510514"/>
                  </a:lnTo>
                  <a:lnTo>
                    <a:pt x="1801539" y="6240102"/>
                  </a:lnTo>
                  <a:lnTo>
                    <a:pt x="2071951" y="5968991"/>
                  </a:lnTo>
                  <a:close/>
                  <a:moveTo>
                    <a:pt x="1257919" y="5968991"/>
                  </a:moveTo>
                  <a:lnTo>
                    <a:pt x="988206" y="6240102"/>
                  </a:lnTo>
                  <a:lnTo>
                    <a:pt x="1188744" y="6440640"/>
                  </a:lnTo>
                  <a:lnTo>
                    <a:pt x="1259317" y="6510514"/>
                  </a:lnTo>
                  <a:lnTo>
                    <a:pt x="1327793" y="6510514"/>
                  </a:lnTo>
                  <a:lnTo>
                    <a:pt x="1327094" y="6511911"/>
                  </a:lnTo>
                  <a:lnTo>
                    <a:pt x="1524139" y="6511911"/>
                  </a:lnTo>
                  <a:lnTo>
                    <a:pt x="1253028" y="6241499"/>
                  </a:lnTo>
                  <a:lnTo>
                    <a:pt x="1253727" y="6240800"/>
                  </a:lnTo>
                  <a:lnTo>
                    <a:pt x="1251631" y="6240102"/>
                  </a:lnTo>
                  <a:lnTo>
                    <a:pt x="1522043" y="5968991"/>
                  </a:lnTo>
                  <a:close/>
                  <a:moveTo>
                    <a:pt x="2904847" y="5968292"/>
                  </a:moveTo>
                  <a:lnTo>
                    <a:pt x="2634435" y="6239403"/>
                  </a:lnTo>
                  <a:lnTo>
                    <a:pt x="2905546" y="6509815"/>
                  </a:lnTo>
                  <a:lnTo>
                    <a:pt x="3169669" y="6509815"/>
                  </a:lnTo>
                  <a:lnTo>
                    <a:pt x="2898558" y="6239403"/>
                  </a:lnTo>
                  <a:lnTo>
                    <a:pt x="3168970" y="5968292"/>
                  </a:lnTo>
                  <a:close/>
                  <a:moveTo>
                    <a:pt x="2356338" y="5968292"/>
                  </a:moveTo>
                  <a:lnTo>
                    <a:pt x="2085925" y="6239403"/>
                  </a:lnTo>
                  <a:lnTo>
                    <a:pt x="2357035" y="6509815"/>
                  </a:lnTo>
                  <a:lnTo>
                    <a:pt x="2620460" y="6509815"/>
                  </a:lnTo>
                  <a:lnTo>
                    <a:pt x="2490495" y="6379850"/>
                  </a:lnTo>
                  <a:lnTo>
                    <a:pt x="2350049" y="6239403"/>
                  </a:lnTo>
                  <a:lnTo>
                    <a:pt x="2620460" y="5968292"/>
                  </a:lnTo>
                  <a:close/>
                  <a:moveTo>
                    <a:pt x="3453357" y="5967593"/>
                  </a:moveTo>
                  <a:lnTo>
                    <a:pt x="3182945" y="6238704"/>
                  </a:lnTo>
                  <a:lnTo>
                    <a:pt x="3454056" y="6508417"/>
                  </a:lnTo>
                  <a:lnTo>
                    <a:pt x="3718179" y="6508417"/>
                  </a:lnTo>
                  <a:lnTo>
                    <a:pt x="3447069" y="6238006"/>
                  </a:lnTo>
                  <a:lnTo>
                    <a:pt x="3631536" y="6053539"/>
                  </a:lnTo>
                  <a:lnTo>
                    <a:pt x="3717481" y="5967593"/>
                  </a:lnTo>
                  <a:close/>
                  <a:moveTo>
                    <a:pt x="4550379" y="5966196"/>
                  </a:moveTo>
                  <a:lnTo>
                    <a:pt x="4279967" y="6237307"/>
                  </a:lnTo>
                  <a:lnTo>
                    <a:pt x="4551077" y="6507020"/>
                  </a:lnTo>
                  <a:lnTo>
                    <a:pt x="4812475" y="6507020"/>
                  </a:lnTo>
                  <a:lnTo>
                    <a:pt x="4681256" y="6376485"/>
                  </a:lnTo>
                  <a:lnTo>
                    <a:pt x="4665187" y="6360414"/>
                  </a:lnTo>
                  <a:lnTo>
                    <a:pt x="4665187" y="6357393"/>
                  </a:lnTo>
                  <a:lnTo>
                    <a:pt x="4544090" y="6236608"/>
                  </a:lnTo>
                  <a:lnTo>
                    <a:pt x="4665187" y="6115511"/>
                  </a:lnTo>
                  <a:lnTo>
                    <a:pt x="4665187" y="6111663"/>
                  </a:lnTo>
                  <a:lnTo>
                    <a:pt x="4810652" y="5966196"/>
                  </a:lnTo>
                  <a:close/>
                  <a:moveTo>
                    <a:pt x="4824862" y="5965627"/>
                  </a:moveTo>
                  <a:lnTo>
                    <a:pt x="4558064" y="6233114"/>
                  </a:lnTo>
                  <a:lnTo>
                    <a:pt x="4818335" y="6233114"/>
                  </a:lnTo>
                  <a:lnTo>
                    <a:pt x="5085129" y="5965627"/>
                  </a:lnTo>
                  <a:close/>
                  <a:moveTo>
                    <a:pt x="5370215" y="5964928"/>
                  </a:moveTo>
                  <a:lnTo>
                    <a:pt x="5099802" y="6236038"/>
                  </a:lnTo>
                  <a:lnTo>
                    <a:pt x="5370913" y="6506450"/>
                  </a:lnTo>
                  <a:lnTo>
                    <a:pt x="5635036" y="6506450"/>
                  </a:lnTo>
                  <a:lnTo>
                    <a:pt x="5363925" y="6236038"/>
                  </a:lnTo>
                  <a:lnTo>
                    <a:pt x="5634338" y="5964928"/>
                  </a:lnTo>
                  <a:close/>
                  <a:moveTo>
                    <a:pt x="6467933" y="5964229"/>
                  </a:moveTo>
                  <a:lnTo>
                    <a:pt x="6197521" y="6235340"/>
                  </a:lnTo>
                  <a:lnTo>
                    <a:pt x="6468632" y="6505752"/>
                  </a:lnTo>
                  <a:lnTo>
                    <a:pt x="6732754" y="6505752"/>
                  </a:lnTo>
                  <a:lnTo>
                    <a:pt x="6461645" y="6235340"/>
                  </a:lnTo>
                  <a:lnTo>
                    <a:pt x="6732057" y="5964229"/>
                  </a:lnTo>
                  <a:close/>
                  <a:moveTo>
                    <a:pt x="5918025" y="5964229"/>
                  </a:moveTo>
                  <a:lnTo>
                    <a:pt x="5648312" y="6235340"/>
                  </a:lnTo>
                  <a:lnTo>
                    <a:pt x="5848851" y="6435878"/>
                  </a:lnTo>
                  <a:lnTo>
                    <a:pt x="5919423" y="6505752"/>
                  </a:lnTo>
                  <a:lnTo>
                    <a:pt x="5987899" y="6505752"/>
                  </a:lnTo>
                  <a:lnTo>
                    <a:pt x="5987200" y="6507149"/>
                  </a:lnTo>
                  <a:lnTo>
                    <a:pt x="6184245" y="6507149"/>
                  </a:lnTo>
                  <a:lnTo>
                    <a:pt x="5913134" y="6236737"/>
                  </a:lnTo>
                  <a:lnTo>
                    <a:pt x="5913834" y="6236038"/>
                  </a:lnTo>
                  <a:lnTo>
                    <a:pt x="5911738" y="6235340"/>
                  </a:lnTo>
                  <a:lnTo>
                    <a:pt x="6182150" y="5964229"/>
                  </a:lnTo>
                  <a:close/>
                  <a:moveTo>
                    <a:pt x="7564953" y="5963530"/>
                  </a:moveTo>
                  <a:lnTo>
                    <a:pt x="7294541" y="6234641"/>
                  </a:lnTo>
                  <a:lnTo>
                    <a:pt x="7565652" y="6505053"/>
                  </a:lnTo>
                  <a:lnTo>
                    <a:pt x="7829775" y="6505053"/>
                  </a:lnTo>
                  <a:lnTo>
                    <a:pt x="7558664" y="6234641"/>
                  </a:lnTo>
                  <a:lnTo>
                    <a:pt x="7829076" y="5963530"/>
                  </a:lnTo>
                  <a:close/>
                  <a:moveTo>
                    <a:pt x="7016444" y="5963530"/>
                  </a:moveTo>
                  <a:lnTo>
                    <a:pt x="6746031" y="6234641"/>
                  </a:lnTo>
                  <a:lnTo>
                    <a:pt x="7017141" y="6505053"/>
                  </a:lnTo>
                  <a:lnTo>
                    <a:pt x="7280566" y="6505053"/>
                  </a:lnTo>
                  <a:lnTo>
                    <a:pt x="7150601" y="6375088"/>
                  </a:lnTo>
                  <a:lnTo>
                    <a:pt x="7010155" y="6234641"/>
                  </a:lnTo>
                  <a:lnTo>
                    <a:pt x="7280566" y="5963530"/>
                  </a:lnTo>
                  <a:close/>
                  <a:moveTo>
                    <a:pt x="8113463" y="5962831"/>
                  </a:moveTo>
                  <a:lnTo>
                    <a:pt x="7843051" y="6233942"/>
                  </a:lnTo>
                  <a:lnTo>
                    <a:pt x="8114162" y="6503655"/>
                  </a:lnTo>
                  <a:lnTo>
                    <a:pt x="8378285" y="6503655"/>
                  </a:lnTo>
                  <a:lnTo>
                    <a:pt x="8107175" y="6233244"/>
                  </a:lnTo>
                  <a:lnTo>
                    <a:pt x="8291642" y="6048777"/>
                  </a:lnTo>
                  <a:lnTo>
                    <a:pt x="8377587" y="5962831"/>
                  </a:lnTo>
                  <a:close/>
                  <a:moveTo>
                    <a:pt x="9483384" y="5962452"/>
                  </a:moveTo>
                  <a:lnTo>
                    <a:pt x="9218170" y="6228352"/>
                  </a:lnTo>
                  <a:lnTo>
                    <a:pt x="9480335" y="6228352"/>
                  </a:lnTo>
                  <a:lnTo>
                    <a:pt x="9745545" y="5962452"/>
                  </a:lnTo>
                  <a:close/>
                  <a:moveTo>
                    <a:pt x="10030631" y="5961753"/>
                  </a:moveTo>
                  <a:lnTo>
                    <a:pt x="9760219" y="6232863"/>
                  </a:lnTo>
                  <a:lnTo>
                    <a:pt x="10031330" y="6503275"/>
                  </a:lnTo>
                  <a:lnTo>
                    <a:pt x="10295453" y="6503275"/>
                  </a:lnTo>
                  <a:lnTo>
                    <a:pt x="10024342" y="6232863"/>
                  </a:lnTo>
                  <a:lnTo>
                    <a:pt x="10294754" y="5961753"/>
                  </a:lnTo>
                  <a:close/>
                  <a:moveTo>
                    <a:pt x="9210484" y="5961434"/>
                  </a:moveTo>
                  <a:lnTo>
                    <a:pt x="8940072" y="6232545"/>
                  </a:lnTo>
                  <a:lnTo>
                    <a:pt x="9211183" y="6502258"/>
                  </a:lnTo>
                  <a:lnTo>
                    <a:pt x="9471296" y="6502258"/>
                  </a:lnTo>
                  <a:lnTo>
                    <a:pt x="9341673" y="6373310"/>
                  </a:lnTo>
                  <a:lnTo>
                    <a:pt x="9325603" y="6357239"/>
                  </a:lnTo>
                  <a:lnTo>
                    <a:pt x="9325603" y="6352941"/>
                  </a:lnTo>
                  <a:lnTo>
                    <a:pt x="9204195" y="6231846"/>
                  </a:lnTo>
                  <a:lnTo>
                    <a:pt x="9325603" y="6110438"/>
                  </a:lnTo>
                  <a:lnTo>
                    <a:pt x="9325603" y="6108488"/>
                  </a:lnTo>
                  <a:lnTo>
                    <a:pt x="9472656" y="5961434"/>
                  </a:lnTo>
                  <a:close/>
                  <a:moveTo>
                    <a:pt x="11128350" y="5961054"/>
                  </a:moveTo>
                  <a:lnTo>
                    <a:pt x="10857937" y="6232165"/>
                  </a:lnTo>
                  <a:lnTo>
                    <a:pt x="11129049" y="6502577"/>
                  </a:lnTo>
                  <a:lnTo>
                    <a:pt x="11393171" y="6502577"/>
                  </a:lnTo>
                  <a:lnTo>
                    <a:pt x="11122062" y="6232165"/>
                  </a:lnTo>
                  <a:lnTo>
                    <a:pt x="11392474" y="5961054"/>
                  </a:lnTo>
                  <a:close/>
                  <a:moveTo>
                    <a:pt x="10578442" y="5961054"/>
                  </a:moveTo>
                  <a:lnTo>
                    <a:pt x="10308729" y="6232165"/>
                  </a:lnTo>
                  <a:lnTo>
                    <a:pt x="10509267" y="6432703"/>
                  </a:lnTo>
                  <a:lnTo>
                    <a:pt x="10579840" y="6502577"/>
                  </a:lnTo>
                  <a:lnTo>
                    <a:pt x="10648316" y="6502577"/>
                  </a:lnTo>
                  <a:lnTo>
                    <a:pt x="10647617" y="6503974"/>
                  </a:lnTo>
                  <a:lnTo>
                    <a:pt x="10844662" y="6503974"/>
                  </a:lnTo>
                  <a:lnTo>
                    <a:pt x="10573551" y="6233562"/>
                  </a:lnTo>
                  <a:lnTo>
                    <a:pt x="10574250" y="6232863"/>
                  </a:lnTo>
                  <a:lnTo>
                    <a:pt x="10572154" y="6232165"/>
                  </a:lnTo>
                  <a:lnTo>
                    <a:pt x="10842566" y="5961054"/>
                  </a:lnTo>
                  <a:close/>
                  <a:moveTo>
                    <a:pt x="11676861" y="5960355"/>
                  </a:moveTo>
                  <a:lnTo>
                    <a:pt x="11406448" y="6231466"/>
                  </a:lnTo>
                  <a:lnTo>
                    <a:pt x="11677558" y="6501878"/>
                  </a:lnTo>
                  <a:lnTo>
                    <a:pt x="11940983" y="6501878"/>
                  </a:lnTo>
                  <a:lnTo>
                    <a:pt x="11811018" y="6371913"/>
                  </a:lnTo>
                  <a:lnTo>
                    <a:pt x="11670572" y="6231466"/>
                  </a:lnTo>
                  <a:lnTo>
                    <a:pt x="11940983" y="5960355"/>
                  </a:lnTo>
                  <a:close/>
                  <a:moveTo>
                    <a:pt x="169284" y="5695784"/>
                  </a:moveTo>
                  <a:lnTo>
                    <a:pt x="299249" y="5825750"/>
                  </a:lnTo>
                  <a:lnTo>
                    <a:pt x="439696" y="5966196"/>
                  </a:lnTo>
                  <a:lnTo>
                    <a:pt x="169284" y="6237307"/>
                  </a:lnTo>
                  <a:lnTo>
                    <a:pt x="433407" y="6237307"/>
                  </a:lnTo>
                  <a:lnTo>
                    <a:pt x="703819" y="5966196"/>
                  </a:lnTo>
                  <a:lnTo>
                    <a:pt x="432708" y="5695784"/>
                  </a:lnTo>
                  <a:close/>
                  <a:moveTo>
                    <a:pt x="1814814" y="5695086"/>
                  </a:moveTo>
                  <a:lnTo>
                    <a:pt x="2085925" y="5965498"/>
                  </a:lnTo>
                  <a:lnTo>
                    <a:pt x="1815513" y="6235910"/>
                  </a:lnTo>
                  <a:lnTo>
                    <a:pt x="2079636" y="6235910"/>
                  </a:lnTo>
                  <a:lnTo>
                    <a:pt x="2350049" y="5965498"/>
                  </a:lnTo>
                  <a:lnTo>
                    <a:pt x="2078937" y="5695086"/>
                  </a:lnTo>
                  <a:close/>
                  <a:moveTo>
                    <a:pt x="717095" y="5695086"/>
                  </a:moveTo>
                  <a:lnTo>
                    <a:pt x="988206" y="5965498"/>
                  </a:lnTo>
                  <a:lnTo>
                    <a:pt x="717794" y="6236608"/>
                  </a:lnTo>
                  <a:lnTo>
                    <a:pt x="981917" y="6236608"/>
                  </a:lnTo>
                  <a:lnTo>
                    <a:pt x="1252329" y="5965498"/>
                  </a:lnTo>
                  <a:lnTo>
                    <a:pt x="981219" y="5695086"/>
                  </a:lnTo>
                  <a:close/>
                  <a:moveTo>
                    <a:pt x="2363324" y="5694387"/>
                  </a:moveTo>
                  <a:lnTo>
                    <a:pt x="2634435" y="5964799"/>
                  </a:lnTo>
                  <a:lnTo>
                    <a:pt x="2364722" y="6235910"/>
                  </a:lnTo>
                  <a:lnTo>
                    <a:pt x="2628146" y="6235910"/>
                  </a:lnTo>
                  <a:lnTo>
                    <a:pt x="2898558" y="5964799"/>
                  </a:lnTo>
                  <a:lnTo>
                    <a:pt x="2764401" y="5831339"/>
                  </a:lnTo>
                  <a:lnTo>
                    <a:pt x="2627447" y="5694387"/>
                  </a:lnTo>
                  <a:close/>
                  <a:moveTo>
                    <a:pt x="2911834" y="5693688"/>
                  </a:moveTo>
                  <a:lnTo>
                    <a:pt x="2913232" y="5695086"/>
                  </a:lnTo>
                  <a:lnTo>
                    <a:pt x="3182945" y="5964100"/>
                  </a:lnTo>
                  <a:lnTo>
                    <a:pt x="2912533" y="6234512"/>
                  </a:lnTo>
                  <a:lnTo>
                    <a:pt x="3176657" y="6234512"/>
                  </a:lnTo>
                  <a:lnTo>
                    <a:pt x="3447069" y="5964100"/>
                  </a:lnTo>
                  <a:lnTo>
                    <a:pt x="3441479" y="5959209"/>
                  </a:lnTo>
                  <a:lnTo>
                    <a:pt x="3175958" y="5693688"/>
                  </a:lnTo>
                  <a:close/>
                  <a:moveTo>
                    <a:pt x="1530428" y="5693688"/>
                  </a:moveTo>
                  <a:lnTo>
                    <a:pt x="1529030" y="5694387"/>
                  </a:lnTo>
                  <a:lnTo>
                    <a:pt x="1264907" y="5694387"/>
                  </a:lnTo>
                  <a:lnTo>
                    <a:pt x="1536018" y="5964799"/>
                  </a:lnTo>
                  <a:lnTo>
                    <a:pt x="1531824" y="5968991"/>
                  </a:lnTo>
                  <a:lnTo>
                    <a:pt x="1537414" y="5966196"/>
                  </a:lnTo>
                  <a:lnTo>
                    <a:pt x="1267002" y="6237307"/>
                  </a:lnTo>
                  <a:lnTo>
                    <a:pt x="1531127" y="6237307"/>
                  </a:lnTo>
                  <a:lnTo>
                    <a:pt x="1801539" y="5966196"/>
                  </a:lnTo>
                  <a:lnTo>
                    <a:pt x="1530428" y="5695784"/>
                  </a:lnTo>
                  <a:close/>
                  <a:moveTo>
                    <a:pt x="3459646" y="5692989"/>
                  </a:moveTo>
                  <a:lnTo>
                    <a:pt x="3730757" y="5963401"/>
                  </a:lnTo>
                  <a:lnTo>
                    <a:pt x="3727962" y="5966196"/>
                  </a:lnTo>
                  <a:lnTo>
                    <a:pt x="3637825" y="6057032"/>
                  </a:lnTo>
                  <a:lnTo>
                    <a:pt x="3460345" y="6233813"/>
                  </a:lnTo>
                  <a:lnTo>
                    <a:pt x="3724468" y="6233813"/>
                  </a:lnTo>
                  <a:lnTo>
                    <a:pt x="3813907" y="6144374"/>
                  </a:lnTo>
                  <a:lnTo>
                    <a:pt x="3994880" y="5963401"/>
                  </a:lnTo>
                  <a:lnTo>
                    <a:pt x="3723769" y="5692989"/>
                  </a:lnTo>
                  <a:close/>
                  <a:moveTo>
                    <a:pt x="4818785" y="5691597"/>
                  </a:moveTo>
                  <a:lnTo>
                    <a:pt x="4556667" y="5692290"/>
                  </a:lnTo>
                  <a:lnTo>
                    <a:pt x="4824382" y="5957940"/>
                  </a:lnTo>
                  <a:lnTo>
                    <a:pt x="5085129" y="5957940"/>
                  </a:lnTo>
                  <a:lnTo>
                    <a:pt x="4955163" y="5827975"/>
                  </a:lnTo>
                  <a:close/>
                  <a:moveTo>
                    <a:pt x="4829390" y="5691022"/>
                  </a:moveTo>
                  <a:lnTo>
                    <a:pt x="4959356" y="5820988"/>
                  </a:lnTo>
                  <a:lnTo>
                    <a:pt x="5099802" y="5961434"/>
                  </a:lnTo>
                  <a:lnTo>
                    <a:pt x="4829390" y="6232545"/>
                  </a:lnTo>
                  <a:lnTo>
                    <a:pt x="5093513" y="6232545"/>
                  </a:lnTo>
                  <a:lnTo>
                    <a:pt x="5363925" y="5961434"/>
                  </a:lnTo>
                  <a:lnTo>
                    <a:pt x="5092815" y="5691022"/>
                  </a:lnTo>
                  <a:close/>
                  <a:moveTo>
                    <a:pt x="6474921" y="5690324"/>
                  </a:moveTo>
                  <a:lnTo>
                    <a:pt x="6746031" y="5960736"/>
                  </a:lnTo>
                  <a:lnTo>
                    <a:pt x="6475619" y="6231148"/>
                  </a:lnTo>
                  <a:lnTo>
                    <a:pt x="6739742" y="6231148"/>
                  </a:lnTo>
                  <a:lnTo>
                    <a:pt x="7010155" y="5960736"/>
                  </a:lnTo>
                  <a:lnTo>
                    <a:pt x="6739044" y="5690324"/>
                  </a:lnTo>
                  <a:close/>
                  <a:moveTo>
                    <a:pt x="5377202" y="5690324"/>
                  </a:moveTo>
                  <a:lnTo>
                    <a:pt x="5648312" y="5960736"/>
                  </a:lnTo>
                  <a:lnTo>
                    <a:pt x="5377900" y="6231846"/>
                  </a:lnTo>
                  <a:lnTo>
                    <a:pt x="5642023" y="6231846"/>
                  </a:lnTo>
                  <a:lnTo>
                    <a:pt x="5912435" y="5960736"/>
                  </a:lnTo>
                  <a:lnTo>
                    <a:pt x="5641325" y="5690324"/>
                  </a:lnTo>
                  <a:close/>
                  <a:moveTo>
                    <a:pt x="7023431" y="5689625"/>
                  </a:moveTo>
                  <a:lnTo>
                    <a:pt x="7294541" y="5960037"/>
                  </a:lnTo>
                  <a:lnTo>
                    <a:pt x="7024828" y="6231148"/>
                  </a:lnTo>
                  <a:lnTo>
                    <a:pt x="7288252" y="6231148"/>
                  </a:lnTo>
                  <a:lnTo>
                    <a:pt x="7558664" y="5960037"/>
                  </a:lnTo>
                  <a:lnTo>
                    <a:pt x="7424507" y="5826577"/>
                  </a:lnTo>
                  <a:lnTo>
                    <a:pt x="7287553" y="5689625"/>
                  </a:lnTo>
                  <a:close/>
                  <a:moveTo>
                    <a:pt x="7571940" y="5688926"/>
                  </a:moveTo>
                  <a:lnTo>
                    <a:pt x="7573338" y="5690324"/>
                  </a:lnTo>
                  <a:lnTo>
                    <a:pt x="7843051" y="5959338"/>
                  </a:lnTo>
                  <a:lnTo>
                    <a:pt x="7572639" y="6229750"/>
                  </a:lnTo>
                  <a:lnTo>
                    <a:pt x="7836763" y="6229750"/>
                  </a:lnTo>
                  <a:lnTo>
                    <a:pt x="8107175" y="5959338"/>
                  </a:lnTo>
                  <a:lnTo>
                    <a:pt x="8101585" y="5954447"/>
                  </a:lnTo>
                  <a:lnTo>
                    <a:pt x="7836064" y="5688926"/>
                  </a:lnTo>
                  <a:close/>
                  <a:moveTo>
                    <a:pt x="6190534" y="5688926"/>
                  </a:moveTo>
                  <a:lnTo>
                    <a:pt x="6189136" y="5689625"/>
                  </a:lnTo>
                  <a:lnTo>
                    <a:pt x="5925013" y="5689625"/>
                  </a:lnTo>
                  <a:lnTo>
                    <a:pt x="6196125" y="5960037"/>
                  </a:lnTo>
                  <a:lnTo>
                    <a:pt x="6191930" y="5964229"/>
                  </a:lnTo>
                  <a:lnTo>
                    <a:pt x="6197521" y="5961434"/>
                  </a:lnTo>
                  <a:lnTo>
                    <a:pt x="5927108" y="6232545"/>
                  </a:lnTo>
                  <a:lnTo>
                    <a:pt x="6191234" y="6232545"/>
                  </a:lnTo>
                  <a:lnTo>
                    <a:pt x="6461645" y="5961434"/>
                  </a:lnTo>
                  <a:lnTo>
                    <a:pt x="6190534" y="5691022"/>
                  </a:lnTo>
                  <a:close/>
                  <a:moveTo>
                    <a:pt x="8119752" y="5688227"/>
                  </a:moveTo>
                  <a:lnTo>
                    <a:pt x="8390863" y="5958639"/>
                  </a:lnTo>
                  <a:lnTo>
                    <a:pt x="8388068" y="5961434"/>
                  </a:lnTo>
                  <a:lnTo>
                    <a:pt x="8297931" y="6052270"/>
                  </a:lnTo>
                  <a:lnTo>
                    <a:pt x="8120451" y="6229051"/>
                  </a:lnTo>
                  <a:lnTo>
                    <a:pt x="8384574" y="6229051"/>
                  </a:lnTo>
                  <a:lnTo>
                    <a:pt x="8474013" y="6139612"/>
                  </a:lnTo>
                  <a:lnTo>
                    <a:pt x="8654986" y="5958639"/>
                  </a:lnTo>
                  <a:lnTo>
                    <a:pt x="8383875" y="5688227"/>
                  </a:lnTo>
                  <a:close/>
                  <a:moveTo>
                    <a:pt x="9489807" y="5687847"/>
                  </a:moveTo>
                  <a:lnTo>
                    <a:pt x="9619772" y="5817813"/>
                  </a:lnTo>
                  <a:lnTo>
                    <a:pt x="9760219" y="5958259"/>
                  </a:lnTo>
                  <a:lnTo>
                    <a:pt x="9489807" y="6229370"/>
                  </a:lnTo>
                  <a:lnTo>
                    <a:pt x="9753930" y="6229370"/>
                  </a:lnTo>
                  <a:lnTo>
                    <a:pt x="10024342" y="5958259"/>
                  </a:lnTo>
                  <a:lnTo>
                    <a:pt x="9753231" y="5687847"/>
                  </a:lnTo>
                  <a:close/>
                  <a:moveTo>
                    <a:pt x="11135337" y="5687149"/>
                  </a:moveTo>
                  <a:lnTo>
                    <a:pt x="11406448" y="5957561"/>
                  </a:lnTo>
                  <a:lnTo>
                    <a:pt x="11136036" y="6227973"/>
                  </a:lnTo>
                  <a:lnTo>
                    <a:pt x="11400159" y="6227973"/>
                  </a:lnTo>
                  <a:lnTo>
                    <a:pt x="11670572" y="5957561"/>
                  </a:lnTo>
                  <a:lnTo>
                    <a:pt x="11399460" y="5687149"/>
                  </a:lnTo>
                  <a:close/>
                  <a:moveTo>
                    <a:pt x="10037618" y="5687149"/>
                  </a:moveTo>
                  <a:lnTo>
                    <a:pt x="10308729" y="5957561"/>
                  </a:lnTo>
                  <a:lnTo>
                    <a:pt x="10038317" y="6228671"/>
                  </a:lnTo>
                  <a:lnTo>
                    <a:pt x="10302440" y="6228671"/>
                  </a:lnTo>
                  <a:lnTo>
                    <a:pt x="10572852" y="5957561"/>
                  </a:lnTo>
                  <a:lnTo>
                    <a:pt x="10301742" y="5687149"/>
                  </a:lnTo>
                  <a:close/>
                  <a:moveTo>
                    <a:pt x="9477618" y="5686838"/>
                  </a:moveTo>
                  <a:lnTo>
                    <a:pt x="9216773" y="5687528"/>
                  </a:lnTo>
                  <a:lnTo>
                    <a:pt x="9486087" y="5954765"/>
                  </a:lnTo>
                  <a:lnTo>
                    <a:pt x="9745545" y="5954765"/>
                  </a:lnTo>
                  <a:lnTo>
                    <a:pt x="9615580" y="5824800"/>
                  </a:lnTo>
                  <a:close/>
                  <a:moveTo>
                    <a:pt x="10850951" y="5685751"/>
                  </a:moveTo>
                  <a:lnTo>
                    <a:pt x="10849553" y="5686450"/>
                  </a:lnTo>
                  <a:lnTo>
                    <a:pt x="10585430" y="5686450"/>
                  </a:lnTo>
                  <a:lnTo>
                    <a:pt x="10856541" y="5956862"/>
                  </a:lnTo>
                  <a:lnTo>
                    <a:pt x="10852347" y="5961054"/>
                  </a:lnTo>
                  <a:lnTo>
                    <a:pt x="10857937" y="5958259"/>
                  </a:lnTo>
                  <a:lnTo>
                    <a:pt x="10587525" y="6229370"/>
                  </a:lnTo>
                  <a:lnTo>
                    <a:pt x="10851650" y="6229370"/>
                  </a:lnTo>
                  <a:lnTo>
                    <a:pt x="11122062" y="5958259"/>
                  </a:lnTo>
                  <a:lnTo>
                    <a:pt x="10850951" y="5687847"/>
                  </a:lnTo>
                  <a:close/>
                  <a:moveTo>
                    <a:pt x="1807128" y="5420480"/>
                  </a:moveTo>
                  <a:lnTo>
                    <a:pt x="1536716" y="5691591"/>
                  </a:lnTo>
                  <a:lnTo>
                    <a:pt x="1807827" y="5962003"/>
                  </a:lnTo>
                  <a:lnTo>
                    <a:pt x="2071951" y="5962003"/>
                  </a:lnTo>
                  <a:lnTo>
                    <a:pt x="1800840" y="5691591"/>
                  </a:lnTo>
                  <a:lnTo>
                    <a:pt x="2071252" y="5420480"/>
                  </a:lnTo>
                  <a:close/>
                  <a:moveTo>
                    <a:pt x="709409" y="5420480"/>
                  </a:moveTo>
                  <a:lnTo>
                    <a:pt x="438997" y="5691591"/>
                  </a:lnTo>
                  <a:lnTo>
                    <a:pt x="710108" y="5962003"/>
                  </a:lnTo>
                  <a:lnTo>
                    <a:pt x="974231" y="5962003"/>
                  </a:lnTo>
                  <a:lnTo>
                    <a:pt x="703120" y="5691591"/>
                  </a:lnTo>
                  <a:lnTo>
                    <a:pt x="972833" y="5420480"/>
                  </a:lnTo>
                  <a:close/>
                  <a:moveTo>
                    <a:pt x="2904148" y="5419782"/>
                  </a:moveTo>
                  <a:lnTo>
                    <a:pt x="2723874" y="5600057"/>
                  </a:lnTo>
                  <a:lnTo>
                    <a:pt x="2634435" y="5690195"/>
                  </a:lnTo>
                  <a:lnTo>
                    <a:pt x="2768593" y="5823653"/>
                  </a:lnTo>
                  <a:lnTo>
                    <a:pt x="2905546" y="5960606"/>
                  </a:lnTo>
                  <a:lnTo>
                    <a:pt x="3169669" y="5960606"/>
                  </a:lnTo>
                  <a:lnTo>
                    <a:pt x="2898558" y="5690195"/>
                  </a:lnTo>
                  <a:lnTo>
                    <a:pt x="2899956" y="5688797"/>
                  </a:lnTo>
                  <a:lnTo>
                    <a:pt x="3168271" y="5419782"/>
                  </a:lnTo>
                  <a:close/>
                  <a:moveTo>
                    <a:pt x="2355639" y="5419782"/>
                  </a:moveTo>
                  <a:lnTo>
                    <a:pt x="2085226" y="5690892"/>
                  </a:lnTo>
                  <a:lnTo>
                    <a:pt x="2356338" y="5961304"/>
                  </a:lnTo>
                  <a:lnTo>
                    <a:pt x="2620460" y="5961304"/>
                  </a:lnTo>
                  <a:lnTo>
                    <a:pt x="2349350" y="5690892"/>
                  </a:lnTo>
                  <a:lnTo>
                    <a:pt x="2533816" y="5506426"/>
                  </a:lnTo>
                  <a:lnTo>
                    <a:pt x="2619762" y="5420480"/>
                  </a:lnTo>
                  <a:lnTo>
                    <a:pt x="2361229" y="5420480"/>
                  </a:lnTo>
                  <a:close/>
                  <a:moveTo>
                    <a:pt x="1257919" y="5419782"/>
                  </a:moveTo>
                  <a:lnTo>
                    <a:pt x="987507" y="5690892"/>
                  </a:lnTo>
                  <a:lnTo>
                    <a:pt x="1258618" y="5961304"/>
                  </a:lnTo>
                  <a:lnTo>
                    <a:pt x="1522741" y="5961304"/>
                  </a:lnTo>
                  <a:lnTo>
                    <a:pt x="1251631" y="5690892"/>
                  </a:lnTo>
                  <a:lnTo>
                    <a:pt x="1436098" y="5506426"/>
                  </a:lnTo>
                  <a:lnTo>
                    <a:pt x="1522043" y="5419782"/>
                  </a:lnTo>
                  <a:close/>
                  <a:moveTo>
                    <a:pt x="3452658" y="5419084"/>
                  </a:moveTo>
                  <a:lnTo>
                    <a:pt x="3182246" y="5690195"/>
                  </a:lnTo>
                  <a:lnTo>
                    <a:pt x="3453357" y="5960606"/>
                  </a:lnTo>
                  <a:lnTo>
                    <a:pt x="3717481" y="5960606"/>
                  </a:lnTo>
                  <a:lnTo>
                    <a:pt x="3446370" y="5690195"/>
                  </a:lnTo>
                  <a:lnTo>
                    <a:pt x="3716782" y="5419084"/>
                  </a:lnTo>
                  <a:close/>
                  <a:moveTo>
                    <a:pt x="4549679" y="5417686"/>
                  </a:moveTo>
                  <a:lnTo>
                    <a:pt x="4279267" y="5688797"/>
                  </a:lnTo>
                  <a:lnTo>
                    <a:pt x="4550379" y="5959209"/>
                  </a:lnTo>
                  <a:lnTo>
                    <a:pt x="4811794" y="5959209"/>
                  </a:lnTo>
                  <a:lnTo>
                    <a:pt x="4665187" y="5812602"/>
                  </a:lnTo>
                  <a:lnTo>
                    <a:pt x="4665187" y="5810279"/>
                  </a:lnTo>
                  <a:lnTo>
                    <a:pt x="4543392" y="5688797"/>
                  </a:lnTo>
                  <a:lnTo>
                    <a:pt x="4665187" y="5566541"/>
                  </a:lnTo>
                  <a:lnTo>
                    <a:pt x="4665187" y="5562454"/>
                  </a:lnTo>
                  <a:lnTo>
                    <a:pt x="4809954" y="5417686"/>
                  </a:lnTo>
                  <a:close/>
                  <a:moveTo>
                    <a:pt x="4824163" y="5417116"/>
                  </a:moveTo>
                  <a:lnTo>
                    <a:pt x="4556667" y="5685303"/>
                  </a:lnTo>
                  <a:lnTo>
                    <a:pt x="4816942" y="5685303"/>
                  </a:lnTo>
                  <a:lnTo>
                    <a:pt x="5085129" y="5417116"/>
                  </a:lnTo>
                  <a:close/>
                  <a:moveTo>
                    <a:pt x="6467235" y="5415718"/>
                  </a:moveTo>
                  <a:lnTo>
                    <a:pt x="6196823" y="5686829"/>
                  </a:lnTo>
                  <a:lnTo>
                    <a:pt x="6467933" y="5957241"/>
                  </a:lnTo>
                  <a:lnTo>
                    <a:pt x="6732057" y="5957241"/>
                  </a:lnTo>
                  <a:lnTo>
                    <a:pt x="6460946" y="5686829"/>
                  </a:lnTo>
                  <a:lnTo>
                    <a:pt x="6731358" y="5415718"/>
                  </a:lnTo>
                  <a:close/>
                  <a:moveTo>
                    <a:pt x="5369515" y="5415718"/>
                  </a:moveTo>
                  <a:lnTo>
                    <a:pt x="5099104" y="5686829"/>
                  </a:lnTo>
                  <a:lnTo>
                    <a:pt x="5370215" y="5957241"/>
                  </a:lnTo>
                  <a:lnTo>
                    <a:pt x="5634338" y="5957241"/>
                  </a:lnTo>
                  <a:lnTo>
                    <a:pt x="5363227" y="5686829"/>
                  </a:lnTo>
                  <a:lnTo>
                    <a:pt x="5632939" y="5415718"/>
                  </a:lnTo>
                  <a:close/>
                  <a:moveTo>
                    <a:pt x="7564254" y="5415020"/>
                  </a:moveTo>
                  <a:lnTo>
                    <a:pt x="7383980" y="5595295"/>
                  </a:lnTo>
                  <a:lnTo>
                    <a:pt x="7294541" y="5685433"/>
                  </a:lnTo>
                  <a:lnTo>
                    <a:pt x="7428699" y="5818891"/>
                  </a:lnTo>
                  <a:lnTo>
                    <a:pt x="7565652" y="5955844"/>
                  </a:lnTo>
                  <a:lnTo>
                    <a:pt x="7829775" y="5955844"/>
                  </a:lnTo>
                  <a:lnTo>
                    <a:pt x="7558664" y="5685433"/>
                  </a:lnTo>
                  <a:lnTo>
                    <a:pt x="7560062" y="5684035"/>
                  </a:lnTo>
                  <a:lnTo>
                    <a:pt x="7828377" y="5415020"/>
                  </a:lnTo>
                  <a:close/>
                  <a:moveTo>
                    <a:pt x="7015746" y="5415020"/>
                  </a:moveTo>
                  <a:lnTo>
                    <a:pt x="6745333" y="5686130"/>
                  </a:lnTo>
                  <a:lnTo>
                    <a:pt x="7016444" y="5956542"/>
                  </a:lnTo>
                  <a:lnTo>
                    <a:pt x="7280566" y="5956542"/>
                  </a:lnTo>
                  <a:lnTo>
                    <a:pt x="7009456" y="5686130"/>
                  </a:lnTo>
                  <a:lnTo>
                    <a:pt x="7193922" y="5501664"/>
                  </a:lnTo>
                  <a:lnTo>
                    <a:pt x="7279868" y="5415718"/>
                  </a:lnTo>
                  <a:lnTo>
                    <a:pt x="7021335" y="5415718"/>
                  </a:lnTo>
                  <a:close/>
                  <a:moveTo>
                    <a:pt x="5918025" y="5415020"/>
                  </a:moveTo>
                  <a:lnTo>
                    <a:pt x="5647613" y="5686130"/>
                  </a:lnTo>
                  <a:lnTo>
                    <a:pt x="5918725" y="5956542"/>
                  </a:lnTo>
                  <a:lnTo>
                    <a:pt x="6182848" y="5956542"/>
                  </a:lnTo>
                  <a:lnTo>
                    <a:pt x="5911738" y="5686130"/>
                  </a:lnTo>
                  <a:lnTo>
                    <a:pt x="6096205" y="5501664"/>
                  </a:lnTo>
                  <a:lnTo>
                    <a:pt x="6182150" y="5415020"/>
                  </a:lnTo>
                  <a:close/>
                  <a:moveTo>
                    <a:pt x="8112764" y="5414322"/>
                  </a:moveTo>
                  <a:lnTo>
                    <a:pt x="7842352" y="5685433"/>
                  </a:lnTo>
                  <a:lnTo>
                    <a:pt x="8113463" y="5955844"/>
                  </a:lnTo>
                  <a:lnTo>
                    <a:pt x="8377587" y="5955844"/>
                  </a:lnTo>
                  <a:lnTo>
                    <a:pt x="8106476" y="5685433"/>
                  </a:lnTo>
                  <a:lnTo>
                    <a:pt x="8376888" y="5414322"/>
                  </a:lnTo>
                  <a:close/>
                  <a:moveTo>
                    <a:pt x="9482686" y="5413941"/>
                  </a:moveTo>
                  <a:lnTo>
                    <a:pt x="9216773" y="5680541"/>
                  </a:lnTo>
                  <a:lnTo>
                    <a:pt x="9478945" y="5680541"/>
                  </a:lnTo>
                  <a:lnTo>
                    <a:pt x="9745545" y="5413941"/>
                  </a:lnTo>
                  <a:close/>
                  <a:moveTo>
                    <a:pt x="9209785" y="5412924"/>
                  </a:moveTo>
                  <a:lnTo>
                    <a:pt x="8939373" y="5684035"/>
                  </a:lnTo>
                  <a:lnTo>
                    <a:pt x="9210484" y="5954447"/>
                  </a:lnTo>
                  <a:lnTo>
                    <a:pt x="9470623" y="5954447"/>
                  </a:lnTo>
                  <a:lnTo>
                    <a:pt x="9325603" y="5809427"/>
                  </a:lnTo>
                  <a:lnTo>
                    <a:pt x="9325603" y="5805827"/>
                  </a:lnTo>
                  <a:lnTo>
                    <a:pt x="9203497" y="5684035"/>
                  </a:lnTo>
                  <a:lnTo>
                    <a:pt x="9325603" y="5561467"/>
                  </a:lnTo>
                  <a:lnTo>
                    <a:pt x="9325603" y="5559279"/>
                  </a:lnTo>
                  <a:lnTo>
                    <a:pt x="9471958" y="5412924"/>
                  </a:lnTo>
                  <a:close/>
                  <a:moveTo>
                    <a:pt x="11127651" y="5412543"/>
                  </a:moveTo>
                  <a:lnTo>
                    <a:pt x="10857239" y="5683654"/>
                  </a:lnTo>
                  <a:lnTo>
                    <a:pt x="11128350" y="5954066"/>
                  </a:lnTo>
                  <a:lnTo>
                    <a:pt x="11392474" y="5954066"/>
                  </a:lnTo>
                  <a:lnTo>
                    <a:pt x="11121363" y="5683654"/>
                  </a:lnTo>
                  <a:lnTo>
                    <a:pt x="11391775" y="5412543"/>
                  </a:lnTo>
                  <a:close/>
                  <a:moveTo>
                    <a:pt x="10029932" y="5412543"/>
                  </a:moveTo>
                  <a:lnTo>
                    <a:pt x="9759520" y="5683654"/>
                  </a:lnTo>
                  <a:lnTo>
                    <a:pt x="10030631" y="5954066"/>
                  </a:lnTo>
                  <a:lnTo>
                    <a:pt x="10294754" y="5954066"/>
                  </a:lnTo>
                  <a:lnTo>
                    <a:pt x="10023643" y="5683654"/>
                  </a:lnTo>
                  <a:lnTo>
                    <a:pt x="10293356" y="5412543"/>
                  </a:lnTo>
                  <a:close/>
                  <a:moveTo>
                    <a:pt x="11676162" y="5411845"/>
                  </a:moveTo>
                  <a:lnTo>
                    <a:pt x="11405749" y="5682955"/>
                  </a:lnTo>
                  <a:lnTo>
                    <a:pt x="11676861" y="5953367"/>
                  </a:lnTo>
                  <a:lnTo>
                    <a:pt x="11940983" y="5953367"/>
                  </a:lnTo>
                  <a:lnTo>
                    <a:pt x="11669873" y="5682955"/>
                  </a:lnTo>
                  <a:lnTo>
                    <a:pt x="11854339" y="5498489"/>
                  </a:lnTo>
                  <a:lnTo>
                    <a:pt x="11940285" y="5412543"/>
                  </a:lnTo>
                  <a:lnTo>
                    <a:pt x="11681752" y="5412543"/>
                  </a:lnTo>
                  <a:close/>
                  <a:moveTo>
                    <a:pt x="10578442" y="5411845"/>
                  </a:moveTo>
                  <a:lnTo>
                    <a:pt x="10308030" y="5682955"/>
                  </a:lnTo>
                  <a:lnTo>
                    <a:pt x="10579141" y="5953367"/>
                  </a:lnTo>
                  <a:lnTo>
                    <a:pt x="10843264" y="5953367"/>
                  </a:lnTo>
                  <a:lnTo>
                    <a:pt x="10572154" y="5682955"/>
                  </a:lnTo>
                  <a:lnTo>
                    <a:pt x="10756621" y="5498489"/>
                  </a:lnTo>
                  <a:lnTo>
                    <a:pt x="10842566" y="5411845"/>
                  </a:lnTo>
                  <a:close/>
                  <a:moveTo>
                    <a:pt x="167886" y="5147274"/>
                  </a:moveTo>
                  <a:lnTo>
                    <a:pt x="438997" y="5417686"/>
                  </a:lnTo>
                  <a:lnTo>
                    <a:pt x="169284" y="5688797"/>
                  </a:lnTo>
                  <a:lnTo>
                    <a:pt x="432708" y="5688797"/>
                  </a:lnTo>
                  <a:lnTo>
                    <a:pt x="703120" y="5417686"/>
                  </a:lnTo>
                  <a:lnTo>
                    <a:pt x="568962" y="5284227"/>
                  </a:lnTo>
                  <a:lnTo>
                    <a:pt x="432009" y="5147274"/>
                  </a:lnTo>
                  <a:close/>
                  <a:moveTo>
                    <a:pt x="1814116" y="5146575"/>
                  </a:moveTo>
                  <a:lnTo>
                    <a:pt x="1942683" y="5275144"/>
                  </a:lnTo>
                  <a:lnTo>
                    <a:pt x="2084528" y="5416987"/>
                  </a:lnTo>
                  <a:lnTo>
                    <a:pt x="1814116" y="5688098"/>
                  </a:lnTo>
                  <a:lnTo>
                    <a:pt x="2078239" y="5688098"/>
                  </a:lnTo>
                  <a:lnTo>
                    <a:pt x="2348651" y="5416987"/>
                  </a:lnTo>
                  <a:lnTo>
                    <a:pt x="2343759" y="5412096"/>
                  </a:lnTo>
                  <a:lnTo>
                    <a:pt x="2078239" y="5146575"/>
                  </a:lnTo>
                  <a:close/>
                  <a:moveTo>
                    <a:pt x="2362625" y="5145876"/>
                  </a:moveTo>
                  <a:lnTo>
                    <a:pt x="2633736" y="5415590"/>
                  </a:lnTo>
                  <a:lnTo>
                    <a:pt x="2630942" y="5418385"/>
                  </a:lnTo>
                  <a:lnTo>
                    <a:pt x="2540804" y="5509220"/>
                  </a:lnTo>
                  <a:lnTo>
                    <a:pt x="2363324" y="5686700"/>
                  </a:lnTo>
                  <a:lnTo>
                    <a:pt x="2627447" y="5686700"/>
                  </a:lnTo>
                  <a:lnTo>
                    <a:pt x="2716886" y="5597262"/>
                  </a:lnTo>
                  <a:lnTo>
                    <a:pt x="2897859" y="5416288"/>
                  </a:lnTo>
                  <a:lnTo>
                    <a:pt x="2626749" y="5145876"/>
                  </a:lnTo>
                  <a:close/>
                  <a:moveTo>
                    <a:pt x="1264208" y="5145876"/>
                  </a:moveTo>
                  <a:lnTo>
                    <a:pt x="1535319" y="5415590"/>
                  </a:lnTo>
                  <a:lnTo>
                    <a:pt x="1532523" y="5418385"/>
                  </a:lnTo>
                  <a:lnTo>
                    <a:pt x="1442387" y="5509220"/>
                  </a:lnTo>
                  <a:lnTo>
                    <a:pt x="1264907" y="5686700"/>
                  </a:lnTo>
                  <a:lnTo>
                    <a:pt x="1529030" y="5686700"/>
                  </a:lnTo>
                  <a:lnTo>
                    <a:pt x="1618469" y="5597262"/>
                  </a:lnTo>
                  <a:lnTo>
                    <a:pt x="1799442" y="5416288"/>
                  </a:lnTo>
                  <a:lnTo>
                    <a:pt x="1528331" y="5145876"/>
                  </a:lnTo>
                  <a:close/>
                  <a:moveTo>
                    <a:pt x="715697" y="5145876"/>
                  </a:moveTo>
                  <a:lnTo>
                    <a:pt x="717095" y="5147274"/>
                  </a:lnTo>
                  <a:lnTo>
                    <a:pt x="986808" y="5416288"/>
                  </a:lnTo>
                  <a:lnTo>
                    <a:pt x="716396" y="5687399"/>
                  </a:lnTo>
                  <a:lnTo>
                    <a:pt x="980520" y="5687399"/>
                  </a:lnTo>
                  <a:lnTo>
                    <a:pt x="1250932" y="5416288"/>
                  </a:lnTo>
                  <a:lnTo>
                    <a:pt x="1245342" y="5411397"/>
                  </a:lnTo>
                  <a:lnTo>
                    <a:pt x="979821" y="5145876"/>
                  </a:lnTo>
                  <a:close/>
                  <a:moveTo>
                    <a:pt x="2911136" y="5145178"/>
                  </a:moveTo>
                  <a:lnTo>
                    <a:pt x="3041801" y="5274445"/>
                  </a:lnTo>
                  <a:lnTo>
                    <a:pt x="3182246" y="5414891"/>
                  </a:lnTo>
                  <a:lnTo>
                    <a:pt x="2911834" y="5686002"/>
                  </a:lnTo>
                  <a:lnTo>
                    <a:pt x="3175958" y="5686002"/>
                  </a:lnTo>
                  <a:lnTo>
                    <a:pt x="3446370" y="5415590"/>
                  </a:lnTo>
                  <a:lnTo>
                    <a:pt x="3175259" y="5145178"/>
                  </a:lnTo>
                  <a:close/>
                  <a:moveTo>
                    <a:pt x="3459646" y="5144479"/>
                  </a:moveTo>
                  <a:lnTo>
                    <a:pt x="3730757" y="5414891"/>
                  </a:lnTo>
                  <a:lnTo>
                    <a:pt x="3460345" y="5686002"/>
                  </a:lnTo>
                  <a:lnTo>
                    <a:pt x="3724468" y="5686002"/>
                  </a:lnTo>
                  <a:lnTo>
                    <a:pt x="3994880" y="5414891"/>
                  </a:lnTo>
                  <a:lnTo>
                    <a:pt x="3723769" y="5144479"/>
                  </a:lnTo>
                  <a:close/>
                  <a:moveTo>
                    <a:pt x="4008156" y="5143780"/>
                  </a:moveTo>
                  <a:lnTo>
                    <a:pt x="4279267" y="5414192"/>
                  </a:lnTo>
                  <a:lnTo>
                    <a:pt x="4008855" y="5685303"/>
                  </a:lnTo>
                  <a:lnTo>
                    <a:pt x="4207298" y="5685303"/>
                  </a:lnTo>
                  <a:lnTo>
                    <a:pt x="4272281" y="5685303"/>
                  </a:lnTo>
                  <a:lnTo>
                    <a:pt x="4543392" y="5414192"/>
                  </a:lnTo>
                  <a:lnTo>
                    <a:pt x="4409232" y="5280734"/>
                  </a:lnTo>
                  <a:lnTo>
                    <a:pt x="4272281" y="5143780"/>
                  </a:lnTo>
                  <a:close/>
                  <a:moveTo>
                    <a:pt x="4555270" y="5143081"/>
                  </a:moveTo>
                  <a:lnTo>
                    <a:pt x="4822307" y="5409430"/>
                  </a:lnTo>
                  <a:lnTo>
                    <a:pt x="5085129" y="5409430"/>
                  </a:lnTo>
                  <a:lnTo>
                    <a:pt x="4818091" y="5143081"/>
                  </a:lnTo>
                  <a:close/>
                  <a:moveTo>
                    <a:pt x="4828477" y="5142512"/>
                  </a:moveTo>
                  <a:lnTo>
                    <a:pt x="4828477" y="5142995"/>
                  </a:lnTo>
                  <a:lnTo>
                    <a:pt x="5099104" y="5412924"/>
                  </a:lnTo>
                  <a:lnTo>
                    <a:pt x="4829390" y="5684035"/>
                  </a:lnTo>
                  <a:lnTo>
                    <a:pt x="5092815" y="5684035"/>
                  </a:lnTo>
                  <a:lnTo>
                    <a:pt x="5363227" y="5412924"/>
                  </a:lnTo>
                  <a:lnTo>
                    <a:pt x="5229068" y="5279465"/>
                  </a:lnTo>
                  <a:lnTo>
                    <a:pt x="5092115" y="5142512"/>
                  </a:lnTo>
                  <a:close/>
                  <a:moveTo>
                    <a:pt x="6474223" y="5141813"/>
                  </a:moveTo>
                  <a:lnTo>
                    <a:pt x="6602789" y="5270382"/>
                  </a:lnTo>
                  <a:lnTo>
                    <a:pt x="6744635" y="5412225"/>
                  </a:lnTo>
                  <a:lnTo>
                    <a:pt x="6474223" y="5683336"/>
                  </a:lnTo>
                  <a:lnTo>
                    <a:pt x="6738346" y="5683336"/>
                  </a:lnTo>
                  <a:lnTo>
                    <a:pt x="7008758" y="5412225"/>
                  </a:lnTo>
                  <a:lnTo>
                    <a:pt x="7003865" y="5407334"/>
                  </a:lnTo>
                  <a:lnTo>
                    <a:pt x="6738346" y="5141813"/>
                  </a:lnTo>
                  <a:close/>
                  <a:moveTo>
                    <a:pt x="7022731" y="5141114"/>
                  </a:moveTo>
                  <a:lnTo>
                    <a:pt x="7293842" y="5410828"/>
                  </a:lnTo>
                  <a:lnTo>
                    <a:pt x="7291048" y="5413623"/>
                  </a:lnTo>
                  <a:lnTo>
                    <a:pt x="7200910" y="5504458"/>
                  </a:lnTo>
                  <a:lnTo>
                    <a:pt x="7023431" y="5681938"/>
                  </a:lnTo>
                  <a:lnTo>
                    <a:pt x="7287553" y="5681938"/>
                  </a:lnTo>
                  <a:lnTo>
                    <a:pt x="7376992" y="5592500"/>
                  </a:lnTo>
                  <a:lnTo>
                    <a:pt x="7557965" y="5411526"/>
                  </a:lnTo>
                  <a:lnTo>
                    <a:pt x="7286855" y="5141114"/>
                  </a:lnTo>
                  <a:close/>
                  <a:moveTo>
                    <a:pt x="5924314" y="5141114"/>
                  </a:moveTo>
                  <a:lnTo>
                    <a:pt x="6195425" y="5410828"/>
                  </a:lnTo>
                  <a:lnTo>
                    <a:pt x="6192630" y="5413623"/>
                  </a:lnTo>
                  <a:lnTo>
                    <a:pt x="6102494" y="5504458"/>
                  </a:lnTo>
                  <a:lnTo>
                    <a:pt x="5925013" y="5681938"/>
                  </a:lnTo>
                  <a:lnTo>
                    <a:pt x="6189136" y="5681938"/>
                  </a:lnTo>
                  <a:lnTo>
                    <a:pt x="6278575" y="5592500"/>
                  </a:lnTo>
                  <a:lnTo>
                    <a:pt x="6459548" y="5411526"/>
                  </a:lnTo>
                  <a:lnTo>
                    <a:pt x="6188437" y="5141114"/>
                  </a:lnTo>
                  <a:close/>
                  <a:moveTo>
                    <a:pt x="5375803" y="5141114"/>
                  </a:moveTo>
                  <a:lnTo>
                    <a:pt x="5377202" y="5142512"/>
                  </a:lnTo>
                  <a:lnTo>
                    <a:pt x="5646914" y="5411526"/>
                  </a:lnTo>
                  <a:lnTo>
                    <a:pt x="5376502" y="5682637"/>
                  </a:lnTo>
                  <a:lnTo>
                    <a:pt x="5640627" y="5682637"/>
                  </a:lnTo>
                  <a:lnTo>
                    <a:pt x="5911038" y="5411526"/>
                  </a:lnTo>
                  <a:lnTo>
                    <a:pt x="5905448" y="5406635"/>
                  </a:lnTo>
                  <a:lnTo>
                    <a:pt x="5639927" y="5141114"/>
                  </a:lnTo>
                  <a:close/>
                  <a:moveTo>
                    <a:pt x="7571242" y="5140416"/>
                  </a:moveTo>
                  <a:lnTo>
                    <a:pt x="7701907" y="5269683"/>
                  </a:lnTo>
                  <a:lnTo>
                    <a:pt x="7842352" y="5410129"/>
                  </a:lnTo>
                  <a:lnTo>
                    <a:pt x="7571940" y="5681240"/>
                  </a:lnTo>
                  <a:lnTo>
                    <a:pt x="7836064" y="5681240"/>
                  </a:lnTo>
                  <a:lnTo>
                    <a:pt x="8106476" y="5410828"/>
                  </a:lnTo>
                  <a:lnTo>
                    <a:pt x="7835365" y="5140416"/>
                  </a:lnTo>
                  <a:close/>
                  <a:moveTo>
                    <a:pt x="8119752" y="5139717"/>
                  </a:moveTo>
                  <a:lnTo>
                    <a:pt x="8390863" y="5410129"/>
                  </a:lnTo>
                  <a:lnTo>
                    <a:pt x="8120451" y="5681240"/>
                  </a:lnTo>
                  <a:lnTo>
                    <a:pt x="8384574" y="5681240"/>
                  </a:lnTo>
                  <a:lnTo>
                    <a:pt x="8654986" y="5410129"/>
                  </a:lnTo>
                  <a:lnTo>
                    <a:pt x="8383875" y="5139717"/>
                  </a:lnTo>
                  <a:close/>
                  <a:moveTo>
                    <a:pt x="9488582" y="5139337"/>
                  </a:moveTo>
                  <a:lnTo>
                    <a:pt x="9488582" y="5139510"/>
                  </a:lnTo>
                  <a:lnTo>
                    <a:pt x="9759520" y="5409749"/>
                  </a:lnTo>
                  <a:lnTo>
                    <a:pt x="9489807" y="5680860"/>
                  </a:lnTo>
                  <a:lnTo>
                    <a:pt x="9753231" y="5680860"/>
                  </a:lnTo>
                  <a:lnTo>
                    <a:pt x="10023643" y="5409749"/>
                  </a:lnTo>
                  <a:lnTo>
                    <a:pt x="9889485" y="5276290"/>
                  </a:lnTo>
                  <a:lnTo>
                    <a:pt x="9752532" y="5139337"/>
                  </a:lnTo>
                  <a:close/>
                  <a:moveTo>
                    <a:pt x="8668262" y="5139018"/>
                  </a:moveTo>
                  <a:lnTo>
                    <a:pt x="8939373" y="5409430"/>
                  </a:lnTo>
                  <a:lnTo>
                    <a:pt x="8668961" y="5680541"/>
                  </a:lnTo>
                  <a:lnTo>
                    <a:pt x="8867403" y="5680541"/>
                  </a:lnTo>
                  <a:lnTo>
                    <a:pt x="8932386" y="5680541"/>
                  </a:lnTo>
                  <a:lnTo>
                    <a:pt x="9203497" y="5409430"/>
                  </a:lnTo>
                  <a:lnTo>
                    <a:pt x="9069338" y="5275972"/>
                  </a:lnTo>
                  <a:lnTo>
                    <a:pt x="8932386" y="5139018"/>
                  </a:lnTo>
                  <a:close/>
                  <a:moveTo>
                    <a:pt x="11134639" y="5138638"/>
                  </a:moveTo>
                  <a:lnTo>
                    <a:pt x="11263206" y="5267207"/>
                  </a:lnTo>
                  <a:lnTo>
                    <a:pt x="11405051" y="5409050"/>
                  </a:lnTo>
                  <a:lnTo>
                    <a:pt x="11134639" y="5680161"/>
                  </a:lnTo>
                  <a:lnTo>
                    <a:pt x="11398762" y="5680161"/>
                  </a:lnTo>
                  <a:lnTo>
                    <a:pt x="11669174" y="5409050"/>
                  </a:lnTo>
                  <a:lnTo>
                    <a:pt x="11664282" y="5404159"/>
                  </a:lnTo>
                  <a:lnTo>
                    <a:pt x="11398762" y="5138638"/>
                  </a:lnTo>
                  <a:close/>
                  <a:moveTo>
                    <a:pt x="9215375" y="5138319"/>
                  </a:moveTo>
                  <a:lnTo>
                    <a:pt x="9484003" y="5406255"/>
                  </a:lnTo>
                  <a:lnTo>
                    <a:pt x="9745545" y="5406255"/>
                  </a:lnTo>
                  <a:lnTo>
                    <a:pt x="9476916" y="5138319"/>
                  </a:lnTo>
                  <a:close/>
                  <a:moveTo>
                    <a:pt x="10584731" y="5137939"/>
                  </a:moveTo>
                  <a:lnTo>
                    <a:pt x="10855842" y="5407653"/>
                  </a:lnTo>
                  <a:lnTo>
                    <a:pt x="10853046" y="5410448"/>
                  </a:lnTo>
                  <a:lnTo>
                    <a:pt x="10762910" y="5501283"/>
                  </a:lnTo>
                  <a:lnTo>
                    <a:pt x="10585430" y="5678763"/>
                  </a:lnTo>
                  <a:lnTo>
                    <a:pt x="10849553" y="5678763"/>
                  </a:lnTo>
                  <a:lnTo>
                    <a:pt x="10938992" y="5589325"/>
                  </a:lnTo>
                  <a:lnTo>
                    <a:pt x="11119965" y="5408351"/>
                  </a:lnTo>
                  <a:lnTo>
                    <a:pt x="10848854" y="5137939"/>
                  </a:lnTo>
                  <a:close/>
                  <a:moveTo>
                    <a:pt x="10036220" y="5137939"/>
                  </a:moveTo>
                  <a:lnTo>
                    <a:pt x="10037618" y="5139337"/>
                  </a:lnTo>
                  <a:lnTo>
                    <a:pt x="10307331" y="5408351"/>
                  </a:lnTo>
                  <a:lnTo>
                    <a:pt x="10036919" y="5679462"/>
                  </a:lnTo>
                  <a:lnTo>
                    <a:pt x="10301043" y="5679462"/>
                  </a:lnTo>
                  <a:lnTo>
                    <a:pt x="10571455" y="5408351"/>
                  </a:lnTo>
                  <a:lnTo>
                    <a:pt x="10565865" y="5403460"/>
                  </a:lnTo>
                  <a:lnTo>
                    <a:pt x="10300344" y="5137939"/>
                  </a:lnTo>
                  <a:close/>
                  <a:moveTo>
                    <a:pt x="708011" y="4871971"/>
                  </a:moveTo>
                  <a:lnTo>
                    <a:pt x="527737" y="5052944"/>
                  </a:lnTo>
                  <a:lnTo>
                    <a:pt x="438298" y="5143081"/>
                  </a:lnTo>
                  <a:lnTo>
                    <a:pt x="572456" y="5276540"/>
                  </a:lnTo>
                  <a:lnTo>
                    <a:pt x="709409" y="5413494"/>
                  </a:lnTo>
                  <a:lnTo>
                    <a:pt x="973532" y="5413494"/>
                  </a:lnTo>
                  <a:lnTo>
                    <a:pt x="702421" y="5143081"/>
                  </a:lnTo>
                  <a:lnTo>
                    <a:pt x="703819" y="5141684"/>
                  </a:lnTo>
                  <a:lnTo>
                    <a:pt x="972135" y="4871971"/>
                  </a:lnTo>
                  <a:close/>
                  <a:moveTo>
                    <a:pt x="1257220" y="4871272"/>
                  </a:moveTo>
                  <a:lnTo>
                    <a:pt x="986808" y="5142383"/>
                  </a:lnTo>
                  <a:lnTo>
                    <a:pt x="1257919" y="5412795"/>
                  </a:lnTo>
                  <a:lnTo>
                    <a:pt x="1522043" y="5412795"/>
                  </a:lnTo>
                  <a:lnTo>
                    <a:pt x="1250932" y="5142383"/>
                  </a:lnTo>
                  <a:lnTo>
                    <a:pt x="1521344" y="4871272"/>
                  </a:lnTo>
                  <a:close/>
                  <a:moveTo>
                    <a:pt x="2904148" y="4870573"/>
                  </a:moveTo>
                  <a:lnTo>
                    <a:pt x="2633736" y="5141684"/>
                  </a:lnTo>
                  <a:lnTo>
                    <a:pt x="2904847" y="5412096"/>
                  </a:lnTo>
                  <a:lnTo>
                    <a:pt x="3168271" y="5412096"/>
                  </a:lnTo>
                  <a:lnTo>
                    <a:pt x="3037607" y="5282130"/>
                  </a:lnTo>
                  <a:lnTo>
                    <a:pt x="2897162" y="5141684"/>
                  </a:lnTo>
                  <a:lnTo>
                    <a:pt x="3168271" y="4870573"/>
                  </a:lnTo>
                  <a:close/>
                  <a:moveTo>
                    <a:pt x="1805032" y="4870573"/>
                  </a:moveTo>
                  <a:lnTo>
                    <a:pt x="1534620" y="5141684"/>
                  </a:lnTo>
                  <a:lnTo>
                    <a:pt x="1805731" y="5412096"/>
                  </a:lnTo>
                  <a:lnTo>
                    <a:pt x="1807128" y="5413494"/>
                  </a:lnTo>
                  <a:lnTo>
                    <a:pt x="2071252" y="5413494"/>
                  </a:lnTo>
                  <a:lnTo>
                    <a:pt x="1939889" y="5282130"/>
                  </a:lnTo>
                  <a:lnTo>
                    <a:pt x="1802236" y="5144479"/>
                  </a:lnTo>
                  <a:lnTo>
                    <a:pt x="2071252" y="4870573"/>
                  </a:lnTo>
                  <a:close/>
                  <a:moveTo>
                    <a:pt x="3451960" y="4869875"/>
                  </a:moveTo>
                  <a:lnTo>
                    <a:pt x="3181548" y="5140985"/>
                  </a:lnTo>
                  <a:lnTo>
                    <a:pt x="3452658" y="5411397"/>
                  </a:lnTo>
                  <a:lnTo>
                    <a:pt x="3716782" y="5411397"/>
                  </a:lnTo>
                  <a:lnTo>
                    <a:pt x="3445671" y="5140985"/>
                  </a:lnTo>
                  <a:lnTo>
                    <a:pt x="3630138" y="4956518"/>
                  </a:lnTo>
                  <a:lnTo>
                    <a:pt x="3714686" y="4869875"/>
                  </a:lnTo>
                  <a:close/>
                  <a:moveTo>
                    <a:pt x="4000470" y="4869176"/>
                  </a:moveTo>
                  <a:lnTo>
                    <a:pt x="3730058" y="5140287"/>
                  </a:lnTo>
                  <a:lnTo>
                    <a:pt x="4001169" y="5410699"/>
                  </a:lnTo>
                  <a:lnTo>
                    <a:pt x="4265292" y="5410699"/>
                  </a:lnTo>
                  <a:lnTo>
                    <a:pt x="3994181" y="5140287"/>
                  </a:lnTo>
                  <a:lnTo>
                    <a:pt x="3995579" y="5138889"/>
                  </a:lnTo>
                  <a:lnTo>
                    <a:pt x="3994880" y="5138889"/>
                  </a:lnTo>
                  <a:lnTo>
                    <a:pt x="4263197" y="4869875"/>
                  </a:lnTo>
                  <a:lnTo>
                    <a:pt x="4004663" y="4869875"/>
                  </a:lnTo>
                  <a:lnTo>
                    <a:pt x="4006060" y="4869176"/>
                  </a:lnTo>
                  <a:close/>
                  <a:moveTo>
                    <a:pt x="4823465" y="4868606"/>
                  </a:moveTo>
                  <a:lnTo>
                    <a:pt x="4555968" y="5136792"/>
                  </a:lnTo>
                  <a:lnTo>
                    <a:pt x="4816244" y="5136792"/>
                  </a:lnTo>
                  <a:lnTo>
                    <a:pt x="4998484" y="4954551"/>
                  </a:lnTo>
                  <a:lnTo>
                    <a:pt x="5084429" y="4868606"/>
                  </a:lnTo>
                  <a:close/>
                  <a:moveTo>
                    <a:pt x="4548281" y="4868477"/>
                  </a:moveTo>
                  <a:lnTo>
                    <a:pt x="4367308" y="5049450"/>
                  </a:lnTo>
                  <a:lnTo>
                    <a:pt x="4368007" y="5050149"/>
                  </a:lnTo>
                  <a:lnTo>
                    <a:pt x="4278568" y="5140287"/>
                  </a:lnTo>
                  <a:lnTo>
                    <a:pt x="4412727" y="5273746"/>
                  </a:lnTo>
                  <a:lnTo>
                    <a:pt x="4548980" y="5410000"/>
                  </a:lnTo>
                  <a:lnTo>
                    <a:pt x="4810394" y="5410000"/>
                  </a:lnTo>
                  <a:lnTo>
                    <a:pt x="4665187" y="5264791"/>
                  </a:lnTo>
                  <a:lnTo>
                    <a:pt x="4665187" y="5262463"/>
                  </a:lnTo>
                  <a:lnTo>
                    <a:pt x="4541993" y="5139588"/>
                  </a:lnTo>
                  <a:lnTo>
                    <a:pt x="4665187" y="5016077"/>
                  </a:lnTo>
                  <a:lnTo>
                    <a:pt x="4665187" y="5013245"/>
                  </a:lnTo>
                  <a:lnTo>
                    <a:pt x="4809274" y="4868477"/>
                  </a:lnTo>
                  <a:close/>
                  <a:moveTo>
                    <a:pt x="2621159" y="4868477"/>
                  </a:moveTo>
                  <a:lnTo>
                    <a:pt x="2354940" y="4871272"/>
                  </a:lnTo>
                  <a:lnTo>
                    <a:pt x="2084528" y="5142383"/>
                  </a:lnTo>
                  <a:lnTo>
                    <a:pt x="2355639" y="5412795"/>
                  </a:lnTo>
                  <a:lnTo>
                    <a:pt x="2619762" y="5412795"/>
                  </a:lnTo>
                  <a:lnTo>
                    <a:pt x="2348651" y="5142383"/>
                  </a:lnTo>
                  <a:close/>
                  <a:moveTo>
                    <a:pt x="5368118" y="4867209"/>
                  </a:moveTo>
                  <a:lnTo>
                    <a:pt x="5187844" y="5048182"/>
                  </a:lnTo>
                  <a:lnTo>
                    <a:pt x="5098404" y="5138319"/>
                  </a:lnTo>
                  <a:lnTo>
                    <a:pt x="5232563" y="5271778"/>
                  </a:lnTo>
                  <a:lnTo>
                    <a:pt x="5369515" y="5408732"/>
                  </a:lnTo>
                  <a:lnTo>
                    <a:pt x="5633638" y="5408732"/>
                  </a:lnTo>
                  <a:lnTo>
                    <a:pt x="5362527" y="5138319"/>
                  </a:lnTo>
                  <a:lnTo>
                    <a:pt x="5363925" y="5136922"/>
                  </a:lnTo>
                  <a:lnTo>
                    <a:pt x="5632241" y="4867209"/>
                  </a:lnTo>
                  <a:close/>
                  <a:moveTo>
                    <a:pt x="5917326" y="4866510"/>
                  </a:moveTo>
                  <a:lnTo>
                    <a:pt x="5646914" y="5137621"/>
                  </a:lnTo>
                  <a:lnTo>
                    <a:pt x="5918025" y="5408033"/>
                  </a:lnTo>
                  <a:lnTo>
                    <a:pt x="6182150" y="5408033"/>
                  </a:lnTo>
                  <a:lnTo>
                    <a:pt x="5911038" y="5137621"/>
                  </a:lnTo>
                  <a:lnTo>
                    <a:pt x="6181450" y="4866510"/>
                  </a:lnTo>
                  <a:close/>
                  <a:moveTo>
                    <a:pt x="7564254" y="4865811"/>
                  </a:moveTo>
                  <a:lnTo>
                    <a:pt x="7293842" y="5136922"/>
                  </a:lnTo>
                  <a:lnTo>
                    <a:pt x="7564953" y="5407334"/>
                  </a:lnTo>
                  <a:lnTo>
                    <a:pt x="7828377" y="5407334"/>
                  </a:lnTo>
                  <a:lnTo>
                    <a:pt x="7697713" y="5277368"/>
                  </a:lnTo>
                  <a:lnTo>
                    <a:pt x="7557268" y="5136922"/>
                  </a:lnTo>
                  <a:lnTo>
                    <a:pt x="7828377" y="4865811"/>
                  </a:lnTo>
                  <a:close/>
                  <a:moveTo>
                    <a:pt x="6465139" y="4865811"/>
                  </a:moveTo>
                  <a:lnTo>
                    <a:pt x="6194726" y="5136922"/>
                  </a:lnTo>
                  <a:lnTo>
                    <a:pt x="6465837" y="5407334"/>
                  </a:lnTo>
                  <a:lnTo>
                    <a:pt x="6467235" y="5408732"/>
                  </a:lnTo>
                  <a:lnTo>
                    <a:pt x="6731358" y="5408732"/>
                  </a:lnTo>
                  <a:lnTo>
                    <a:pt x="6599996" y="5277368"/>
                  </a:lnTo>
                  <a:lnTo>
                    <a:pt x="6462342" y="5139717"/>
                  </a:lnTo>
                  <a:lnTo>
                    <a:pt x="6731358" y="4865811"/>
                  </a:lnTo>
                  <a:close/>
                  <a:moveTo>
                    <a:pt x="9481988" y="4865431"/>
                  </a:moveTo>
                  <a:lnTo>
                    <a:pt x="9216074" y="5132030"/>
                  </a:lnTo>
                  <a:lnTo>
                    <a:pt x="9478247" y="5132030"/>
                  </a:lnTo>
                  <a:lnTo>
                    <a:pt x="9658901" y="4951376"/>
                  </a:lnTo>
                  <a:lnTo>
                    <a:pt x="9744846" y="4865431"/>
                  </a:lnTo>
                  <a:close/>
                  <a:moveTo>
                    <a:pt x="8112066" y="4865113"/>
                  </a:moveTo>
                  <a:lnTo>
                    <a:pt x="7841654" y="5136223"/>
                  </a:lnTo>
                  <a:lnTo>
                    <a:pt x="8112764" y="5406635"/>
                  </a:lnTo>
                  <a:lnTo>
                    <a:pt x="8376888" y="5406635"/>
                  </a:lnTo>
                  <a:lnTo>
                    <a:pt x="8105777" y="5136223"/>
                  </a:lnTo>
                  <a:lnTo>
                    <a:pt x="8290244" y="4951756"/>
                  </a:lnTo>
                  <a:lnTo>
                    <a:pt x="8374792" y="4865113"/>
                  </a:lnTo>
                  <a:close/>
                  <a:moveTo>
                    <a:pt x="8660576" y="4864414"/>
                  </a:moveTo>
                  <a:lnTo>
                    <a:pt x="8390164" y="5135525"/>
                  </a:lnTo>
                  <a:lnTo>
                    <a:pt x="8661275" y="5405937"/>
                  </a:lnTo>
                  <a:lnTo>
                    <a:pt x="8925398" y="5405937"/>
                  </a:lnTo>
                  <a:lnTo>
                    <a:pt x="8654287" y="5135525"/>
                  </a:lnTo>
                  <a:lnTo>
                    <a:pt x="8655685" y="5134127"/>
                  </a:lnTo>
                  <a:lnTo>
                    <a:pt x="8654986" y="5134127"/>
                  </a:lnTo>
                  <a:lnTo>
                    <a:pt x="8923303" y="4865113"/>
                  </a:lnTo>
                  <a:lnTo>
                    <a:pt x="8664769" y="4865113"/>
                  </a:lnTo>
                  <a:lnTo>
                    <a:pt x="8666166" y="4864414"/>
                  </a:lnTo>
                  <a:close/>
                  <a:moveTo>
                    <a:pt x="10028534" y="4864034"/>
                  </a:moveTo>
                  <a:lnTo>
                    <a:pt x="9848260" y="5045007"/>
                  </a:lnTo>
                  <a:lnTo>
                    <a:pt x="9758821" y="5135144"/>
                  </a:lnTo>
                  <a:lnTo>
                    <a:pt x="9892979" y="5268603"/>
                  </a:lnTo>
                  <a:lnTo>
                    <a:pt x="10029932" y="5405557"/>
                  </a:lnTo>
                  <a:lnTo>
                    <a:pt x="10294055" y="5405557"/>
                  </a:lnTo>
                  <a:lnTo>
                    <a:pt x="10022944" y="5135144"/>
                  </a:lnTo>
                  <a:lnTo>
                    <a:pt x="10024342" y="5133747"/>
                  </a:lnTo>
                  <a:lnTo>
                    <a:pt x="10292658" y="4864034"/>
                  </a:lnTo>
                  <a:close/>
                  <a:moveTo>
                    <a:pt x="9208387" y="4863715"/>
                  </a:moveTo>
                  <a:lnTo>
                    <a:pt x="9027414" y="5044688"/>
                  </a:lnTo>
                  <a:lnTo>
                    <a:pt x="9028113" y="5045387"/>
                  </a:lnTo>
                  <a:lnTo>
                    <a:pt x="8938674" y="5135525"/>
                  </a:lnTo>
                  <a:lnTo>
                    <a:pt x="9072833" y="5268984"/>
                  </a:lnTo>
                  <a:lnTo>
                    <a:pt x="9209086" y="5405238"/>
                  </a:lnTo>
                  <a:lnTo>
                    <a:pt x="9469224" y="5405238"/>
                  </a:lnTo>
                  <a:lnTo>
                    <a:pt x="9325603" y="5261616"/>
                  </a:lnTo>
                  <a:lnTo>
                    <a:pt x="9325603" y="5258012"/>
                  </a:lnTo>
                  <a:lnTo>
                    <a:pt x="9202099" y="5134826"/>
                  </a:lnTo>
                  <a:lnTo>
                    <a:pt x="9325603" y="5011003"/>
                  </a:lnTo>
                  <a:lnTo>
                    <a:pt x="9325603" y="5010070"/>
                  </a:lnTo>
                  <a:lnTo>
                    <a:pt x="9471271" y="4863715"/>
                  </a:lnTo>
                  <a:close/>
                  <a:moveTo>
                    <a:pt x="7281265" y="4863715"/>
                  </a:moveTo>
                  <a:lnTo>
                    <a:pt x="7015046" y="4866510"/>
                  </a:lnTo>
                  <a:lnTo>
                    <a:pt x="6744635" y="5137621"/>
                  </a:lnTo>
                  <a:lnTo>
                    <a:pt x="7015746" y="5408033"/>
                  </a:lnTo>
                  <a:lnTo>
                    <a:pt x="7279868" y="5408033"/>
                  </a:lnTo>
                  <a:lnTo>
                    <a:pt x="7008758" y="5137621"/>
                  </a:lnTo>
                  <a:close/>
                  <a:moveTo>
                    <a:pt x="10577743" y="4863335"/>
                  </a:moveTo>
                  <a:lnTo>
                    <a:pt x="10307331" y="5134446"/>
                  </a:lnTo>
                  <a:lnTo>
                    <a:pt x="10578442" y="5404858"/>
                  </a:lnTo>
                  <a:lnTo>
                    <a:pt x="10842566" y="5404858"/>
                  </a:lnTo>
                  <a:lnTo>
                    <a:pt x="10571455" y="5134446"/>
                  </a:lnTo>
                  <a:lnTo>
                    <a:pt x="10841867" y="4863335"/>
                  </a:lnTo>
                  <a:close/>
                  <a:moveTo>
                    <a:pt x="11125555" y="4862636"/>
                  </a:moveTo>
                  <a:lnTo>
                    <a:pt x="10855143" y="5133747"/>
                  </a:lnTo>
                  <a:lnTo>
                    <a:pt x="11126254" y="5404159"/>
                  </a:lnTo>
                  <a:lnTo>
                    <a:pt x="11127651" y="5405557"/>
                  </a:lnTo>
                  <a:lnTo>
                    <a:pt x="11391775" y="5405557"/>
                  </a:lnTo>
                  <a:lnTo>
                    <a:pt x="11260412" y="5274193"/>
                  </a:lnTo>
                  <a:lnTo>
                    <a:pt x="11122759" y="5136542"/>
                  </a:lnTo>
                  <a:lnTo>
                    <a:pt x="11391775" y="4862636"/>
                  </a:lnTo>
                  <a:close/>
                  <a:moveTo>
                    <a:pt x="11941682" y="4860540"/>
                  </a:moveTo>
                  <a:lnTo>
                    <a:pt x="11675463" y="4863335"/>
                  </a:lnTo>
                  <a:lnTo>
                    <a:pt x="11405051" y="5134446"/>
                  </a:lnTo>
                  <a:lnTo>
                    <a:pt x="11676162" y="5404858"/>
                  </a:lnTo>
                  <a:lnTo>
                    <a:pt x="11940285" y="5404858"/>
                  </a:lnTo>
                  <a:lnTo>
                    <a:pt x="11669174" y="5134446"/>
                  </a:lnTo>
                  <a:close/>
                  <a:moveTo>
                    <a:pt x="166488" y="4598764"/>
                  </a:moveTo>
                  <a:lnTo>
                    <a:pt x="437599" y="4869176"/>
                  </a:lnTo>
                  <a:lnTo>
                    <a:pt x="434805" y="4871971"/>
                  </a:lnTo>
                  <a:lnTo>
                    <a:pt x="344667" y="4962807"/>
                  </a:lnTo>
                  <a:lnTo>
                    <a:pt x="167187" y="5139588"/>
                  </a:lnTo>
                  <a:lnTo>
                    <a:pt x="431311" y="5139588"/>
                  </a:lnTo>
                  <a:lnTo>
                    <a:pt x="520749" y="5050149"/>
                  </a:lnTo>
                  <a:lnTo>
                    <a:pt x="701722" y="4869176"/>
                  </a:lnTo>
                  <a:lnTo>
                    <a:pt x="430612" y="4598764"/>
                  </a:lnTo>
                  <a:close/>
                  <a:moveTo>
                    <a:pt x="715697" y="4598065"/>
                  </a:moveTo>
                  <a:lnTo>
                    <a:pt x="845663" y="4728030"/>
                  </a:lnTo>
                  <a:lnTo>
                    <a:pt x="986109" y="4867778"/>
                  </a:lnTo>
                  <a:lnTo>
                    <a:pt x="715697" y="5138889"/>
                  </a:lnTo>
                  <a:lnTo>
                    <a:pt x="979821" y="5138889"/>
                  </a:lnTo>
                  <a:lnTo>
                    <a:pt x="1250932" y="4868477"/>
                  </a:lnTo>
                  <a:lnTo>
                    <a:pt x="979821" y="4598065"/>
                  </a:lnTo>
                  <a:close/>
                  <a:moveTo>
                    <a:pt x="2911136" y="4597366"/>
                  </a:moveTo>
                  <a:lnTo>
                    <a:pt x="3040403" y="4725236"/>
                  </a:lnTo>
                  <a:lnTo>
                    <a:pt x="3040403" y="4725935"/>
                  </a:lnTo>
                  <a:lnTo>
                    <a:pt x="3182246" y="4867778"/>
                  </a:lnTo>
                  <a:lnTo>
                    <a:pt x="2911834" y="5138889"/>
                  </a:lnTo>
                  <a:lnTo>
                    <a:pt x="3175259" y="5138889"/>
                  </a:lnTo>
                  <a:lnTo>
                    <a:pt x="3445671" y="4867778"/>
                  </a:lnTo>
                  <a:lnTo>
                    <a:pt x="3440081" y="4862188"/>
                  </a:lnTo>
                  <a:lnTo>
                    <a:pt x="3439382" y="4862188"/>
                  </a:lnTo>
                  <a:lnTo>
                    <a:pt x="3173862" y="4597366"/>
                  </a:lnTo>
                  <a:close/>
                  <a:moveTo>
                    <a:pt x="1813417" y="4597366"/>
                  </a:moveTo>
                  <a:lnTo>
                    <a:pt x="1815507" y="4600154"/>
                  </a:lnTo>
                  <a:lnTo>
                    <a:pt x="1814814" y="4599463"/>
                  </a:lnTo>
                  <a:lnTo>
                    <a:pt x="1815513" y="4600162"/>
                  </a:lnTo>
                  <a:lnTo>
                    <a:pt x="1815507" y="4600154"/>
                  </a:lnTo>
                  <a:lnTo>
                    <a:pt x="2074046" y="4857996"/>
                  </a:lnTo>
                  <a:lnTo>
                    <a:pt x="2083829" y="4867079"/>
                  </a:lnTo>
                  <a:lnTo>
                    <a:pt x="2085925" y="4869176"/>
                  </a:lnTo>
                  <a:lnTo>
                    <a:pt x="1821102" y="5138889"/>
                  </a:lnTo>
                  <a:lnTo>
                    <a:pt x="2080335" y="5139588"/>
                  </a:lnTo>
                  <a:lnTo>
                    <a:pt x="2350049" y="4869176"/>
                  </a:lnTo>
                  <a:lnTo>
                    <a:pt x="2214493" y="4734319"/>
                  </a:lnTo>
                  <a:lnTo>
                    <a:pt x="2197724" y="4717549"/>
                  </a:lnTo>
                  <a:lnTo>
                    <a:pt x="2078239" y="4598764"/>
                  </a:lnTo>
                  <a:lnTo>
                    <a:pt x="2074046" y="4597366"/>
                  </a:lnTo>
                  <a:close/>
                  <a:moveTo>
                    <a:pt x="1263509" y="4597366"/>
                  </a:moveTo>
                  <a:lnTo>
                    <a:pt x="1534620" y="4867778"/>
                  </a:lnTo>
                  <a:lnTo>
                    <a:pt x="1264208" y="5138889"/>
                  </a:lnTo>
                  <a:lnTo>
                    <a:pt x="1528331" y="5138889"/>
                  </a:lnTo>
                  <a:lnTo>
                    <a:pt x="1798743" y="4867778"/>
                  </a:lnTo>
                  <a:lnTo>
                    <a:pt x="1527632" y="4597366"/>
                  </a:lnTo>
                  <a:close/>
                  <a:moveTo>
                    <a:pt x="2626749" y="4595968"/>
                  </a:moveTo>
                  <a:lnTo>
                    <a:pt x="2363324" y="4596667"/>
                  </a:lnTo>
                  <a:lnTo>
                    <a:pt x="2632339" y="4864984"/>
                  </a:lnTo>
                  <a:lnTo>
                    <a:pt x="2631641" y="4865683"/>
                  </a:lnTo>
                  <a:lnTo>
                    <a:pt x="2633038" y="4867079"/>
                  </a:lnTo>
                  <a:lnTo>
                    <a:pt x="2362625" y="5138190"/>
                  </a:lnTo>
                  <a:lnTo>
                    <a:pt x="2626749" y="5138190"/>
                  </a:lnTo>
                  <a:lnTo>
                    <a:pt x="2716886" y="5048053"/>
                  </a:lnTo>
                  <a:lnTo>
                    <a:pt x="2896463" y="4864984"/>
                  </a:lnTo>
                  <a:close/>
                  <a:moveTo>
                    <a:pt x="4555270" y="4595271"/>
                  </a:moveTo>
                  <a:lnTo>
                    <a:pt x="4822299" y="4861613"/>
                  </a:lnTo>
                  <a:lnTo>
                    <a:pt x="5084429" y="4860921"/>
                  </a:lnTo>
                  <a:lnTo>
                    <a:pt x="4818093" y="4595271"/>
                  </a:lnTo>
                  <a:close/>
                  <a:moveTo>
                    <a:pt x="4006759" y="4595271"/>
                  </a:moveTo>
                  <a:lnTo>
                    <a:pt x="4136725" y="4724537"/>
                  </a:lnTo>
                  <a:lnTo>
                    <a:pt x="4277172" y="4864984"/>
                  </a:lnTo>
                  <a:lnTo>
                    <a:pt x="4184238" y="4958615"/>
                  </a:lnTo>
                  <a:lnTo>
                    <a:pt x="4184937" y="4959313"/>
                  </a:lnTo>
                  <a:lnTo>
                    <a:pt x="4008156" y="5136792"/>
                  </a:lnTo>
                  <a:lnTo>
                    <a:pt x="4270883" y="5136792"/>
                  </a:lnTo>
                  <a:lnTo>
                    <a:pt x="4541295" y="4865683"/>
                  </a:lnTo>
                  <a:lnTo>
                    <a:pt x="4270183" y="4595271"/>
                  </a:lnTo>
                  <a:close/>
                  <a:moveTo>
                    <a:pt x="3458248" y="4595271"/>
                  </a:moveTo>
                  <a:lnTo>
                    <a:pt x="3729359" y="4865683"/>
                  </a:lnTo>
                  <a:lnTo>
                    <a:pt x="3730058" y="4866380"/>
                  </a:lnTo>
                  <a:lnTo>
                    <a:pt x="3459646" y="5137491"/>
                  </a:lnTo>
                  <a:lnTo>
                    <a:pt x="3723769" y="5137491"/>
                  </a:lnTo>
                  <a:lnTo>
                    <a:pt x="3813208" y="5047355"/>
                  </a:lnTo>
                  <a:lnTo>
                    <a:pt x="3812509" y="5047355"/>
                  </a:lnTo>
                  <a:lnTo>
                    <a:pt x="3993483" y="4866380"/>
                  </a:lnTo>
                  <a:lnTo>
                    <a:pt x="3988591" y="4860791"/>
                  </a:lnTo>
                  <a:lnTo>
                    <a:pt x="3722372" y="4595271"/>
                  </a:lnTo>
                  <a:close/>
                  <a:moveTo>
                    <a:pt x="4828477" y="4594002"/>
                  </a:moveTo>
                  <a:lnTo>
                    <a:pt x="4828477" y="4595879"/>
                  </a:lnTo>
                  <a:lnTo>
                    <a:pt x="5097706" y="4864414"/>
                  </a:lnTo>
                  <a:lnTo>
                    <a:pt x="5094911" y="4867209"/>
                  </a:lnTo>
                  <a:lnTo>
                    <a:pt x="5004773" y="4958045"/>
                  </a:lnTo>
                  <a:lnTo>
                    <a:pt x="4828477" y="5133648"/>
                  </a:lnTo>
                  <a:lnTo>
                    <a:pt x="4828477" y="5134826"/>
                  </a:lnTo>
                  <a:lnTo>
                    <a:pt x="5091417" y="5134826"/>
                  </a:lnTo>
                  <a:lnTo>
                    <a:pt x="5180855" y="5045387"/>
                  </a:lnTo>
                  <a:lnTo>
                    <a:pt x="5361829" y="4864414"/>
                  </a:lnTo>
                  <a:lnTo>
                    <a:pt x="5090718" y="4594002"/>
                  </a:lnTo>
                  <a:close/>
                  <a:moveTo>
                    <a:pt x="5375803" y="4593303"/>
                  </a:moveTo>
                  <a:lnTo>
                    <a:pt x="5505770" y="4723268"/>
                  </a:lnTo>
                  <a:lnTo>
                    <a:pt x="5646216" y="4863016"/>
                  </a:lnTo>
                  <a:lnTo>
                    <a:pt x="5375803" y="5134127"/>
                  </a:lnTo>
                  <a:lnTo>
                    <a:pt x="5639927" y="5134127"/>
                  </a:lnTo>
                  <a:lnTo>
                    <a:pt x="5911038" y="4863715"/>
                  </a:lnTo>
                  <a:lnTo>
                    <a:pt x="5639927" y="4593303"/>
                  </a:lnTo>
                  <a:close/>
                  <a:moveTo>
                    <a:pt x="7571242" y="4592604"/>
                  </a:moveTo>
                  <a:lnTo>
                    <a:pt x="7700509" y="4720474"/>
                  </a:lnTo>
                  <a:lnTo>
                    <a:pt x="7700509" y="4721173"/>
                  </a:lnTo>
                  <a:lnTo>
                    <a:pt x="7842352" y="4863016"/>
                  </a:lnTo>
                  <a:lnTo>
                    <a:pt x="7571940" y="5134127"/>
                  </a:lnTo>
                  <a:lnTo>
                    <a:pt x="7835365" y="5134127"/>
                  </a:lnTo>
                  <a:lnTo>
                    <a:pt x="8105777" y="4863016"/>
                  </a:lnTo>
                  <a:lnTo>
                    <a:pt x="8100187" y="4857426"/>
                  </a:lnTo>
                  <a:lnTo>
                    <a:pt x="8099488" y="4857426"/>
                  </a:lnTo>
                  <a:lnTo>
                    <a:pt x="7833968" y="4592604"/>
                  </a:lnTo>
                  <a:close/>
                  <a:moveTo>
                    <a:pt x="6473523" y="4592604"/>
                  </a:moveTo>
                  <a:lnTo>
                    <a:pt x="6475613" y="4595392"/>
                  </a:lnTo>
                  <a:lnTo>
                    <a:pt x="6474921" y="4594701"/>
                  </a:lnTo>
                  <a:lnTo>
                    <a:pt x="6475619" y="4595400"/>
                  </a:lnTo>
                  <a:lnTo>
                    <a:pt x="6475613" y="4595392"/>
                  </a:lnTo>
                  <a:lnTo>
                    <a:pt x="6734153" y="4853234"/>
                  </a:lnTo>
                  <a:lnTo>
                    <a:pt x="6743935" y="4862317"/>
                  </a:lnTo>
                  <a:lnTo>
                    <a:pt x="6746031" y="4864414"/>
                  </a:lnTo>
                  <a:lnTo>
                    <a:pt x="6481208" y="5134127"/>
                  </a:lnTo>
                  <a:lnTo>
                    <a:pt x="6740442" y="5134826"/>
                  </a:lnTo>
                  <a:lnTo>
                    <a:pt x="7010155" y="4864414"/>
                  </a:lnTo>
                  <a:lnTo>
                    <a:pt x="6874599" y="4729557"/>
                  </a:lnTo>
                  <a:lnTo>
                    <a:pt x="6857830" y="4712787"/>
                  </a:lnTo>
                  <a:lnTo>
                    <a:pt x="6738346" y="4594002"/>
                  </a:lnTo>
                  <a:lnTo>
                    <a:pt x="6734153" y="4592604"/>
                  </a:lnTo>
                  <a:close/>
                  <a:moveTo>
                    <a:pt x="5923616" y="4592604"/>
                  </a:moveTo>
                  <a:lnTo>
                    <a:pt x="6194726" y="4863016"/>
                  </a:lnTo>
                  <a:lnTo>
                    <a:pt x="5924314" y="5134127"/>
                  </a:lnTo>
                  <a:lnTo>
                    <a:pt x="6188437" y="5134127"/>
                  </a:lnTo>
                  <a:lnTo>
                    <a:pt x="6458849" y="4863016"/>
                  </a:lnTo>
                  <a:lnTo>
                    <a:pt x="6187739" y="4592604"/>
                  </a:lnTo>
                  <a:close/>
                  <a:moveTo>
                    <a:pt x="7286855" y="4591206"/>
                  </a:moveTo>
                  <a:lnTo>
                    <a:pt x="7023431" y="4591905"/>
                  </a:lnTo>
                  <a:lnTo>
                    <a:pt x="7292445" y="4860222"/>
                  </a:lnTo>
                  <a:lnTo>
                    <a:pt x="7291747" y="4860921"/>
                  </a:lnTo>
                  <a:lnTo>
                    <a:pt x="7293144" y="4862317"/>
                  </a:lnTo>
                  <a:lnTo>
                    <a:pt x="7022731" y="5133428"/>
                  </a:lnTo>
                  <a:lnTo>
                    <a:pt x="7286855" y="5133428"/>
                  </a:lnTo>
                  <a:lnTo>
                    <a:pt x="7376992" y="5043291"/>
                  </a:lnTo>
                  <a:lnTo>
                    <a:pt x="7556569" y="4860222"/>
                  </a:lnTo>
                  <a:close/>
                  <a:moveTo>
                    <a:pt x="9488582" y="4590827"/>
                  </a:moveTo>
                  <a:lnTo>
                    <a:pt x="9488582" y="4592394"/>
                  </a:lnTo>
                  <a:lnTo>
                    <a:pt x="9758122" y="4861239"/>
                  </a:lnTo>
                  <a:lnTo>
                    <a:pt x="9755328" y="4864034"/>
                  </a:lnTo>
                  <a:lnTo>
                    <a:pt x="9665190" y="4954870"/>
                  </a:lnTo>
                  <a:lnTo>
                    <a:pt x="9488582" y="5130783"/>
                  </a:lnTo>
                  <a:lnTo>
                    <a:pt x="9488582" y="5131651"/>
                  </a:lnTo>
                  <a:lnTo>
                    <a:pt x="9751834" y="5131651"/>
                  </a:lnTo>
                  <a:lnTo>
                    <a:pt x="9841272" y="5042212"/>
                  </a:lnTo>
                  <a:lnTo>
                    <a:pt x="10022245" y="4861239"/>
                  </a:lnTo>
                  <a:lnTo>
                    <a:pt x="9751135" y="4590827"/>
                  </a:lnTo>
                  <a:close/>
                  <a:moveTo>
                    <a:pt x="9215375" y="4590509"/>
                  </a:moveTo>
                  <a:lnTo>
                    <a:pt x="9483993" y="4858435"/>
                  </a:lnTo>
                  <a:lnTo>
                    <a:pt x="9744846" y="4857746"/>
                  </a:lnTo>
                  <a:lnTo>
                    <a:pt x="9476918" y="4590509"/>
                  </a:lnTo>
                  <a:close/>
                  <a:moveTo>
                    <a:pt x="8666865" y="4590509"/>
                  </a:moveTo>
                  <a:lnTo>
                    <a:pt x="8796831" y="4719775"/>
                  </a:lnTo>
                  <a:lnTo>
                    <a:pt x="8937277" y="4860222"/>
                  </a:lnTo>
                  <a:lnTo>
                    <a:pt x="8844344" y="4953853"/>
                  </a:lnTo>
                  <a:lnTo>
                    <a:pt x="8845043" y="4954551"/>
                  </a:lnTo>
                  <a:lnTo>
                    <a:pt x="8668262" y="5132030"/>
                  </a:lnTo>
                  <a:lnTo>
                    <a:pt x="8930988" y="5132030"/>
                  </a:lnTo>
                  <a:lnTo>
                    <a:pt x="9201400" y="4860921"/>
                  </a:lnTo>
                  <a:lnTo>
                    <a:pt x="8930289" y="4590509"/>
                  </a:lnTo>
                  <a:close/>
                  <a:moveTo>
                    <a:pt x="8118354" y="4590509"/>
                  </a:moveTo>
                  <a:lnTo>
                    <a:pt x="8389465" y="4860921"/>
                  </a:lnTo>
                  <a:lnTo>
                    <a:pt x="8390164" y="4861618"/>
                  </a:lnTo>
                  <a:lnTo>
                    <a:pt x="8119752" y="5132729"/>
                  </a:lnTo>
                  <a:lnTo>
                    <a:pt x="8383875" y="5132729"/>
                  </a:lnTo>
                  <a:lnTo>
                    <a:pt x="8473314" y="5042593"/>
                  </a:lnTo>
                  <a:lnTo>
                    <a:pt x="8472615" y="5042593"/>
                  </a:lnTo>
                  <a:lnTo>
                    <a:pt x="8653589" y="4861618"/>
                  </a:lnTo>
                  <a:lnTo>
                    <a:pt x="8648697" y="4856029"/>
                  </a:lnTo>
                  <a:lnTo>
                    <a:pt x="8382478" y="4590509"/>
                  </a:lnTo>
                  <a:close/>
                  <a:moveTo>
                    <a:pt x="10036220" y="4590128"/>
                  </a:moveTo>
                  <a:lnTo>
                    <a:pt x="10166186" y="4720093"/>
                  </a:lnTo>
                  <a:lnTo>
                    <a:pt x="10306632" y="4859841"/>
                  </a:lnTo>
                  <a:lnTo>
                    <a:pt x="10036220" y="5130952"/>
                  </a:lnTo>
                  <a:lnTo>
                    <a:pt x="10300344" y="5130952"/>
                  </a:lnTo>
                  <a:lnTo>
                    <a:pt x="10571455" y="4860540"/>
                  </a:lnTo>
                  <a:lnTo>
                    <a:pt x="10300344" y="4590128"/>
                  </a:lnTo>
                  <a:close/>
                  <a:moveTo>
                    <a:pt x="11133940" y="4589429"/>
                  </a:moveTo>
                  <a:lnTo>
                    <a:pt x="11136030" y="4592217"/>
                  </a:lnTo>
                  <a:lnTo>
                    <a:pt x="11135337" y="4591526"/>
                  </a:lnTo>
                  <a:lnTo>
                    <a:pt x="11136036" y="4592225"/>
                  </a:lnTo>
                  <a:lnTo>
                    <a:pt x="11136030" y="4592217"/>
                  </a:lnTo>
                  <a:lnTo>
                    <a:pt x="11394569" y="4850059"/>
                  </a:lnTo>
                  <a:lnTo>
                    <a:pt x="11404352" y="4859142"/>
                  </a:lnTo>
                  <a:lnTo>
                    <a:pt x="11406448" y="4861239"/>
                  </a:lnTo>
                  <a:lnTo>
                    <a:pt x="11141625" y="5130952"/>
                  </a:lnTo>
                  <a:lnTo>
                    <a:pt x="11400858" y="5131651"/>
                  </a:lnTo>
                  <a:lnTo>
                    <a:pt x="11670572" y="4861239"/>
                  </a:lnTo>
                  <a:lnTo>
                    <a:pt x="11535016" y="4726382"/>
                  </a:lnTo>
                  <a:lnTo>
                    <a:pt x="11518247" y="4709612"/>
                  </a:lnTo>
                  <a:lnTo>
                    <a:pt x="11398762" y="4590827"/>
                  </a:lnTo>
                  <a:lnTo>
                    <a:pt x="11394569" y="4589429"/>
                  </a:lnTo>
                  <a:close/>
                  <a:moveTo>
                    <a:pt x="10584032" y="4589429"/>
                  </a:moveTo>
                  <a:lnTo>
                    <a:pt x="10855143" y="4859841"/>
                  </a:lnTo>
                  <a:lnTo>
                    <a:pt x="10584731" y="5130952"/>
                  </a:lnTo>
                  <a:lnTo>
                    <a:pt x="10848854" y="5130952"/>
                  </a:lnTo>
                  <a:lnTo>
                    <a:pt x="11119266" y="4859841"/>
                  </a:lnTo>
                  <a:lnTo>
                    <a:pt x="10848155" y="4589429"/>
                  </a:lnTo>
                  <a:close/>
                  <a:moveTo>
                    <a:pt x="708011" y="4324160"/>
                  </a:moveTo>
                  <a:lnTo>
                    <a:pt x="437599" y="4595271"/>
                  </a:lnTo>
                  <a:lnTo>
                    <a:pt x="709409" y="4865683"/>
                  </a:lnTo>
                  <a:lnTo>
                    <a:pt x="972833" y="4865683"/>
                  </a:lnTo>
                  <a:lnTo>
                    <a:pt x="842169" y="4735716"/>
                  </a:lnTo>
                  <a:lnTo>
                    <a:pt x="701722" y="4595271"/>
                  </a:lnTo>
                  <a:lnTo>
                    <a:pt x="972135" y="4324160"/>
                  </a:lnTo>
                  <a:close/>
                  <a:moveTo>
                    <a:pt x="2354241" y="4323461"/>
                  </a:moveTo>
                  <a:lnTo>
                    <a:pt x="2083829" y="4594572"/>
                  </a:lnTo>
                  <a:lnTo>
                    <a:pt x="2353542" y="4863586"/>
                  </a:lnTo>
                  <a:lnTo>
                    <a:pt x="2616967" y="4863586"/>
                  </a:lnTo>
                  <a:lnTo>
                    <a:pt x="2347952" y="4594572"/>
                  </a:lnTo>
                  <a:lnTo>
                    <a:pt x="2348651" y="4593873"/>
                  </a:lnTo>
                  <a:lnTo>
                    <a:pt x="2347254" y="4592475"/>
                  </a:lnTo>
                  <a:lnTo>
                    <a:pt x="2615569" y="4323461"/>
                  </a:lnTo>
                  <a:close/>
                  <a:moveTo>
                    <a:pt x="1256521" y="4323461"/>
                  </a:moveTo>
                  <a:lnTo>
                    <a:pt x="986109" y="4594572"/>
                  </a:lnTo>
                  <a:lnTo>
                    <a:pt x="1257220" y="4864984"/>
                  </a:lnTo>
                  <a:lnTo>
                    <a:pt x="1521344" y="4864984"/>
                  </a:lnTo>
                  <a:lnTo>
                    <a:pt x="1250233" y="4594572"/>
                  </a:lnTo>
                  <a:lnTo>
                    <a:pt x="1520645" y="4323461"/>
                  </a:lnTo>
                  <a:lnTo>
                    <a:pt x="1392775" y="4323461"/>
                  </a:lnTo>
                  <a:close/>
                  <a:moveTo>
                    <a:pt x="1805731" y="4322762"/>
                  </a:moveTo>
                  <a:lnTo>
                    <a:pt x="1625456" y="4503735"/>
                  </a:lnTo>
                  <a:lnTo>
                    <a:pt x="1624758" y="4503735"/>
                  </a:lnTo>
                  <a:lnTo>
                    <a:pt x="1534620" y="4593873"/>
                  </a:lnTo>
                  <a:lnTo>
                    <a:pt x="1805032" y="4864984"/>
                  </a:lnTo>
                  <a:lnTo>
                    <a:pt x="2069155" y="4864984"/>
                  </a:lnTo>
                  <a:lnTo>
                    <a:pt x="1798044" y="4594572"/>
                  </a:lnTo>
                  <a:lnTo>
                    <a:pt x="1982512" y="4410104"/>
                  </a:lnTo>
                  <a:lnTo>
                    <a:pt x="1983211" y="4410104"/>
                  </a:lnTo>
                  <a:lnTo>
                    <a:pt x="2069155" y="4323461"/>
                  </a:lnTo>
                  <a:lnTo>
                    <a:pt x="1810622" y="4323461"/>
                  </a:lnTo>
                  <a:close/>
                  <a:moveTo>
                    <a:pt x="3450563" y="4321364"/>
                  </a:moveTo>
                  <a:lnTo>
                    <a:pt x="3269589" y="4503036"/>
                  </a:lnTo>
                  <a:lnTo>
                    <a:pt x="3270986" y="4503735"/>
                  </a:lnTo>
                  <a:lnTo>
                    <a:pt x="3181548" y="4593174"/>
                  </a:lnTo>
                  <a:lnTo>
                    <a:pt x="3451960" y="4862887"/>
                  </a:lnTo>
                  <a:lnTo>
                    <a:pt x="3715384" y="4862887"/>
                  </a:lnTo>
                  <a:lnTo>
                    <a:pt x="3444972" y="4593174"/>
                  </a:lnTo>
                  <a:lnTo>
                    <a:pt x="3444274" y="4592475"/>
                  </a:lnTo>
                  <a:lnTo>
                    <a:pt x="3714686" y="4321364"/>
                  </a:lnTo>
                  <a:close/>
                  <a:moveTo>
                    <a:pt x="2904847" y="4321364"/>
                  </a:moveTo>
                  <a:lnTo>
                    <a:pt x="2908341" y="4322762"/>
                  </a:lnTo>
                  <a:lnTo>
                    <a:pt x="2902751" y="4322762"/>
                  </a:lnTo>
                  <a:lnTo>
                    <a:pt x="2633736" y="4593174"/>
                  </a:lnTo>
                  <a:lnTo>
                    <a:pt x="2903449" y="4862188"/>
                  </a:lnTo>
                  <a:lnTo>
                    <a:pt x="3168271" y="4863586"/>
                  </a:lnTo>
                  <a:lnTo>
                    <a:pt x="2897162" y="4593174"/>
                  </a:lnTo>
                  <a:lnTo>
                    <a:pt x="2895764" y="4591776"/>
                  </a:lnTo>
                  <a:lnTo>
                    <a:pt x="3164778" y="4322063"/>
                  </a:lnTo>
                  <a:lnTo>
                    <a:pt x="2967035" y="4322063"/>
                  </a:lnTo>
                  <a:lnTo>
                    <a:pt x="2967733" y="4321364"/>
                  </a:lnTo>
                  <a:close/>
                  <a:moveTo>
                    <a:pt x="3999073" y="4320665"/>
                  </a:moveTo>
                  <a:lnTo>
                    <a:pt x="3728660" y="4591776"/>
                  </a:lnTo>
                  <a:lnTo>
                    <a:pt x="3999771" y="4862188"/>
                  </a:lnTo>
                  <a:lnTo>
                    <a:pt x="4263197" y="4862188"/>
                  </a:lnTo>
                  <a:lnTo>
                    <a:pt x="4133230" y="4732223"/>
                  </a:lnTo>
                  <a:lnTo>
                    <a:pt x="3992783" y="4591776"/>
                  </a:lnTo>
                  <a:lnTo>
                    <a:pt x="4263197" y="4320665"/>
                  </a:lnTo>
                  <a:close/>
                  <a:moveTo>
                    <a:pt x="4822057" y="4320097"/>
                  </a:moveTo>
                  <a:lnTo>
                    <a:pt x="4554570" y="4587584"/>
                  </a:lnTo>
                  <a:lnTo>
                    <a:pt x="4816244" y="4587584"/>
                  </a:lnTo>
                  <a:lnTo>
                    <a:pt x="5083731" y="4320097"/>
                  </a:lnTo>
                  <a:close/>
                  <a:moveTo>
                    <a:pt x="4547585" y="4319967"/>
                  </a:moveTo>
                  <a:lnTo>
                    <a:pt x="4277172" y="4591077"/>
                  </a:lnTo>
                  <a:lnTo>
                    <a:pt x="4548281" y="4861489"/>
                  </a:lnTo>
                  <a:lnTo>
                    <a:pt x="4810393" y="4861489"/>
                  </a:lnTo>
                  <a:lnTo>
                    <a:pt x="4808427" y="4859523"/>
                  </a:lnTo>
                  <a:lnTo>
                    <a:pt x="4665187" y="4716979"/>
                  </a:lnTo>
                  <a:lnTo>
                    <a:pt x="4665187" y="4714650"/>
                  </a:lnTo>
                  <a:lnTo>
                    <a:pt x="4541295" y="4591077"/>
                  </a:lnTo>
                  <a:lnTo>
                    <a:pt x="4665187" y="4466865"/>
                  </a:lnTo>
                  <a:lnTo>
                    <a:pt x="4665187" y="4464037"/>
                  </a:lnTo>
                  <a:lnTo>
                    <a:pt x="4808574" y="4319967"/>
                  </a:lnTo>
                  <a:close/>
                  <a:moveTo>
                    <a:pt x="5368118" y="4319398"/>
                  </a:moveTo>
                  <a:lnTo>
                    <a:pt x="5097706" y="4590509"/>
                  </a:lnTo>
                  <a:lnTo>
                    <a:pt x="5369515" y="4860921"/>
                  </a:lnTo>
                  <a:lnTo>
                    <a:pt x="5632939" y="4860921"/>
                  </a:lnTo>
                  <a:lnTo>
                    <a:pt x="5502275" y="4730954"/>
                  </a:lnTo>
                  <a:lnTo>
                    <a:pt x="5361829" y="4590509"/>
                  </a:lnTo>
                  <a:lnTo>
                    <a:pt x="5632241" y="4319398"/>
                  </a:lnTo>
                  <a:close/>
                  <a:moveTo>
                    <a:pt x="7014347" y="4318699"/>
                  </a:moveTo>
                  <a:lnTo>
                    <a:pt x="6743935" y="4589810"/>
                  </a:lnTo>
                  <a:lnTo>
                    <a:pt x="7013649" y="4858824"/>
                  </a:lnTo>
                  <a:lnTo>
                    <a:pt x="7277073" y="4858824"/>
                  </a:lnTo>
                  <a:lnTo>
                    <a:pt x="7008058" y="4589810"/>
                  </a:lnTo>
                  <a:lnTo>
                    <a:pt x="7008758" y="4589111"/>
                  </a:lnTo>
                  <a:lnTo>
                    <a:pt x="7007360" y="4587713"/>
                  </a:lnTo>
                  <a:lnTo>
                    <a:pt x="7275675" y="4318699"/>
                  </a:lnTo>
                  <a:close/>
                  <a:moveTo>
                    <a:pt x="5916628" y="4318699"/>
                  </a:moveTo>
                  <a:lnTo>
                    <a:pt x="5646216" y="4589810"/>
                  </a:lnTo>
                  <a:lnTo>
                    <a:pt x="5917326" y="4860222"/>
                  </a:lnTo>
                  <a:lnTo>
                    <a:pt x="6181450" y="4860222"/>
                  </a:lnTo>
                  <a:lnTo>
                    <a:pt x="5910339" y="4589810"/>
                  </a:lnTo>
                  <a:lnTo>
                    <a:pt x="6180751" y="4318699"/>
                  </a:lnTo>
                  <a:lnTo>
                    <a:pt x="6052882" y="4318699"/>
                  </a:lnTo>
                  <a:close/>
                  <a:moveTo>
                    <a:pt x="6465837" y="4318000"/>
                  </a:moveTo>
                  <a:lnTo>
                    <a:pt x="6285563" y="4498973"/>
                  </a:lnTo>
                  <a:lnTo>
                    <a:pt x="6284865" y="4498973"/>
                  </a:lnTo>
                  <a:lnTo>
                    <a:pt x="6194726" y="4589111"/>
                  </a:lnTo>
                  <a:lnTo>
                    <a:pt x="6465139" y="4860222"/>
                  </a:lnTo>
                  <a:lnTo>
                    <a:pt x="6729262" y="4860222"/>
                  </a:lnTo>
                  <a:lnTo>
                    <a:pt x="6458151" y="4589810"/>
                  </a:lnTo>
                  <a:lnTo>
                    <a:pt x="6642619" y="4405342"/>
                  </a:lnTo>
                  <a:lnTo>
                    <a:pt x="6643317" y="4405342"/>
                  </a:lnTo>
                  <a:lnTo>
                    <a:pt x="6729262" y="4318699"/>
                  </a:lnTo>
                  <a:lnTo>
                    <a:pt x="6470728" y="4318699"/>
                  </a:lnTo>
                  <a:close/>
                  <a:moveTo>
                    <a:pt x="9480576" y="4316922"/>
                  </a:moveTo>
                  <a:lnTo>
                    <a:pt x="9214676" y="4582822"/>
                  </a:lnTo>
                  <a:lnTo>
                    <a:pt x="9478247" y="4582822"/>
                  </a:lnTo>
                  <a:lnTo>
                    <a:pt x="9744147" y="4316922"/>
                  </a:lnTo>
                  <a:close/>
                  <a:moveTo>
                    <a:pt x="8110669" y="4316602"/>
                  </a:moveTo>
                  <a:lnTo>
                    <a:pt x="7929695" y="4498274"/>
                  </a:lnTo>
                  <a:lnTo>
                    <a:pt x="7931092" y="4498973"/>
                  </a:lnTo>
                  <a:lnTo>
                    <a:pt x="7841654" y="4588412"/>
                  </a:lnTo>
                  <a:lnTo>
                    <a:pt x="8112066" y="4858125"/>
                  </a:lnTo>
                  <a:lnTo>
                    <a:pt x="8375490" y="4858125"/>
                  </a:lnTo>
                  <a:lnTo>
                    <a:pt x="8105078" y="4588412"/>
                  </a:lnTo>
                  <a:lnTo>
                    <a:pt x="8104380" y="4587713"/>
                  </a:lnTo>
                  <a:lnTo>
                    <a:pt x="8374792" y="4316602"/>
                  </a:lnTo>
                  <a:close/>
                  <a:moveTo>
                    <a:pt x="7564953" y="4316602"/>
                  </a:moveTo>
                  <a:lnTo>
                    <a:pt x="7568447" y="4318000"/>
                  </a:lnTo>
                  <a:lnTo>
                    <a:pt x="7562857" y="4318000"/>
                  </a:lnTo>
                  <a:lnTo>
                    <a:pt x="7293842" y="4588412"/>
                  </a:lnTo>
                  <a:lnTo>
                    <a:pt x="7563555" y="4857426"/>
                  </a:lnTo>
                  <a:lnTo>
                    <a:pt x="7828377" y="4858824"/>
                  </a:lnTo>
                  <a:lnTo>
                    <a:pt x="7557268" y="4588412"/>
                  </a:lnTo>
                  <a:lnTo>
                    <a:pt x="7555870" y="4587014"/>
                  </a:lnTo>
                  <a:lnTo>
                    <a:pt x="7824884" y="4317301"/>
                  </a:lnTo>
                  <a:lnTo>
                    <a:pt x="7627141" y="4317301"/>
                  </a:lnTo>
                  <a:lnTo>
                    <a:pt x="7627839" y="4316602"/>
                  </a:lnTo>
                  <a:close/>
                  <a:moveTo>
                    <a:pt x="10028534" y="4316223"/>
                  </a:moveTo>
                  <a:lnTo>
                    <a:pt x="9758122" y="4587334"/>
                  </a:lnTo>
                  <a:lnTo>
                    <a:pt x="10029932" y="4857746"/>
                  </a:lnTo>
                  <a:lnTo>
                    <a:pt x="10293356" y="4857746"/>
                  </a:lnTo>
                  <a:lnTo>
                    <a:pt x="10162692" y="4727779"/>
                  </a:lnTo>
                  <a:lnTo>
                    <a:pt x="10022245" y="4587334"/>
                  </a:lnTo>
                  <a:lnTo>
                    <a:pt x="10292658" y="4316223"/>
                  </a:lnTo>
                  <a:close/>
                  <a:moveTo>
                    <a:pt x="8659179" y="4315903"/>
                  </a:moveTo>
                  <a:lnTo>
                    <a:pt x="8388766" y="4587014"/>
                  </a:lnTo>
                  <a:lnTo>
                    <a:pt x="8659877" y="4857426"/>
                  </a:lnTo>
                  <a:lnTo>
                    <a:pt x="8923303" y="4857426"/>
                  </a:lnTo>
                  <a:lnTo>
                    <a:pt x="8793336" y="4727461"/>
                  </a:lnTo>
                  <a:lnTo>
                    <a:pt x="8652889" y="4587014"/>
                  </a:lnTo>
                  <a:lnTo>
                    <a:pt x="8923303" y="4315903"/>
                  </a:lnTo>
                  <a:close/>
                  <a:moveTo>
                    <a:pt x="11674764" y="4315524"/>
                  </a:moveTo>
                  <a:lnTo>
                    <a:pt x="11404352" y="4586635"/>
                  </a:lnTo>
                  <a:lnTo>
                    <a:pt x="11674065" y="4855649"/>
                  </a:lnTo>
                  <a:lnTo>
                    <a:pt x="11937490" y="4855649"/>
                  </a:lnTo>
                  <a:lnTo>
                    <a:pt x="11668475" y="4586635"/>
                  </a:lnTo>
                  <a:lnTo>
                    <a:pt x="11669174" y="4585936"/>
                  </a:lnTo>
                  <a:lnTo>
                    <a:pt x="11667777" y="4584538"/>
                  </a:lnTo>
                  <a:lnTo>
                    <a:pt x="11936092" y="4315524"/>
                  </a:lnTo>
                  <a:close/>
                  <a:moveTo>
                    <a:pt x="10577044" y="4315524"/>
                  </a:moveTo>
                  <a:lnTo>
                    <a:pt x="10306632" y="4586635"/>
                  </a:lnTo>
                  <a:lnTo>
                    <a:pt x="10577743" y="4857047"/>
                  </a:lnTo>
                  <a:lnTo>
                    <a:pt x="10841867" y="4857047"/>
                  </a:lnTo>
                  <a:lnTo>
                    <a:pt x="10570756" y="4586635"/>
                  </a:lnTo>
                  <a:lnTo>
                    <a:pt x="10841168" y="4315524"/>
                  </a:lnTo>
                  <a:lnTo>
                    <a:pt x="10713298" y="4315524"/>
                  </a:lnTo>
                  <a:close/>
                  <a:moveTo>
                    <a:pt x="9207690" y="4315205"/>
                  </a:moveTo>
                  <a:lnTo>
                    <a:pt x="8937277" y="4586315"/>
                  </a:lnTo>
                  <a:lnTo>
                    <a:pt x="9208387" y="4856727"/>
                  </a:lnTo>
                  <a:lnTo>
                    <a:pt x="9469223" y="4856727"/>
                  </a:lnTo>
                  <a:lnTo>
                    <a:pt x="9468844" y="4856348"/>
                  </a:lnTo>
                  <a:lnTo>
                    <a:pt x="9325603" y="4713804"/>
                  </a:lnTo>
                  <a:lnTo>
                    <a:pt x="9325603" y="4710198"/>
                  </a:lnTo>
                  <a:lnTo>
                    <a:pt x="9201400" y="4586315"/>
                  </a:lnTo>
                  <a:lnTo>
                    <a:pt x="9325603" y="4461792"/>
                  </a:lnTo>
                  <a:lnTo>
                    <a:pt x="9325603" y="4460862"/>
                  </a:lnTo>
                  <a:lnTo>
                    <a:pt x="9470571" y="4315205"/>
                  </a:lnTo>
                  <a:close/>
                  <a:moveTo>
                    <a:pt x="11126254" y="4314825"/>
                  </a:moveTo>
                  <a:lnTo>
                    <a:pt x="10945979" y="4495798"/>
                  </a:lnTo>
                  <a:lnTo>
                    <a:pt x="10945281" y="4495798"/>
                  </a:lnTo>
                  <a:lnTo>
                    <a:pt x="10855143" y="4585936"/>
                  </a:lnTo>
                  <a:lnTo>
                    <a:pt x="11125555" y="4857047"/>
                  </a:lnTo>
                  <a:lnTo>
                    <a:pt x="11389678" y="4857047"/>
                  </a:lnTo>
                  <a:lnTo>
                    <a:pt x="11118567" y="4586635"/>
                  </a:lnTo>
                  <a:lnTo>
                    <a:pt x="11303035" y="4402167"/>
                  </a:lnTo>
                  <a:lnTo>
                    <a:pt x="11303734" y="4402167"/>
                  </a:lnTo>
                  <a:lnTo>
                    <a:pt x="11389678" y="4315524"/>
                  </a:lnTo>
                  <a:lnTo>
                    <a:pt x="11131145" y="4315524"/>
                  </a:lnTo>
                  <a:close/>
                  <a:moveTo>
                    <a:pt x="717155" y="4052402"/>
                  </a:moveTo>
                  <a:lnTo>
                    <a:pt x="986808" y="4320665"/>
                  </a:lnTo>
                  <a:lnTo>
                    <a:pt x="716396" y="4591776"/>
                  </a:lnTo>
                  <a:lnTo>
                    <a:pt x="979821" y="4591776"/>
                  </a:lnTo>
                  <a:lnTo>
                    <a:pt x="1250233" y="4320665"/>
                  </a:lnTo>
                  <a:lnTo>
                    <a:pt x="1116075" y="4187206"/>
                  </a:lnTo>
                  <a:lnTo>
                    <a:pt x="1019702" y="4090833"/>
                  </a:lnTo>
                  <a:lnTo>
                    <a:pt x="1018761" y="4090833"/>
                  </a:lnTo>
                  <a:lnTo>
                    <a:pt x="980330" y="4052402"/>
                  </a:lnTo>
                  <a:close/>
                  <a:moveTo>
                    <a:pt x="168395" y="4052402"/>
                  </a:moveTo>
                  <a:lnTo>
                    <a:pt x="206127" y="4090134"/>
                  </a:lnTo>
                  <a:lnTo>
                    <a:pt x="205772" y="4090134"/>
                  </a:lnTo>
                  <a:lnTo>
                    <a:pt x="437599" y="4321364"/>
                  </a:lnTo>
                  <a:lnTo>
                    <a:pt x="167187" y="4591776"/>
                  </a:lnTo>
                  <a:lnTo>
                    <a:pt x="431311" y="4591776"/>
                  </a:lnTo>
                  <a:lnTo>
                    <a:pt x="701722" y="4320665"/>
                  </a:lnTo>
                  <a:lnTo>
                    <a:pt x="470596" y="4090134"/>
                  </a:lnTo>
                  <a:lnTo>
                    <a:pt x="470250" y="4090134"/>
                  </a:lnTo>
                  <a:lnTo>
                    <a:pt x="432518" y="4052402"/>
                  </a:lnTo>
                  <a:close/>
                  <a:moveTo>
                    <a:pt x="1816265" y="4051703"/>
                  </a:moveTo>
                  <a:lnTo>
                    <a:pt x="1942683" y="4178123"/>
                  </a:lnTo>
                  <a:lnTo>
                    <a:pt x="2083829" y="4318569"/>
                  </a:lnTo>
                  <a:lnTo>
                    <a:pt x="1813417" y="4589680"/>
                  </a:lnTo>
                  <a:lnTo>
                    <a:pt x="2076842" y="4589680"/>
                  </a:lnTo>
                  <a:lnTo>
                    <a:pt x="2347254" y="4319268"/>
                  </a:lnTo>
                  <a:lnTo>
                    <a:pt x="2214493" y="4186507"/>
                  </a:lnTo>
                  <a:lnTo>
                    <a:pt x="2214493" y="4185809"/>
                  </a:lnTo>
                  <a:lnTo>
                    <a:pt x="2119736" y="4091531"/>
                  </a:lnTo>
                  <a:lnTo>
                    <a:pt x="2116480" y="4091531"/>
                  </a:lnTo>
                  <a:lnTo>
                    <a:pt x="2076652" y="4051703"/>
                  </a:lnTo>
                  <a:close/>
                  <a:moveTo>
                    <a:pt x="1266369" y="4051703"/>
                  </a:moveTo>
                  <a:lnTo>
                    <a:pt x="1534620" y="4318569"/>
                  </a:lnTo>
                  <a:lnTo>
                    <a:pt x="1531824" y="4321364"/>
                  </a:lnTo>
                  <a:lnTo>
                    <a:pt x="1441688" y="4412201"/>
                  </a:lnTo>
                  <a:lnTo>
                    <a:pt x="1440989" y="4412201"/>
                  </a:lnTo>
                  <a:lnTo>
                    <a:pt x="1263509" y="4590379"/>
                  </a:lnTo>
                  <a:lnTo>
                    <a:pt x="1527632" y="4590379"/>
                  </a:lnTo>
                  <a:lnTo>
                    <a:pt x="1798044" y="4319967"/>
                  </a:lnTo>
                  <a:lnTo>
                    <a:pt x="1793153" y="4315076"/>
                  </a:lnTo>
                  <a:lnTo>
                    <a:pt x="1795249" y="4315775"/>
                  </a:lnTo>
                  <a:lnTo>
                    <a:pt x="1569718" y="4090833"/>
                  </a:lnTo>
                  <a:lnTo>
                    <a:pt x="1567271" y="4090833"/>
                  </a:lnTo>
                  <a:lnTo>
                    <a:pt x="1528141" y="4051703"/>
                  </a:lnTo>
                  <a:close/>
                  <a:moveTo>
                    <a:pt x="2363377" y="4051005"/>
                  </a:moveTo>
                  <a:lnTo>
                    <a:pt x="2630942" y="4318569"/>
                  </a:lnTo>
                  <a:lnTo>
                    <a:pt x="2632339" y="4319967"/>
                  </a:lnTo>
                  <a:lnTo>
                    <a:pt x="2363324" y="4589680"/>
                  </a:lnTo>
                  <a:lnTo>
                    <a:pt x="2625352" y="4589680"/>
                  </a:lnTo>
                  <a:lnTo>
                    <a:pt x="2895065" y="4319268"/>
                  </a:lnTo>
                  <a:lnTo>
                    <a:pt x="2890873" y="4315076"/>
                  </a:lnTo>
                  <a:lnTo>
                    <a:pt x="2892968" y="4315775"/>
                  </a:lnTo>
                  <a:lnTo>
                    <a:pt x="2668140" y="4091531"/>
                  </a:lnTo>
                  <a:lnTo>
                    <a:pt x="2666387" y="4091531"/>
                  </a:lnTo>
                  <a:lnTo>
                    <a:pt x="2625861" y="4051005"/>
                  </a:lnTo>
                  <a:close/>
                  <a:moveTo>
                    <a:pt x="2911879" y="4049607"/>
                  </a:moveTo>
                  <a:lnTo>
                    <a:pt x="3179452" y="4317871"/>
                  </a:lnTo>
                  <a:lnTo>
                    <a:pt x="3087218" y="4410803"/>
                  </a:lnTo>
                  <a:lnTo>
                    <a:pt x="3087917" y="4411502"/>
                  </a:lnTo>
                  <a:lnTo>
                    <a:pt x="2911834" y="4587584"/>
                  </a:lnTo>
                  <a:lnTo>
                    <a:pt x="3108180" y="4587584"/>
                  </a:lnTo>
                  <a:lnTo>
                    <a:pt x="3107481" y="4588982"/>
                  </a:lnTo>
                  <a:lnTo>
                    <a:pt x="3173163" y="4588982"/>
                  </a:lnTo>
                  <a:lnTo>
                    <a:pt x="3443575" y="4317871"/>
                  </a:lnTo>
                  <a:lnTo>
                    <a:pt x="3215951" y="4090833"/>
                  </a:lnTo>
                  <a:lnTo>
                    <a:pt x="3215596" y="4090833"/>
                  </a:lnTo>
                  <a:lnTo>
                    <a:pt x="3174371" y="4049607"/>
                  </a:lnTo>
                  <a:close/>
                  <a:moveTo>
                    <a:pt x="3459004" y="4048908"/>
                  </a:moveTo>
                  <a:lnTo>
                    <a:pt x="3728660" y="4317871"/>
                  </a:lnTo>
                  <a:lnTo>
                    <a:pt x="3458248" y="4588283"/>
                  </a:lnTo>
                  <a:lnTo>
                    <a:pt x="3722372" y="4588283"/>
                  </a:lnTo>
                  <a:lnTo>
                    <a:pt x="3992783" y="4317871"/>
                  </a:lnTo>
                  <a:lnTo>
                    <a:pt x="3765160" y="4090833"/>
                  </a:lnTo>
                  <a:lnTo>
                    <a:pt x="3764107" y="4090833"/>
                  </a:lnTo>
                  <a:lnTo>
                    <a:pt x="3722183" y="4048908"/>
                  </a:lnTo>
                  <a:close/>
                  <a:moveTo>
                    <a:pt x="4007520" y="4048209"/>
                  </a:moveTo>
                  <a:lnTo>
                    <a:pt x="4277870" y="4316473"/>
                  </a:lnTo>
                  <a:lnTo>
                    <a:pt x="4007457" y="4587584"/>
                  </a:lnTo>
                  <a:lnTo>
                    <a:pt x="4270883" y="4587584"/>
                  </a:lnTo>
                  <a:lnTo>
                    <a:pt x="4541295" y="4316473"/>
                  </a:lnTo>
                  <a:lnTo>
                    <a:pt x="4407136" y="4183014"/>
                  </a:lnTo>
                  <a:lnTo>
                    <a:pt x="4314483" y="4090833"/>
                  </a:lnTo>
                  <a:lnTo>
                    <a:pt x="4313317" y="4090833"/>
                  </a:lnTo>
                  <a:lnTo>
                    <a:pt x="4270692" y="4048209"/>
                  </a:lnTo>
                  <a:close/>
                  <a:moveTo>
                    <a:pt x="5377262" y="4047640"/>
                  </a:moveTo>
                  <a:lnTo>
                    <a:pt x="5646914" y="4315903"/>
                  </a:lnTo>
                  <a:lnTo>
                    <a:pt x="5376502" y="4587014"/>
                  </a:lnTo>
                  <a:lnTo>
                    <a:pt x="5639927" y="4587014"/>
                  </a:lnTo>
                  <a:lnTo>
                    <a:pt x="5910339" y="4315903"/>
                  </a:lnTo>
                  <a:lnTo>
                    <a:pt x="5776182" y="4182444"/>
                  </a:lnTo>
                  <a:lnTo>
                    <a:pt x="5679808" y="4086071"/>
                  </a:lnTo>
                  <a:lnTo>
                    <a:pt x="5678867" y="4086071"/>
                  </a:lnTo>
                  <a:lnTo>
                    <a:pt x="5640436" y="4047640"/>
                  </a:lnTo>
                  <a:close/>
                  <a:moveTo>
                    <a:pt x="4828501" y="4047640"/>
                  </a:moveTo>
                  <a:lnTo>
                    <a:pt x="4866233" y="4085372"/>
                  </a:lnTo>
                  <a:lnTo>
                    <a:pt x="4865878" y="4085372"/>
                  </a:lnTo>
                  <a:lnTo>
                    <a:pt x="5097706" y="4316602"/>
                  </a:lnTo>
                  <a:lnTo>
                    <a:pt x="4828477" y="4585831"/>
                  </a:lnTo>
                  <a:lnTo>
                    <a:pt x="4828477" y="4587014"/>
                  </a:lnTo>
                  <a:lnTo>
                    <a:pt x="5091417" y="4587014"/>
                  </a:lnTo>
                  <a:lnTo>
                    <a:pt x="5361829" y="4315903"/>
                  </a:lnTo>
                  <a:lnTo>
                    <a:pt x="5130702" y="4085372"/>
                  </a:lnTo>
                  <a:lnTo>
                    <a:pt x="5130356" y="4085372"/>
                  </a:lnTo>
                  <a:lnTo>
                    <a:pt x="5092624" y="4047640"/>
                  </a:lnTo>
                  <a:close/>
                  <a:moveTo>
                    <a:pt x="6476371" y="4046941"/>
                  </a:moveTo>
                  <a:lnTo>
                    <a:pt x="6602789" y="4173361"/>
                  </a:lnTo>
                  <a:lnTo>
                    <a:pt x="6743935" y="4313807"/>
                  </a:lnTo>
                  <a:lnTo>
                    <a:pt x="6473523" y="4584918"/>
                  </a:lnTo>
                  <a:lnTo>
                    <a:pt x="6736948" y="4584918"/>
                  </a:lnTo>
                  <a:lnTo>
                    <a:pt x="7007360" y="4314506"/>
                  </a:lnTo>
                  <a:lnTo>
                    <a:pt x="6874599" y="4181745"/>
                  </a:lnTo>
                  <a:lnTo>
                    <a:pt x="6874599" y="4181047"/>
                  </a:lnTo>
                  <a:lnTo>
                    <a:pt x="6779842" y="4086769"/>
                  </a:lnTo>
                  <a:lnTo>
                    <a:pt x="6776587" y="4086769"/>
                  </a:lnTo>
                  <a:lnTo>
                    <a:pt x="6736759" y="4046941"/>
                  </a:lnTo>
                  <a:close/>
                  <a:moveTo>
                    <a:pt x="5926476" y="4046941"/>
                  </a:moveTo>
                  <a:lnTo>
                    <a:pt x="6194726" y="4313807"/>
                  </a:lnTo>
                  <a:lnTo>
                    <a:pt x="6191930" y="4316602"/>
                  </a:lnTo>
                  <a:lnTo>
                    <a:pt x="6101794" y="4407439"/>
                  </a:lnTo>
                  <a:lnTo>
                    <a:pt x="6101096" y="4407439"/>
                  </a:lnTo>
                  <a:lnTo>
                    <a:pt x="5923616" y="4585617"/>
                  </a:lnTo>
                  <a:lnTo>
                    <a:pt x="6187739" y="4585617"/>
                  </a:lnTo>
                  <a:lnTo>
                    <a:pt x="6458151" y="4315205"/>
                  </a:lnTo>
                  <a:lnTo>
                    <a:pt x="6453259" y="4310314"/>
                  </a:lnTo>
                  <a:lnTo>
                    <a:pt x="6455355" y="4311013"/>
                  </a:lnTo>
                  <a:lnTo>
                    <a:pt x="6229824" y="4086071"/>
                  </a:lnTo>
                  <a:lnTo>
                    <a:pt x="6227377" y="4086071"/>
                  </a:lnTo>
                  <a:lnTo>
                    <a:pt x="6188247" y="4046941"/>
                  </a:lnTo>
                  <a:close/>
                  <a:moveTo>
                    <a:pt x="4555321" y="4046813"/>
                  </a:moveTo>
                  <a:lnTo>
                    <a:pt x="4555968" y="4047459"/>
                  </a:lnTo>
                  <a:lnTo>
                    <a:pt x="4821607" y="4312410"/>
                  </a:lnTo>
                  <a:lnTo>
                    <a:pt x="5083731" y="4312410"/>
                  </a:lnTo>
                  <a:lnTo>
                    <a:pt x="4816757" y="4046813"/>
                  </a:lnTo>
                  <a:close/>
                  <a:moveTo>
                    <a:pt x="7023483" y="4046243"/>
                  </a:moveTo>
                  <a:lnTo>
                    <a:pt x="7291048" y="4313807"/>
                  </a:lnTo>
                  <a:lnTo>
                    <a:pt x="7292445" y="4315205"/>
                  </a:lnTo>
                  <a:lnTo>
                    <a:pt x="7023431" y="4584918"/>
                  </a:lnTo>
                  <a:lnTo>
                    <a:pt x="7285458" y="4584918"/>
                  </a:lnTo>
                  <a:lnTo>
                    <a:pt x="7555171" y="4314506"/>
                  </a:lnTo>
                  <a:lnTo>
                    <a:pt x="7550979" y="4310314"/>
                  </a:lnTo>
                  <a:lnTo>
                    <a:pt x="7553074" y="4311013"/>
                  </a:lnTo>
                  <a:lnTo>
                    <a:pt x="7328246" y="4086769"/>
                  </a:lnTo>
                  <a:lnTo>
                    <a:pt x="7326493" y="4086769"/>
                  </a:lnTo>
                  <a:lnTo>
                    <a:pt x="7285967" y="4046243"/>
                  </a:lnTo>
                  <a:close/>
                  <a:moveTo>
                    <a:pt x="7571985" y="4044845"/>
                  </a:moveTo>
                  <a:lnTo>
                    <a:pt x="7839558" y="4313109"/>
                  </a:lnTo>
                  <a:lnTo>
                    <a:pt x="7747324" y="4406041"/>
                  </a:lnTo>
                  <a:lnTo>
                    <a:pt x="7748023" y="4406740"/>
                  </a:lnTo>
                  <a:lnTo>
                    <a:pt x="7571940" y="4582822"/>
                  </a:lnTo>
                  <a:lnTo>
                    <a:pt x="7768286" y="4582822"/>
                  </a:lnTo>
                  <a:lnTo>
                    <a:pt x="7767587" y="4584220"/>
                  </a:lnTo>
                  <a:lnTo>
                    <a:pt x="7833269" y="4584220"/>
                  </a:lnTo>
                  <a:lnTo>
                    <a:pt x="8103681" y="4313109"/>
                  </a:lnTo>
                  <a:lnTo>
                    <a:pt x="7876057" y="4086071"/>
                  </a:lnTo>
                  <a:lnTo>
                    <a:pt x="7875702" y="4086071"/>
                  </a:lnTo>
                  <a:lnTo>
                    <a:pt x="7834477" y="4044845"/>
                  </a:lnTo>
                  <a:close/>
                  <a:moveTo>
                    <a:pt x="10037678" y="4044465"/>
                  </a:moveTo>
                  <a:lnTo>
                    <a:pt x="10307331" y="4312728"/>
                  </a:lnTo>
                  <a:lnTo>
                    <a:pt x="10036919" y="4583839"/>
                  </a:lnTo>
                  <a:lnTo>
                    <a:pt x="10300344" y="4583839"/>
                  </a:lnTo>
                  <a:lnTo>
                    <a:pt x="10570756" y="4312728"/>
                  </a:lnTo>
                  <a:lnTo>
                    <a:pt x="10436598" y="4179269"/>
                  </a:lnTo>
                  <a:lnTo>
                    <a:pt x="10340225" y="4082896"/>
                  </a:lnTo>
                  <a:lnTo>
                    <a:pt x="10339284" y="4082896"/>
                  </a:lnTo>
                  <a:lnTo>
                    <a:pt x="10300853" y="4044465"/>
                  </a:lnTo>
                  <a:close/>
                  <a:moveTo>
                    <a:pt x="9488918" y="4044465"/>
                  </a:moveTo>
                  <a:lnTo>
                    <a:pt x="9526650" y="4082197"/>
                  </a:lnTo>
                  <a:lnTo>
                    <a:pt x="9526295" y="4082197"/>
                  </a:lnTo>
                  <a:lnTo>
                    <a:pt x="9758122" y="4313427"/>
                  </a:lnTo>
                  <a:lnTo>
                    <a:pt x="9488582" y="4582967"/>
                  </a:lnTo>
                  <a:lnTo>
                    <a:pt x="9488582" y="4583521"/>
                  </a:lnTo>
                  <a:lnTo>
                    <a:pt x="9488264" y="4583839"/>
                  </a:lnTo>
                  <a:lnTo>
                    <a:pt x="9751834" y="4583839"/>
                  </a:lnTo>
                  <a:lnTo>
                    <a:pt x="10022245" y="4312728"/>
                  </a:lnTo>
                  <a:lnTo>
                    <a:pt x="9791119" y="4082197"/>
                  </a:lnTo>
                  <a:lnTo>
                    <a:pt x="9790773" y="4082197"/>
                  </a:lnTo>
                  <a:lnTo>
                    <a:pt x="9753041" y="4044465"/>
                  </a:lnTo>
                  <a:close/>
                  <a:moveTo>
                    <a:pt x="8119110" y="4044146"/>
                  </a:moveTo>
                  <a:lnTo>
                    <a:pt x="8388766" y="4313109"/>
                  </a:lnTo>
                  <a:lnTo>
                    <a:pt x="8118354" y="4583521"/>
                  </a:lnTo>
                  <a:lnTo>
                    <a:pt x="8382478" y="4583521"/>
                  </a:lnTo>
                  <a:lnTo>
                    <a:pt x="8652889" y="4313109"/>
                  </a:lnTo>
                  <a:lnTo>
                    <a:pt x="8425266" y="4086071"/>
                  </a:lnTo>
                  <a:lnTo>
                    <a:pt x="8424213" y="4086071"/>
                  </a:lnTo>
                  <a:lnTo>
                    <a:pt x="8382289" y="4044146"/>
                  </a:lnTo>
                  <a:close/>
                  <a:moveTo>
                    <a:pt x="11136788" y="4043766"/>
                  </a:moveTo>
                  <a:lnTo>
                    <a:pt x="11263206" y="4170186"/>
                  </a:lnTo>
                  <a:lnTo>
                    <a:pt x="11404352" y="4310632"/>
                  </a:lnTo>
                  <a:lnTo>
                    <a:pt x="11133940" y="4581743"/>
                  </a:lnTo>
                  <a:lnTo>
                    <a:pt x="11397365" y="4581743"/>
                  </a:lnTo>
                  <a:lnTo>
                    <a:pt x="11667777" y="4311331"/>
                  </a:lnTo>
                  <a:lnTo>
                    <a:pt x="11535016" y="4178570"/>
                  </a:lnTo>
                  <a:lnTo>
                    <a:pt x="11535016" y="4177872"/>
                  </a:lnTo>
                  <a:lnTo>
                    <a:pt x="11440259" y="4083594"/>
                  </a:lnTo>
                  <a:lnTo>
                    <a:pt x="11437003" y="4083594"/>
                  </a:lnTo>
                  <a:lnTo>
                    <a:pt x="11397175" y="4043766"/>
                  </a:lnTo>
                  <a:close/>
                  <a:moveTo>
                    <a:pt x="10586892" y="4043766"/>
                  </a:moveTo>
                  <a:lnTo>
                    <a:pt x="10855143" y="4310632"/>
                  </a:lnTo>
                  <a:lnTo>
                    <a:pt x="10852347" y="4313427"/>
                  </a:lnTo>
                  <a:lnTo>
                    <a:pt x="10762211" y="4404264"/>
                  </a:lnTo>
                  <a:lnTo>
                    <a:pt x="10761512" y="4404264"/>
                  </a:lnTo>
                  <a:lnTo>
                    <a:pt x="10584032" y="4582442"/>
                  </a:lnTo>
                  <a:lnTo>
                    <a:pt x="10848155" y="4582442"/>
                  </a:lnTo>
                  <a:lnTo>
                    <a:pt x="11118567" y="4312030"/>
                  </a:lnTo>
                  <a:lnTo>
                    <a:pt x="11113676" y="4307139"/>
                  </a:lnTo>
                  <a:lnTo>
                    <a:pt x="11115772" y="4307838"/>
                  </a:lnTo>
                  <a:lnTo>
                    <a:pt x="10890241" y="4082896"/>
                  </a:lnTo>
                  <a:lnTo>
                    <a:pt x="10887794" y="4082896"/>
                  </a:lnTo>
                  <a:lnTo>
                    <a:pt x="10848664" y="4043766"/>
                  </a:lnTo>
                  <a:close/>
                  <a:moveTo>
                    <a:pt x="8667626" y="4043447"/>
                  </a:moveTo>
                  <a:lnTo>
                    <a:pt x="8937975" y="4311711"/>
                  </a:lnTo>
                  <a:lnTo>
                    <a:pt x="8667563" y="4582822"/>
                  </a:lnTo>
                  <a:lnTo>
                    <a:pt x="8930988" y="4582822"/>
                  </a:lnTo>
                  <a:lnTo>
                    <a:pt x="9201400" y="4311711"/>
                  </a:lnTo>
                  <a:lnTo>
                    <a:pt x="9067242" y="4178252"/>
                  </a:lnTo>
                  <a:lnTo>
                    <a:pt x="8974588" y="4086071"/>
                  </a:lnTo>
                  <a:lnTo>
                    <a:pt x="8973422" y="4086071"/>
                  </a:lnTo>
                  <a:lnTo>
                    <a:pt x="8930798" y="4043447"/>
                  </a:lnTo>
                  <a:close/>
                  <a:moveTo>
                    <a:pt x="9215427" y="4042051"/>
                  </a:moveTo>
                  <a:lnTo>
                    <a:pt x="9216074" y="4042697"/>
                  </a:lnTo>
                  <a:lnTo>
                    <a:pt x="9483305" y="4309235"/>
                  </a:lnTo>
                  <a:lnTo>
                    <a:pt x="9744147" y="4309235"/>
                  </a:lnTo>
                  <a:lnTo>
                    <a:pt x="9475578" y="4042051"/>
                  </a:lnTo>
                  <a:close/>
                  <a:moveTo>
                    <a:pt x="2354051" y="3777098"/>
                  </a:moveTo>
                  <a:lnTo>
                    <a:pt x="2084461" y="4047387"/>
                  </a:lnTo>
                  <a:lnTo>
                    <a:pt x="2353542" y="4315775"/>
                  </a:lnTo>
                  <a:lnTo>
                    <a:pt x="2616967" y="4315775"/>
                  </a:lnTo>
                  <a:lnTo>
                    <a:pt x="2392140" y="4091531"/>
                  </a:lnTo>
                  <a:lnTo>
                    <a:pt x="2391783" y="4091531"/>
                  </a:lnTo>
                  <a:lnTo>
                    <a:pt x="2347762" y="4047510"/>
                  </a:lnTo>
                  <a:lnTo>
                    <a:pt x="2347884" y="4047389"/>
                  </a:lnTo>
                  <a:lnTo>
                    <a:pt x="2347254" y="4046760"/>
                  </a:lnTo>
                  <a:lnTo>
                    <a:pt x="2347952" y="4046061"/>
                  </a:lnTo>
                  <a:lnTo>
                    <a:pt x="2346555" y="4044664"/>
                  </a:lnTo>
                  <a:lnTo>
                    <a:pt x="2521938" y="3868581"/>
                  </a:lnTo>
                  <a:lnTo>
                    <a:pt x="2526691" y="3868581"/>
                  </a:lnTo>
                  <a:lnTo>
                    <a:pt x="2532230" y="3863043"/>
                  </a:lnTo>
                  <a:lnTo>
                    <a:pt x="2618174" y="3777098"/>
                  </a:lnTo>
                  <a:close/>
                  <a:moveTo>
                    <a:pt x="1804842" y="3777098"/>
                  </a:moveTo>
                  <a:lnTo>
                    <a:pt x="1535948" y="4046688"/>
                  </a:lnTo>
                  <a:lnTo>
                    <a:pt x="1805731" y="4315775"/>
                  </a:lnTo>
                  <a:lnTo>
                    <a:pt x="2069155" y="4315775"/>
                  </a:lnTo>
                  <a:lnTo>
                    <a:pt x="1939190" y="4185809"/>
                  </a:lnTo>
                  <a:lnTo>
                    <a:pt x="1844912" y="4091531"/>
                  </a:lnTo>
                  <a:lnTo>
                    <a:pt x="1841875" y="4091531"/>
                  </a:lnTo>
                  <a:lnTo>
                    <a:pt x="1798553" y="4048209"/>
                  </a:lnTo>
                  <a:lnTo>
                    <a:pt x="1800069" y="4046689"/>
                  </a:lnTo>
                  <a:lnTo>
                    <a:pt x="1798743" y="4045363"/>
                  </a:lnTo>
                  <a:lnTo>
                    <a:pt x="1974825" y="3868581"/>
                  </a:lnTo>
                  <a:lnTo>
                    <a:pt x="1977718" y="3868581"/>
                  </a:lnTo>
                  <a:lnTo>
                    <a:pt x="2068965" y="3777098"/>
                  </a:lnTo>
                  <a:close/>
                  <a:moveTo>
                    <a:pt x="1257031" y="3777098"/>
                  </a:moveTo>
                  <a:lnTo>
                    <a:pt x="987788" y="4047037"/>
                  </a:lnTo>
                  <a:lnTo>
                    <a:pt x="1257220" y="4315775"/>
                  </a:lnTo>
                  <a:lnTo>
                    <a:pt x="1519946" y="4315775"/>
                  </a:lnTo>
                  <a:lnTo>
                    <a:pt x="1294422" y="4090833"/>
                  </a:lnTo>
                  <a:lnTo>
                    <a:pt x="1293365" y="4090833"/>
                  </a:lnTo>
                  <a:lnTo>
                    <a:pt x="1250742" y="4048209"/>
                  </a:lnTo>
                  <a:lnTo>
                    <a:pt x="1251213" y="4047737"/>
                  </a:lnTo>
                  <a:lnTo>
                    <a:pt x="1249534" y="4046061"/>
                  </a:lnTo>
                  <a:lnTo>
                    <a:pt x="1250932" y="4044664"/>
                  </a:lnTo>
                  <a:lnTo>
                    <a:pt x="1426315" y="3868581"/>
                  </a:lnTo>
                  <a:lnTo>
                    <a:pt x="1429907" y="3868581"/>
                  </a:lnTo>
                  <a:lnTo>
                    <a:pt x="1521154" y="3777098"/>
                  </a:lnTo>
                  <a:close/>
                  <a:moveTo>
                    <a:pt x="709219" y="3777098"/>
                  </a:moveTo>
                  <a:lnTo>
                    <a:pt x="438807" y="4048209"/>
                  </a:lnTo>
                  <a:lnTo>
                    <a:pt x="480732" y="4090134"/>
                  </a:lnTo>
                  <a:lnTo>
                    <a:pt x="480499" y="4090134"/>
                  </a:lnTo>
                  <a:lnTo>
                    <a:pt x="708011" y="4316473"/>
                  </a:lnTo>
                  <a:lnTo>
                    <a:pt x="972135" y="4316473"/>
                  </a:lnTo>
                  <a:lnTo>
                    <a:pt x="745211" y="4090134"/>
                  </a:lnTo>
                  <a:lnTo>
                    <a:pt x="744855" y="4090134"/>
                  </a:lnTo>
                  <a:lnTo>
                    <a:pt x="702930" y="4048209"/>
                  </a:lnTo>
                  <a:lnTo>
                    <a:pt x="703053" y="4048086"/>
                  </a:lnTo>
                  <a:lnTo>
                    <a:pt x="701024" y="4046061"/>
                  </a:lnTo>
                  <a:lnTo>
                    <a:pt x="878504" y="3868581"/>
                  </a:lnTo>
                  <a:lnTo>
                    <a:pt x="882095" y="3868581"/>
                  </a:lnTo>
                  <a:lnTo>
                    <a:pt x="973342" y="3777098"/>
                  </a:lnTo>
                  <a:close/>
                  <a:moveTo>
                    <a:pt x="3451072" y="3775003"/>
                  </a:moveTo>
                  <a:lnTo>
                    <a:pt x="3181135" y="4045639"/>
                  </a:lnTo>
                  <a:lnTo>
                    <a:pt x="3312910" y="4176725"/>
                  </a:lnTo>
                  <a:lnTo>
                    <a:pt x="3312910" y="4177424"/>
                  </a:lnTo>
                  <a:lnTo>
                    <a:pt x="3450563" y="4314377"/>
                  </a:lnTo>
                  <a:lnTo>
                    <a:pt x="3714686" y="4314377"/>
                  </a:lnTo>
                  <a:lnTo>
                    <a:pt x="3490444" y="4090134"/>
                  </a:lnTo>
                  <a:lnTo>
                    <a:pt x="3489503" y="4090134"/>
                  </a:lnTo>
                  <a:lnTo>
                    <a:pt x="3444084" y="4044716"/>
                  </a:lnTo>
                  <a:lnTo>
                    <a:pt x="3444556" y="4044247"/>
                  </a:lnTo>
                  <a:lnTo>
                    <a:pt x="3444274" y="4043965"/>
                  </a:lnTo>
                  <a:lnTo>
                    <a:pt x="3618959" y="3868581"/>
                  </a:lnTo>
                  <a:lnTo>
                    <a:pt x="3621132" y="3868581"/>
                  </a:lnTo>
                  <a:lnTo>
                    <a:pt x="3715195" y="3775003"/>
                  </a:lnTo>
                  <a:close/>
                  <a:moveTo>
                    <a:pt x="3999582" y="3774304"/>
                  </a:moveTo>
                  <a:lnTo>
                    <a:pt x="3729642" y="4044941"/>
                  </a:lnTo>
                  <a:lnTo>
                    <a:pt x="3999073" y="4313678"/>
                  </a:lnTo>
                  <a:lnTo>
                    <a:pt x="4263197" y="4313678"/>
                  </a:lnTo>
                  <a:lnTo>
                    <a:pt x="4039076" y="4090134"/>
                  </a:lnTo>
                  <a:lnTo>
                    <a:pt x="4038711" y="4090134"/>
                  </a:lnTo>
                  <a:lnTo>
                    <a:pt x="3992595" y="4044017"/>
                  </a:lnTo>
                  <a:lnTo>
                    <a:pt x="3992717" y="4043895"/>
                  </a:lnTo>
                  <a:lnTo>
                    <a:pt x="3992086" y="4043266"/>
                  </a:lnTo>
                  <a:lnTo>
                    <a:pt x="4166770" y="3868581"/>
                  </a:lnTo>
                  <a:lnTo>
                    <a:pt x="4168939" y="3868581"/>
                  </a:lnTo>
                  <a:lnTo>
                    <a:pt x="4263707" y="3774304"/>
                  </a:lnTo>
                  <a:close/>
                  <a:moveTo>
                    <a:pt x="4547394" y="3773605"/>
                  </a:moveTo>
                  <a:lnTo>
                    <a:pt x="4277804" y="4043891"/>
                  </a:lnTo>
                  <a:lnTo>
                    <a:pt x="4410631" y="4176026"/>
                  </a:lnTo>
                  <a:lnTo>
                    <a:pt x="4547585" y="4312979"/>
                  </a:lnTo>
                  <a:lnTo>
                    <a:pt x="4809681" y="4312979"/>
                  </a:lnTo>
                  <a:lnTo>
                    <a:pt x="4665187" y="4169168"/>
                  </a:lnTo>
                  <a:lnTo>
                    <a:pt x="4665187" y="4166459"/>
                  </a:lnTo>
                  <a:lnTo>
                    <a:pt x="4588162" y="4089435"/>
                  </a:lnTo>
                  <a:lnTo>
                    <a:pt x="4587920" y="4089435"/>
                  </a:lnTo>
                  <a:lnTo>
                    <a:pt x="4541105" y="4043318"/>
                  </a:lnTo>
                  <a:lnTo>
                    <a:pt x="4541576" y="4042849"/>
                  </a:lnTo>
                  <a:lnTo>
                    <a:pt x="4541295" y="4042567"/>
                  </a:lnTo>
                  <a:lnTo>
                    <a:pt x="4542692" y="4041170"/>
                  </a:lnTo>
                  <a:lnTo>
                    <a:pt x="4660106" y="3923279"/>
                  </a:lnTo>
                  <a:lnTo>
                    <a:pt x="4660106" y="3920469"/>
                  </a:lnTo>
                  <a:lnTo>
                    <a:pt x="4806969" y="3773605"/>
                  </a:lnTo>
                  <a:close/>
                  <a:moveTo>
                    <a:pt x="7014157" y="3772336"/>
                  </a:moveTo>
                  <a:lnTo>
                    <a:pt x="6744567" y="4042625"/>
                  </a:lnTo>
                  <a:lnTo>
                    <a:pt x="7013649" y="4311013"/>
                  </a:lnTo>
                  <a:lnTo>
                    <a:pt x="7277073" y="4311013"/>
                  </a:lnTo>
                  <a:lnTo>
                    <a:pt x="7052246" y="4086769"/>
                  </a:lnTo>
                  <a:lnTo>
                    <a:pt x="7051889" y="4086769"/>
                  </a:lnTo>
                  <a:lnTo>
                    <a:pt x="7007868" y="4042748"/>
                  </a:lnTo>
                  <a:lnTo>
                    <a:pt x="7007990" y="4042627"/>
                  </a:lnTo>
                  <a:lnTo>
                    <a:pt x="7007360" y="4041998"/>
                  </a:lnTo>
                  <a:lnTo>
                    <a:pt x="7008058" y="4041299"/>
                  </a:lnTo>
                  <a:lnTo>
                    <a:pt x="7006662" y="4039902"/>
                  </a:lnTo>
                  <a:lnTo>
                    <a:pt x="7182045" y="3863819"/>
                  </a:lnTo>
                  <a:lnTo>
                    <a:pt x="7186797" y="3863819"/>
                  </a:lnTo>
                  <a:lnTo>
                    <a:pt x="7192337" y="3858281"/>
                  </a:lnTo>
                  <a:lnTo>
                    <a:pt x="7278280" y="3772336"/>
                  </a:lnTo>
                  <a:close/>
                  <a:moveTo>
                    <a:pt x="6464948" y="3772336"/>
                  </a:moveTo>
                  <a:lnTo>
                    <a:pt x="6196054" y="4041926"/>
                  </a:lnTo>
                  <a:lnTo>
                    <a:pt x="6465837" y="4311013"/>
                  </a:lnTo>
                  <a:lnTo>
                    <a:pt x="6729262" y="4311013"/>
                  </a:lnTo>
                  <a:lnTo>
                    <a:pt x="6599296" y="4181047"/>
                  </a:lnTo>
                  <a:lnTo>
                    <a:pt x="6505018" y="4086769"/>
                  </a:lnTo>
                  <a:lnTo>
                    <a:pt x="6501982" y="4086769"/>
                  </a:lnTo>
                  <a:lnTo>
                    <a:pt x="6458659" y="4043447"/>
                  </a:lnTo>
                  <a:lnTo>
                    <a:pt x="6460176" y="4041927"/>
                  </a:lnTo>
                  <a:lnTo>
                    <a:pt x="6458849" y="4040601"/>
                  </a:lnTo>
                  <a:lnTo>
                    <a:pt x="6634931" y="3863819"/>
                  </a:lnTo>
                  <a:lnTo>
                    <a:pt x="6637824" y="3863819"/>
                  </a:lnTo>
                  <a:lnTo>
                    <a:pt x="6729071" y="3772336"/>
                  </a:lnTo>
                  <a:close/>
                  <a:moveTo>
                    <a:pt x="5917138" y="3772336"/>
                  </a:moveTo>
                  <a:lnTo>
                    <a:pt x="5647895" y="4042275"/>
                  </a:lnTo>
                  <a:lnTo>
                    <a:pt x="5917326" y="4311013"/>
                  </a:lnTo>
                  <a:lnTo>
                    <a:pt x="6180052" y="4311013"/>
                  </a:lnTo>
                  <a:lnTo>
                    <a:pt x="5954528" y="4086071"/>
                  </a:lnTo>
                  <a:lnTo>
                    <a:pt x="5953471" y="4086071"/>
                  </a:lnTo>
                  <a:lnTo>
                    <a:pt x="5910849" y="4043447"/>
                  </a:lnTo>
                  <a:lnTo>
                    <a:pt x="5911320" y="4042975"/>
                  </a:lnTo>
                  <a:lnTo>
                    <a:pt x="5909641" y="4041299"/>
                  </a:lnTo>
                  <a:lnTo>
                    <a:pt x="5911038" y="4039902"/>
                  </a:lnTo>
                  <a:lnTo>
                    <a:pt x="6086421" y="3863819"/>
                  </a:lnTo>
                  <a:lnTo>
                    <a:pt x="6090013" y="3863819"/>
                  </a:lnTo>
                  <a:lnTo>
                    <a:pt x="6181261" y="3772336"/>
                  </a:lnTo>
                  <a:close/>
                  <a:moveTo>
                    <a:pt x="5369326" y="3772336"/>
                  </a:moveTo>
                  <a:lnTo>
                    <a:pt x="5098913" y="4043447"/>
                  </a:lnTo>
                  <a:lnTo>
                    <a:pt x="5140838" y="4085372"/>
                  </a:lnTo>
                  <a:lnTo>
                    <a:pt x="5140605" y="4085372"/>
                  </a:lnTo>
                  <a:lnTo>
                    <a:pt x="5368118" y="4311711"/>
                  </a:lnTo>
                  <a:lnTo>
                    <a:pt x="5632241" y="4311711"/>
                  </a:lnTo>
                  <a:lnTo>
                    <a:pt x="5405317" y="4085372"/>
                  </a:lnTo>
                  <a:lnTo>
                    <a:pt x="5404961" y="4085372"/>
                  </a:lnTo>
                  <a:lnTo>
                    <a:pt x="5363036" y="4043447"/>
                  </a:lnTo>
                  <a:lnTo>
                    <a:pt x="5363159" y="4043324"/>
                  </a:lnTo>
                  <a:lnTo>
                    <a:pt x="5361131" y="4041299"/>
                  </a:lnTo>
                  <a:lnTo>
                    <a:pt x="5538610" y="3863819"/>
                  </a:lnTo>
                  <a:lnTo>
                    <a:pt x="5542201" y="3863819"/>
                  </a:lnTo>
                  <a:lnTo>
                    <a:pt x="5633449" y="3772336"/>
                  </a:lnTo>
                  <a:close/>
                  <a:moveTo>
                    <a:pt x="4821872" y="3771639"/>
                  </a:moveTo>
                  <a:lnTo>
                    <a:pt x="4555828" y="4038375"/>
                  </a:lnTo>
                  <a:lnTo>
                    <a:pt x="4816942" y="4038375"/>
                  </a:lnTo>
                  <a:lnTo>
                    <a:pt x="4991497" y="3863819"/>
                  </a:lnTo>
                  <a:lnTo>
                    <a:pt x="4991595" y="3863819"/>
                  </a:lnTo>
                  <a:lnTo>
                    <a:pt x="5082144" y="3773035"/>
                  </a:lnTo>
                  <a:lnTo>
                    <a:pt x="4885799" y="3773035"/>
                  </a:lnTo>
                  <a:lnTo>
                    <a:pt x="4886497" y="3771639"/>
                  </a:lnTo>
                  <a:close/>
                  <a:moveTo>
                    <a:pt x="8111178" y="3770241"/>
                  </a:moveTo>
                  <a:lnTo>
                    <a:pt x="7841241" y="4040877"/>
                  </a:lnTo>
                  <a:lnTo>
                    <a:pt x="7973016" y="4171963"/>
                  </a:lnTo>
                  <a:lnTo>
                    <a:pt x="7973016" y="4172662"/>
                  </a:lnTo>
                  <a:lnTo>
                    <a:pt x="8110669" y="4309615"/>
                  </a:lnTo>
                  <a:lnTo>
                    <a:pt x="8374792" y="4309615"/>
                  </a:lnTo>
                  <a:lnTo>
                    <a:pt x="8150550" y="4085372"/>
                  </a:lnTo>
                  <a:lnTo>
                    <a:pt x="8149609" y="4085372"/>
                  </a:lnTo>
                  <a:lnTo>
                    <a:pt x="8104190" y="4039954"/>
                  </a:lnTo>
                  <a:lnTo>
                    <a:pt x="8104662" y="4039485"/>
                  </a:lnTo>
                  <a:lnTo>
                    <a:pt x="8104380" y="4039203"/>
                  </a:lnTo>
                  <a:lnTo>
                    <a:pt x="8279065" y="3863819"/>
                  </a:lnTo>
                  <a:lnTo>
                    <a:pt x="8281238" y="3863819"/>
                  </a:lnTo>
                  <a:lnTo>
                    <a:pt x="8375301" y="3770241"/>
                  </a:lnTo>
                  <a:close/>
                  <a:moveTo>
                    <a:pt x="8659688" y="3769542"/>
                  </a:moveTo>
                  <a:lnTo>
                    <a:pt x="8389748" y="4040179"/>
                  </a:lnTo>
                  <a:lnTo>
                    <a:pt x="8659179" y="4308916"/>
                  </a:lnTo>
                  <a:lnTo>
                    <a:pt x="8923303" y="4308916"/>
                  </a:lnTo>
                  <a:lnTo>
                    <a:pt x="8699182" y="4085372"/>
                  </a:lnTo>
                  <a:lnTo>
                    <a:pt x="8698817" y="4085372"/>
                  </a:lnTo>
                  <a:lnTo>
                    <a:pt x="8652701" y="4039255"/>
                  </a:lnTo>
                  <a:lnTo>
                    <a:pt x="8652823" y="4039133"/>
                  </a:lnTo>
                  <a:lnTo>
                    <a:pt x="8652192" y="4038504"/>
                  </a:lnTo>
                  <a:lnTo>
                    <a:pt x="8826876" y="3863819"/>
                  </a:lnTo>
                  <a:lnTo>
                    <a:pt x="8829045" y="3863819"/>
                  </a:lnTo>
                  <a:lnTo>
                    <a:pt x="8923812" y="3769542"/>
                  </a:lnTo>
                  <a:close/>
                  <a:moveTo>
                    <a:pt x="11674574" y="3769161"/>
                  </a:moveTo>
                  <a:lnTo>
                    <a:pt x="11404984" y="4039450"/>
                  </a:lnTo>
                  <a:lnTo>
                    <a:pt x="11674065" y="4307838"/>
                  </a:lnTo>
                  <a:lnTo>
                    <a:pt x="11937490" y="4307838"/>
                  </a:lnTo>
                  <a:lnTo>
                    <a:pt x="11712663" y="4083594"/>
                  </a:lnTo>
                  <a:lnTo>
                    <a:pt x="11712306" y="4083594"/>
                  </a:lnTo>
                  <a:lnTo>
                    <a:pt x="11668285" y="4039573"/>
                  </a:lnTo>
                  <a:lnTo>
                    <a:pt x="11668407" y="4039452"/>
                  </a:lnTo>
                  <a:lnTo>
                    <a:pt x="11667777" y="4038823"/>
                  </a:lnTo>
                  <a:lnTo>
                    <a:pt x="11668475" y="4038124"/>
                  </a:lnTo>
                  <a:lnTo>
                    <a:pt x="11667078" y="4036727"/>
                  </a:lnTo>
                  <a:lnTo>
                    <a:pt x="11842461" y="3860644"/>
                  </a:lnTo>
                  <a:lnTo>
                    <a:pt x="11847214" y="3860644"/>
                  </a:lnTo>
                  <a:lnTo>
                    <a:pt x="11852753" y="3855106"/>
                  </a:lnTo>
                  <a:lnTo>
                    <a:pt x="11938697" y="3769161"/>
                  </a:lnTo>
                  <a:close/>
                  <a:moveTo>
                    <a:pt x="11125365" y="3769161"/>
                  </a:moveTo>
                  <a:lnTo>
                    <a:pt x="10856471" y="4038751"/>
                  </a:lnTo>
                  <a:lnTo>
                    <a:pt x="11126254" y="4307838"/>
                  </a:lnTo>
                  <a:lnTo>
                    <a:pt x="11389678" y="4307838"/>
                  </a:lnTo>
                  <a:lnTo>
                    <a:pt x="11259713" y="4177872"/>
                  </a:lnTo>
                  <a:lnTo>
                    <a:pt x="11165435" y="4083594"/>
                  </a:lnTo>
                  <a:lnTo>
                    <a:pt x="11162398" y="4083594"/>
                  </a:lnTo>
                  <a:lnTo>
                    <a:pt x="11119076" y="4040272"/>
                  </a:lnTo>
                  <a:lnTo>
                    <a:pt x="11120592" y="4038752"/>
                  </a:lnTo>
                  <a:lnTo>
                    <a:pt x="11119266" y="4037426"/>
                  </a:lnTo>
                  <a:lnTo>
                    <a:pt x="11295348" y="3860644"/>
                  </a:lnTo>
                  <a:lnTo>
                    <a:pt x="11298241" y="3860644"/>
                  </a:lnTo>
                  <a:lnTo>
                    <a:pt x="11389488" y="3769161"/>
                  </a:lnTo>
                  <a:close/>
                  <a:moveTo>
                    <a:pt x="10577554" y="3769161"/>
                  </a:moveTo>
                  <a:lnTo>
                    <a:pt x="10308311" y="4039100"/>
                  </a:lnTo>
                  <a:lnTo>
                    <a:pt x="10577743" y="4307838"/>
                  </a:lnTo>
                  <a:lnTo>
                    <a:pt x="10840469" y="4307838"/>
                  </a:lnTo>
                  <a:lnTo>
                    <a:pt x="10614945" y="4082896"/>
                  </a:lnTo>
                  <a:lnTo>
                    <a:pt x="10613888" y="4082896"/>
                  </a:lnTo>
                  <a:lnTo>
                    <a:pt x="10571265" y="4040272"/>
                  </a:lnTo>
                  <a:lnTo>
                    <a:pt x="10571736" y="4039800"/>
                  </a:lnTo>
                  <a:lnTo>
                    <a:pt x="10570057" y="4038124"/>
                  </a:lnTo>
                  <a:lnTo>
                    <a:pt x="10571455" y="4036727"/>
                  </a:lnTo>
                  <a:lnTo>
                    <a:pt x="10746838" y="3860644"/>
                  </a:lnTo>
                  <a:lnTo>
                    <a:pt x="10750430" y="3860644"/>
                  </a:lnTo>
                  <a:lnTo>
                    <a:pt x="10841677" y="3769161"/>
                  </a:lnTo>
                  <a:close/>
                  <a:moveTo>
                    <a:pt x="10029742" y="3769161"/>
                  </a:moveTo>
                  <a:lnTo>
                    <a:pt x="9759330" y="4040272"/>
                  </a:lnTo>
                  <a:lnTo>
                    <a:pt x="9801255" y="4082197"/>
                  </a:lnTo>
                  <a:lnTo>
                    <a:pt x="9801022" y="4082197"/>
                  </a:lnTo>
                  <a:lnTo>
                    <a:pt x="10028534" y="4308536"/>
                  </a:lnTo>
                  <a:lnTo>
                    <a:pt x="10292658" y="4308536"/>
                  </a:lnTo>
                  <a:lnTo>
                    <a:pt x="10065734" y="4082197"/>
                  </a:lnTo>
                  <a:lnTo>
                    <a:pt x="10065378" y="4082197"/>
                  </a:lnTo>
                  <a:lnTo>
                    <a:pt x="10023453" y="4040272"/>
                  </a:lnTo>
                  <a:lnTo>
                    <a:pt x="10023576" y="4040149"/>
                  </a:lnTo>
                  <a:lnTo>
                    <a:pt x="10021547" y="4038124"/>
                  </a:lnTo>
                  <a:lnTo>
                    <a:pt x="10199027" y="3860644"/>
                  </a:lnTo>
                  <a:lnTo>
                    <a:pt x="10202618" y="3860644"/>
                  </a:lnTo>
                  <a:lnTo>
                    <a:pt x="10293865" y="3769161"/>
                  </a:lnTo>
                  <a:close/>
                  <a:moveTo>
                    <a:pt x="9207500" y="3768843"/>
                  </a:moveTo>
                  <a:lnTo>
                    <a:pt x="8937910" y="4039129"/>
                  </a:lnTo>
                  <a:lnTo>
                    <a:pt x="9070736" y="4171264"/>
                  </a:lnTo>
                  <a:lnTo>
                    <a:pt x="9207690" y="4308217"/>
                  </a:lnTo>
                  <a:lnTo>
                    <a:pt x="9468504" y="4308217"/>
                  </a:lnTo>
                  <a:lnTo>
                    <a:pt x="9325603" y="4165993"/>
                  </a:lnTo>
                  <a:lnTo>
                    <a:pt x="9325603" y="4162008"/>
                  </a:lnTo>
                  <a:lnTo>
                    <a:pt x="9248268" y="4084673"/>
                  </a:lnTo>
                  <a:lnTo>
                    <a:pt x="9248026" y="4084673"/>
                  </a:lnTo>
                  <a:lnTo>
                    <a:pt x="9201211" y="4038556"/>
                  </a:lnTo>
                  <a:lnTo>
                    <a:pt x="9201682" y="4038087"/>
                  </a:lnTo>
                  <a:lnTo>
                    <a:pt x="9201400" y="4037805"/>
                  </a:lnTo>
                  <a:lnTo>
                    <a:pt x="9202798" y="4036408"/>
                  </a:lnTo>
                  <a:lnTo>
                    <a:pt x="9320523" y="3918204"/>
                  </a:lnTo>
                  <a:lnTo>
                    <a:pt x="9320523" y="3917294"/>
                  </a:lnTo>
                  <a:lnTo>
                    <a:pt x="9468973" y="3768843"/>
                  </a:lnTo>
                  <a:close/>
                  <a:moveTo>
                    <a:pt x="9480395" y="3768464"/>
                  </a:moveTo>
                  <a:lnTo>
                    <a:pt x="9215934" y="4033613"/>
                  </a:lnTo>
                  <a:lnTo>
                    <a:pt x="9478102" y="4033613"/>
                  </a:lnTo>
                  <a:lnTo>
                    <a:pt x="9488582" y="4023132"/>
                  </a:lnTo>
                  <a:lnTo>
                    <a:pt x="9488582" y="4023976"/>
                  </a:lnTo>
                  <a:lnTo>
                    <a:pt x="9651914" y="3860644"/>
                  </a:lnTo>
                  <a:lnTo>
                    <a:pt x="9652012" y="3860644"/>
                  </a:lnTo>
                  <a:lnTo>
                    <a:pt x="9742561" y="3769860"/>
                  </a:lnTo>
                  <a:lnTo>
                    <a:pt x="9546215" y="3769860"/>
                  </a:lnTo>
                  <a:lnTo>
                    <a:pt x="9546914" y="3768464"/>
                  </a:lnTo>
                  <a:close/>
                  <a:moveTo>
                    <a:pt x="1264018" y="3501795"/>
                  </a:moveTo>
                  <a:lnTo>
                    <a:pt x="1535828" y="3771509"/>
                  </a:lnTo>
                  <a:lnTo>
                    <a:pt x="1266165" y="4041868"/>
                  </a:lnTo>
                  <a:lnTo>
                    <a:pt x="1527632" y="4041868"/>
                  </a:lnTo>
                  <a:lnTo>
                    <a:pt x="1700221" y="3868581"/>
                  </a:lnTo>
                  <a:lnTo>
                    <a:pt x="1702878" y="3868581"/>
                  </a:lnTo>
                  <a:lnTo>
                    <a:pt x="1799252" y="3772207"/>
                  </a:lnTo>
                  <a:lnTo>
                    <a:pt x="1665094" y="3638748"/>
                  </a:lnTo>
                  <a:lnTo>
                    <a:pt x="1528141" y="3501795"/>
                  </a:lnTo>
                  <a:close/>
                  <a:moveTo>
                    <a:pt x="715508" y="3501795"/>
                  </a:moveTo>
                  <a:lnTo>
                    <a:pt x="986618" y="3772207"/>
                  </a:lnTo>
                  <a:lnTo>
                    <a:pt x="716955" y="4042567"/>
                  </a:lnTo>
                  <a:lnTo>
                    <a:pt x="979122" y="4042567"/>
                  </a:lnTo>
                  <a:lnTo>
                    <a:pt x="1067862" y="3953129"/>
                  </a:lnTo>
                  <a:lnTo>
                    <a:pt x="1152410" y="3868581"/>
                  </a:lnTo>
                  <a:lnTo>
                    <a:pt x="1154616" y="3868581"/>
                  </a:lnTo>
                  <a:lnTo>
                    <a:pt x="1250742" y="3772207"/>
                  </a:lnTo>
                  <a:lnTo>
                    <a:pt x="979631" y="3501795"/>
                  </a:lnTo>
                  <a:close/>
                  <a:moveTo>
                    <a:pt x="165601" y="3501795"/>
                  </a:moveTo>
                  <a:lnTo>
                    <a:pt x="436711" y="3772207"/>
                  </a:lnTo>
                  <a:lnTo>
                    <a:pt x="438108" y="3772906"/>
                  </a:lnTo>
                  <a:lnTo>
                    <a:pt x="169094" y="4042619"/>
                  </a:lnTo>
                  <a:lnTo>
                    <a:pt x="365440" y="4042619"/>
                  </a:lnTo>
                  <a:lnTo>
                    <a:pt x="365116" y="4043266"/>
                  </a:lnTo>
                  <a:lnTo>
                    <a:pt x="430612" y="4043266"/>
                  </a:lnTo>
                  <a:lnTo>
                    <a:pt x="604598" y="3868581"/>
                  </a:lnTo>
                  <a:lnTo>
                    <a:pt x="606802" y="3868581"/>
                  </a:lnTo>
                  <a:lnTo>
                    <a:pt x="701533" y="3773605"/>
                  </a:lnTo>
                  <a:lnTo>
                    <a:pt x="430423" y="3503193"/>
                  </a:lnTo>
                  <a:lnTo>
                    <a:pt x="362644" y="3501795"/>
                  </a:lnTo>
                  <a:close/>
                  <a:moveTo>
                    <a:pt x="2361039" y="3501097"/>
                  </a:moveTo>
                  <a:lnTo>
                    <a:pt x="2631451" y="3770111"/>
                  </a:lnTo>
                  <a:lnTo>
                    <a:pt x="2628655" y="3772906"/>
                  </a:lnTo>
                  <a:lnTo>
                    <a:pt x="2538519" y="3863743"/>
                  </a:lnTo>
                  <a:lnTo>
                    <a:pt x="2361789" y="4040472"/>
                  </a:lnTo>
                  <a:lnTo>
                    <a:pt x="2624653" y="4040472"/>
                  </a:lnTo>
                  <a:lnTo>
                    <a:pt x="2795844" y="3868581"/>
                  </a:lnTo>
                  <a:lnTo>
                    <a:pt x="2797802" y="3868581"/>
                  </a:lnTo>
                  <a:lnTo>
                    <a:pt x="2895574" y="3770810"/>
                  </a:lnTo>
                  <a:lnTo>
                    <a:pt x="2625162" y="3501097"/>
                  </a:lnTo>
                  <a:close/>
                  <a:moveTo>
                    <a:pt x="1812528" y="3501097"/>
                  </a:moveTo>
                  <a:lnTo>
                    <a:pt x="1813926" y="3502494"/>
                  </a:lnTo>
                  <a:lnTo>
                    <a:pt x="2083639" y="3771509"/>
                  </a:lnTo>
                  <a:lnTo>
                    <a:pt x="1814673" y="4041170"/>
                  </a:lnTo>
                  <a:lnTo>
                    <a:pt x="2076143" y="4041170"/>
                  </a:lnTo>
                  <a:lnTo>
                    <a:pt x="2248033" y="3868581"/>
                  </a:lnTo>
                  <a:lnTo>
                    <a:pt x="2250940" y="3868581"/>
                  </a:lnTo>
                  <a:lnTo>
                    <a:pt x="2347762" y="3771509"/>
                  </a:lnTo>
                  <a:lnTo>
                    <a:pt x="2342173" y="3766618"/>
                  </a:lnTo>
                  <a:lnTo>
                    <a:pt x="2076652" y="3501097"/>
                  </a:lnTo>
                  <a:close/>
                  <a:moveTo>
                    <a:pt x="4005871" y="3499001"/>
                  </a:moveTo>
                  <a:lnTo>
                    <a:pt x="4277680" y="3768713"/>
                  </a:lnTo>
                  <a:lnTo>
                    <a:pt x="4008016" y="4039074"/>
                  </a:lnTo>
                  <a:lnTo>
                    <a:pt x="4270183" y="4039074"/>
                  </a:lnTo>
                  <a:lnTo>
                    <a:pt x="4359622" y="3949635"/>
                  </a:lnTo>
                  <a:lnTo>
                    <a:pt x="4440677" y="3868581"/>
                  </a:lnTo>
                  <a:lnTo>
                    <a:pt x="4441937" y="3868581"/>
                  </a:lnTo>
                  <a:lnTo>
                    <a:pt x="4541105" y="3769413"/>
                  </a:lnTo>
                  <a:lnTo>
                    <a:pt x="4406948" y="3635954"/>
                  </a:lnTo>
                  <a:lnTo>
                    <a:pt x="4269994" y="3499001"/>
                  </a:lnTo>
                  <a:close/>
                  <a:moveTo>
                    <a:pt x="4554381" y="3498302"/>
                  </a:moveTo>
                  <a:lnTo>
                    <a:pt x="4555778" y="3499699"/>
                  </a:lnTo>
                  <a:lnTo>
                    <a:pt x="4820723" y="3763951"/>
                  </a:lnTo>
                  <a:lnTo>
                    <a:pt x="5083541" y="3763951"/>
                  </a:lnTo>
                  <a:lnTo>
                    <a:pt x="4954274" y="3635384"/>
                  </a:lnTo>
                  <a:lnTo>
                    <a:pt x="4816513" y="3498302"/>
                  </a:lnTo>
                  <a:close/>
                  <a:moveTo>
                    <a:pt x="3721484" y="3498302"/>
                  </a:moveTo>
                  <a:lnTo>
                    <a:pt x="3457360" y="3499001"/>
                  </a:lnTo>
                  <a:lnTo>
                    <a:pt x="3728471" y="3769413"/>
                  </a:lnTo>
                  <a:lnTo>
                    <a:pt x="3458808" y="4039773"/>
                  </a:lnTo>
                  <a:lnTo>
                    <a:pt x="3721674" y="4039773"/>
                  </a:lnTo>
                  <a:lnTo>
                    <a:pt x="3892166" y="3867883"/>
                  </a:lnTo>
                  <a:lnTo>
                    <a:pt x="3893935" y="3867883"/>
                  </a:lnTo>
                  <a:lnTo>
                    <a:pt x="3992595" y="3768713"/>
                  </a:lnTo>
                  <a:close/>
                  <a:moveTo>
                    <a:pt x="5924124" y="3497033"/>
                  </a:moveTo>
                  <a:lnTo>
                    <a:pt x="6195934" y="3766747"/>
                  </a:lnTo>
                  <a:lnTo>
                    <a:pt x="5926271" y="4037106"/>
                  </a:lnTo>
                  <a:lnTo>
                    <a:pt x="6187739" y="4037106"/>
                  </a:lnTo>
                  <a:lnTo>
                    <a:pt x="6360328" y="3863819"/>
                  </a:lnTo>
                  <a:lnTo>
                    <a:pt x="6362985" y="3863819"/>
                  </a:lnTo>
                  <a:lnTo>
                    <a:pt x="6459359" y="3767445"/>
                  </a:lnTo>
                  <a:lnTo>
                    <a:pt x="6325200" y="3633986"/>
                  </a:lnTo>
                  <a:lnTo>
                    <a:pt x="6188247" y="3497033"/>
                  </a:lnTo>
                  <a:close/>
                  <a:moveTo>
                    <a:pt x="5375615" y="3497033"/>
                  </a:moveTo>
                  <a:lnTo>
                    <a:pt x="5646724" y="3767445"/>
                  </a:lnTo>
                  <a:lnTo>
                    <a:pt x="5377062" y="4037805"/>
                  </a:lnTo>
                  <a:lnTo>
                    <a:pt x="5639228" y="4037805"/>
                  </a:lnTo>
                  <a:lnTo>
                    <a:pt x="5727968" y="3948367"/>
                  </a:lnTo>
                  <a:lnTo>
                    <a:pt x="5812516" y="3863819"/>
                  </a:lnTo>
                  <a:lnTo>
                    <a:pt x="5814722" y="3863819"/>
                  </a:lnTo>
                  <a:lnTo>
                    <a:pt x="5910849" y="3767445"/>
                  </a:lnTo>
                  <a:lnTo>
                    <a:pt x="5639738" y="3497033"/>
                  </a:lnTo>
                  <a:close/>
                  <a:moveTo>
                    <a:pt x="4825707" y="3497033"/>
                  </a:moveTo>
                  <a:lnTo>
                    <a:pt x="5096817" y="3767445"/>
                  </a:lnTo>
                  <a:lnTo>
                    <a:pt x="5098215" y="3768144"/>
                  </a:lnTo>
                  <a:lnTo>
                    <a:pt x="4829200" y="4037857"/>
                  </a:lnTo>
                  <a:lnTo>
                    <a:pt x="5025547" y="4037857"/>
                  </a:lnTo>
                  <a:lnTo>
                    <a:pt x="5025222" y="4038504"/>
                  </a:lnTo>
                  <a:lnTo>
                    <a:pt x="5090718" y="4038504"/>
                  </a:lnTo>
                  <a:lnTo>
                    <a:pt x="5264704" y="3863819"/>
                  </a:lnTo>
                  <a:lnTo>
                    <a:pt x="5266909" y="3863819"/>
                  </a:lnTo>
                  <a:lnTo>
                    <a:pt x="5361639" y="3768843"/>
                  </a:lnTo>
                  <a:lnTo>
                    <a:pt x="5090530" y="3498431"/>
                  </a:lnTo>
                  <a:lnTo>
                    <a:pt x="5022750" y="3497033"/>
                  </a:lnTo>
                  <a:close/>
                  <a:moveTo>
                    <a:pt x="7021145" y="3496335"/>
                  </a:moveTo>
                  <a:lnTo>
                    <a:pt x="7291557" y="3765349"/>
                  </a:lnTo>
                  <a:lnTo>
                    <a:pt x="7288761" y="3768144"/>
                  </a:lnTo>
                  <a:lnTo>
                    <a:pt x="7198625" y="3858981"/>
                  </a:lnTo>
                  <a:lnTo>
                    <a:pt x="7021895" y="4035710"/>
                  </a:lnTo>
                  <a:lnTo>
                    <a:pt x="7284759" y="4035710"/>
                  </a:lnTo>
                  <a:lnTo>
                    <a:pt x="7455950" y="3863819"/>
                  </a:lnTo>
                  <a:lnTo>
                    <a:pt x="7457908" y="3863819"/>
                  </a:lnTo>
                  <a:lnTo>
                    <a:pt x="7555680" y="3766048"/>
                  </a:lnTo>
                  <a:lnTo>
                    <a:pt x="7285268" y="3496335"/>
                  </a:lnTo>
                  <a:close/>
                  <a:moveTo>
                    <a:pt x="6472634" y="3496335"/>
                  </a:moveTo>
                  <a:lnTo>
                    <a:pt x="6474032" y="3497732"/>
                  </a:lnTo>
                  <a:lnTo>
                    <a:pt x="6743745" y="3766747"/>
                  </a:lnTo>
                  <a:lnTo>
                    <a:pt x="6474780" y="4036408"/>
                  </a:lnTo>
                  <a:lnTo>
                    <a:pt x="6736249" y="4036408"/>
                  </a:lnTo>
                  <a:lnTo>
                    <a:pt x="6908140" y="3863819"/>
                  </a:lnTo>
                  <a:lnTo>
                    <a:pt x="6911046" y="3863819"/>
                  </a:lnTo>
                  <a:lnTo>
                    <a:pt x="7007868" y="3766747"/>
                  </a:lnTo>
                  <a:lnTo>
                    <a:pt x="7002279" y="3761856"/>
                  </a:lnTo>
                  <a:lnTo>
                    <a:pt x="6736759" y="3496335"/>
                  </a:lnTo>
                  <a:close/>
                  <a:moveTo>
                    <a:pt x="8665977" y="3494239"/>
                  </a:moveTo>
                  <a:lnTo>
                    <a:pt x="8937786" y="3763951"/>
                  </a:lnTo>
                  <a:lnTo>
                    <a:pt x="8668122" y="4034312"/>
                  </a:lnTo>
                  <a:lnTo>
                    <a:pt x="8930289" y="4034312"/>
                  </a:lnTo>
                  <a:lnTo>
                    <a:pt x="9019728" y="3944873"/>
                  </a:lnTo>
                  <a:lnTo>
                    <a:pt x="9100782" y="3863819"/>
                  </a:lnTo>
                  <a:lnTo>
                    <a:pt x="9102043" y="3863819"/>
                  </a:lnTo>
                  <a:lnTo>
                    <a:pt x="9201211" y="3764651"/>
                  </a:lnTo>
                  <a:lnTo>
                    <a:pt x="9067053" y="3631192"/>
                  </a:lnTo>
                  <a:lnTo>
                    <a:pt x="8930100" y="3494239"/>
                  </a:lnTo>
                  <a:close/>
                  <a:moveTo>
                    <a:pt x="10584541" y="3493858"/>
                  </a:moveTo>
                  <a:lnTo>
                    <a:pt x="10856351" y="3763572"/>
                  </a:lnTo>
                  <a:lnTo>
                    <a:pt x="10586688" y="4033931"/>
                  </a:lnTo>
                  <a:lnTo>
                    <a:pt x="10848155" y="4033931"/>
                  </a:lnTo>
                  <a:lnTo>
                    <a:pt x="11020744" y="3860644"/>
                  </a:lnTo>
                  <a:lnTo>
                    <a:pt x="11023401" y="3860644"/>
                  </a:lnTo>
                  <a:lnTo>
                    <a:pt x="11119775" y="3764270"/>
                  </a:lnTo>
                  <a:lnTo>
                    <a:pt x="10985617" y="3630811"/>
                  </a:lnTo>
                  <a:lnTo>
                    <a:pt x="10848664" y="3493858"/>
                  </a:lnTo>
                  <a:close/>
                  <a:moveTo>
                    <a:pt x="10036031" y="3493858"/>
                  </a:moveTo>
                  <a:lnTo>
                    <a:pt x="10307141" y="3764270"/>
                  </a:lnTo>
                  <a:lnTo>
                    <a:pt x="10037478" y="4034630"/>
                  </a:lnTo>
                  <a:lnTo>
                    <a:pt x="10299645" y="4034630"/>
                  </a:lnTo>
                  <a:lnTo>
                    <a:pt x="10388385" y="3945192"/>
                  </a:lnTo>
                  <a:lnTo>
                    <a:pt x="10472933" y="3860644"/>
                  </a:lnTo>
                  <a:lnTo>
                    <a:pt x="10475139" y="3860644"/>
                  </a:lnTo>
                  <a:lnTo>
                    <a:pt x="10571265" y="3764270"/>
                  </a:lnTo>
                  <a:lnTo>
                    <a:pt x="10300154" y="3493858"/>
                  </a:lnTo>
                  <a:close/>
                  <a:moveTo>
                    <a:pt x="9486124" y="3493858"/>
                  </a:moveTo>
                  <a:lnTo>
                    <a:pt x="9757234" y="3764270"/>
                  </a:lnTo>
                  <a:lnTo>
                    <a:pt x="9758631" y="3764969"/>
                  </a:lnTo>
                  <a:lnTo>
                    <a:pt x="9489617" y="4034682"/>
                  </a:lnTo>
                  <a:lnTo>
                    <a:pt x="9685963" y="4034682"/>
                  </a:lnTo>
                  <a:lnTo>
                    <a:pt x="9685639" y="4035329"/>
                  </a:lnTo>
                  <a:lnTo>
                    <a:pt x="9751135" y="4035329"/>
                  </a:lnTo>
                  <a:lnTo>
                    <a:pt x="9925121" y="3860644"/>
                  </a:lnTo>
                  <a:lnTo>
                    <a:pt x="9927325" y="3860644"/>
                  </a:lnTo>
                  <a:lnTo>
                    <a:pt x="10022056" y="3765668"/>
                  </a:lnTo>
                  <a:lnTo>
                    <a:pt x="9750946" y="3495256"/>
                  </a:lnTo>
                  <a:lnTo>
                    <a:pt x="9683167" y="3493858"/>
                  </a:lnTo>
                  <a:close/>
                  <a:moveTo>
                    <a:pt x="9214487" y="3493540"/>
                  </a:moveTo>
                  <a:lnTo>
                    <a:pt x="9215884" y="3494937"/>
                  </a:lnTo>
                  <a:lnTo>
                    <a:pt x="9482419" y="3760776"/>
                  </a:lnTo>
                  <a:lnTo>
                    <a:pt x="9743958" y="3760776"/>
                  </a:lnTo>
                  <a:lnTo>
                    <a:pt x="9614691" y="3632209"/>
                  </a:lnTo>
                  <a:lnTo>
                    <a:pt x="9475335" y="3493540"/>
                  </a:lnTo>
                  <a:close/>
                  <a:moveTo>
                    <a:pt x="8381590" y="3493540"/>
                  </a:moveTo>
                  <a:lnTo>
                    <a:pt x="8117466" y="3494239"/>
                  </a:lnTo>
                  <a:lnTo>
                    <a:pt x="8388577" y="3764651"/>
                  </a:lnTo>
                  <a:lnTo>
                    <a:pt x="8118914" y="4035011"/>
                  </a:lnTo>
                  <a:lnTo>
                    <a:pt x="8381780" y="4035011"/>
                  </a:lnTo>
                  <a:lnTo>
                    <a:pt x="8552272" y="3863121"/>
                  </a:lnTo>
                  <a:lnTo>
                    <a:pt x="8554041" y="3863121"/>
                  </a:lnTo>
                  <a:lnTo>
                    <a:pt x="8652701" y="3763951"/>
                  </a:lnTo>
                  <a:close/>
                  <a:moveTo>
                    <a:pt x="11133051" y="3493160"/>
                  </a:moveTo>
                  <a:lnTo>
                    <a:pt x="11134449" y="3494557"/>
                  </a:lnTo>
                  <a:lnTo>
                    <a:pt x="11404162" y="3763572"/>
                  </a:lnTo>
                  <a:lnTo>
                    <a:pt x="11135196" y="4033233"/>
                  </a:lnTo>
                  <a:lnTo>
                    <a:pt x="11396666" y="4033233"/>
                  </a:lnTo>
                  <a:lnTo>
                    <a:pt x="11568556" y="3860644"/>
                  </a:lnTo>
                  <a:lnTo>
                    <a:pt x="11571463" y="3860644"/>
                  </a:lnTo>
                  <a:lnTo>
                    <a:pt x="11668285" y="3763572"/>
                  </a:lnTo>
                  <a:lnTo>
                    <a:pt x="11662696" y="3758681"/>
                  </a:lnTo>
                  <a:lnTo>
                    <a:pt x="11397175" y="3493160"/>
                  </a:lnTo>
                  <a:close/>
                  <a:moveTo>
                    <a:pt x="707821" y="3228588"/>
                  </a:moveTo>
                  <a:lnTo>
                    <a:pt x="437409" y="3499699"/>
                  </a:lnTo>
                  <a:lnTo>
                    <a:pt x="570170" y="3631761"/>
                  </a:lnTo>
                  <a:lnTo>
                    <a:pt x="708520" y="3769413"/>
                  </a:lnTo>
                  <a:lnTo>
                    <a:pt x="972643" y="3769413"/>
                  </a:lnTo>
                  <a:lnTo>
                    <a:pt x="701533" y="3499001"/>
                  </a:lnTo>
                  <a:lnTo>
                    <a:pt x="971945" y="3228588"/>
                  </a:lnTo>
                  <a:close/>
                  <a:moveTo>
                    <a:pt x="1256332" y="3227890"/>
                  </a:moveTo>
                  <a:lnTo>
                    <a:pt x="985920" y="3499001"/>
                  </a:lnTo>
                  <a:lnTo>
                    <a:pt x="1257031" y="3769413"/>
                  </a:lnTo>
                  <a:lnTo>
                    <a:pt x="1521154" y="3768713"/>
                  </a:lnTo>
                  <a:lnTo>
                    <a:pt x="1250043" y="3498302"/>
                  </a:lnTo>
                  <a:lnTo>
                    <a:pt x="1434510" y="3313835"/>
                  </a:lnTo>
                  <a:lnTo>
                    <a:pt x="1520455" y="3227890"/>
                  </a:lnTo>
                  <a:close/>
                  <a:moveTo>
                    <a:pt x="1804143" y="3227192"/>
                  </a:moveTo>
                  <a:lnTo>
                    <a:pt x="1623869" y="3408165"/>
                  </a:lnTo>
                  <a:lnTo>
                    <a:pt x="1534430" y="3498302"/>
                  </a:lnTo>
                  <a:lnTo>
                    <a:pt x="1668588" y="3631761"/>
                  </a:lnTo>
                  <a:lnTo>
                    <a:pt x="1805541" y="3768713"/>
                  </a:lnTo>
                  <a:lnTo>
                    <a:pt x="2069664" y="3768015"/>
                  </a:lnTo>
                  <a:lnTo>
                    <a:pt x="1798553" y="3497603"/>
                  </a:lnTo>
                  <a:lnTo>
                    <a:pt x="1799951" y="3496206"/>
                  </a:lnTo>
                  <a:lnTo>
                    <a:pt x="2068266" y="3227192"/>
                  </a:lnTo>
                  <a:close/>
                  <a:moveTo>
                    <a:pt x="2353352" y="3226492"/>
                  </a:moveTo>
                  <a:lnTo>
                    <a:pt x="2082940" y="3497603"/>
                  </a:lnTo>
                  <a:lnTo>
                    <a:pt x="2354051" y="3768015"/>
                  </a:lnTo>
                  <a:lnTo>
                    <a:pt x="2618174" y="3768015"/>
                  </a:lnTo>
                  <a:lnTo>
                    <a:pt x="2347064" y="3497603"/>
                  </a:lnTo>
                  <a:lnTo>
                    <a:pt x="2617476" y="3226492"/>
                  </a:lnTo>
                  <a:close/>
                  <a:moveTo>
                    <a:pt x="3449674" y="3225095"/>
                  </a:moveTo>
                  <a:lnTo>
                    <a:pt x="3179262" y="3496206"/>
                  </a:lnTo>
                  <a:lnTo>
                    <a:pt x="3450373" y="3766618"/>
                  </a:lnTo>
                  <a:lnTo>
                    <a:pt x="3714496" y="3766618"/>
                  </a:lnTo>
                  <a:lnTo>
                    <a:pt x="3443385" y="3496206"/>
                  </a:lnTo>
                  <a:lnTo>
                    <a:pt x="3713797" y="3225095"/>
                  </a:lnTo>
                  <a:close/>
                  <a:moveTo>
                    <a:pt x="3998184" y="3224396"/>
                  </a:moveTo>
                  <a:lnTo>
                    <a:pt x="3727772" y="3495507"/>
                  </a:lnTo>
                  <a:lnTo>
                    <a:pt x="3998883" y="3765919"/>
                  </a:lnTo>
                  <a:lnTo>
                    <a:pt x="4263007" y="3765220"/>
                  </a:lnTo>
                  <a:lnTo>
                    <a:pt x="3991896" y="3494808"/>
                  </a:lnTo>
                  <a:lnTo>
                    <a:pt x="4176362" y="3310341"/>
                  </a:lnTo>
                  <a:lnTo>
                    <a:pt x="4177062" y="3310341"/>
                  </a:lnTo>
                  <a:lnTo>
                    <a:pt x="4262309" y="3224396"/>
                  </a:lnTo>
                  <a:close/>
                  <a:moveTo>
                    <a:pt x="5367927" y="3223826"/>
                  </a:moveTo>
                  <a:lnTo>
                    <a:pt x="5097515" y="3494937"/>
                  </a:lnTo>
                  <a:lnTo>
                    <a:pt x="5230276" y="3626999"/>
                  </a:lnTo>
                  <a:lnTo>
                    <a:pt x="5368626" y="3764651"/>
                  </a:lnTo>
                  <a:lnTo>
                    <a:pt x="5632749" y="3764651"/>
                  </a:lnTo>
                  <a:lnTo>
                    <a:pt x="5361639" y="3494239"/>
                  </a:lnTo>
                  <a:lnTo>
                    <a:pt x="5632051" y="3223826"/>
                  </a:lnTo>
                  <a:close/>
                  <a:moveTo>
                    <a:pt x="4546696" y="3223697"/>
                  </a:moveTo>
                  <a:lnTo>
                    <a:pt x="4366420" y="3404671"/>
                  </a:lnTo>
                  <a:lnTo>
                    <a:pt x="4365722" y="3404671"/>
                  </a:lnTo>
                  <a:lnTo>
                    <a:pt x="4276283" y="3494808"/>
                  </a:lnTo>
                  <a:lnTo>
                    <a:pt x="4410440" y="3628267"/>
                  </a:lnTo>
                  <a:lnTo>
                    <a:pt x="4547394" y="3765220"/>
                  </a:lnTo>
                  <a:lnTo>
                    <a:pt x="4809493" y="3765220"/>
                  </a:lnTo>
                  <a:lnTo>
                    <a:pt x="4660106" y="3616519"/>
                  </a:lnTo>
                  <a:lnTo>
                    <a:pt x="4660106" y="3614199"/>
                  </a:lnTo>
                  <a:lnTo>
                    <a:pt x="4540406" y="3494808"/>
                  </a:lnTo>
                  <a:lnTo>
                    <a:pt x="4542503" y="3493410"/>
                  </a:lnTo>
                  <a:lnTo>
                    <a:pt x="4660106" y="3374886"/>
                  </a:lnTo>
                  <a:lnTo>
                    <a:pt x="4660106" y="3371259"/>
                  </a:lnTo>
                  <a:lnTo>
                    <a:pt x="4808350" y="3223697"/>
                  </a:lnTo>
                  <a:close/>
                  <a:moveTo>
                    <a:pt x="5916438" y="3223128"/>
                  </a:moveTo>
                  <a:lnTo>
                    <a:pt x="5646026" y="3494239"/>
                  </a:lnTo>
                  <a:lnTo>
                    <a:pt x="5917138" y="3764651"/>
                  </a:lnTo>
                  <a:lnTo>
                    <a:pt x="6181261" y="3763951"/>
                  </a:lnTo>
                  <a:lnTo>
                    <a:pt x="5910149" y="3493540"/>
                  </a:lnTo>
                  <a:lnTo>
                    <a:pt x="6094616" y="3309073"/>
                  </a:lnTo>
                  <a:lnTo>
                    <a:pt x="6180561" y="3223128"/>
                  </a:lnTo>
                  <a:close/>
                  <a:moveTo>
                    <a:pt x="4821874" y="3223128"/>
                  </a:moveTo>
                  <a:lnTo>
                    <a:pt x="4554381" y="3491315"/>
                  </a:lnTo>
                  <a:lnTo>
                    <a:pt x="4815332" y="3491315"/>
                  </a:lnTo>
                  <a:lnTo>
                    <a:pt x="4996199" y="3309073"/>
                  </a:lnTo>
                  <a:lnTo>
                    <a:pt x="5082144" y="3223128"/>
                  </a:lnTo>
                  <a:close/>
                  <a:moveTo>
                    <a:pt x="6464250" y="3222430"/>
                  </a:moveTo>
                  <a:lnTo>
                    <a:pt x="6283976" y="3403403"/>
                  </a:lnTo>
                  <a:lnTo>
                    <a:pt x="6194536" y="3493540"/>
                  </a:lnTo>
                  <a:lnTo>
                    <a:pt x="6328695" y="3626999"/>
                  </a:lnTo>
                  <a:lnTo>
                    <a:pt x="6465647" y="3763951"/>
                  </a:lnTo>
                  <a:lnTo>
                    <a:pt x="6729770" y="3763253"/>
                  </a:lnTo>
                  <a:lnTo>
                    <a:pt x="6458659" y="3492841"/>
                  </a:lnTo>
                  <a:lnTo>
                    <a:pt x="6460057" y="3491444"/>
                  </a:lnTo>
                  <a:lnTo>
                    <a:pt x="6728373" y="3222430"/>
                  </a:lnTo>
                  <a:close/>
                  <a:moveTo>
                    <a:pt x="7013458" y="3221730"/>
                  </a:moveTo>
                  <a:lnTo>
                    <a:pt x="6743046" y="3492841"/>
                  </a:lnTo>
                  <a:lnTo>
                    <a:pt x="7014157" y="3763253"/>
                  </a:lnTo>
                  <a:lnTo>
                    <a:pt x="7278280" y="3763253"/>
                  </a:lnTo>
                  <a:lnTo>
                    <a:pt x="7007170" y="3492841"/>
                  </a:lnTo>
                  <a:lnTo>
                    <a:pt x="7277582" y="3221730"/>
                  </a:lnTo>
                  <a:close/>
                  <a:moveTo>
                    <a:pt x="10028344" y="3220651"/>
                  </a:moveTo>
                  <a:lnTo>
                    <a:pt x="9757932" y="3491762"/>
                  </a:lnTo>
                  <a:lnTo>
                    <a:pt x="9890693" y="3623824"/>
                  </a:lnTo>
                  <a:lnTo>
                    <a:pt x="10029043" y="3761476"/>
                  </a:lnTo>
                  <a:lnTo>
                    <a:pt x="10293166" y="3761476"/>
                  </a:lnTo>
                  <a:lnTo>
                    <a:pt x="10022056" y="3491064"/>
                  </a:lnTo>
                  <a:lnTo>
                    <a:pt x="10292468" y="3220651"/>
                  </a:lnTo>
                  <a:close/>
                  <a:moveTo>
                    <a:pt x="8109780" y="3220333"/>
                  </a:moveTo>
                  <a:lnTo>
                    <a:pt x="7839368" y="3491444"/>
                  </a:lnTo>
                  <a:lnTo>
                    <a:pt x="8110479" y="3761856"/>
                  </a:lnTo>
                  <a:lnTo>
                    <a:pt x="8374602" y="3761856"/>
                  </a:lnTo>
                  <a:lnTo>
                    <a:pt x="8103491" y="3491444"/>
                  </a:lnTo>
                  <a:lnTo>
                    <a:pt x="8373903" y="3220333"/>
                  </a:lnTo>
                  <a:close/>
                  <a:moveTo>
                    <a:pt x="10576855" y="3219953"/>
                  </a:moveTo>
                  <a:lnTo>
                    <a:pt x="10306443" y="3491064"/>
                  </a:lnTo>
                  <a:lnTo>
                    <a:pt x="10577554" y="3761476"/>
                  </a:lnTo>
                  <a:lnTo>
                    <a:pt x="10841677" y="3760776"/>
                  </a:lnTo>
                  <a:lnTo>
                    <a:pt x="10570566" y="3490365"/>
                  </a:lnTo>
                  <a:lnTo>
                    <a:pt x="10755033" y="3305898"/>
                  </a:lnTo>
                  <a:lnTo>
                    <a:pt x="10840978" y="3219953"/>
                  </a:lnTo>
                  <a:close/>
                  <a:moveTo>
                    <a:pt x="9480397" y="3219953"/>
                  </a:moveTo>
                  <a:lnTo>
                    <a:pt x="9214487" y="3486553"/>
                  </a:lnTo>
                  <a:lnTo>
                    <a:pt x="9477324" y="3486553"/>
                  </a:lnTo>
                  <a:lnTo>
                    <a:pt x="9656616" y="3305898"/>
                  </a:lnTo>
                  <a:lnTo>
                    <a:pt x="9742561" y="3219953"/>
                  </a:lnTo>
                  <a:close/>
                  <a:moveTo>
                    <a:pt x="8658290" y="3219635"/>
                  </a:moveTo>
                  <a:lnTo>
                    <a:pt x="8387878" y="3490745"/>
                  </a:lnTo>
                  <a:lnTo>
                    <a:pt x="8658989" y="3761157"/>
                  </a:lnTo>
                  <a:lnTo>
                    <a:pt x="8923113" y="3760458"/>
                  </a:lnTo>
                  <a:lnTo>
                    <a:pt x="8652002" y="3490046"/>
                  </a:lnTo>
                  <a:lnTo>
                    <a:pt x="8836468" y="3305579"/>
                  </a:lnTo>
                  <a:lnTo>
                    <a:pt x="8837168" y="3305579"/>
                  </a:lnTo>
                  <a:lnTo>
                    <a:pt x="8922414" y="3219635"/>
                  </a:lnTo>
                  <a:close/>
                  <a:moveTo>
                    <a:pt x="11124666" y="3219256"/>
                  </a:moveTo>
                  <a:lnTo>
                    <a:pt x="10944392" y="3400228"/>
                  </a:lnTo>
                  <a:lnTo>
                    <a:pt x="10854953" y="3490365"/>
                  </a:lnTo>
                  <a:lnTo>
                    <a:pt x="10989111" y="3623824"/>
                  </a:lnTo>
                  <a:lnTo>
                    <a:pt x="11126064" y="3760776"/>
                  </a:lnTo>
                  <a:lnTo>
                    <a:pt x="11390187" y="3760078"/>
                  </a:lnTo>
                  <a:lnTo>
                    <a:pt x="11119076" y="3489666"/>
                  </a:lnTo>
                  <a:lnTo>
                    <a:pt x="11120474" y="3488269"/>
                  </a:lnTo>
                  <a:lnTo>
                    <a:pt x="11388789" y="3219256"/>
                  </a:lnTo>
                  <a:close/>
                  <a:moveTo>
                    <a:pt x="9206801" y="3218935"/>
                  </a:moveTo>
                  <a:lnTo>
                    <a:pt x="9026526" y="3399909"/>
                  </a:lnTo>
                  <a:lnTo>
                    <a:pt x="9025828" y="3399909"/>
                  </a:lnTo>
                  <a:lnTo>
                    <a:pt x="8936388" y="3490046"/>
                  </a:lnTo>
                  <a:lnTo>
                    <a:pt x="9070546" y="3623505"/>
                  </a:lnTo>
                  <a:lnTo>
                    <a:pt x="9207500" y="3760458"/>
                  </a:lnTo>
                  <a:lnTo>
                    <a:pt x="9468315" y="3760458"/>
                  </a:lnTo>
                  <a:lnTo>
                    <a:pt x="9320523" y="3613344"/>
                  </a:lnTo>
                  <a:lnTo>
                    <a:pt x="9320523" y="3609748"/>
                  </a:lnTo>
                  <a:lnTo>
                    <a:pt x="9200512" y="3490046"/>
                  </a:lnTo>
                  <a:lnTo>
                    <a:pt x="9202609" y="3488648"/>
                  </a:lnTo>
                  <a:lnTo>
                    <a:pt x="9320523" y="3369810"/>
                  </a:lnTo>
                  <a:lnTo>
                    <a:pt x="9320523" y="3368084"/>
                  </a:lnTo>
                  <a:lnTo>
                    <a:pt x="9459449" y="3229795"/>
                  </a:lnTo>
                  <a:lnTo>
                    <a:pt x="9470225" y="3218935"/>
                  </a:lnTo>
                  <a:close/>
                  <a:moveTo>
                    <a:pt x="11673875" y="3218555"/>
                  </a:moveTo>
                  <a:lnTo>
                    <a:pt x="11403463" y="3489666"/>
                  </a:lnTo>
                  <a:lnTo>
                    <a:pt x="11674574" y="3760078"/>
                  </a:lnTo>
                  <a:lnTo>
                    <a:pt x="11938697" y="3760078"/>
                  </a:lnTo>
                  <a:lnTo>
                    <a:pt x="11667587" y="3489666"/>
                  </a:lnTo>
                  <a:lnTo>
                    <a:pt x="11937999" y="3218555"/>
                  </a:lnTo>
                  <a:close/>
                  <a:moveTo>
                    <a:pt x="1263319" y="2953984"/>
                  </a:moveTo>
                  <a:lnTo>
                    <a:pt x="1534430" y="3223697"/>
                  </a:lnTo>
                  <a:lnTo>
                    <a:pt x="1531636" y="3226492"/>
                  </a:lnTo>
                  <a:lnTo>
                    <a:pt x="1441498" y="3317328"/>
                  </a:lnTo>
                  <a:lnTo>
                    <a:pt x="1264018" y="3494808"/>
                  </a:lnTo>
                  <a:lnTo>
                    <a:pt x="1528141" y="3494808"/>
                  </a:lnTo>
                  <a:lnTo>
                    <a:pt x="1617580" y="3405369"/>
                  </a:lnTo>
                  <a:lnTo>
                    <a:pt x="1798553" y="3224396"/>
                  </a:lnTo>
                  <a:lnTo>
                    <a:pt x="1527442" y="2953984"/>
                  </a:lnTo>
                  <a:close/>
                  <a:moveTo>
                    <a:pt x="714809" y="2953984"/>
                  </a:moveTo>
                  <a:lnTo>
                    <a:pt x="843377" y="3082552"/>
                  </a:lnTo>
                  <a:lnTo>
                    <a:pt x="985221" y="3224396"/>
                  </a:lnTo>
                  <a:lnTo>
                    <a:pt x="714809" y="3495507"/>
                  </a:lnTo>
                  <a:lnTo>
                    <a:pt x="978932" y="3495507"/>
                  </a:lnTo>
                  <a:lnTo>
                    <a:pt x="1249344" y="3224396"/>
                  </a:lnTo>
                  <a:lnTo>
                    <a:pt x="1244453" y="3219505"/>
                  </a:lnTo>
                  <a:lnTo>
                    <a:pt x="978932" y="2953984"/>
                  </a:lnTo>
                  <a:close/>
                  <a:moveTo>
                    <a:pt x="164902" y="2953984"/>
                  </a:moveTo>
                  <a:lnTo>
                    <a:pt x="436013" y="3223697"/>
                  </a:lnTo>
                  <a:lnTo>
                    <a:pt x="433217" y="3226492"/>
                  </a:lnTo>
                  <a:lnTo>
                    <a:pt x="343079" y="3317328"/>
                  </a:lnTo>
                  <a:lnTo>
                    <a:pt x="165601" y="3494808"/>
                  </a:lnTo>
                  <a:lnTo>
                    <a:pt x="429724" y="3494808"/>
                  </a:lnTo>
                  <a:lnTo>
                    <a:pt x="519162" y="3405369"/>
                  </a:lnTo>
                  <a:lnTo>
                    <a:pt x="700136" y="3224396"/>
                  </a:lnTo>
                  <a:lnTo>
                    <a:pt x="429025" y="2953984"/>
                  </a:lnTo>
                  <a:close/>
                  <a:moveTo>
                    <a:pt x="2908151" y="2953285"/>
                  </a:moveTo>
                  <a:lnTo>
                    <a:pt x="3179262" y="3223697"/>
                  </a:lnTo>
                  <a:lnTo>
                    <a:pt x="2908850" y="3494808"/>
                  </a:lnTo>
                  <a:lnTo>
                    <a:pt x="3107292" y="3494808"/>
                  </a:lnTo>
                  <a:lnTo>
                    <a:pt x="3103798" y="3501795"/>
                  </a:lnTo>
                  <a:lnTo>
                    <a:pt x="2908850" y="3501795"/>
                  </a:lnTo>
                  <a:lnTo>
                    <a:pt x="3038815" y="3631761"/>
                  </a:lnTo>
                  <a:lnTo>
                    <a:pt x="3035322" y="3638748"/>
                  </a:lnTo>
                  <a:lnTo>
                    <a:pt x="2894875" y="3498302"/>
                  </a:lnTo>
                  <a:lnTo>
                    <a:pt x="3165287" y="3227192"/>
                  </a:lnTo>
                  <a:lnTo>
                    <a:pt x="2901164" y="3227192"/>
                  </a:lnTo>
                  <a:lnTo>
                    <a:pt x="2630752" y="3498302"/>
                  </a:lnTo>
                  <a:lnTo>
                    <a:pt x="2901863" y="3768713"/>
                  </a:lnTo>
                  <a:lnTo>
                    <a:pt x="2970339" y="3768713"/>
                  </a:lnTo>
                  <a:lnTo>
                    <a:pt x="2966846" y="3775701"/>
                  </a:lnTo>
                  <a:lnTo>
                    <a:pt x="2901863" y="3775701"/>
                  </a:lnTo>
                  <a:lnTo>
                    <a:pt x="2721588" y="3956675"/>
                  </a:lnTo>
                  <a:lnTo>
                    <a:pt x="2633317" y="4045637"/>
                  </a:lnTo>
                  <a:lnTo>
                    <a:pt x="2902751" y="4314377"/>
                  </a:lnTo>
                  <a:lnTo>
                    <a:pt x="3165477" y="4314377"/>
                  </a:lnTo>
                  <a:lnTo>
                    <a:pt x="3036210" y="4185111"/>
                  </a:lnTo>
                  <a:lnTo>
                    <a:pt x="3036909" y="4184412"/>
                  </a:lnTo>
                  <a:lnTo>
                    <a:pt x="2942163" y="4090134"/>
                  </a:lnTo>
                  <a:lnTo>
                    <a:pt x="2940992" y="4090134"/>
                  </a:lnTo>
                  <a:lnTo>
                    <a:pt x="2896273" y="4045415"/>
                  </a:lnTo>
                  <a:lnTo>
                    <a:pt x="2896745" y="4044942"/>
                  </a:lnTo>
                  <a:lnTo>
                    <a:pt x="2895764" y="4043965"/>
                  </a:lnTo>
                  <a:lnTo>
                    <a:pt x="3070448" y="3868581"/>
                  </a:lnTo>
                  <a:lnTo>
                    <a:pt x="3072651" y="3868581"/>
                  </a:lnTo>
                  <a:lnTo>
                    <a:pt x="3165986" y="3775003"/>
                  </a:lnTo>
                  <a:lnTo>
                    <a:pt x="2967543" y="3775003"/>
                  </a:lnTo>
                  <a:lnTo>
                    <a:pt x="2971038" y="3768015"/>
                  </a:lnTo>
                  <a:lnTo>
                    <a:pt x="3165986" y="3768015"/>
                  </a:lnTo>
                  <a:lnTo>
                    <a:pt x="3036021" y="3638050"/>
                  </a:lnTo>
                  <a:lnTo>
                    <a:pt x="3039514" y="3631063"/>
                  </a:lnTo>
                  <a:lnTo>
                    <a:pt x="3179961" y="3771509"/>
                  </a:lnTo>
                  <a:lnTo>
                    <a:pt x="2912388" y="4039773"/>
                  </a:lnTo>
                  <a:lnTo>
                    <a:pt x="3173163" y="4039773"/>
                  </a:lnTo>
                  <a:lnTo>
                    <a:pt x="3262601" y="3950334"/>
                  </a:lnTo>
                  <a:lnTo>
                    <a:pt x="3344354" y="3868581"/>
                  </a:lnTo>
                  <a:lnTo>
                    <a:pt x="3347262" y="3868581"/>
                  </a:lnTo>
                  <a:lnTo>
                    <a:pt x="3444084" y="3771509"/>
                  </a:lnTo>
                  <a:lnTo>
                    <a:pt x="3172973" y="3501795"/>
                  </a:lnTo>
                  <a:lnTo>
                    <a:pt x="3104497" y="3501795"/>
                  </a:lnTo>
                  <a:lnTo>
                    <a:pt x="3107990" y="3494808"/>
                  </a:lnTo>
                  <a:lnTo>
                    <a:pt x="3172973" y="3494808"/>
                  </a:lnTo>
                  <a:lnTo>
                    <a:pt x="3443385" y="3223697"/>
                  </a:lnTo>
                  <a:lnTo>
                    <a:pt x="3309227" y="3090238"/>
                  </a:lnTo>
                  <a:lnTo>
                    <a:pt x="3172275" y="2953285"/>
                  </a:lnTo>
                  <a:close/>
                  <a:moveTo>
                    <a:pt x="1811829" y="2952586"/>
                  </a:moveTo>
                  <a:lnTo>
                    <a:pt x="1941795" y="3082552"/>
                  </a:lnTo>
                  <a:lnTo>
                    <a:pt x="2082940" y="3222998"/>
                  </a:lnTo>
                  <a:lnTo>
                    <a:pt x="1812528" y="3494109"/>
                  </a:lnTo>
                  <a:lnTo>
                    <a:pt x="2076652" y="3494109"/>
                  </a:lnTo>
                  <a:lnTo>
                    <a:pt x="2347064" y="3222998"/>
                  </a:lnTo>
                  <a:lnTo>
                    <a:pt x="2075953" y="2952586"/>
                  </a:lnTo>
                  <a:close/>
                  <a:moveTo>
                    <a:pt x="2360340" y="2951889"/>
                  </a:moveTo>
                  <a:lnTo>
                    <a:pt x="2631451" y="3222301"/>
                  </a:lnTo>
                  <a:lnTo>
                    <a:pt x="2361039" y="3493410"/>
                  </a:lnTo>
                  <a:lnTo>
                    <a:pt x="2625162" y="3493410"/>
                  </a:lnTo>
                  <a:lnTo>
                    <a:pt x="2895574" y="3222301"/>
                  </a:lnTo>
                  <a:lnTo>
                    <a:pt x="2624463" y="2951889"/>
                  </a:lnTo>
                  <a:close/>
                  <a:moveTo>
                    <a:pt x="4005871" y="2951190"/>
                  </a:moveTo>
                  <a:lnTo>
                    <a:pt x="4275584" y="3220204"/>
                  </a:lnTo>
                  <a:lnTo>
                    <a:pt x="4272789" y="3222998"/>
                  </a:lnTo>
                  <a:lnTo>
                    <a:pt x="4182652" y="3313835"/>
                  </a:lnTo>
                  <a:lnTo>
                    <a:pt x="4181952" y="3313835"/>
                  </a:lnTo>
                  <a:lnTo>
                    <a:pt x="4005172" y="3491315"/>
                  </a:lnTo>
                  <a:lnTo>
                    <a:pt x="4269296" y="3491315"/>
                  </a:lnTo>
                  <a:lnTo>
                    <a:pt x="4358734" y="3401876"/>
                  </a:lnTo>
                  <a:lnTo>
                    <a:pt x="4359432" y="3401876"/>
                  </a:lnTo>
                  <a:lnTo>
                    <a:pt x="4541105" y="3221602"/>
                  </a:lnTo>
                  <a:lnTo>
                    <a:pt x="4269994" y="2951190"/>
                  </a:lnTo>
                  <a:close/>
                  <a:moveTo>
                    <a:pt x="3457360" y="2951190"/>
                  </a:moveTo>
                  <a:lnTo>
                    <a:pt x="3458059" y="2951889"/>
                  </a:lnTo>
                  <a:lnTo>
                    <a:pt x="3458758" y="2951889"/>
                  </a:lnTo>
                  <a:lnTo>
                    <a:pt x="3727772" y="3220903"/>
                  </a:lnTo>
                  <a:lnTo>
                    <a:pt x="3457360" y="3492014"/>
                  </a:lnTo>
                  <a:lnTo>
                    <a:pt x="3721484" y="3492014"/>
                  </a:lnTo>
                  <a:lnTo>
                    <a:pt x="3991896" y="3221602"/>
                  </a:lnTo>
                  <a:lnTo>
                    <a:pt x="3987005" y="3216011"/>
                  </a:lnTo>
                  <a:lnTo>
                    <a:pt x="3721484" y="2951190"/>
                  </a:lnTo>
                  <a:close/>
                  <a:moveTo>
                    <a:pt x="4554381" y="2949792"/>
                  </a:moveTo>
                  <a:lnTo>
                    <a:pt x="4684346" y="3079757"/>
                  </a:lnTo>
                  <a:lnTo>
                    <a:pt x="4820732" y="3216141"/>
                  </a:lnTo>
                  <a:lnTo>
                    <a:pt x="5082144" y="3216141"/>
                  </a:lnTo>
                  <a:lnTo>
                    <a:pt x="4815107" y="2949792"/>
                  </a:lnTo>
                  <a:close/>
                  <a:moveTo>
                    <a:pt x="5923425" y="2949222"/>
                  </a:moveTo>
                  <a:lnTo>
                    <a:pt x="6194536" y="3218935"/>
                  </a:lnTo>
                  <a:lnTo>
                    <a:pt x="6191742" y="3221730"/>
                  </a:lnTo>
                  <a:lnTo>
                    <a:pt x="6101604" y="3312566"/>
                  </a:lnTo>
                  <a:lnTo>
                    <a:pt x="5924124" y="3490046"/>
                  </a:lnTo>
                  <a:lnTo>
                    <a:pt x="6188247" y="3490046"/>
                  </a:lnTo>
                  <a:lnTo>
                    <a:pt x="6277687" y="3400607"/>
                  </a:lnTo>
                  <a:lnTo>
                    <a:pt x="6458659" y="3219635"/>
                  </a:lnTo>
                  <a:lnTo>
                    <a:pt x="6187548" y="2949222"/>
                  </a:lnTo>
                  <a:close/>
                  <a:moveTo>
                    <a:pt x="5374915" y="2949222"/>
                  </a:moveTo>
                  <a:lnTo>
                    <a:pt x="5503483" y="3077790"/>
                  </a:lnTo>
                  <a:lnTo>
                    <a:pt x="5645327" y="3219635"/>
                  </a:lnTo>
                  <a:lnTo>
                    <a:pt x="5374915" y="3490745"/>
                  </a:lnTo>
                  <a:lnTo>
                    <a:pt x="5639038" y="3490745"/>
                  </a:lnTo>
                  <a:lnTo>
                    <a:pt x="5909450" y="3219635"/>
                  </a:lnTo>
                  <a:lnTo>
                    <a:pt x="5904559" y="3214743"/>
                  </a:lnTo>
                  <a:lnTo>
                    <a:pt x="5639038" y="2949222"/>
                  </a:lnTo>
                  <a:close/>
                  <a:moveTo>
                    <a:pt x="4825009" y="2949222"/>
                  </a:moveTo>
                  <a:lnTo>
                    <a:pt x="5096119" y="3218935"/>
                  </a:lnTo>
                  <a:lnTo>
                    <a:pt x="5093323" y="3221730"/>
                  </a:lnTo>
                  <a:lnTo>
                    <a:pt x="5003186" y="3312566"/>
                  </a:lnTo>
                  <a:lnTo>
                    <a:pt x="4825707" y="3490046"/>
                  </a:lnTo>
                  <a:lnTo>
                    <a:pt x="5089830" y="3490046"/>
                  </a:lnTo>
                  <a:lnTo>
                    <a:pt x="5179268" y="3400607"/>
                  </a:lnTo>
                  <a:lnTo>
                    <a:pt x="5360242" y="3219635"/>
                  </a:lnTo>
                  <a:lnTo>
                    <a:pt x="5089132" y="2949222"/>
                  </a:lnTo>
                  <a:close/>
                  <a:moveTo>
                    <a:pt x="7568257" y="2948523"/>
                  </a:moveTo>
                  <a:lnTo>
                    <a:pt x="7839368" y="3218935"/>
                  </a:lnTo>
                  <a:lnTo>
                    <a:pt x="7568956" y="3490046"/>
                  </a:lnTo>
                  <a:lnTo>
                    <a:pt x="7767398" y="3490046"/>
                  </a:lnTo>
                  <a:lnTo>
                    <a:pt x="7763904" y="3497033"/>
                  </a:lnTo>
                  <a:lnTo>
                    <a:pt x="7568956" y="3497033"/>
                  </a:lnTo>
                  <a:lnTo>
                    <a:pt x="7698921" y="3626999"/>
                  </a:lnTo>
                  <a:lnTo>
                    <a:pt x="7695428" y="3633986"/>
                  </a:lnTo>
                  <a:lnTo>
                    <a:pt x="7554981" y="3493540"/>
                  </a:lnTo>
                  <a:lnTo>
                    <a:pt x="7825393" y="3222430"/>
                  </a:lnTo>
                  <a:lnTo>
                    <a:pt x="7561270" y="3222430"/>
                  </a:lnTo>
                  <a:lnTo>
                    <a:pt x="7290858" y="3493540"/>
                  </a:lnTo>
                  <a:lnTo>
                    <a:pt x="7561969" y="3763951"/>
                  </a:lnTo>
                  <a:lnTo>
                    <a:pt x="7630445" y="3763951"/>
                  </a:lnTo>
                  <a:lnTo>
                    <a:pt x="7626952" y="3770939"/>
                  </a:lnTo>
                  <a:lnTo>
                    <a:pt x="7561969" y="3770939"/>
                  </a:lnTo>
                  <a:lnTo>
                    <a:pt x="7381694" y="3951913"/>
                  </a:lnTo>
                  <a:lnTo>
                    <a:pt x="7293423" y="4040875"/>
                  </a:lnTo>
                  <a:lnTo>
                    <a:pt x="7562857" y="4309615"/>
                  </a:lnTo>
                  <a:lnTo>
                    <a:pt x="7825583" y="4309615"/>
                  </a:lnTo>
                  <a:lnTo>
                    <a:pt x="7696316" y="4180349"/>
                  </a:lnTo>
                  <a:lnTo>
                    <a:pt x="7697015" y="4179650"/>
                  </a:lnTo>
                  <a:lnTo>
                    <a:pt x="7602269" y="4085372"/>
                  </a:lnTo>
                  <a:lnTo>
                    <a:pt x="7601098" y="4085372"/>
                  </a:lnTo>
                  <a:lnTo>
                    <a:pt x="7556379" y="4040653"/>
                  </a:lnTo>
                  <a:lnTo>
                    <a:pt x="7556851" y="4040180"/>
                  </a:lnTo>
                  <a:lnTo>
                    <a:pt x="7555870" y="4039203"/>
                  </a:lnTo>
                  <a:lnTo>
                    <a:pt x="7730554" y="3863819"/>
                  </a:lnTo>
                  <a:lnTo>
                    <a:pt x="7732757" y="3863819"/>
                  </a:lnTo>
                  <a:lnTo>
                    <a:pt x="7826092" y="3770241"/>
                  </a:lnTo>
                  <a:lnTo>
                    <a:pt x="7627649" y="3770241"/>
                  </a:lnTo>
                  <a:lnTo>
                    <a:pt x="7631144" y="3763253"/>
                  </a:lnTo>
                  <a:lnTo>
                    <a:pt x="7826092" y="3763253"/>
                  </a:lnTo>
                  <a:lnTo>
                    <a:pt x="7696127" y="3633288"/>
                  </a:lnTo>
                  <a:lnTo>
                    <a:pt x="7699620" y="3626301"/>
                  </a:lnTo>
                  <a:lnTo>
                    <a:pt x="7840067" y="3766747"/>
                  </a:lnTo>
                  <a:lnTo>
                    <a:pt x="7572494" y="4035011"/>
                  </a:lnTo>
                  <a:lnTo>
                    <a:pt x="7833269" y="4035011"/>
                  </a:lnTo>
                  <a:lnTo>
                    <a:pt x="7922707" y="3945572"/>
                  </a:lnTo>
                  <a:lnTo>
                    <a:pt x="8004460" y="3863819"/>
                  </a:lnTo>
                  <a:lnTo>
                    <a:pt x="8007368" y="3863819"/>
                  </a:lnTo>
                  <a:lnTo>
                    <a:pt x="8104190" y="3766747"/>
                  </a:lnTo>
                  <a:lnTo>
                    <a:pt x="7833079" y="3497033"/>
                  </a:lnTo>
                  <a:lnTo>
                    <a:pt x="7764603" y="3497033"/>
                  </a:lnTo>
                  <a:lnTo>
                    <a:pt x="7768096" y="3490046"/>
                  </a:lnTo>
                  <a:lnTo>
                    <a:pt x="7833079" y="3490046"/>
                  </a:lnTo>
                  <a:lnTo>
                    <a:pt x="8103491" y="3218935"/>
                  </a:lnTo>
                  <a:lnTo>
                    <a:pt x="7969333" y="3085476"/>
                  </a:lnTo>
                  <a:lnTo>
                    <a:pt x="7832381" y="2948523"/>
                  </a:lnTo>
                  <a:close/>
                  <a:moveTo>
                    <a:pt x="6471935" y="2947824"/>
                  </a:moveTo>
                  <a:lnTo>
                    <a:pt x="6601902" y="3077790"/>
                  </a:lnTo>
                  <a:lnTo>
                    <a:pt x="6743046" y="3218236"/>
                  </a:lnTo>
                  <a:lnTo>
                    <a:pt x="6472634" y="3489347"/>
                  </a:lnTo>
                  <a:lnTo>
                    <a:pt x="6736759" y="3489347"/>
                  </a:lnTo>
                  <a:lnTo>
                    <a:pt x="7007170" y="3218236"/>
                  </a:lnTo>
                  <a:lnTo>
                    <a:pt x="6736059" y="2947824"/>
                  </a:lnTo>
                  <a:close/>
                  <a:moveTo>
                    <a:pt x="7020446" y="2947127"/>
                  </a:moveTo>
                  <a:lnTo>
                    <a:pt x="7291557" y="3217539"/>
                  </a:lnTo>
                  <a:lnTo>
                    <a:pt x="7021145" y="3488648"/>
                  </a:lnTo>
                  <a:lnTo>
                    <a:pt x="7285268" y="3488648"/>
                  </a:lnTo>
                  <a:lnTo>
                    <a:pt x="7555680" y="3217539"/>
                  </a:lnTo>
                  <a:lnTo>
                    <a:pt x="7284569" y="2947127"/>
                  </a:lnTo>
                  <a:close/>
                  <a:moveTo>
                    <a:pt x="8665977" y="2946428"/>
                  </a:moveTo>
                  <a:lnTo>
                    <a:pt x="8935690" y="3215442"/>
                  </a:lnTo>
                  <a:lnTo>
                    <a:pt x="8932895" y="3218236"/>
                  </a:lnTo>
                  <a:lnTo>
                    <a:pt x="8842758" y="3309073"/>
                  </a:lnTo>
                  <a:lnTo>
                    <a:pt x="8842058" y="3309073"/>
                  </a:lnTo>
                  <a:lnTo>
                    <a:pt x="8665278" y="3486553"/>
                  </a:lnTo>
                  <a:lnTo>
                    <a:pt x="8929401" y="3486553"/>
                  </a:lnTo>
                  <a:lnTo>
                    <a:pt x="9018840" y="3397114"/>
                  </a:lnTo>
                  <a:lnTo>
                    <a:pt x="9019538" y="3397114"/>
                  </a:lnTo>
                  <a:lnTo>
                    <a:pt x="9201211" y="3216840"/>
                  </a:lnTo>
                  <a:lnTo>
                    <a:pt x="8930100" y="2946428"/>
                  </a:lnTo>
                  <a:close/>
                  <a:moveTo>
                    <a:pt x="8117466" y="2946428"/>
                  </a:moveTo>
                  <a:lnTo>
                    <a:pt x="8118165" y="2947127"/>
                  </a:lnTo>
                  <a:lnTo>
                    <a:pt x="8118864" y="2947127"/>
                  </a:lnTo>
                  <a:lnTo>
                    <a:pt x="8387878" y="3216141"/>
                  </a:lnTo>
                  <a:lnTo>
                    <a:pt x="8117466" y="3487252"/>
                  </a:lnTo>
                  <a:lnTo>
                    <a:pt x="8381590" y="3487252"/>
                  </a:lnTo>
                  <a:lnTo>
                    <a:pt x="8652002" y="3216840"/>
                  </a:lnTo>
                  <a:lnTo>
                    <a:pt x="8647111" y="3211249"/>
                  </a:lnTo>
                  <a:lnTo>
                    <a:pt x="8381590" y="2946428"/>
                  </a:lnTo>
                  <a:close/>
                  <a:moveTo>
                    <a:pt x="10583842" y="2946047"/>
                  </a:moveTo>
                  <a:lnTo>
                    <a:pt x="10854953" y="3215760"/>
                  </a:lnTo>
                  <a:lnTo>
                    <a:pt x="10852159" y="3218555"/>
                  </a:lnTo>
                  <a:lnTo>
                    <a:pt x="10762021" y="3309391"/>
                  </a:lnTo>
                  <a:lnTo>
                    <a:pt x="10584541" y="3486871"/>
                  </a:lnTo>
                  <a:lnTo>
                    <a:pt x="10848664" y="3486871"/>
                  </a:lnTo>
                  <a:lnTo>
                    <a:pt x="10938103" y="3397432"/>
                  </a:lnTo>
                  <a:lnTo>
                    <a:pt x="11119076" y="3216459"/>
                  </a:lnTo>
                  <a:lnTo>
                    <a:pt x="10847965" y="2946047"/>
                  </a:lnTo>
                  <a:close/>
                  <a:moveTo>
                    <a:pt x="10035332" y="2946047"/>
                  </a:moveTo>
                  <a:lnTo>
                    <a:pt x="10163900" y="3074615"/>
                  </a:lnTo>
                  <a:lnTo>
                    <a:pt x="10305744" y="3216459"/>
                  </a:lnTo>
                  <a:lnTo>
                    <a:pt x="10035332" y="3487570"/>
                  </a:lnTo>
                  <a:lnTo>
                    <a:pt x="10299455" y="3487570"/>
                  </a:lnTo>
                  <a:lnTo>
                    <a:pt x="10569867" y="3216459"/>
                  </a:lnTo>
                  <a:lnTo>
                    <a:pt x="10564976" y="3211568"/>
                  </a:lnTo>
                  <a:lnTo>
                    <a:pt x="10299455" y="2946047"/>
                  </a:lnTo>
                  <a:close/>
                  <a:moveTo>
                    <a:pt x="9485425" y="2946047"/>
                  </a:moveTo>
                  <a:lnTo>
                    <a:pt x="9756536" y="3215760"/>
                  </a:lnTo>
                  <a:lnTo>
                    <a:pt x="9753740" y="3218555"/>
                  </a:lnTo>
                  <a:lnTo>
                    <a:pt x="9663602" y="3309391"/>
                  </a:lnTo>
                  <a:lnTo>
                    <a:pt x="9486124" y="3486871"/>
                  </a:lnTo>
                  <a:lnTo>
                    <a:pt x="9750247" y="3486871"/>
                  </a:lnTo>
                  <a:lnTo>
                    <a:pt x="9839685" y="3397432"/>
                  </a:lnTo>
                  <a:lnTo>
                    <a:pt x="10020659" y="3216459"/>
                  </a:lnTo>
                  <a:lnTo>
                    <a:pt x="9749548" y="2946047"/>
                  </a:lnTo>
                  <a:close/>
                  <a:moveTo>
                    <a:pt x="9214487" y="2945031"/>
                  </a:moveTo>
                  <a:lnTo>
                    <a:pt x="9344452" y="3074995"/>
                  </a:lnTo>
                  <a:lnTo>
                    <a:pt x="9482424" y="3212966"/>
                  </a:lnTo>
                  <a:lnTo>
                    <a:pt x="9742561" y="3212966"/>
                  </a:lnTo>
                  <a:lnTo>
                    <a:pt x="9473932" y="2945031"/>
                  </a:lnTo>
                  <a:close/>
                  <a:moveTo>
                    <a:pt x="11132352" y="2944649"/>
                  </a:moveTo>
                  <a:lnTo>
                    <a:pt x="11262318" y="3074615"/>
                  </a:lnTo>
                  <a:lnTo>
                    <a:pt x="11403463" y="3215061"/>
                  </a:lnTo>
                  <a:lnTo>
                    <a:pt x="11133051" y="3486172"/>
                  </a:lnTo>
                  <a:lnTo>
                    <a:pt x="11397175" y="3486172"/>
                  </a:lnTo>
                  <a:lnTo>
                    <a:pt x="11667587" y="3215061"/>
                  </a:lnTo>
                  <a:lnTo>
                    <a:pt x="11396476" y="2944649"/>
                  </a:lnTo>
                  <a:close/>
                  <a:moveTo>
                    <a:pt x="1255633" y="2679380"/>
                  </a:moveTo>
                  <a:lnTo>
                    <a:pt x="985221" y="2950491"/>
                  </a:lnTo>
                  <a:lnTo>
                    <a:pt x="1256332" y="3220903"/>
                  </a:lnTo>
                  <a:lnTo>
                    <a:pt x="1520455" y="3220903"/>
                  </a:lnTo>
                  <a:lnTo>
                    <a:pt x="1249344" y="2950491"/>
                  </a:lnTo>
                  <a:lnTo>
                    <a:pt x="1519757" y="2679380"/>
                  </a:lnTo>
                  <a:close/>
                  <a:moveTo>
                    <a:pt x="1804143" y="2678681"/>
                  </a:moveTo>
                  <a:lnTo>
                    <a:pt x="1533731" y="2949792"/>
                  </a:lnTo>
                  <a:lnTo>
                    <a:pt x="1805541" y="3220204"/>
                  </a:lnTo>
                  <a:lnTo>
                    <a:pt x="2068965" y="3220204"/>
                  </a:lnTo>
                  <a:lnTo>
                    <a:pt x="1938301" y="3090238"/>
                  </a:lnTo>
                  <a:lnTo>
                    <a:pt x="1797854" y="2949792"/>
                  </a:lnTo>
                  <a:lnTo>
                    <a:pt x="2068266" y="2678681"/>
                  </a:lnTo>
                  <a:close/>
                  <a:moveTo>
                    <a:pt x="705027" y="2678681"/>
                  </a:moveTo>
                  <a:lnTo>
                    <a:pt x="434615" y="2949792"/>
                  </a:lnTo>
                  <a:lnTo>
                    <a:pt x="705726" y="3220204"/>
                  </a:lnTo>
                  <a:lnTo>
                    <a:pt x="774202" y="3220204"/>
                  </a:lnTo>
                  <a:lnTo>
                    <a:pt x="773503" y="3221602"/>
                  </a:lnTo>
                  <a:lnTo>
                    <a:pt x="971247" y="3221602"/>
                  </a:lnTo>
                  <a:lnTo>
                    <a:pt x="839884" y="3090238"/>
                  </a:lnTo>
                  <a:lnTo>
                    <a:pt x="699437" y="2949792"/>
                  </a:lnTo>
                  <a:lnTo>
                    <a:pt x="968451" y="2680079"/>
                  </a:lnTo>
                  <a:lnTo>
                    <a:pt x="772105" y="2680079"/>
                  </a:lnTo>
                  <a:lnTo>
                    <a:pt x="772804" y="2678681"/>
                  </a:lnTo>
                  <a:close/>
                  <a:moveTo>
                    <a:pt x="2352653" y="2677982"/>
                  </a:moveTo>
                  <a:lnTo>
                    <a:pt x="2082241" y="2949093"/>
                  </a:lnTo>
                  <a:lnTo>
                    <a:pt x="2353352" y="3219505"/>
                  </a:lnTo>
                  <a:lnTo>
                    <a:pt x="2617476" y="3219505"/>
                  </a:lnTo>
                  <a:lnTo>
                    <a:pt x="2346365" y="2949093"/>
                  </a:lnTo>
                  <a:lnTo>
                    <a:pt x="2616777" y="2677982"/>
                  </a:lnTo>
                  <a:close/>
                  <a:moveTo>
                    <a:pt x="3998184" y="2675886"/>
                  </a:moveTo>
                  <a:lnTo>
                    <a:pt x="3727772" y="2946997"/>
                  </a:lnTo>
                  <a:lnTo>
                    <a:pt x="3998883" y="3217408"/>
                  </a:lnTo>
                  <a:lnTo>
                    <a:pt x="4263007" y="3217408"/>
                  </a:lnTo>
                  <a:lnTo>
                    <a:pt x="3991896" y="2946997"/>
                  </a:lnTo>
                  <a:lnTo>
                    <a:pt x="4262309" y="2675886"/>
                  </a:lnTo>
                  <a:close/>
                  <a:moveTo>
                    <a:pt x="4546696" y="2675187"/>
                  </a:moveTo>
                  <a:lnTo>
                    <a:pt x="4276283" y="2946297"/>
                  </a:lnTo>
                  <a:lnTo>
                    <a:pt x="4547394" y="3216709"/>
                  </a:lnTo>
                  <a:lnTo>
                    <a:pt x="4809087" y="3216709"/>
                  </a:lnTo>
                  <a:lnTo>
                    <a:pt x="4806841" y="3214743"/>
                  </a:lnTo>
                  <a:lnTo>
                    <a:pt x="4660106" y="3068707"/>
                  </a:lnTo>
                  <a:lnTo>
                    <a:pt x="4660106" y="3065999"/>
                  </a:lnTo>
                  <a:lnTo>
                    <a:pt x="4540406" y="2946297"/>
                  </a:lnTo>
                  <a:lnTo>
                    <a:pt x="4660106" y="2826288"/>
                  </a:lnTo>
                  <a:lnTo>
                    <a:pt x="4660106" y="2822050"/>
                  </a:lnTo>
                  <a:lnTo>
                    <a:pt x="4806970" y="2675187"/>
                  </a:lnTo>
                  <a:close/>
                  <a:moveTo>
                    <a:pt x="5915740" y="2674618"/>
                  </a:moveTo>
                  <a:lnTo>
                    <a:pt x="5645327" y="2945729"/>
                  </a:lnTo>
                  <a:lnTo>
                    <a:pt x="5916438" y="3216141"/>
                  </a:lnTo>
                  <a:lnTo>
                    <a:pt x="6180561" y="3216141"/>
                  </a:lnTo>
                  <a:lnTo>
                    <a:pt x="5909450" y="2945729"/>
                  </a:lnTo>
                  <a:lnTo>
                    <a:pt x="6179863" y="2674618"/>
                  </a:lnTo>
                  <a:close/>
                  <a:moveTo>
                    <a:pt x="4821179" y="2674618"/>
                  </a:moveTo>
                  <a:lnTo>
                    <a:pt x="4554381" y="2942106"/>
                  </a:lnTo>
                  <a:lnTo>
                    <a:pt x="4814648" y="2942106"/>
                  </a:lnTo>
                  <a:lnTo>
                    <a:pt x="5081446" y="2674618"/>
                  </a:lnTo>
                  <a:close/>
                  <a:moveTo>
                    <a:pt x="6464250" y="2673919"/>
                  </a:moveTo>
                  <a:lnTo>
                    <a:pt x="6193838" y="2945031"/>
                  </a:lnTo>
                  <a:lnTo>
                    <a:pt x="6465647" y="3215442"/>
                  </a:lnTo>
                  <a:lnTo>
                    <a:pt x="6729071" y="3215442"/>
                  </a:lnTo>
                  <a:lnTo>
                    <a:pt x="6598407" y="3085476"/>
                  </a:lnTo>
                  <a:lnTo>
                    <a:pt x="6457961" y="2945031"/>
                  </a:lnTo>
                  <a:lnTo>
                    <a:pt x="6728373" y="2673919"/>
                  </a:lnTo>
                  <a:close/>
                  <a:moveTo>
                    <a:pt x="5365133" y="2673919"/>
                  </a:moveTo>
                  <a:lnTo>
                    <a:pt x="5094721" y="2945031"/>
                  </a:lnTo>
                  <a:lnTo>
                    <a:pt x="5365832" y="3215442"/>
                  </a:lnTo>
                  <a:lnTo>
                    <a:pt x="5434309" y="3215442"/>
                  </a:lnTo>
                  <a:lnTo>
                    <a:pt x="5433609" y="3216840"/>
                  </a:lnTo>
                  <a:lnTo>
                    <a:pt x="5631353" y="3216840"/>
                  </a:lnTo>
                  <a:lnTo>
                    <a:pt x="5499990" y="3085476"/>
                  </a:lnTo>
                  <a:lnTo>
                    <a:pt x="5359544" y="2945031"/>
                  </a:lnTo>
                  <a:lnTo>
                    <a:pt x="5628558" y="2675317"/>
                  </a:lnTo>
                  <a:lnTo>
                    <a:pt x="5432211" y="2675317"/>
                  </a:lnTo>
                  <a:lnTo>
                    <a:pt x="5432910" y="2673919"/>
                  </a:lnTo>
                  <a:close/>
                  <a:moveTo>
                    <a:pt x="7012759" y="2673220"/>
                  </a:moveTo>
                  <a:lnTo>
                    <a:pt x="6742348" y="2944331"/>
                  </a:lnTo>
                  <a:lnTo>
                    <a:pt x="7013458" y="3214743"/>
                  </a:lnTo>
                  <a:lnTo>
                    <a:pt x="7277582" y="3214743"/>
                  </a:lnTo>
                  <a:lnTo>
                    <a:pt x="7006471" y="2944331"/>
                  </a:lnTo>
                  <a:lnTo>
                    <a:pt x="7276883" y="2673220"/>
                  </a:lnTo>
                  <a:close/>
                  <a:moveTo>
                    <a:pt x="10576156" y="2671443"/>
                  </a:moveTo>
                  <a:lnTo>
                    <a:pt x="10305744" y="2942554"/>
                  </a:lnTo>
                  <a:lnTo>
                    <a:pt x="10576855" y="3212966"/>
                  </a:lnTo>
                  <a:lnTo>
                    <a:pt x="10840978" y="3212966"/>
                  </a:lnTo>
                  <a:lnTo>
                    <a:pt x="10569867" y="2942554"/>
                  </a:lnTo>
                  <a:lnTo>
                    <a:pt x="10840280" y="2671443"/>
                  </a:lnTo>
                  <a:close/>
                  <a:moveTo>
                    <a:pt x="9479701" y="2671443"/>
                  </a:moveTo>
                  <a:lnTo>
                    <a:pt x="9214487" y="2937344"/>
                  </a:lnTo>
                  <a:lnTo>
                    <a:pt x="9476647" y="2937344"/>
                  </a:lnTo>
                  <a:lnTo>
                    <a:pt x="9741862" y="2671443"/>
                  </a:lnTo>
                  <a:close/>
                  <a:moveTo>
                    <a:pt x="8658290" y="2671124"/>
                  </a:moveTo>
                  <a:lnTo>
                    <a:pt x="8387878" y="2942235"/>
                  </a:lnTo>
                  <a:lnTo>
                    <a:pt x="8658989" y="3212646"/>
                  </a:lnTo>
                  <a:lnTo>
                    <a:pt x="8923113" y="3212646"/>
                  </a:lnTo>
                  <a:lnTo>
                    <a:pt x="8652002" y="2942235"/>
                  </a:lnTo>
                  <a:lnTo>
                    <a:pt x="8922414" y="2671124"/>
                  </a:lnTo>
                  <a:close/>
                  <a:moveTo>
                    <a:pt x="11124666" y="2670744"/>
                  </a:moveTo>
                  <a:lnTo>
                    <a:pt x="10854254" y="2941855"/>
                  </a:lnTo>
                  <a:lnTo>
                    <a:pt x="11126064" y="3212267"/>
                  </a:lnTo>
                  <a:lnTo>
                    <a:pt x="11389488" y="3212267"/>
                  </a:lnTo>
                  <a:lnTo>
                    <a:pt x="11258824" y="3082301"/>
                  </a:lnTo>
                  <a:lnTo>
                    <a:pt x="11118377" y="2941855"/>
                  </a:lnTo>
                  <a:lnTo>
                    <a:pt x="11388789" y="2670744"/>
                  </a:lnTo>
                  <a:close/>
                  <a:moveTo>
                    <a:pt x="10025550" y="2670744"/>
                  </a:moveTo>
                  <a:lnTo>
                    <a:pt x="9755138" y="2941855"/>
                  </a:lnTo>
                  <a:lnTo>
                    <a:pt x="10026249" y="3212267"/>
                  </a:lnTo>
                  <a:lnTo>
                    <a:pt x="10094725" y="3212267"/>
                  </a:lnTo>
                  <a:lnTo>
                    <a:pt x="10094026" y="3213665"/>
                  </a:lnTo>
                  <a:lnTo>
                    <a:pt x="10291770" y="3213665"/>
                  </a:lnTo>
                  <a:lnTo>
                    <a:pt x="10160407" y="3082301"/>
                  </a:lnTo>
                  <a:lnTo>
                    <a:pt x="10019960" y="2941855"/>
                  </a:lnTo>
                  <a:lnTo>
                    <a:pt x="10288974" y="2672142"/>
                  </a:lnTo>
                  <a:lnTo>
                    <a:pt x="10092628" y="2672142"/>
                  </a:lnTo>
                  <a:lnTo>
                    <a:pt x="10093327" y="2670744"/>
                  </a:lnTo>
                  <a:close/>
                  <a:moveTo>
                    <a:pt x="3517239" y="2670723"/>
                  </a:moveTo>
                  <a:lnTo>
                    <a:pt x="3513958" y="2677283"/>
                  </a:lnTo>
                  <a:lnTo>
                    <a:pt x="3448975" y="2677283"/>
                  </a:lnTo>
                  <a:lnTo>
                    <a:pt x="3268701" y="2858257"/>
                  </a:lnTo>
                  <a:lnTo>
                    <a:pt x="3179262" y="2947695"/>
                  </a:lnTo>
                  <a:lnTo>
                    <a:pt x="3312721" y="3081853"/>
                  </a:lnTo>
                  <a:lnTo>
                    <a:pt x="3451072" y="3215313"/>
                  </a:lnTo>
                  <a:lnTo>
                    <a:pt x="3715195" y="3215313"/>
                  </a:lnTo>
                  <a:lnTo>
                    <a:pt x="3444084" y="2944901"/>
                  </a:lnTo>
                  <a:lnTo>
                    <a:pt x="3445482" y="2943503"/>
                  </a:lnTo>
                  <a:lnTo>
                    <a:pt x="3713797" y="2674489"/>
                  </a:lnTo>
                  <a:lnTo>
                    <a:pt x="3515356" y="2674489"/>
                  </a:lnTo>
                  <a:close/>
                  <a:moveTo>
                    <a:pt x="9206801" y="2670425"/>
                  </a:moveTo>
                  <a:lnTo>
                    <a:pt x="8936388" y="2941535"/>
                  </a:lnTo>
                  <a:lnTo>
                    <a:pt x="9207500" y="3211947"/>
                  </a:lnTo>
                  <a:lnTo>
                    <a:pt x="9467691" y="3211947"/>
                  </a:lnTo>
                  <a:lnTo>
                    <a:pt x="9467258" y="3211568"/>
                  </a:lnTo>
                  <a:lnTo>
                    <a:pt x="9320523" y="3065532"/>
                  </a:lnTo>
                  <a:lnTo>
                    <a:pt x="9320523" y="3061548"/>
                  </a:lnTo>
                  <a:lnTo>
                    <a:pt x="9200512" y="2941535"/>
                  </a:lnTo>
                  <a:lnTo>
                    <a:pt x="9320523" y="2821214"/>
                  </a:lnTo>
                  <a:lnTo>
                    <a:pt x="9320523" y="2818876"/>
                  </a:lnTo>
                  <a:lnTo>
                    <a:pt x="9468974" y="2670425"/>
                  </a:lnTo>
                  <a:close/>
                  <a:moveTo>
                    <a:pt x="11673176" y="2670045"/>
                  </a:moveTo>
                  <a:lnTo>
                    <a:pt x="11402764" y="2941156"/>
                  </a:lnTo>
                  <a:lnTo>
                    <a:pt x="11673875" y="3211568"/>
                  </a:lnTo>
                  <a:lnTo>
                    <a:pt x="11937999" y="3211568"/>
                  </a:lnTo>
                  <a:lnTo>
                    <a:pt x="11666888" y="2941156"/>
                  </a:lnTo>
                  <a:lnTo>
                    <a:pt x="11937300" y="2670045"/>
                  </a:lnTo>
                  <a:close/>
                  <a:moveTo>
                    <a:pt x="8177520" y="2665610"/>
                  </a:moveTo>
                  <a:lnTo>
                    <a:pt x="8174064" y="2672521"/>
                  </a:lnTo>
                  <a:lnTo>
                    <a:pt x="8109081" y="2672521"/>
                  </a:lnTo>
                  <a:lnTo>
                    <a:pt x="7928807" y="2853496"/>
                  </a:lnTo>
                  <a:lnTo>
                    <a:pt x="7839368" y="2942933"/>
                  </a:lnTo>
                  <a:lnTo>
                    <a:pt x="7972827" y="3077091"/>
                  </a:lnTo>
                  <a:lnTo>
                    <a:pt x="8111178" y="3210551"/>
                  </a:lnTo>
                  <a:lnTo>
                    <a:pt x="8375301" y="3210551"/>
                  </a:lnTo>
                  <a:lnTo>
                    <a:pt x="8104190" y="2940139"/>
                  </a:lnTo>
                  <a:lnTo>
                    <a:pt x="8105588" y="2938741"/>
                  </a:lnTo>
                  <a:lnTo>
                    <a:pt x="8373903" y="2669727"/>
                  </a:lnTo>
                  <a:lnTo>
                    <a:pt x="8175462" y="2669727"/>
                  </a:lnTo>
                  <a:close/>
                  <a:moveTo>
                    <a:pt x="164203" y="2405474"/>
                  </a:moveTo>
                  <a:lnTo>
                    <a:pt x="435314" y="2675886"/>
                  </a:lnTo>
                  <a:lnTo>
                    <a:pt x="164902" y="2946997"/>
                  </a:lnTo>
                  <a:lnTo>
                    <a:pt x="429025" y="2946997"/>
                  </a:lnTo>
                  <a:lnTo>
                    <a:pt x="699437" y="2675886"/>
                  </a:lnTo>
                  <a:lnTo>
                    <a:pt x="428326" y="2405474"/>
                  </a:lnTo>
                  <a:close/>
                  <a:moveTo>
                    <a:pt x="1811131" y="2404775"/>
                  </a:moveTo>
                  <a:lnTo>
                    <a:pt x="2082940" y="2675187"/>
                  </a:lnTo>
                  <a:lnTo>
                    <a:pt x="1812528" y="2946297"/>
                  </a:lnTo>
                  <a:lnTo>
                    <a:pt x="2075953" y="2946297"/>
                  </a:lnTo>
                  <a:lnTo>
                    <a:pt x="2346365" y="2675187"/>
                  </a:lnTo>
                  <a:lnTo>
                    <a:pt x="2212208" y="2541728"/>
                  </a:lnTo>
                  <a:lnTo>
                    <a:pt x="2075254" y="2404775"/>
                  </a:lnTo>
                  <a:close/>
                  <a:moveTo>
                    <a:pt x="1262620" y="2404775"/>
                  </a:moveTo>
                  <a:lnTo>
                    <a:pt x="1533731" y="2675187"/>
                  </a:lnTo>
                  <a:lnTo>
                    <a:pt x="1263319" y="2946297"/>
                  </a:lnTo>
                  <a:lnTo>
                    <a:pt x="1527442" y="2946297"/>
                  </a:lnTo>
                  <a:lnTo>
                    <a:pt x="1797854" y="2675187"/>
                  </a:lnTo>
                  <a:lnTo>
                    <a:pt x="1526744" y="2404775"/>
                  </a:lnTo>
                  <a:close/>
                  <a:moveTo>
                    <a:pt x="2359641" y="2404076"/>
                  </a:moveTo>
                  <a:lnTo>
                    <a:pt x="2361039" y="2405474"/>
                  </a:lnTo>
                  <a:lnTo>
                    <a:pt x="2629354" y="2673790"/>
                  </a:lnTo>
                  <a:lnTo>
                    <a:pt x="2358942" y="2944901"/>
                  </a:lnTo>
                  <a:lnTo>
                    <a:pt x="2623065" y="2944901"/>
                  </a:lnTo>
                  <a:lnTo>
                    <a:pt x="2893477" y="2673790"/>
                  </a:lnTo>
                  <a:lnTo>
                    <a:pt x="2888586" y="2668899"/>
                  </a:lnTo>
                  <a:lnTo>
                    <a:pt x="2906055" y="2677283"/>
                  </a:lnTo>
                  <a:lnTo>
                    <a:pt x="2900465" y="2677283"/>
                  </a:lnTo>
                  <a:lnTo>
                    <a:pt x="2630053" y="2948394"/>
                  </a:lnTo>
                  <a:lnTo>
                    <a:pt x="2901164" y="3218806"/>
                  </a:lnTo>
                  <a:lnTo>
                    <a:pt x="3165287" y="3218806"/>
                  </a:lnTo>
                  <a:lnTo>
                    <a:pt x="2894875" y="2947695"/>
                  </a:lnTo>
                  <a:lnTo>
                    <a:pt x="3079343" y="2763229"/>
                  </a:lnTo>
                  <a:lnTo>
                    <a:pt x="3165287" y="2677283"/>
                  </a:lnTo>
                  <a:lnTo>
                    <a:pt x="2906754" y="2677283"/>
                  </a:lnTo>
                  <a:lnTo>
                    <a:pt x="2889285" y="2668899"/>
                  </a:lnTo>
                  <a:lnTo>
                    <a:pt x="2623764" y="2404076"/>
                  </a:lnTo>
                  <a:close/>
                  <a:moveTo>
                    <a:pt x="713412" y="2404076"/>
                  </a:moveTo>
                  <a:lnTo>
                    <a:pt x="844775" y="2535440"/>
                  </a:lnTo>
                  <a:lnTo>
                    <a:pt x="985221" y="2675886"/>
                  </a:lnTo>
                  <a:lnTo>
                    <a:pt x="716206" y="2945599"/>
                  </a:lnTo>
                  <a:lnTo>
                    <a:pt x="912552" y="2945599"/>
                  </a:lnTo>
                  <a:lnTo>
                    <a:pt x="911853" y="2946997"/>
                  </a:lnTo>
                  <a:lnTo>
                    <a:pt x="978932" y="2946997"/>
                  </a:lnTo>
                  <a:lnTo>
                    <a:pt x="1248646" y="2675886"/>
                  </a:lnTo>
                  <a:lnTo>
                    <a:pt x="1113090" y="2541029"/>
                  </a:lnTo>
                  <a:lnTo>
                    <a:pt x="1094923" y="2522863"/>
                  </a:lnTo>
                  <a:lnTo>
                    <a:pt x="977535" y="2406173"/>
                  </a:lnTo>
                  <a:lnTo>
                    <a:pt x="909058" y="2406173"/>
                  </a:lnTo>
                  <a:lnTo>
                    <a:pt x="909757" y="2404775"/>
                  </a:lnTo>
                  <a:close/>
                  <a:moveTo>
                    <a:pt x="2907452" y="2402679"/>
                  </a:moveTo>
                  <a:lnTo>
                    <a:pt x="3178563" y="2673091"/>
                  </a:lnTo>
                  <a:lnTo>
                    <a:pt x="3175769" y="2675886"/>
                  </a:lnTo>
                  <a:lnTo>
                    <a:pt x="3085631" y="2766722"/>
                  </a:lnTo>
                  <a:lnTo>
                    <a:pt x="2908151" y="2944202"/>
                  </a:lnTo>
                  <a:lnTo>
                    <a:pt x="3172275" y="2944202"/>
                  </a:lnTo>
                  <a:lnTo>
                    <a:pt x="3262412" y="2854763"/>
                  </a:lnTo>
                  <a:lnTo>
                    <a:pt x="3442687" y="2673091"/>
                  </a:lnTo>
                  <a:lnTo>
                    <a:pt x="3171576" y="2402679"/>
                  </a:lnTo>
                  <a:close/>
                  <a:moveTo>
                    <a:pt x="4004473" y="2401981"/>
                  </a:moveTo>
                  <a:lnTo>
                    <a:pt x="4275584" y="2671694"/>
                  </a:lnTo>
                  <a:lnTo>
                    <a:pt x="4005172" y="2942805"/>
                  </a:lnTo>
                  <a:lnTo>
                    <a:pt x="4269296" y="2942805"/>
                  </a:lnTo>
                  <a:lnTo>
                    <a:pt x="4539707" y="2672393"/>
                  </a:lnTo>
                  <a:lnTo>
                    <a:pt x="4268598" y="2401981"/>
                  </a:lnTo>
                  <a:close/>
                  <a:moveTo>
                    <a:pt x="4824309" y="2400713"/>
                  </a:moveTo>
                  <a:lnTo>
                    <a:pt x="5095421" y="2671124"/>
                  </a:lnTo>
                  <a:lnTo>
                    <a:pt x="4825009" y="2942235"/>
                  </a:lnTo>
                  <a:lnTo>
                    <a:pt x="5089132" y="2942235"/>
                  </a:lnTo>
                  <a:lnTo>
                    <a:pt x="5359544" y="2671124"/>
                  </a:lnTo>
                  <a:lnTo>
                    <a:pt x="5088432" y="2400713"/>
                  </a:lnTo>
                  <a:close/>
                  <a:moveTo>
                    <a:pt x="4553683" y="2400583"/>
                  </a:moveTo>
                  <a:lnTo>
                    <a:pt x="4821422" y="2667631"/>
                  </a:lnTo>
                  <a:lnTo>
                    <a:pt x="5082144" y="2667631"/>
                  </a:lnTo>
                  <a:lnTo>
                    <a:pt x="4814405" y="2400583"/>
                  </a:lnTo>
                  <a:close/>
                  <a:moveTo>
                    <a:pt x="6471238" y="2400013"/>
                  </a:moveTo>
                  <a:lnTo>
                    <a:pt x="6743046" y="2670425"/>
                  </a:lnTo>
                  <a:lnTo>
                    <a:pt x="6472634" y="2941535"/>
                  </a:lnTo>
                  <a:lnTo>
                    <a:pt x="6736059" y="2941535"/>
                  </a:lnTo>
                  <a:lnTo>
                    <a:pt x="7006471" y="2670425"/>
                  </a:lnTo>
                  <a:lnTo>
                    <a:pt x="6872314" y="2536966"/>
                  </a:lnTo>
                  <a:lnTo>
                    <a:pt x="6735361" y="2400013"/>
                  </a:lnTo>
                  <a:close/>
                  <a:moveTo>
                    <a:pt x="5922727" y="2400013"/>
                  </a:moveTo>
                  <a:lnTo>
                    <a:pt x="6193838" y="2670425"/>
                  </a:lnTo>
                  <a:lnTo>
                    <a:pt x="5923425" y="2941535"/>
                  </a:lnTo>
                  <a:lnTo>
                    <a:pt x="6187548" y="2941535"/>
                  </a:lnTo>
                  <a:lnTo>
                    <a:pt x="6457961" y="2670425"/>
                  </a:lnTo>
                  <a:lnTo>
                    <a:pt x="6186850" y="2400013"/>
                  </a:lnTo>
                  <a:close/>
                  <a:moveTo>
                    <a:pt x="7019748" y="2399314"/>
                  </a:moveTo>
                  <a:lnTo>
                    <a:pt x="7021145" y="2400713"/>
                  </a:lnTo>
                  <a:lnTo>
                    <a:pt x="7289460" y="2669028"/>
                  </a:lnTo>
                  <a:lnTo>
                    <a:pt x="7019048" y="2940139"/>
                  </a:lnTo>
                  <a:lnTo>
                    <a:pt x="7283171" y="2940139"/>
                  </a:lnTo>
                  <a:lnTo>
                    <a:pt x="7553583" y="2669028"/>
                  </a:lnTo>
                  <a:lnTo>
                    <a:pt x="7548692" y="2664137"/>
                  </a:lnTo>
                  <a:lnTo>
                    <a:pt x="7566161" y="2672521"/>
                  </a:lnTo>
                  <a:lnTo>
                    <a:pt x="7560571" y="2672521"/>
                  </a:lnTo>
                  <a:lnTo>
                    <a:pt x="7290159" y="2943632"/>
                  </a:lnTo>
                  <a:lnTo>
                    <a:pt x="7561270" y="3214044"/>
                  </a:lnTo>
                  <a:lnTo>
                    <a:pt x="7825393" y="3214044"/>
                  </a:lnTo>
                  <a:lnTo>
                    <a:pt x="7554981" y="2942933"/>
                  </a:lnTo>
                  <a:lnTo>
                    <a:pt x="7739449" y="2758467"/>
                  </a:lnTo>
                  <a:lnTo>
                    <a:pt x="7825393" y="2672521"/>
                  </a:lnTo>
                  <a:lnTo>
                    <a:pt x="7566860" y="2672521"/>
                  </a:lnTo>
                  <a:lnTo>
                    <a:pt x="7549391" y="2664137"/>
                  </a:lnTo>
                  <a:lnTo>
                    <a:pt x="7283870" y="2399314"/>
                  </a:lnTo>
                  <a:close/>
                  <a:moveTo>
                    <a:pt x="5373519" y="2399314"/>
                  </a:moveTo>
                  <a:lnTo>
                    <a:pt x="5504881" y="2530678"/>
                  </a:lnTo>
                  <a:lnTo>
                    <a:pt x="5645327" y="2671124"/>
                  </a:lnTo>
                  <a:lnTo>
                    <a:pt x="5376313" y="2940837"/>
                  </a:lnTo>
                  <a:lnTo>
                    <a:pt x="5572659" y="2940837"/>
                  </a:lnTo>
                  <a:lnTo>
                    <a:pt x="5571959" y="2942235"/>
                  </a:lnTo>
                  <a:lnTo>
                    <a:pt x="5639038" y="2942235"/>
                  </a:lnTo>
                  <a:lnTo>
                    <a:pt x="5908752" y="2671124"/>
                  </a:lnTo>
                  <a:lnTo>
                    <a:pt x="5773197" y="2536267"/>
                  </a:lnTo>
                  <a:lnTo>
                    <a:pt x="5755029" y="2518101"/>
                  </a:lnTo>
                  <a:lnTo>
                    <a:pt x="5637642" y="2401411"/>
                  </a:lnTo>
                  <a:lnTo>
                    <a:pt x="5569164" y="2401411"/>
                  </a:lnTo>
                  <a:lnTo>
                    <a:pt x="5569864" y="2400013"/>
                  </a:lnTo>
                  <a:close/>
                  <a:moveTo>
                    <a:pt x="7567558" y="2397917"/>
                  </a:moveTo>
                  <a:lnTo>
                    <a:pt x="7838669" y="2668329"/>
                  </a:lnTo>
                  <a:lnTo>
                    <a:pt x="7835875" y="2671124"/>
                  </a:lnTo>
                  <a:lnTo>
                    <a:pt x="7745737" y="2761960"/>
                  </a:lnTo>
                  <a:lnTo>
                    <a:pt x="7568257" y="2939440"/>
                  </a:lnTo>
                  <a:lnTo>
                    <a:pt x="7832381" y="2939440"/>
                  </a:lnTo>
                  <a:lnTo>
                    <a:pt x="7922518" y="2850001"/>
                  </a:lnTo>
                  <a:lnTo>
                    <a:pt x="8102793" y="2668329"/>
                  </a:lnTo>
                  <a:lnTo>
                    <a:pt x="7831682" y="2397917"/>
                  </a:lnTo>
                  <a:close/>
                  <a:moveTo>
                    <a:pt x="9484726" y="2397537"/>
                  </a:moveTo>
                  <a:lnTo>
                    <a:pt x="9755837" y="2667949"/>
                  </a:lnTo>
                  <a:lnTo>
                    <a:pt x="9485425" y="2939060"/>
                  </a:lnTo>
                  <a:lnTo>
                    <a:pt x="9749548" y="2939060"/>
                  </a:lnTo>
                  <a:lnTo>
                    <a:pt x="10019960" y="2667949"/>
                  </a:lnTo>
                  <a:lnTo>
                    <a:pt x="9748849" y="2397537"/>
                  </a:lnTo>
                  <a:close/>
                  <a:moveTo>
                    <a:pt x="8664579" y="2397219"/>
                  </a:moveTo>
                  <a:lnTo>
                    <a:pt x="8935690" y="2666932"/>
                  </a:lnTo>
                  <a:lnTo>
                    <a:pt x="8665278" y="2938043"/>
                  </a:lnTo>
                  <a:lnTo>
                    <a:pt x="8929401" y="2938043"/>
                  </a:lnTo>
                  <a:lnTo>
                    <a:pt x="9199813" y="2667631"/>
                  </a:lnTo>
                  <a:lnTo>
                    <a:pt x="8928703" y="2397219"/>
                  </a:lnTo>
                  <a:close/>
                  <a:moveTo>
                    <a:pt x="11131654" y="2396838"/>
                  </a:moveTo>
                  <a:lnTo>
                    <a:pt x="11403463" y="2667250"/>
                  </a:lnTo>
                  <a:lnTo>
                    <a:pt x="11133051" y="2938360"/>
                  </a:lnTo>
                  <a:lnTo>
                    <a:pt x="11396476" y="2938360"/>
                  </a:lnTo>
                  <a:lnTo>
                    <a:pt x="11666888" y="2667250"/>
                  </a:lnTo>
                  <a:lnTo>
                    <a:pt x="11532731" y="2533791"/>
                  </a:lnTo>
                  <a:lnTo>
                    <a:pt x="11395777" y="2396838"/>
                  </a:lnTo>
                  <a:close/>
                  <a:moveTo>
                    <a:pt x="10583143" y="2396838"/>
                  </a:moveTo>
                  <a:lnTo>
                    <a:pt x="10854254" y="2667250"/>
                  </a:lnTo>
                  <a:lnTo>
                    <a:pt x="10583842" y="2938360"/>
                  </a:lnTo>
                  <a:lnTo>
                    <a:pt x="10847965" y="2938360"/>
                  </a:lnTo>
                  <a:lnTo>
                    <a:pt x="11118377" y="2667250"/>
                  </a:lnTo>
                  <a:lnTo>
                    <a:pt x="10847267" y="2396838"/>
                  </a:lnTo>
                  <a:close/>
                  <a:moveTo>
                    <a:pt x="10033935" y="2396139"/>
                  </a:moveTo>
                  <a:lnTo>
                    <a:pt x="10165298" y="2527503"/>
                  </a:lnTo>
                  <a:lnTo>
                    <a:pt x="10305744" y="2667949"/>
                  </a:lnTo>
                  <a:lnTo>
                    <a:pt x="10036729" y="2937662"/>
                  </a:lnTo>
                  <a:lnTo>
                    <a:pt x="10233075" y="2937662"/>
                  </a:lnTo>
                  <a:lnTo>
                    <a:pt x="10232376" y="2939060"/>
                  </a:lnTo>
                  <a:lnTo>
                    <a:pt x="10299455" y="2939060"/>
                  </a:lnTo>
                  <a:lnTo>
                    <a:pt x="10569169" y="2667949"/>
                  </a:lnTo>
                  <a:lnTo>
                    <a:pt x="10433613" y="2533092"/>
                  </a:lnTo>
                  <a:lnTo>
                    <a:pt x="10415446" y="2514926"/>
                  </a:lnTo>
                  <a:lnTo>
                    <a:pt x="10298058" y="2398236"/>
                  </a:lnTo>
                  <a:lnTo>
                    <a:pt x="10229581" y="2398236"/>
                  </a:lnTo>
                  <a:lnTo>
                    <a:pt x="10230280" y="2396838"/>
                  </a:lnTo>
                  <a:close/>
                  <a:moveTo>
                    <a:pt x="9213788" y="2395821"/>
                  </a:moveTo>
                  <a:lnTo>
                    <a:pt x="9483119" y="2664456"/>
                  </a:lnTo>
                  <a:lnTo>
                    <a:pt x="9742561" y="2664456"/>
                  </a:lnTo>
                  <a:lnTo>
                    <a:pt x="9473232" y="2395821"/>
                  </a:lnTo>
                  <a:close/>
                  <a:moveTo>
                    <a:pt x="1255633" y="2130870"/>
                  </a:moveTo>
                  <a:lnTo>
                    <a:pt x="985221" y="2401981"/>
                  </a:lnTo>
                  <a:lnTo>
                    <a:pt x="1117282" y="2534042"/>
                  </a:lnTo>
                  <a:lnTo>
                    <a:pt x="1255633" y="2672393"/>
                  </a:lnTo>
                  <a:lnTo>
                    <a:pt x="1519757" y="2672393"/>
                  </a:lnTo>
                  <a:lnTo>
                    <a:pt x="1248646" y="2401981"/>
                  </a:lnTo>
                  <a:lnTo>
                    <a:pt x="1519757" y="2130870"/>
                  </a:lnTo>
                  <a:close/>
                  <a:moveTo>
                    <a:pt x="2351955" y="2130171"/>
                  </a:moveTo>
                  <a:lnTo>
                    <a:pt x="2171680" y="2311144"/>
                  </a:lnTo>
                  <a:lnTo>
                    <a:pt x="2170981" y="2311144"/>
                  </a:lnTo>
                  <a:lnTo>
                    <a:pt x="2081543" y="2400583"/>
                  </a:lnTo>
                  <a:lnTo>
                    <a:pt x="2215701" y="2534741"/>
                  </a:lnTo>
                  <a:lnTo>
                    <a:pt x="2352653" y="2670995"/>
                  </a:lnTo>
                  <a:lnTo>
                    <a:pt x="2616078" y="2670995"/>
                  </a:lnTo>
                  <a:lnTo>
                    <a:pt x="2344968" y="2400583"/>
                  </a:lnTo>
                  <a:lnTo>
                    <a:pt x="2346365" y="2399185"/>
                  </a:lnTo>
                  <a:lnTo>
                    <a:pt x="2347064" y="2399185"/>
                  </a:lnTo>
                  <a:lnTo>
                    <a:pt x="2615379" y="2130171"/>
                  </a:lnTo>
                  <a:close/>
                  <a:moveTo>
                    <a:pt x="1803445" y="2130171"/>
                  </a:moveTo>
                  <a:lnTo>
                    <a:pt x="1533032" y="2401282"/>
                  </a:lnTo>
                  <a:lnTo>
                    <a:pt x="1803445" y="2670995"/>
                  </a:lnTo>
                  <a:lnTo>
                    <a:pt x="2067568" y="2670995"/>
                  </a:lnTo>
                  <a:lnTo>
                    <a:pt x="1796458" y="2400583"/>
                  </a:lnTo>
                  <a:lnTo>
                    <a:pt x="1980924" y="2216115"/>
                  </a:lnTo>
                  <a:lnTo>
                    <a:pt x="1981623" y="2216115"/>
                  </a:lnTo>
                  <a:lnTo>
                    <a:pt x="2067568" y="2130171"/>
                  </a:lnTo>
                  <a:close/>
                  <a:moveTo>
                    <a:pt x="2900465" y="2129472"/>
                  </a:moveTo>
                  <a:lnTo>
                    <a:pt x="2630053" y="2400583"/>
                  </a:lnTo>
                  <a:lnTo>
                    <a:pt x="2901164" y="2670995"/>
                  </a:lnTo>
                  <a:lnTo>
                    <a:pt x="3165287" y="2670995"/>
                  </a:lnTo>
                  <a:lnTo>
                    <a:pt x="2894176" y="2400583"/>
                  </a:lnTo>
                  <a:lnTo>
                    <a:pt x="3164588" y="2129472"/>
                  </a:lnTo>
                  <a:close/>
                  <a:moveTo>
                    <a:pt x="3997486" y="2128074"/>
                  </a:moveTo>
                  <a:lnTo>
                    <a:pt x="3727074" y="2399185"/>
                  </a:lnTo>
                  <a:lnTo>
                    <a:pt x="3998184" y="2669597"/>
                  </a:lnTo>
                  <a:lnTo>
                    <a:pt x="4262309" y="2669597"/>
                  </a:lnTo>
                  <a:lnTo>
                    <a:pt x="3991197" y="2399185"/>
                  </a:lnTo>
                  <a:lnTo>
                    <a:pt x="4261609" y="2128074"/>
                  </a:lnTo>
                  <a:close/>
                  <a:moveTo>
                    <a:pt x="4545996" y="2127376"/>
                  </a:moveTo>
                  <a:lnTo>
                    <a:pt x="4275584" y="2398486"/>
                  </a:lnTo>
                  <a:lnTo>
                    <a:pt x="4545996" y="2668200"/>
                  </a:lnTo>
                  <a:lnTo>
                    <a:pt x="4808096" y="2668200"/>
                  </a:lnTo>
                  <a:lnTo>
                    <a:pt x="4660106" y="2520896"/>
                  </a:lnTo>
                  <a:lnTo>
                    <a:pt x="4660106" y="2518573"/>
                  </a:lnTo>
                  <a:lnTo>
                    <a:pt x="4539009" y="2397788"/>
                  </a:lnTo>
                  <a:lnTo>
                    <a:pt x="4660106" y="2276691"/>
                  </a:lnTo>
                  <a:lnTo>
                    <a:pt x="4660106" y="2272842"/>
                  </a:lnTo>
                  <a:lnTo>
                    <a:pt x="4805573" y="2127376"/>
                  </a:lnTo>
                  <a:close/>
                  <a:moveTo>
                    <a:pt x="5915740" y="2126108"/>
                  </a:moveTo>
                  <a:lnTo>
                    <a:pt x="5645327" y="2397219"/>
                  </a:lnTo>
                  <a:lnTo>
                    <a:pt x="5777388" y="2529280"/>
                  </a:lnTo>
                  <a:lnTo>
                    <a:pt x="5915740" y="2667631"/>
                  </a:lnTo>
                  <a:lnTo>
                    <a:pt x="6179863" y="2667631"/>
                  </a:lnTo>
                  <a:lnTo>
                    <a:pt x="5908752" y="2397219"/>
                  </a:lnTo>
                  <a:lnTo>
                    <a:pt x="6179863" y="2126108"/>
                  </a:lnTo>
                  <a:close/>
                  <a:moveTo>
                    <a:pt x="4821171" y="2126108"/>
                  </a:moveTo>
                  <a:lnTo>
                    <a:pt x="4731163" y="2216814"/>
                  </a:lnTo>
                  <a:lnTo>
                    <a:pt x="4553683" y="2394294"/>
                  </a:lnTo>
                  <a:lnTo>
                    <a:pt x="4813944" y="2394294"/>
                  </a:lnTo>
                  <a:lnTo>
                    <a:pt x="5080746" y="2126108"/>
                  </a:lnTo>
                  <a:close/>
                  <a:moveTo>
                    <a:pt x="7012061" y="2125409"/>
                  </a:moveTo>
                  <a:lnTo>
                    <a:pt x="6831786" y="2306383"/>
                  </a:lnTo>
                  <a:lnTo>
                    <a:pt x="6831088" y="2306383"/>
                  </a:lnTo>
                  <a:lnTo>
                    <a:pt x="6741650" y="2395821"/>
                  </a:lnTo>
                  <a:lnTo>
                    <a:pt x="6875807" y="2529979"/>
                  </a:lnTo>
                  <a:lnTo>
                    <a:pt x="7012759" y="2666233"/>
                  </a:lnTo>
                  <a:lnTo>
                    <a:pt x="7276184" y="2666233"/>
                  </a:lnTo>
                  <a:lnTo>
                    <a:pt x="7005075" y="2395821"/>
                  </a:lnTo>
                  <a:lnTo>
                    <a:pt x="7006471" y="2394423"/>
                  </a:lnTo>
                  <a:lnTo>
                    <a:pt x="7007170" y="2394423"/>
                  </a:lnTo>
                  <a:lnTo>
                    <a:pt x="7275485" y="2125409"/>
                  </a:lnTo>
                  <a:close/>
                  <a:moveTo>
                    <a:pt x="6463552" y="2125409"/>
                  </a:moveTo>
                  <a:lnTo>
                    <a:pt x="6193138" y="2396520"/>
                  </a:lnTo>
                  <a:lnTo>
                    <a:pt x="6463552" y="2666233"/>
                  </a:lnTo>
                  <a:lnTo>
                    <a:pt x="6727675" y="2666233"/>
                  </a:lnTo>
                  <a:lnTo>
                    <a:pt x="6456565" y="2395821"/>
                  </a:lnTo>
                  <a:lnTo>
                    <a:pt x="6641030" y="2211353"/>
                  </a:lnTo>
                  <a:lnTo>
                    <a:pt x="6641730" y="2211353"/>
                  </a:lnTo>
                  <a:lnTo>
                    <a:pt x="6727675" y="2125409"/>
                  </a:lnTo>
                  <a:close/>
                  <a:moveTo>
                    <a:pt x="7560571" y="2124710"/>
                  </a:moveTo>
                  <a:lnTo>
                    <a:pt x="7290159" y="2395821"/>
                  </a:lnTo>
                  <a:lnTo>
                    <a:pt x="7561270" y="2666233"/>
                  </a:lnTo>
                  <a:lnTo>
                    <a:pt x="7825393" y="2666233"/>
                  </a:lnTo>
                  <a:lnTo>
                    <a:pt x="7554282" y="2395821"/>
                  </a:lnTo>
                  <a:lnTo>
                    <a:pt x="7824694" y="2124710"/>
                  </a:lnTo>
                  <a:close/>
                  <a:moveTo>
                    <a:pt x="8657592" y="2123312"/>
                  </a:moveTo>
                  <a:lnTo>
                    <a:pt x="8387180" y="2394423"/>
                  </a:lnTo>
                  <a:lnTo>
                    <a:pt x="8658290" y="2664835"/>
                  </a:lnTo>
                  <a:lnTo>
                    <a:pt x="8922414" y="2664835"/>
                  </a:lnTo>
                  <a:lnTo>
                    <a:pt x="8651303" y="2394423"/>
                  </a:lnTo>
                  <a:lnTo>
                    <a:pt x="8921715" y="2123312"/>
                  </a:lnTo>
                  <a:close/>
                  <a:moveTo>
                    <a:pt x="10576156" y="2122933"/>
                  </a:moveTo>
                  <a:lnTo>
                    <a:pt x="10305744" y="2394044"/>
                  </a:lnTo>
                  <a:lnTo>
                    <a:pt x="10437805" y="2526105"/>
                  </a:lnTo>
                  <a:lnTo>
                    <a:pt x="10576156" y="2664456"/>
                  </a:lnTo>
                  <a:lnTo>
                    <a:pt x="10840280" y="2664456"/>
                  </a:lnTo>
                  <a:lnTo>
                    <a:pt x="10569169" y="2394044"/>
                  </a:lnTo>
                  <a:lnTo>
                    <a:pt x="10840280" y="2122933"/>
                  </a:lnTo>
                  <a:close/>
                  <a:moveTo>
                    <a:pt x="9479702" y="2122933"/>
                  </a:moveTo>
                  <a:lnTo>
                    <a:pt x="9391268" y="2212052"/>
                  </a:lnTo>
                  <a:lnTo>
                    <a:pt x="9213788" y="2389532"/>
                  </a:lnTo>
                  <a:lnTo>
                    <a:pt x="9475939" y="2389532"/>
                  </a:lnTo>
                  <a:lnTo>
                    <a:pt x="9741163" y="2122933"/>
                  </a:lnTo>
                  <a:close/>
                  <a:moveTo>
                    <a:pt x="9206102" y="2122614"/>
                  </a:moveTo>
                  <a:lnTo>
                    <a:pt x="8935690" y="2393724"/>
                  </a:lnTo>
                  <a:lnTo>
                    <a:pt x="9206102" y="2663438"/>
                  </a:lnTo>
                  <a:lnTo>
                    <a:pt x="9466918" y="2663438"/>
                  </a:lnTo>
                  <a:lnTo>
                    <a:pt x="9320523" y="2517721"/>
                  </a:lnTo>
                  <a:lnTo>
                    <a:pt x="9320523" y="2514122"/>
                  </a:lnTo>
                  <a:lnTo>
                    <a:pt x="9199115" y="2393026"/>
                  </a:lnTo>
                  <a:lnTo>
                    <a:pt x="9320523" y="2271618"/>
                  </a:lnTo>
                  <a:lnTo>
                    <a:pt x="9320523" y="2269668"/>
                  </a:lnTo>
                  <a:lnTo>
                    <a:pt x="9467576" y="2122614"/>
                  </a:lnTo>
                  <a:close/>
                  <a:moveTo>
                    <a:pt x="11672478" y="2122234"/>
                  </a:moveTo>
                  <a:lnTo>
                    <a:pt x="11492203" y="2303207"/>
                  </a:lnTo>
                  <a:lnTo>
                    <a:pt x="11491504" y="2303207"/>
                  </a:lnTo>
                  <a:lnTo>
                    <a:pt x="11402066" y="2392646"/>
                  </a:lnTo>
                  <a:lnTo>
                    <a:pt x="11536224" y="2526804"/>
                  </a:lnTo>
                  <a:lnTo>
                    <a:pt x="11673176" y="2663058"/>
                  </a:lnTo>
                  <a:lnTo>
                    <a:pt x="11936601" y="2663058"/>
                  </a:lnTo>
                  <a:lnTo>
                    <a:pt x="11665491" y="2392646"/>
                  </a:lnTo>
                  <a:lnTo>
                    <a:pt x="11666888" y="2391248"/>
                  </a:lnTo>
                  <a:lnTo>
                    <a:pt x="11667587" y="2391248"/>
                  </a:lnTo>
                  <a:lnTo>
                    <a:pt x="11935902" y="2122234"/>
                  </a:lnTo>
                  <a:close/>
                  <a:moveTo>
                    <a:pt x="11123968" y="2122234"/>
                  </a:moveTo>
                  <a:lnTo>
                    <a:pt x="10853555" y="2393345"/>
                  </a:lnTo>
                  <a:lnTo>
                    <a:pt x="11123968" y="2663058"/>
                  </a:lnTo>
                  <a:lnTo>
                    <a:pt x="11388091" y="2663058"/>
                  </a:lnTo>
                  <a:lnTo>
                    <a:pt x="11116981" y="2392646"/>
                  </a:lnTo>
                  <a:lnTo>
                    <a:pt x="11301447" y="2208178"/>
                  </a:lnTo>
                  <a:lnTo>
                    <a:pt x="11302146" y="2208178"/>
                  </a:lnTo>
                  <a:lnTo>
                    <a:pt x="11388091" y="2122234"/>
                  </a:lnTo>
                  <a:close/>
                  <a:moveTo>
                    <a:pt x="1261921" y="1856964"/>
                  </a:moveTo>
                  <a:lnTo>
                    <a:pt x="1262620" y="1857662"/>
                  </a:lnTo>
                  <a:lnTo>
                    <a:pt x="1263319" y="1857662"/>
                  </a:lnTo>
                  <a:lnTo>
                    <a:pt x="1532333" y="2126677"/>
                  </a:lnTo>
                  <a:lnTo>
                    <a:pt x="1261921" y="2397788"/>
                  </a:lnTo>
                  <a:lnTo>
                    <a:pt x="1526046" y="2397788"/>
                  </a:lnTo>
                  <a:lnTo>
                    <a:pt x="1796458" y="2126677"/>
                  </a:lnTo>
                  <a:lnTo>
                    <a:pt x="1791566" y="2121786"/>
                  </a:lnTo>
                  <a:lnTo>
                    <a:pt x="1526046" y="1856964"/>
                  </a:lnTo>
                  <a:close/>
                  <a:moveTo>
                    <a:pt x="164203" y="1856964"/>
                  </a:moveTo>
                  <a:lnTo>
                    <a:pt x="165601" y="1858361"/>
                  </a:lnTo>
                  <a:lnTo>
                    <a:pt x="434615" y="2127376"/>
                  </a:lnTo>
                  <a:lnTo>
                    <a:pt x="164203" y="2397089"/>
                  </a:lnTo>
                  <a:lnTo>
                    <a:pt x="428326" y="2397089"/>
                  </a:lnTo>
                  <a:lnTo>
                    <a:pt x="698738" y="2125979"/>
                  </a:lnTo>
                  <a:lnTo>
                    <a:pt x="695191" y="2122430"/>
                  </a:lnTo>
                  <a:lnTo>
                    <a:pt x="709860" y="2129472"/>
                  </a:lnTo>
                  <a:lnTo>
                    <a:pt x="705726" y="2129472"/>
                  </a:lnTo>
                  <a:lnTo>
                    <a:pt x="435314" y="2400583"/>
                  </a:lnTo>
                  <a:lnTo>
                    <a:pt x="706425" y="2670995"/>
                  </a:lnTo>
                  <a:lnTo>
                    <a:pt x="970548" y="2670995"/>
                  </a:lnTo>
                  <a:lnTo>
                    <a:pt x="699437" y="2400583"/>
                  </a:lnTo>
                  <a:lnTo>
                    <a:pt x="883903" y="2216115"/>
                  </a:lnTo>
                  <a:lnTo>
                    <a:pt x="969849" y="2130171"/>
                  </a:lnTo>
                  <a:lnTo>
                    <a:pt x="711316" y="2130171"/>
                  </a:lnTo>
                  <a:lnTo>
                    <a:pt x="709860" y="2129472"/>
                  </a:lnTo>
                  <a:lnTo>
                    <a:pt x="711316" y="2129472"/>
                  </a:lnTo>
                  <a:lnTo>
                    <a:pt x="693847" y="2121087"/>
                  </a:lnTo>
                  <a:lnTo>
                    <a:pt x="695191" y="2122430"/>
                  </a:lnTo>
                  <a:lnTo>
                    <a:pt x="693847" y="2121786"/>
                  </a:lnTo>
                  <a:lnTo>
                    <a:pt x="428326" y="1856964"/>
                  </a:lnTo>
                  <a:close/>
                  <a:moveTo>
                    <a:pt x="712014" y="1856265"/>
                  </a:moveTo>
                  <a:lnTo>
                    <a:pt x="983125" y="2125979"/>
                  </a:lnTo>
                  <a:lnTo>
                    <a:pt x="980330" y="2128773"/>
                  </a:lnTo>
                  <a:lnTo>
                    <a:pt x="890192" y="2219610"/>
                  </a:lnTo>
                  <a:lnTo>
                    <a:pt x="712713" y="2397089"/>
                  </a:lnTo>
                  <a:lnTo>
                    <a:pt x="976837" y="2397089"/>
                  </a:lnTo>
                  <a:lnTo>
                    <a:pt x="1066275" y="2307651"/>
                  </a:lnTo>
                  <a:lnTo>
                    <a:pt x="1247249" y="2126677"/>
                  </a:lnTo>
                  <a:lnTo>
                    <a:pt x="1114488" y="1994616"/>
                  </a:lnTo>
                  <a:lnTo>
                    <a:pt x="976138" y="1856265"/>
                  </a:lnTo>
                  <a:close/>
                  <a:moveTo>
                    <a:pt x="2359641" y="1855567"/>
                  </a:moveTo>
                  <a:lnTo>
                    <a:pt x="2489606" y="1985532"/>
                  </a:lnTo>
                  <a:lnTo>
                    <a:pt x="2630053" y="2125979"/>
                  </a:lnTo>
                  <a:lnTo>
                    <a:pt x="2359641" y="2397089"/>
                  </a:lnTo>
                  <a:lnTo>
                    <a:pt x="2623764" y="2397089"/>
                  </a:lnTo>
                  <a:lnTo>
                    <a:pt x="2894176" y="2125979"/>
                  </a:lnTo>
                  <a:lnTo>
                    <a:pt x="2623065" y="1855567"/>
                  </a:lnTo>
                  <a:close/>
                  <a:moveTo>
                    <a:pt x="1810432" y="1855567"/>
                  </a:moveTo>
                  <a:lnTo>
                    <a:pt x="2081543" y="2125979"/>
                  </a:lnTo>
                  <a:lnTo>
                    <a:pt x="2078748" y="2128773"/>
                  </a:lnTo>
                  <a:lnTo>
                    <a:pt x="1988611" y="2219610"/>
                  </a:lnTo>
                  <a:lnTo>
                    <a:pt x="1987912" y="2219610"/>
                  </a:lnTo>
                  <a:lnTo>
                    <a:pt x="1811131" y="2397089"/>
                  </a:lnTo>
                  <a:lnTo>
                    <a:pt x="2074555" y="2396391"/>
                  </a:lnTo>
                  <a:lnTo>
                    <a:pt x="2163994" y="2306952"/>
                  </a:lnTo>
                  <a:lnTo>
                    <a:pt x="2164693" y="2306952"/>
                  </a:lnTo>
                  <a:lnTo>
                    <a:pt x="2345666" y="2125979"/>
                  </a:lnTo>
                  <a:lnTo>
                    <a:pt x="2074555" y="1855567"/>
                  </a:lnTo>
                  <a:close/>
                  <a:moveTo>
                    <a:pt x="2907452" y="1854868"/>
                  </a:moveTo>
                  <a:lnTo>
                    <a:pt x="3178563" y="2125280"/>
                  </a:lnTo>
                  <a:lnTo>
                    <a:pt x="2908151" y="2396391"/>
                  </a:lnTo>
                  <a:lnTo>
                    <a:pt x="3172275" y="2396391"/>
                  </a:lnTo>
                  <a:lnTo>
                    <a:pt x="3442687" y="2125280"/>
                  </a:lnTo>
                  <a:lnTo>
                    <a:pt x="3171576" y="1854868"/>
                  </a:lnTo>
                  <a:close/>
                  <a:moveTo>
                    <a:pt x="4552984" y="1852771"/>
                  </a:moveTo>
                  <a:lnTo>
                    <a:pt x="4820022" y="2119120"/>
                  </a:lnTo>
                  <a:lnTo>
                    <a:pt x="5080746" y="2119120"/>
                  </a:lnTo>
                  <a:lnTo>
                    <a:pt x="4813709" y="1852771"/>
                  </a:lnTo>
                  <a:close/>
                  <a:moveTo>
                    <a:pt x="4004473" y="1852771"/>
                  </a:moveTo>
                  <a:lnTo>
                    <a:pt x="4005871" y="1854169"/>
                  </a:lnTo>
                  <a:lnTo>
                    <a:pt x="4274885" y="2123183"/>
                  </a:lnTo>
                  <a:lnTo>
                    <a:pt x="4004473" y="2394294"/>
                  </a:lnTo>
                  <a:lnTo>
                    <a:pt x="4268598" y="2394294"/>
                  </a:lnTo>
                  <a:lnTo>
                    <a:pt x="4539009" y="2123183"/>
                  </a:lnTo>
                  <a:lnTo>
                    <a:pt x="4534118" y="2118292"/>
                  </a:lnTo>
                  <a:lnTo>
                    <a:pt x="4268598" y="1852771"/>
                  </a:lnTo>
                  <a:close/>
                  <a:moveTo>
                    <a:pt x="5922027" y="1852202"/>
                  </a:moveTo>
                  <a:lnTo>
                    <a:pt x="5922727" y="1852900"/>
                  </a:lnTo>
                  <a:lnTo>
                    <a:pt x="5923425" y="1852900"/>
                  </a:lnTo>
                  <a:lnTo>
                    <a:pt x="6192439" y="2121915"/>
                  </a:lnTo>
                  <a:lnTo>
                    <a:pt x="5922027" y="2393026"/>
                  </a:lnTo>
                  <a:lnTo>
                    <a:pt x="6186152" y="2393026"/>
                  </a:lnTo>
                  <a:lnTo>
                    <a:pt x="6456565" y="2121915"/>
                  </a:lnTo>
                  <a:lnTo>
                    <a:pt x="6451672" y="2117024"/>
                  </a:lnTo>
                  <a:lnTo>
                    <a:pt x="6186152" y="1852202"/>
                  </a:lnTo>
                  <a:close/>
                  <a:moveTo>
                    <a:pt x="4824309" y="1852202"/>
                  </a:moveTo>
                  <a:lnTo>
                    <a:pt x="4825707" y="1853599"/>
                  </a:lnTo>
                  <a:lnTo>
                    <a:pt x="5094721" y="2122614"/>
                  </a:lnTo>
                  <a:lnTo>
                    <a:pt x="4824309" y="2392327"/>
                  </a:lnTo>
                  <a:lnTo>
                    <a:pt x="5088432" y="2392327"/>
                  </a:lnTo>
                  <a:lnTo>
                    <a:pt x="5358844" y="2121217"/>
                  </a:lnTo>
                  <a:lnTo>
                    <a:pt x="5355297" y="2117668"/>
                  </a:lnTo>
                  <a:lnTo>
                    <a:pt x="5369967" y="2124710"/>
                  </a:lnTo>
                  <a:lnTo>
                    <a:pt x="5365832" y="2124710"/>
                  </a:lnTo>
                  <a:lnTo>
                    <a:pt x="5095421" y="2395821"/>
                  </a:lnTo>
                  <a:lnTo>
                    <a:pt x="5366532" y="2666233"/>
                  </a:lnTo>
                  <a:lnTo>
                    <a:pt x="5630655" y="2666233"/>
                  </a:lnTo>
                  <a:lnTo>
                    <a:pt x="5359544" y="2395821"/>
                  </a:lnTo>
                  <a:lnTo>
                    <a:pt x="5544009" y="2211353"/>
                  </a:lnTo>
                  <a:lnTo>
                    <a:pt x="5629955" y="2125409"/>
                  </a:lnTo>
                  <a:lnTo>
                    <a:pt x="5371422" y="2125409"/>
                  </a:lnTo>
                  <a:lnTo>
                    <a:pt x="5369967" y="2124710"/>
                  </a:lnTo>
                  <a:lnTo>
                    <a:pt x="5371422" y="2124710"/>
                  </a:lnTo>
                  <a:lnTo>
                    <a:pt x="5353953" y="2116325"/>
                  </a:lnTo>
                  <a:lnTo>
                    <a:pt x="5355297" y="2117668"/>
                  </a:lnTo>
                  <a:lnTo>
                    <a:pt x="5353953" y="2117024"/>
                  </a:lnTo>
                  <a:lnTo>
                    <a:pt x="5088432" y="1852202"/>
                  </a:lnTo>
                  <a:close/>
                  <a:moveTo>
                    <a:pt x="5372120" y="1851503"/>
                  </a:moveTo>
                  <a:lnTo>
                    <a:pt x="5643231" y="2121217"/>
                  </a:lnTo>
                  <a:lnTo>
                    <a:pt x="5640436" y="2124011"/>
                  </a:lnTo>
                  <a:lnTo>
                    <a:pt x="5550298" y="2214848"/>
                  </a:lnTo>
                  <a:lnTo>
                    <a:pt x="5372819" y="2392327"/>
                  </a:lnTo>
                  <a:lnTo>
                    <a:pt x="5636944" y="2392327"/>
                  </a:lnTo>
                  <a:lnTo>
                    <a:pt x="5726382" y="2302889"/>
                  </a:lnTo>
                  <a:lnTo>
                    <a:pt x="5907355" y="2121915"/>
                  </a:lnTo>
                  <a:lnTo>
                    <a:pt x="5774594" y="1989854"/>
                  </a:lnTo>
                  <a:lnTo>
                    <a:pt x="5636244" y="1851503"/>
                  </a:lnTo>
                  <a:close/>
                  <a:moveTo>
                    <a:pt x="7019748" y="1850805"/>
                  </a:moveTo>
                  <a:lnTo>
                    <a:pt x="7149712" y="1980770"/>
                  </a:lnTo>
                  <a:lnTo>
                    <a:pt x="7290159" y="2121217"/>
                  </a:lnTo>
                  <a:lnTo>
                    <a:pt x="7019748" y="2392327"/>
                  </a:lnTo>
                  <a:lnTo>
                    <a:pt x="7283870" y="2392327"/>
                  </a:lnTo>
                  <a:lnTo>
                    <a:pt x="7554282" y="2121217"/>
                  </a:lnTo>
                  <a:lnTo>
                    <a:pt x="7283171" y="1850805"/>
                  </a:lnTo>
                  <a:close/>
                  <a:moveTo>
                    <a:pt x="6470538" y="1850805"/>
                  </a:moveTo>
                  <a:lnTo>
                    <a:pt x="6741650" y="2121217"/>
                  </a:lnTo>
                  <a:lnTo>
                    <a:pt x="6738854" y="2124011"/>
                  </a:lnTo>
                  <a:lnTo>
                    <a:pt x="6648717" y="2214848"/>
                  </a:lnTo>
                  <a:lnTo>
                    <a:pt x="6648019" y="2214848"/>
                  </a:lnTo>
                  <a:lnTo>
                    <a:pt x="6471238" y="2392327"/>
                  </a:lnTo>
                  <a:lnTo>
                    <a:pt x="6734661" y="2391629"/>
                  </a:lnTo>
                  <a:lnTo>
                    <a:pt x="6824100" y="2302190"/>
                  </a:lnTo>
                  <a:lnTo>
                    <a:pt x="6824799" y="2302190"/>
                  </a:lnTo>
                  <a:lnTo>
                    <a:pt x="7005773" y="2121217"/>
                  </a:lnTo>
                  <a:lnTo>
                    <a:pt x="6734661" y="1850805"/>
                  </a:lnTo>
                  <a:close/>
                  <a:moveTo>
                    <a:pt x="7567558" y="1850106"/>
                  </a:moveTo>
                  <a:lnTo>
                    <a:pt x="7838669" y="2120518"/>
                  </a:lnTo>
                  <a:lnTo>
                    <a:pt x="7568257" y="2391629"/>
                  </a:lnTo>
                  <a:lnTo>
                    <a:pt x="7832381" y="2391629"/>
                  </a:lnTo>
                  <a:lnTo>
                    <a:pt x="8102793" y="2120518"/>
                  </a:lnTo>
                  <a:lnTo>
                    <a:pt x="7831682" y="1850106"/>
                  </a:lnTo>
                  <a:close/>
                  <a:moveTo>
                    <a:pt x="10582444" y="1849027"/>
                  </a:moveTo>
                  <a:lnTo>
                    <a:pt x="10583143" y="1849725"/>
                  </a:lnTo>
                  <a:lnTo>
                    <a:pt x="10583842" y="1849725"/>
                  </a:lnTo>
                  <a:lnTo>
                    <a:pt x="10852856" y="2118740"/>
                  </a:lnTo>
                  <a:lnTo>
                    <a:pt x="10582444" y="2389851"/>
                  </a:lnTo>
                  <a:lnTo>
                    <a:pt x="10846569" y="2389851"/>
                  </a:lnTo>
                  <a:lnTo>
                    <a:pt x="11116981" y="2118740"/>
                  </a:lnTo>
                  <a:lnTo>
                    <a:pt x="11112089" y="2113849"/>
                  </a:lnTo>
                  <a:lnTo>
                    <a:pt x="10846569" y="1849027"/>
                  </a:lnTo>
                  <a:close/>
                  <a:moveTo>
                    <a:pt x="9484726" y="1849027"/>
                  </a:moveTo>
                  <a:lnTo>
                    <a:pt x="9486124" y="1850424"/>
                  </a:lnTo>
                  <a:lnTo>
                    <a:pt x="9755138" y="2119439"/>
                  </a:lnTo>
                  <a:lnTo>
                    <a:pt x="9484726" y="2389152"/>
                  </a:lnTo>
                  <a:lnTo>
                    <a:pt x="9748849" y="2389152"/>
                  </a:lnTo>
                  <a:lnTo>
                    <a:pt x="10019261" y="2118042"/>
                  </a:lnTo>
                  <a:lnTo>
                    <a:pt x="10015714" y="2114494"/>
                  </a:lnTo>
                  <a:lnTo>
                    <a:pt x="10030383" y="2121535"/>
                  </a:lnTo>
                  <a:lnTo>
                    <a:pt x="10026249" y="2121535"/>
                  </a:lnTo>
                  <a:lnTo>
                    <a:pt x="9755837" y="2392646"/>
                  </a:lnTo>
                  <a:lnTo>
                    <a:pt x="10026948" y="2663058"/>
                  </a:lnTo>
                  <a:lnTo>
                    <a:pt x="10291071" y="2663058"/>
                  </a:lnTo>
                  <a:lnTo>
                    <a:pt x="10019960" y="2392646"/>
                  </a:lnTo>
                  <a:lnTo>
                    <a:pt x="10204426" y="2208178"/>
                  </a:lnTo>
                  <a:lnTo>
                    <a:pt x="10290372" y="2122234"/>
                  </a:lnTo>
                  <a:lnTo>
                    <a:pt x="10031839" y="2122234"/>
                  </a:lnTo>
                  <a:lnTo>
                    <a:pt x="10030383" y="2121535"/>
                  </a:lnTo>
                  <a:lnTo>
                    <a:pt x="10031839" y="2121535"/>
                  </a:lnTo>
                  <a:lnTo>
                    <a:pt x="10014370" y="2113150"/>
                  </a:lnTo>
                  <a:lnTo>
                    <a:pt x="10015714" y="2114494"/>
                  </a:lnTo>
                  <a:lnTo>
                    <a:pt x="10014370" y="2113849"/>
                  </a:lnTo>
                  <a:lnTo>
                    <a:pt x="9748849" y="1849027"/>
                  </a:lnTo>
                  <a:close/>
                  <a:moveTo>
                    <a:pt x="10032537" y="1848328"/>
                  </a:moveTo>
                  <a:lnTo>
                    <a:pt x="10303648" y="2118042"/>
                  </a:lnTo>
                  <a:lnTo>
                    <a:pt x="10300853" y="2120836"/>
                  </a:lnTo>
                  <a:lnTo>
                    <a:pt x="10210715" y="2211673"/>
                  </a:lnTo>
                  <a:lnTo>
                    <a:pt x="10033236" y="2389152"/>
                  </a:lnTo>
                  <a:lnTo>
                    <a:pt x="10297360" y="2389152"/>
                  </a:lnTo>
                  <a:lnTo>
                    <a:pt x="10386798" y="2299714"/>
                  </a:lnTo>
                  <a:lnTo>
                    <a:pt x="10567772" y="2118740"/>
                  </a:lnTo>
                  <a:lnTo>
                    <a:pt x="10435011" y="1986679"/>
                  </a:lnTo>
                  <a:lnTo>
                    <a:pt x="10296661" y="1848328"/>
                  </a:lnTo>
                  <a:close/>
                  <a:moveTo>
                    <a:pt x="9213090" y="1848009"/>
                  </a:moveTo>
                  <a:lnTo>
                    <a:pt x="9481718" y="2115945"/>
                  </a:lnTo>
                  <a:lnTo>
                    <a:pt x="9741163" y="2115945"/>
                  </a:lnTo>
                  <a:lnTo>
                    <a:pt x="9472534" y="1848009"/>
                  </a:lnTo>
                  <a:close/>
                  <a:moveTo>
                    <a:pt x="8664579" y="1848009"/>
                  </a:moveTo>
                  <a:lnTo>
                    <a:pt x="8665977" y="1849407"/>
                  </a:lnTo>
                  <a:lnTo>
                    <a:pt x="8934991" y="2118421"/>
                  </a:lnTo>
                  <a:lnTo>
                    <a:pt x="8664579" y="2389532"/>
                  </a:lnTo>
                  <a:lnTo>
                    <a:pt x="8928703" y="2389532"/>
                  </a:lnTo>
                  <a:lnTo>
                    <a:pt x="9199115" y="2118421"/>
                  </a:lnTo>
                  <a:lnTo>
                    <a:pt x="9194224" y="2113530"/>
                  </a:lnTo>
                  <a:lnTo>
                    <a:pt x="8928703" y="1848009"/>
                  </a:lnTo>
                  <a:close/>
                  <a:moveTo>
                    <a:pt x="11130955" y="1847630"/>
                  </a:moveTo>
                  <a:lnTo>
                    <a:pt x="11402066" y="2118042"/>
                  </a:lnTo>
                  <a:lnTo>
                    <a:pt x="11399271" y="2120836"/>
                  </a:lnTo>
                  <a:lnTo>
                    <a:pt x="11309134" y="2211673"/>
                  </a:lnTo>
                  <a:lnTo>
                    <a:pt x="11308435" y="2211673"/>
                  </a:lnTo>
                  <a:lnTo>
                    <a:pt x="11131654" y="2389152"/>
                  </a:lnTo>
                  <a:lnTo>
                    <a:pt x="11395078" y="2388455"/>
                  </a:lnTo>
                  <a:lnTo>
                    <a:pt x="11484517" y="2299015"/>
                  </a:lnTo>
                  <a:lnTo>
                    <a:pt x="11485216" y="2299015"/>
                  </a:lnTo>
                  <a:lnTo>
                    <a:pt x="11666189" y="2118042"/>
                  </a:lnTo>
                  <a:lnTo>
                    <a:pt x="11395078" y="1847630"/>
                  </a:lnTo>
                  <a:close/>
                  <a:moveTo>
                    <a:pt x="705027" y="1582359"/>
                  </a:moveTo>
                  <a:lnTo>
                    <a:pt x="434615" y="1853470"/>
                  </a:lnTo>
                  <a:lnTo>
                    <a:pt x="705726" y="2123882"/>
                  </a:lnTo>
                  <a:lnTo>
                    <a:pt x="969849" y="2123882"/>
                  </a:lnTo>
                  <a:lnTo>
                    <a:pt x="698738" y="1853470"/>
                  </a:lnTo>
                  <a:lnTo>
                    <a:pt x="969150" y="1582359"/>
                  </a:lnTo>
                  <a:close/>
                  <a:moveTo>
                    <a:pt x="1802746" y="1581660"/>
                  </a:moveTo>
                  <a:lnTo>
                    <a:pt x="1532333" y="1852771"/>
                  </a:lnTo>
                  <a:lnTo>
                    <a:pt x="1803445" y="2123183"/>
                  </a:lnTo>
                  <a:lnTo>
                    <a:pt x="2067568" y="2123183"/>
                  </a:lnTo>
                  <a:lnTo>
                    <a:pt x="1796458" y="1852771"/>
                  </a:lnTo>
                  <a:lnTo>
                    <a:pt x="2066870" y="1581660"/>
                  </a:lnTo>
                  <a:close/>
                  <a:moveTo>
                    <a:pt x="1252838" y="1581660"/>
                  </a:moveTo>
                  <a:lnTo>
                    <a:pt x="983125" y="1852771"/>
                  </a:lnTo>
                  <a:lnTo>
                    <a:pt x="1183663" y="2053309"/>
                  </a:lnTo>
                  <a:lnTo>
                    <a:pt x="1254236" y="2123183"/>
                  </a:lnTo>
                  <a:lnTo>
                    <a:pt x="1322712" y="2123183"/>
                  </a:lnTo>
                  <a:lnTo>
                    <a:pt x="1322014" y="2124581"/>
                  </a:lnTo>
                  <a:lnTo>
                    <a:pt x="1519058" y="2124581"/>
                  </a:lnTo>
                  <a:lnTo>
                    <a:pt x="1247947" y="1854169"/>
                  </a:lnTo>
                  <a:lnTo>
                    <a:pt x="1248646" y="1853470"/>
                  </a:lnTo>
                  <a:lnTo>
                    <a:pt x="1246550" y="1852771"/>
                  </a:lnTo>
                  <a:lnTo>
                    <a:pt x="1516962" y="1581660"/>
                  </a:lnTo>
                  <a:close/>
                  <a:moveTo>
                    <a:pt x="2899766" y="1580961"/>
                  </a:moveTo>
                  <a:lnTo>
                    <a:pt x="2629354" y="1852072"/>
                  </a:lnTo>
                  <a:lnTo>
                    <a:pt x="2900465" y="2122484"/>
                  </a:lnTo>
                  <a:lnTo>
                    <a:pt x="3164588" y="2122484"/>
                  </a:lnTo>
                  <a:lnTo>
                    <a:pt x="2893477" y="1852072"/>
                  </a:lnTo>
                  <a:lnTo>
                    <a:pt x="3163889" y="1580961"/>
                  </a:lnTo>
                  <a:close/>
                  <a:moveTo>
                    <a:pt x="2351257" y="1580961"/>
                  </a:moveTo>
                  <a:lnTo>
                    <a:pt x="2080844" y="1852072"/>
                  </a:lnTo>
                  <a:lnTo>
                    <a:pt x="2351955" y="2122484"/>
                  </a:lnTo>
                  <a:lnTo>
                    <a:pt x="2615379" y="2122484"/>
                  </a:lnTo>
                  <a:lnTo>
                    <a:pt x="2485414" y="1992519"/>
                  </a:lnTo>
                  <a:lnTo>
                    <a:pt x="2344968" y="1852072"/>
                  </a:lnTo>
                  <a:lnTo>
                    <a:pt x="2615379" y="1580961"/>
                  </a:lnTo>
                  <a:close/>
                  <a:moveTo>
                    <a:pt x="3448276" y="1580263"/>
                  </a:moveTo>
                  <a:lnTo>
                    <a:pt x="3177864" y="1851373"/>
                  </a:lnTo>
                  <a:lnTo>
                    <a:pt x="3448975" y="2121087"/>
                  </a:lnTo>
                  <a:lnTo>
                    <a:pt x="3713099" y="2121087"/>
                  </a:lnTo>
                  <a:lnTo>
                    <a:pt x="3441988" y="1850676"/>
                  </a:lnTo>
                  <a:lnTo>
                    <a:pt x="3626455" y="1666208"/>
                  </a:lnTo>
                  <a:lnTo>
                    <a:pt x="3712400" y="1580263"/>
                  </a:lnTo>
                  <a:close/>
                  <a:moveTo>
                    <a:pt x="4545297" y="1578866"/>
                  </a:moveTo>
                  <a:lnTo>
                    <a:pt x="4274885" y="1849977"/>
                  </a:lnTo>
                  <a:lnTo>
                    <a:pt x="4545996" y="2119690"/>
                  </a:lnTo>
                  <a:lnTo>
                    <a:pt x="4807395" y="2119690"/>
                  </a:lnTo>
                  <a:lnTo>
                    <a:pt x="4676176" y="1989155"/>
                  </a:lnTo>
                  <a:lnTo>
                    <a:pt x="4660106" y="1973084"/>
                  </a:lnTo>
                  <a:lnTo>
                    <a:pt x="4660106" y="1970063"/>
                  </a:lnTo>
                  <a:lnTo>
                    <a:pt x="4539009" y="1849278"/>
                  </a:lnTo>
                  <a:lnTo>
                    <a:pt x="4660106" y="1728181"/>
                  </a:lnTo>
                  <a:lnTo>
                    <a:pt x="4660106" y="1724332"/>
                  </a:lnTo>
                  <a:lnTo>
                    <a:pt x="4805571" y="1578866"/>
                  </a:lnTo>
                  <a:close/>
                  <a:moveTo>
                    <a:pt x="4819782" y="1578296"/>
                  </a:moveTo>
                  <a:lnTo>
                    <a:pt x="4552984" y="1845784"/>
                  </a:lnTo>
                  <a:lnTo>
                    <a:pt x="4813254" y="1845784"/>
                  </a:lnTo>
                  <a:lnTo>
                    <a:pt x="5080048" y="1578296"/>
                  </a:lnTo>
                  <a:close/>
                  <a:moveTo>
                    <a:pt x="5365133" y="1577597"/>
                  </a:moveTo>
                  <a:lnTo>
                    <a:pt x="5094721" y="1848708"/>
                  </a:lnTo>
                  <a:lnTo>
                    <a:pt x="5365832" y="2119120"/>
                  </a:lnTo>
                  <a:lnTo>
                    <a:pt x="5629955" y="2119120"/>
                  </a:lnTo>
                  <a:lnTo>
                    <a:pt x="5358844" y="1848708"/>
                  </a:lnTo>
                  <a:lnTo>
                    <a:pt x="5629256" y="1577597"/>
                  </a:lnTo>
                  <a:close/>
                  <a:moveTo>
                    <a:pt x="6462852" y="1576898"/>
                  </a:moveTo>
                  <a:lnTo>
                    <a:pt x="6192439" y="1848009"/>
                  </a:lnTo>
                  <a:lnTo>
                    <a:pt x="6463552" y="2118421"/>
                  </a:lnTo>
                  <a:lnTo>
                    <a:pt x="6727675" y="2118421"/>
                  </a:lnTo>
                  <a:lnTo>
                    <a:pt x="6456565" y="1848009"/>
                  </a:lnTo>
                  <a:lnTo>
                    <a:pt x="6726977" y="1576898"/>
                  </a:lnTo>
                  <a:close/>
                  <a:moveTo>
                    <a:pt x="5912945" y="1576898"/>
                  </a:moveTo>
                  <a:lnTo>
                    <a:pt x="5643231" y="1848009"/>
                  </a:lnTo>
                  <a:lnTo>
                    <a:pt x="5843769" y="2048547"/>
                  </a:lnTo>
                  <a:lnTo>
                    <a:pt x="5914342" y="2118421"/>
                  </a:lnTo>
                  <a:lnTo>
                    <a:pt x="5982819" y="2118421"/>
                  </a:lnTo>
                  <a:lnTo>
                    <a:pt x="5982120" y="2119819"/>
                  </a:lnTo>
                  <a:lnTo>
                    <a:pt x="6179165" y="2119819"/>
                  </a:lnTo>
                  <a:lnTo>
                    <a:pt x="5908054" y="1849407"/>
                  </a:lnTo>
                  <a:lnTo>
                    <a:pt x="5908752" y="1848708"/>
                  </a:lnTo>
                  <a:lnTo>
                    <a:pt x="5906656" y="1848009"/>
                  </a:lnTo>
                  <a:lnTo>
                    <a:pt x="6177068" y="1576898"/>
                  </a:lnTo>
                  <a:close/>
                  <a:moveTo>
                    <a:pt x="7559872" y="1576199"/>
                  </a:moveTo>
                  <a:lnTo>
                    <a:pt x="7289460" y="1847310"/>
                  </a:lnTo>
                  <a:lnTo>
                    <a:pt x="7560571" y="2117722"/>
                  </a:lnTo>
                  <a:lnTo>
                    <a:pt x="7824694" y="2117722"/>
                  </a:lnTo>
                  <a:lnTo>
                    <a:pt x="7553583" y="1847310"/>
                  </a:lnTo>
                  <a:lnTo>
                    <a:pt x="7823995" y="1576199"/>
                  </a:lnTo>
                  <a:close/>
                  <a:moveTo>
                    <a:pt x="7011363" y="1576199"/>
                  </a:moveTo>
                  <a:lnTo>
                    <a:pt x="6740950" y="1847310"/>
                  </a:lnTo>
                  <a:lnTo>
                    <a:pt x="7012061" y="2117722"/>
                  </a:lnTo>
                  <a:lnTo>
                    <a:pt x="7275485" y="2117722"/>
                  </a:lnTo>
                  <a:lnTo>
                    <a:pt x="7145521" y="1987757"/>
                  </a:lnTo>
                  <a:lnTo>
                    <a:pt x="7005075" y="1847310"/>
                  </a:lnTo>
                  <a:lnTo>
                    <a:pt x="7275485" y="1576199"/>
                  </a:lnTo>
                  <a:close/>
                  <a:moveTo>
                    <a:pt x="8108382" y="1575501"/>
                  </a:moveTo>
                  <a:lnTo>
                    <a:pt x="7837970" y="1846611"/>
                  </a:lnTo>
                  <a:lnTo>
                    <a:pt x="8109081" y="2116325"/>
                  </a:lnTo>
                  <a:lnTo>
                    <a:pt x="8373205" y="2116325"/>
                  </a:lnTo>
                  <a:lnTo>
                    <a:pt x="8102094" y="1845914"/>
                  </a:lnTo>
                  <a:lnTo>
                    <a:pt x="8286561" y="1661446"/>
                  </a:lnTo>
                  <a:lnTo>
                    <a:pt x="8372506" y="1575501"/>
                  </a:lnTo>
                  <a:close/>
                  <a:moveTo>
                    <a:pt x="9478306" y="1575121"/>
                  </a:moveTo>
                  <a:lnTo>
                    <a:pt x="9213090" y="1841022"/>
                  </a:lnTo>
                  <a:lnTo>
                    <a:pt x="9475254" y="1841022"/>
                  </a:lnTo>
                  <a:lnTo>
                    <a:pt x="9740464" y="1575121"/>
                  </a:lnTo>
                  <a:close/>
                  <a:moveTo>
                    <a:pt x="10025550" y="1574422"/>
                  </a:moveTo>
                  <a:lnTo>
                    <a:pt x="9755138" y="1845533"/>
                  </a:lnTo>
                  <a:lnTo>
                    <a:pt x="10026249" y="2115945"/>
                  </a:lnTo>
                  <a:lnTo>
                    <a:pt x="10290372" y="2115945"/>
                  </a:lnTo>
                  <a:lnTo>
                    <a:pt x="10019261" y="1845533"/>
                  </a:lnTo>
                  <a:lnTo>
                    <a:pt x="10289673" y="1574422"/>
                  </a:lnTo>
                  <a:close/>
                  <a:moveTo>
                    <a:pt x="9205403" y="1574104"/>
                  </a:moveTo>
                  <a:lnTo>
                    <a:pt x="8934991" y="1845215"/>
                  </a:lnTo>
                  <a:lnTo>
                    <a:pt x="9206102" y="2114928"/>
                  </a:lnTo>
                  <a:lnTo>
                    <a:pt x="9466216" y="2114928"/>
                  </a:lnTo>
                  <a:lnTo>
                    <a:pt x="9336593" y="1985980"/>
                  </a:lnTo>
                  <a:lnTo>
                    <a:pt x="9320523" y="1969909"/>
                  </a:lnTo>
                  <a:lnTo>
                    <a:pt x="9320523" y="1965612"/>
                  </a:lnTo>
                  <a:lnTo>
                    <a:pt x="9199115" y="1844516"/>
                  </a:lnTo>
                  <a:lnTo>
                    <a:pt x="9320523" y="1723108"/>
                  </a:lnTo>
                  <a:lnTo>
                    <a:pt x="9320523" y="1721157"/>
                  </a:lnTo>
                  <a:lnTo>
                    <a:pt x="9467575" y="1574104"/>
                  </a:lnTo>
                  <a:close/>
                  <a:moveTo>
                    <a:pt x="11123269" y="1573723"/>
                  </a:moveTo>
                  <a:lnTo>
                    <a:pt x="10852856" y="1844834"/>
                  </a:lnTo>
                  <a:lnTo>
                    <a:pt x="11123968" y="2115246"/>
                  </a:lnTo>
                  <a:lnTo>
                    <a:pt x="11388091" y="2115246"/>
                  </a:lnTo>
                  <a:lnTo>
                    <a:pt x="11116981" y="1844834"/>
                  </a:lnTo>
                  <a:lnTo>
                    <a:pt x="11387393" y="1573723"/>
                  </a:lnTo>
                  <a:close/>
                  <a:moveTo>
                    <a:pt x="10573361" y="1573723"/>
                  </a:moveTo>
                  <a:lnTo>
                    <a:pt x="10303648" y="1844834"/>
                  </a:lnTo>
                  <a:lnTo>
                    <a:pt x="10504186" y="2045372"/>
                  </a:lnTo>
                  <a:lnTo>
                    <a:pt x="10574759" y="2115246"/>
                  </a:lnTo>
                  <a:lnTo>
                    <a:pt x="10643235" y="2115246"/>
                  </a:lnTo>
                  <a:lnTo>
                    <a:pt x="10642537" y="2116644"/>
                  </a:lnTo>
                  <a:lnTo>
                    <a:pt x="10839581" y="2116644"/>
                  </a:lnTo>
                  <a:lnTo>
                    <a:pt x="10568470" y="1846232"/>
                  </a:lnTo>
                  <a:lnTo>
                    <a:pt x="10569169" y="1845533"/>
                  </a:lnTo>
                  <a:lnTo>
                    <a:pt x="10567073" y="1844834"/>
                  </a:lnTo>
                  <a:lnTo>
                    <a:pt x="10837485" y="1573723"/>
                  </a:lnTo>
                  <a:close/>
                  <a:moveTo>
                    <a:pt x="11671780" y="1573024"/>
                  </a:moveTo>
                  <a:lnTo>
                    <a:pt x="11401367" y="1844135"/>
                  </a:lnTo>
                  <a:lnTo>
                    <a:pt x="11672478" y="2114547"/>
                  </a:lnTo>
                  <a:lnTo>
                    <a:pt x="11935902" y="2114547"/>
                  </a:lnTo>
                  <a:lnTo>
                    <a:pt x="11805937" y="1984582"/>
                  </a:lnTo>
                  <a:lnTo>
                    <a:pt x="11665491" y="1844135"/>
                  </a:lnTo>
                  <a:lnTo>
                    <a:pt x="11935902" y="1573024"/>
                  </a:lnTo>
                  <a:close/>
                  <a:moveTo>
                    <a:pt x="164203" y="1308454"/>
                  </a:moveTo>
                  <a:lnTo>
                    <a:pt x="294168" y="1438419"/>
                  </a:lnTo>
                  <a:lnTo>
                    <a:pt x="434615" y="1578866"/>
                  </a:lnTo>
                  <a:lnTo>
                    <a:pt x="164203" y="1849977"/>
                  </a:lnTo>
                  <a:lnTo>
                    <a:pt x="428326" y="1849977"/>
                  </a:lnTo>
                  <a:lnTo>
                    <a:pt x="698738" y="1578866"/>
                  </a:lnTo>
                  <a:lnTo>
                    <a:pt x="427627" y="1308454"/>
                  </a:lnTo>
                  <a:close/>
                  <a:moveTo>
                    <a:pt x="1809733" y="1307755"/>
                  </a:moveTo>
                  <a:lnTo>
                    <a:pt x="2080844" y="1578167"/>
                  </a:lnTo>
                  <a:lnTo>
                    <a:pt x="1810432" y="1848579"/>
                  </a:lnTo>
                  <a:lnTo>
                    <a:pt x="2074555" y="1848579"/>
                  </a:lnTo>
                  <a:lnTo>
                    <a:pt x="2344968" y="1578167"/>
                  </a:lnTo>
                  <a:lnTo>
                    <a:pt x="2073856" y="1307755"/>
                  </a:lnTo>
                  <a:close/>
                  <a:moveTo>
                    <a:pt x="712014" y="1307755"/>
                  </a:moveTo>
                  <a:lnTo>
                    <a:pt x="983125" y="1578167"/>
                  </a:lnTo>
                  <a:lnTo>
                    <a:pt x="712713" y="1849278"/>
                  </a:lnTo>
                  <a:lnTo>
                    <a:pt x="976837" y="1849278"/>
                  </a:lnTo>
                  <a:lnTo>
                    <a:pt x="1247249" y="1578167"/>
                  </a:lnTo>
                  <a:lnTo>
                    <a:pt x="976138" y="1307755"/>
                  </a:lnTo>
                  <a:close/>
                  <a:moveTo>
                    <a:pt x="2358243" y="1307056"/>
                  </a:moveTo>
                  <a:lnTo>
                    <a:pt x="2629354" y="1577468"/>
                  </a:lnTo>
                  <a:lnTo>
                    <a:pt x="2359641" y="1848579"/>
                  </a:lnTo>
                  <a:lnTo>
                    <a:pt x="2623065" y="1848579"/>
                  </a:lnTo>
                  <a:lnTo>
                    <a:pt x="2893477" y="1577468"/>
                  </a:lnTo>
                  <a:lnTo>
                    <a:pt x="2759320" y="1444009"/>
                  </a:lnTo>
                  <a:lnTo>
                    <a:pt x="2622367" y="1307056"/>
                  </a:lnTo>
                  <a:close/>
                  <a:moveTo>
                    <a:pt x="2906754" y="1306358"/>
                  </a:moveTo>
                  <a:lnTo>
                    <a:pt x="2908151" y="1307755"/>
                  </a:lnTo>
                  <a:lnTo>
                    <a:pt x="3177864" y="1576769"/>
                  </a:lnTo>
                  <a:lnTo>
                    <a:pt x="2907452" y="1847181"/>
                  </a:lnTo>
                  <a:lnTo>
                    <a:pt x="3171576" y="1847181"/>
                  </a:lnTo>
                  <a:lnTo>
                    <a:pt x="3441988" y="1576769"/>
                  </a:lnTo>
                  <a:lnTo>
                    <a:pt x="3436398" y="1571878"/>
                  </a:lnTo>
                  <a:lnTo>
                    <a:pt x="3170877" y="1306358"/>
                  </a:lnTo>
                  <a:close/>
                  <a:moveTo>
                    <a:pt x="1525347" y="1306358"/>
                  </a:moveTo>
                  <a:lnTo>
                    <a:pt x="1523949" y="1307056"/>
                  </a:lnTo>
                  <a:lnTo>
                    <a:pt x="1259826" y="1307056"/>
                  </a:lnTo>
                  <a:lnTo>
                    <a:pt x="1530937" y="1577468"/>
                  </a:lnTo>
                  <a:lnTo>
                    <a:pt x="1526744" y="1581660"/>
                  </a:lnTo>
                  <a:lnTo>
                    <a:pt x="1532333" y="1578866"/>
                  </a:lnTo>
                  <a:lnTo>
                    <a:pt x="1261921" y="1849977"/>
                  </a:lnTo>
                  <a:lnTo>
                    <a:pt x="1526046" y="1849977"/>
                  </a:lnTo>
                  <a:lnTo>
                    <a:pt x="1796458" y="1578866"/>
                  </a:lnTo>
                  <a:lnTo>
                    <a:pt x="1525347" y="1308454"/>
                  </a:lnTo>
                  <a:close/>
                  <a:moveTo>
                    <a:pt x="3454565" y="1305659"/>
                  </a:moveTo>
                  <a:lnTo>
                    <a:pt x="3725676" y="1576071"/>
                  </a:lnTo>
                  <a:lnTo>
                    <a:pt x="3722882" y="1578866"/>
                  </a:lnTo>
                  <a:lnTo>
                    <a:pt x="3632744" y="1669701"/>
                  </a:lnTo>
                  <a:lnTo>
                    <a:pt x="3455264" y="1846482"/>
                  </a:lnTo>
                  <a:lnTo>
                    <a:pt x="3719387" y="1846482"/>
                  </a:lnTo>
                  <a:lnTo>
                    <a:pt x="3808826" y="1757044"/>
                  </a:lnTo>
                  <a:lnTo>
                    <a:pt x="3989799" y="1576071"/>
                  </a:lnTo>
                  <a:lnTo>
                    <a:pt x="3718688" y="1305659"/>
                  </a:lnTo>
                  <a:close/>
                  <a:moveTo>
                    <a:pt x="4813703" y="1304267"/>
                  </a:moveTo>
                  <a:lnTo>
                    <a:pt x="4551587" y="1304960"/>
                  </a:lnTo>
                  <a:lnTo>
                    <a:pt x="4819301" y="1570610"/>
                  </a:lnTo>
                  <a:lnTo>
                    <a:pt x="5080048" y="1570610"/>
                  </a:lnTo>
                  <a:lnTo>
                    <a:pt x="4950082" y="1440645"/>
                  </a:lnTo>
                  <a:close/>
                  <a:moveTo>
                    <a:pt x="4824309" y="1303692"/>
                  </a:moveTo>
                  <a:lnTo>
                    <a:pt x="4954274" y="1433657"/>
                  </a:lnTo>
                  <a:lnTo>
                    <a:pt x="5094721" y="1574104"/>
                  </a:lnTo>
                  <a:lnTo>
                    <a:pt x="4824309" y="1845215"/>
                  </a:lnTo>
                  <a:lnTo>
                    <a:pt x="5088432" y="1845215"/>
                  </a:lnTo>
                  <a:lnTo>
                    <a:pt x="5358844" y="1574104"/>
                  </a:lnTo>
                  <a:lnTo>
                    <a:pt x="5087733" y="1303692"/>
                  </a:lnTo>
                  <a:close/>
                  <a:moveTo>
                    <a:pt x="6469839" y="1302993"/>
                  </a:moveTo>
                  <a:lnTo>
                    <a:pt x="6740950" y="1573405"/>
                  </a:lnTo>
                  <a:lnTo>
                    <a:pt x="6470538" y="1843817"/>
                  </a:lnTo>
                  <a:lnTo>
                    <a:pt x="6734661" y="1843817"/>
                  </a:lnTo>
                  <a:lnTo>
                    <a:pt x="7005075" y="1573405"/>
                  </a:lnTo>
                  <a:lnTo>
                    <a:pt x="6733962" y="1302993"/>
                  </a:lnTo>
                  <a:close/>
                  <a:moveTo>
                    <a:pt x="5372120" y="1302993"/>
                  </a:moveTo>
                  <a:lnTo>
                    <a:pt x="5643231" y="1573405"/>
                  </a:lnTo>
                  <a:lnTo>
                    <a:pt x="5372819" y="1844516"/>
                  </a:lnTo>
                  <a:lnTo>
                    <a:pt x="5636944" y="1844516"/>
                  </a:lnTo>
                  <a:lnTo>
                    <a:pt x="5907355" y="1573405"/>
                  </a:lnTo>
                  <a:lnTo>
                    <a:pt x="5636244" y="1302993"/>
                  </a:lnTo>
                  <a:close/>
                  <a:moveTo>
                    <a:pt x="7018349" y="1302294"/>
                  </a:moveTo>
                  <a:lnTo>
                    <a:pt x="7289460" y="1572706"/>
                  </a:lnTo>
                  <a:lnTo>
                    <a:pt x="7019748" y="1843817"/>
                  </a:lnTo>
                  <a:lnTo>
                    <a:pt x="7283171" y="1843817"/>
                  </a:lnTo>
                  <a:lnTo>
                    <a:pt x="7553583" y="1572706"/>
                  </a:lnTo>
                  <a:lnTo>
                    <a:pt x="7419426" y="1439247"/>
                  </a:lnTo>
                  <a:lnTo>
                    <a:pt x="7282473" y="1302294"/>
                  </a:lnTo>
                  <a:close/>
                  <a:moveTo>
                    <a:pt x="7566860" y="1301596"/>
                  </a:moveTo>
                  <a:lnTo>
                    <a:pt x="7568257" y="1302993"/>
                  </a:lnTo>
                  <a:lnTo>
                    <a:pt x="7837970" y="1572007"/>
                  </a:lnTo>
                  <a:lnTo>
                    <a:pt x="7567558" y="1842419"/>
                  </a:lnTo>
                  <a:lnTo>
                    <a:pt x="7831682" y="1842419"/>
                  </a:lnTo>
                  <a:lnTo>
                    <a:pt x="8102094" y="1572007"/>
                  </a:lnTo>
                  <a:lnTo>
                    <a:pt x="8096504" y="1567116"/>
                  </a:lnTo>
                  <a:lnTo>
                    <a:pt x="7830983" y="1301596"/>
                  </a:lnTo>
                  <a:close/>
                  <a:moveTo>
                    <a:pt x="6185454" y="1301596"/>
                  </a:moveTo>
                  <a:lnTo>
                    <a:pt x="6184056" y="1302294"/>
                  </a:lnTo>
                  <a:lnTo>
                    <a:pt x="5919933" y="1302294"/>
                  </a:lnTo>
                  <a:lnTo>
                    <a:pt x="6191043" y="1572706"/>
                  </a:lnTo>
                  <a:lnTo>
                    <a:pt x="6186850" y="1576898"/>
                  </a:lnTo>
                  <a:lnTo>
                    <a:pt x="6192439" y="1574104"/>
                  </a:lnTo>
                  <a:lnTo>
                    <a:pt x="5922027" y="1845215"/>
                  </a:lnTo>
                  <a:lnTo>
                    <a:pt x="6186152" y="1845215"/>
                  </a:lnTo>
                  <a:lnTo>
                    <a:pt x="6456565" y="1574104"/>
                  </a:lnTo>
                  <a:lnTo>
                    <a:pt x="6185454" y="1303692"/>
                  </a:lnTo>
                  <a:close/>
                  <a:moveTo>
                    <a:pt x="8114671" y="1300897"/>
                  </a:moveTo>
                  <a:lnTo>
                    <a:pt x="8385782" y="1571309"/>
                  </a:lnTo>
                  <a:lnTo>
                    <a:pt x="8382988" y="1574104"/>
                  </a:lnTo>
                  <a:lnTo>
                    <a:pt x="8292850" y="1664939"/>
                  </a:lnTo>
                  <a:lnTo>
                    <a:pt x="8115370" y="1841720"/>
                  </a:lnTo>
                  <a:lnTo>
                    <a:pt x="8379493" y="1841720"/>
                  </a:lnTo>
                  <a:lnTo>
                    <a:pt x="8468932" y="1752282"/>
                  </a:lnTo>
                  <a:lnTo>
                    <a:pt x="8649905" y="1571309"/>
                  </a:lnTo>
                  <a:lnTo>
                    <a:pt x="8378794" y="1300897"/>
                  </a:lnTo>
                  <a:close/>
                  <a:moveTo>
                    <a:pt x="9484726" y="1300517"/>
                  </a:moveTo>
                  <a:lnTo>
                    <a:pt x="9614691" y="1430482"/>
                  </a:lnTo>
                  <a:lnTo>
                    <a:pt x="9755138" y="1570929"/>
                  </a:lnTo>
                  <a:lnTo>
                    <a:pt x="9484726" y="1842040"/>
                  </a:lnTo>
                  <a:lnTo>
                    <a:pt x="9748849" y="1842040"/>
                  </a:lnTo>
                  <a:lnTo>
                    <a:pt x="10019261" y="1570929"/>
                  </a:lnTo>
                  <a:lnTo>
                    <a:pt x="9748150" y="1300517"/>
                  </a:lnTo>
                  <a:close/>
                  <a:moveTo>
                    <a:pt x="11130256" y="1299818"/>
                  </a:moveTo>
                  <a:lnTo>
                    <a:pt x="11401367" y="1570230"/>
                  </a:lnTo>
                  <a:lnTo>
                    <a:pt x="11130955" y="1840642"/>
                  </a:lnTo>
                  <a:lnTo>
                    <a:pt x="11395078" y="1840642"/>
                  </a:lnTo>
                  <a:lnTo>
                    <a:pt x="11665491" y="1570230"/>
                  </a:lnTo>
                  <a:lnTo>
                    <a:pt x="11394379" y="1299818"/>
                  </a:lnTo>
                  <a:close/>
                  <a:moveTo>
                    <a:pt x="10032537" y="1299818"/>
                  </a:moveTo>
                  <a:lnTo>
                    <a:pt x="10303648" y="1570230"/>
                  </a:lnTo>
                  <a:lnTo>
                    <a:pt x="10033236" y="1841341"/>
                  </a:lnTo>
                  <a:lnTo>
                    <a:pt x="10297360" y="1841341"/>
                  </a:lnTo>
                  <a:lnTo>
                    <a:pt x="10567772" y="1570230"/>
                  </a:lnTo>
                  <a:lnTo>
                    <a:pt x="10296661" y="1299818"/>
                  </a:lnTo>
                  <a:close/>
                  <a:moveTo>
                    <a:pt x="9472537" y="1299508"/>
                  </a:moveTo>
                  <a:lnTo>
                    <a:pt x="9211692" y="1300198"/>
                  </a:lnTo>
                  <a:lnTo>
                    <a:pt x="9481007" y="1567435"/>
                  </a:lnTo>
                  <a:lnTo>
                    <a:pt x="9740464" y="1567435"/>
                  </a:lnTo>
                  <a:lnTo>
                    <a:pt x="9610499" y="1437470"/>
                  </a:lnTo>
                  <a:close/>
                  <a:moveTo>
                    <a:pt x="10845870" y="1298421"/>
                  </a:moveTo>
                  <a:lnTo>
                    <a:pt x="10844472" y="1299119"/>
                  </a:lnTo>
                  <a:lnTo>
                    <a:pt x="10580349" y="1299119"/>
                  </a:lnTo>
                  <a:lnTo>
                    <a:pt x="10851460" y="1569531"/>
                  </a:lnTo>
                  <a:lnTo>
                    <a:pt x="10847267" y="1573723"/>
                  </a:lnTo>
                  <a:lnTo>
                    <a:pt x="10852856" y="1570929"/>
                  </a:lnTo>
                  <a:lnTo>
                    <a:pt x="10582444" y="1842040"/>
                  </a:lnTo>
                  <a:lnTo>
                    <a:pt x="10846569" y="1842040"/>
                  </a:lnTo>
                  <a:lnTo>
                    <a:pt x="11116981" y="1570929"/>
                  </a:lnTo>
                  <a:lnTo>
                    <a:pt x="10845870" y="1300517"/>
                  </a:lnTo>
                  <a:close/>
                  <a:moveTo>
                    <a:pt x="1802048" y="1033150"/>
                  </a:moveTo>
                  <a:lnTo>
                    <a:pt x="1531636" y="1304261"/>
                  </a:lnTo>
                  <a:lnTo>
                    <a:pt x="1802746" y="1574673"/>
                  </a:lnTo>
                  <a:lnTo>
                    <a:pt x="2066870" y="1574673"/>
                  </a:lnTo>
                  <a:lnTo>
                    <a:pt x="1795759" y="1304261"/>
                  </a:lnTo>
                  <a:lnTo>
                    <a:pt x="2066171" y="1033150"/>
                  </a:lnTo>
                  <a:close/>
                  <a:moveTo>
                    <a:pt x="704328" y="1033150"/>
                  </a:moveTo>
                  <a:lnTo>
                    <a:pt x="433916" y="1304261"/>
                  </a:lnTo>
                  <a:lnTo>
                    <a:pt x="705027" y="1574673"/>
                  </a:lnTo>
                  <a:lnTo>
                    <a:pt x="969150" y="1574673"/>
                  </a:lnTo>
                  <a:lnTo>
                    <a:pt x="698039" y="1304261"/>
                  </a:lnTo>
                  <a:lnTo>
                    <a:pt x="967752" y="1033150"/>
                  </a:lnTo>
                  <a:close/>
                  <a:moveTo>
                    <a:pt x="2899067" y="1032451"/>
                  </a:moveTo>
                  <a:lnTo>
                    <a:pt x="2718793" y="1212727"/>
                  </a:lnTo>
                  <a:lnTo>
                    <a:pt x="2629354" y="1302864"/>
                  </a:lnTo>
                  <a:lnTo>
                    <a:pt x="2763512" y="1436323"/>
                  </a:lnTo>
                  <a:lnTo>
                    <a:pt x="2900465" y="1573275"/>
                  </a:lnTo>
                  <a:lnTo>
                    <a:pt x="3164588" y="1573275"/>
                  </a:lnTo>
                  <a:lnTo>
                    <a:pt x="2893477" y="1302864"/>
                  </a:lnTo>
                  <a:lnTo>
                    <a:pt x="2894875" y="1301467"/>
                  </a:lnTo>
                  <a:lnTo>
                    <a:pt x="3163191" y="1032451"/>
                  </a:lnTo>
                  <a:close/>
                  <a:moveTo>
                    <a:pt x="2350558" y="1032451"/>
                  </a:moveTo>
                  <a:lnTo>
                    <a:pt x="2080145" y="1303562"/>
                  </a:lnTo>
                  <a:lnTo>
                    <a:pt x="2351257" y="1573974"/>
                  </a:lnTo>
                  <a:lnTo>
                    <a:pt x="2615379" y="1573974"/>
                  </a:lnTo>
                  <a:lnTo>
                    <a:pt x="2344269" y="1303562"/>
                  </a:lnTo>
                  <a:lnTo>
                    <a:pt x="2528736" y="1119096"/>
                  </a:lnTo>
                  <a:lnTo>
                    <a:pt x="2614681" y="1033150"/>
                  </a:lnTo>
                  <a:lnTo>
                    <a:pt x="2356148" y="1033150"/>
                  </a:lnTo>
                  <a:close/>
                  <a:moveTo>
                    <a:pt x="1252838" y="1032451"/>
                  </a:moveTo>
                  <a:lnTo>
                    <a:pt x="982426" y="1303562"/>
                  </a:lnTo>
                  <a:lnTo>
                    <a:pt x="1253537" y="1573974"/>
                  </a:lnTo>
                  <a:lnTo>
                    <a:pt x="1517660" y="1573974"/>
                  </a:lnTo>
                  <a:lnTo>
                    <a:pt x="1246550" y="1303562"/>
                  </a:lnTo>
                  <a:lnTo>
                    <a:pt x="1431017" y="1119096"/>
                  </a:lnTo>
                  <a:lnTo>
                    <a:pt x="1516962" y="1032451"/>
                  </a:lnTo>
                  <a:close/>
                  <a:moveTo>
                    <a:pt x="3447578" y="1031753"/>
                  </a:moveTo>
                  <a:lnTo>
                    <a:pt x="3177166" y="1302864"/>
                  </a:lnTo>
                  <a:lnTo>
                    <a:pt x="3448276" y="1573275"/>
                  </a:lnTo>
                  <a:lnTo>
                    <a:pt x="3712400" y="1573275"/>
                  </a:lnTo>
                  <a:lnTo>
                    <a:pt x="3441289" y="1302864"/>
                  </a:lnTo>
                  <a:lnTo>
                    <a:pt x="3711701" y="1031753"/>
                  </a:lnTo>
                  <a:close/>
                  <a:moveTo>
                    <a:pt x="4544599" y="1030356"/>
                  </a:moveTo>
                  <a:lnTo>
                    <a:pt x="4274187" y="1301467"/>
                  </a:lnTo>
                  <a:lnTo>
                    <a:pt x="4545297" y="1571878"/>
                  </a:lnTo>
                  <a:lnTo>
                    <a:pt x="4806712" y="1571878"/>
                  </a:lnTo>
                  <a:lnTo>
                    <a:pt x="4660106" y="1425273"/>
                  </a:lnTo>
                  <a:lnTo>
                    <a:pt x="4660106" y="1422949"/>
                  </a:lnTo>
                  <a:lnTo>
                    <a:pt x="4538310" y="1301467"/>
                  </a:lnTo>
                  <a:lnTo>
                    <a:pt x="4660106" y="1179209"/>
                  </a:lnTo>
                  <a:lnTo>
                    <a:pt x="4660106" y="1175123"/>
                  </a:lnTo>
                  <a:lnTo>
                    <a:pt x="4804873" y="1030356"/>
                  </a:lnTo>
                  <a:close/>
                  <a:moveTo>
                    <a:pt x="3995389" y="1030356"/>
                  </a:moveTo>
                  <a:lnTo>
                    <a:pt x="3724977" y="1301467"/>
                  </a:lnTo>
                  <a:lnTo>
                    <a:pt x="3996088" y="1571878"/>
                  </a:lnTo>
                  <a:lnTo>
                    <a:pt x="4064564" y="1571878"/>
                  </a:lnTo>
                  <a:lnTo>
                    <a:pt x="4061071" y="1578866"/>
                  </a:lnTo>
                  <a:lnTo>
                    <a:pt x="3996088" y="1578866"/>
                  </a:lnTo>
                  <a:lnTo>
                    <a:pt x="3815814" y="1759839"/>
                  </a:lnTo>
                  <a:lnTo>
                    <a:pt x="3726375" y="1849977"/>
                  </a:lnTo>
                  <a:lnTo>
                    <a:pt x="3859834" y="1983435"/>
                  </a:lnTo>
                  <a:lnTo>
                    <a:pt x="3857039" y="1989025"/>
                  </a:lnTo>
                  <a:lnTo>
                    <a:pt x="3857739" y="1989722"/>
                  </a:lnTo>
                  <a:lnTo>
                    <a:pt x="3857039" y="1991122"/>
                  </a:lnTo>
                  <a:lnTo>
                    <a:pt x="3720086" y="1854169"/>
                  </a:lnTo>
                  <a:lnTo>
                    <a:pt x="3455963" y="1854169"/>
                  </a:lnTo>
                  <a:lnTo>
                    <a:pt x="3727074" y="2124581"/>
                  </a:lnTo>
                  <a:lnTo>
                    <a:pt x="3456662" y="2395692"/>
                  </a:lnTo>
                  <a:lnTo>
                    <a:pt x="3654754" y="2395692"/>
                  </a:lnTo>
                  <a:lnTo>
                    <a:pt x="3652309" y="2400583"/>
                  </a:lnTo>
                  <a:lnTo>
                    <a:pt x="3652658" y="2400583"/>
                  </a:lnTo>
                  <a:lnTo>
                    <a:pt x="3651610" y="2402679"/>
                  </a:lnTo>
                  <a:lnTo>
                    <a:pt x="3456662" y="2402679"/>
                  </a:lnTo>
                  <a:lnTo>
                    <a:pt x="3586394" y="2532412"/>
                  </a:lnTo>
                  <a:lnTo>
                    <a:pt x="3583832" y="2537535"/>
                  </a:lnTo>
                  <a:lnTo>
                    <a:pt x="3584065" y="2537768"/>
                  </a:lnTo>
                  <a:lnTo>
                    <a:pt x="3583133" y="2539632"/>
                  </a:lnTo>
                  <a:lnTo>
                    <a:pt x="3442687" y="2399185"/>
                  </a:lnTo>
                  <a:lnTo>
                    <a:pt x="3713099" y="2128074"/>
                  </a:lnTo>
                  <a:lnTo>
                    <a:pt x="3448975" y="2128074"/>
                  </a:lnTo>
                  <a:lnTo>
                    <a:pt x="3178563" y="2399185"/>
                  </a:lnTo>
                  <a:lnTo>
                    <a:pt x="3448975" y="2670296"/>
                  </a:lnTo>
                  <a:lnTo>
                    <a:pt x="3517452" y="2670296"/>
                  </a:lnTo>
                  <a:lnTo>
                    <a:pt x="3518849" y="2667501"/>
                  </a:lnTo>
                  <a:lnTo>
                    <a:pt x="3713797" y="2667501"/>
                  </a:lnTo>
                  <a:lnTo>
                    <a:pt x="3584065" y="2537768"/>
                  </a:lnTo>
                  <a:lnTo>
                    <a:pt x="3586627" y="2532645"/>
                  </a:lnTo>
                  <a:lnTo>
                    <a:pt x="3586394" y="2532412"/>
                  </a:lnTo>
                  <a:lnTo>
                    <a:pt x="3587326" y="2530548"/>
                  </a:lnTo>
                  <a:lnTo>
                    <a:pt x="3727772" y="2670995"/>
                  </a:lnTo>
                  <a:lnTo>
                    <a:pt x="3457360" y="2942106"/>
                  </a:lnTo>
                  <a:lnTo>
                    <a:pt x="3721484" y="2942106"/>
                  </a:lnTo>
                  <a:lnTo>
                    <a:pt x="3991896" y="2670995"/>
                  </a:lnTo>
                  <a:lnTo>
                    <a:pt x="3720785" y="2400583"/>
                  </a:lnTo>
                  <a:lnTo>
                    <a:pt x="3652658" y="2400583"/>
                  </a:lnTo>
                  <a:lnTo>
                    <a:pt x="3655103" y="2395692"/>
                  </a:lnTo>
                  <a:lnTo>
                    <a:pt x="3654754" y="2395692"/>
                  </a:lnTo>
                  <a:lnTo>
                    <a:pt x="3655802" y="2393595"/>
                  </a:lnTo>
                  <a:lnTo>
                    <a:pt x="3720785" y="2393595"/>
                  </a:lnTo>
                  <a:lnTo>
                    <a:pt x="3991197" y="2122484"/>
                  </a:lnTo>
                  <a:lnTo>
                    <a:pt x="3857739" y="1989722"/>
                  </a:lnTo>
                  <a:lnTo>
                    <a:pt x="3860533" y="1984134"/>
                  </a:lnTo>
                  <a:lnTo>
                    <a:pt x="3859834" y="1983435"/>
                  </a:lnTo>
                  <a:lnTo>
                    <a:pt x="3860533" y="1982038"/>
                  </a:lnTo>
                  <a:lnTo>
                    <a:pt x="3997486" y="2118991"/>
                  </a:lnTo>
                  <a:lnTo>
                    <a:pt x="4261609" y="2118991"/>
                  </a:lnTo>
                  <a:lnTo>
                    <a:pt x="3990498" y="1848579"/>
                  </a:lnTo>
                  <a:lnTo>
                    <a:pt x="3991896" y="1847181"/>
                  </a:lnTo>
                  <a:lnTo>
                    <a:pt x="4260212" y="1578167"/>
                  </a:lnTo>
                  <a:lnTo>
                    <a:pt x="4061770" y="1578167"/>
                  </a:lnTo>
                  <a:lnTo>
                    <a:pt x="4065263" y="1571180"/>
                  </a:lnTo>
                  <a:lnTo>
                    <a:pt x="4260212" y="1571180"/>
                  </a:lnTo>
                  <a:lnTo>
                    <a:pt x="4130246" y="1441215"/>
                  </a:lnTo>
                  <a:lnTo>
                    <a:pt x="4133739" y="1434227"/>
                  </a:lnTo>
                  <a:lnTo>
                    <a:pt x="4274187" y="1574673"/>
                  </a:lnTo>
                  <a:lnTo>
                    <a:pt x="4003774" y="1845784"/>
                  </a:lnTo>
                  <a:lnTo>
                    <a:pt x="4267898" y="1845784"/>
                  </a:lnTo>
                  <a:lnTo>
                    <a:pt x="4538310" y="1574673"/>
                  </a:lnTo>
                  <a:lnTo>
                    <a:pt x="4267200" y="1304960"/>
                  </a:lnTo>
                  <a:lnTo>
                    <a:pt x="4198724" y="1304960"/>
                  </a:lnTo>
                  <a:lnTo>
                    <a:pt x="4003774" y="1304960"/>
                  </a:lnTo>
                  <a:lnTo>
                    <a:pt x="4133040" y="1434926"/>
                  </a:lnTo>
                  <a:lnTo>
                    <a:pt x="4129547" y="1441912"/>
                  </a:lnTo>
                  <a:lnTo>
                    <a:pt x="3989100" y="1301467"/>
                  </a:lnTo>
                  <a:lnTo>
                    <a:pt x="4259512" y="1030356"/>
                  </a:lnTo>
                  <a:close/>
                  <a:moveTo>
                    <a:pt x="4819080" y="1029786"/>
                  </a:moveTo>
                  <a:lnTo>
                    <a:pt x="4551587" y="1297972"/>
                  </a:lnTo>
                  <a:lnTo>
                    <a:pt x="4811861" y="1297972"/>
                  </a:lnTo>
                  <a:lnTo>
                    <a:pt x="5080048" y="1029786"/>
                  </a:lnTo>
                  <a:close/>
                  <a:moveTo>
                    <a:pt x="6462154" y="1028388"/>
                  </a:moveTo>
                  <a:lnTo>
                    <a:pt x="6191742" y="1299499"/>
                  </a:lnTo>
                  <a:lnTo>
                    <a:pt x="6462852" y="1569911"/>
                  </a:lnTo>
                  <a:lnTo>
                    <a:pt x="6726977" y="1569911"/>
                  </a:lnTo>
                  <a:lnTo>
                    <a:pt x="6455865" y="1299499"/>
                  </a:lnTo>
                  <a:lnTo>
                    <a:pt x="6726277" y="1028388"/>
                  </a:lnTo>
                  <a:close/>
                  <a:moveTo>
                    <a:pt x="5364435" y="1028388"/>
                  </a:moveTo>
                  <a:lnTo>
                    <a:pt x="5094022" y="1299499"/>
                  </a:lnTo>
                  <a:lnTo>
                    <a:pt x="5365133" y="1569911"/>
                  </a:lnTo>
                  <a:lnTo>
                    <a:pt x="5629256" y="1569911"/>
                  </a:lnTo>
                  <a:lnTo>
                    <a:pt x="5358145" y="1299499"/>
                  </a:lnTo>
                  <a:lnTo>
                    <a:pt x="5627858" y="1028388"/>
                  </a:lnTo>
                  <a:close/>
                  <a:moveTo>
                    <a:pt x="7559173" y="1027689"/>
                  </a:moveTo>
                  <a:lnTo>
                    <a:pt x="7378899" y="1207965"/>
                  </a:lnTo>
                  <a:lnTo>
                    <a:pt x="7289460" y="1298102"/>
                  </a:lnTo>
                  <a:lnTo>
                    <a:pt x="7423618" y="1431561"/>
                  </a:lnTo>
                  <a:lnTo>
                    <a:pt x="7560571" y="1568513"/>
                  </a:lnTo>
                  <a:lnTo>
                    <a:pt x="7824694" y="1568513"/>
                  </a:lnTo>
                  <a:lnTo>
                    <a:pt x="7553583" y="1298102"/>
                  </a:lnTo>
                  <a:lnTo>
                    <a:pt x="7554981" y="1296705"/>
                  </a:lnTo>
                  <a:lnTo>
                    <a:pt x="7823297" y="1027689"/>
                  </a:lnTo>
                  <a:close/>
                  <a:moveTo>
                    <a:pt x="7010664" y="1027689"/>
                  </a:moveTo>
                  <a:lnTo>
                    <a:pt x="6740251" y="1298800"/>
                  </a:lnTo>
                  <a:lnTo>
                    <a:pt x="7011363" y="1569212"/>
                  </a:lnTo>
                  <a:lnTo>
                    <a:pt x="7275485" y="1569212"/>
                  </a:lnTo>
                  <a:lnTo>
                    <a:pt x="7004375" y="1298800"/>
                  </a:lnTo>
                  <a:lnTo>
                    <a:pt x="7188842" y="1114334"/>
                  </a:lnTo>
                  <a:lnTo>
                    <a:pt x="7274787" y="1028388"/>
                  </a:lnTo>
                  <a:lnTo>
                    <a:pt x="7016254" y="1028388"/>
                  </a:lnTo>
                  <a:close/>
                  <a:moveTo>
                    <a:pt x="5912945" y="1027689"/>
                  </a:moveTo>
                  <a:lnTo>
                    <a:pt x="5642533" y="1298800"/>
                  </a:lnTo>
                  <a:lnTo>
                    <a:pt x="5913643" y="1569212"/>
                  </a:lnTo>
                  <a:lnTo>
                    <a:pt x="6177766" y="1569212"/>
                  </a:lnTo>
                  <a:lnTo>
                    <a:pt x="5906656" y="1298800"/>
                  </a:lnTo>
                  <a:lnTo>
                    <a:pt x="6091123" y="1114334"/>
                  </a:lnTo>
                  <a:lnTo>
                    <a:pt x="6177068" y="1027689"/>
                  </a:lnTo>
                  <a:close/>
                  <a:moveTo>
                    <a:pt x="8107684" y="1026991"/>
                  </a:moveTo>
                  <a:lnTo>
                    <a:pt x="7837272" y="1298102"/>
                  </a:lnTo>
                  <a:lnTo>
                    <a:pt x="8108382" y="1568513"/>
                  </a:lnTo>
                  <a:lnTo>
                    <a:pt x="8372506" y="1568513"/>
                  </a:lnTo>
                  <a:lnTo>
                    <a:pt x="8101395" y="1298102"/>
                  </a:lnTo>
                  <a:lnTo>
                    <a:pt x="8371807" y="1026991"/>
                  </a:lnTo>
                  <a:close/>
                  <a:moveTo>
                    <a:pt x="9477604" y="1026611"/>
                  </a:moveTo>
                  <a:lnTo>
                    <a:pt x="9211692" y="1293210"/>
                  </a:lnTo>
                  <a:lnTo>
                    <a:pt x="9473865" y="1293210"/>
                  </a:lnTo>
                  <a:lnTo>
                    <a:pt x="9740464" y="1026611"/>
                  </a:lnTo>
                  <a:close/>
                  <a:moveTo>
                    <a:pt x="9204704" y="1025594"/>
                  </a:moveTo>
                  <a:lnTo>
                    <a:pt x="8934292" y="1296705"/>
                  </a:lnTo>
                  <a:lnTo>
                    <a:pt x="9205403" y="1567116"/>
                  </a:lnTo>
                  <a:lnTo>
                    <a:pt x="9465541" y="1567116"/>
                  </a:lnTo>
                  <a:lnTo>
                    <a:pt x="9320523" y="1422098"/>
                  </a:lnTo>
                  <a:lnTo>
                    <a:pt x="9320523" y="1418497"/>
                  </a:lnTo>
                  <a:lnTo>
                    <a:pt x="9198416" y="1296705"/>
                  </a:lnTo>
                  <a:lnTo>
                    <a:pt x="9320523" y="1174135"/>
                  </a:lnTo>
                  <a:lnTo>
                    <a:pt x="9320523" y="1171948"/>
                  </a:lnTo>
                  <a:lnTo>
                    <a:pt x="9466877" y="1025594"/>
                  </a:lnTo>
                  <a:close/>
                  <a:moveTo>
                    <a:pt x="8655495" y="1025594"/>
                  </a:moveTo>
                  <a:lnTo>
                    <a:pt x="8385083" y="1296705"/>
                  </a:lnTo>
                  <a:lnTo>
                    <a:pt x="8656194" y="1567116"/>
                  </a:lnTo>
                  <a:lnTo>
                    <a:pt x="8724670" y="1567116"/>
                  </a:lnTo>
                  <a:lnTo>
                    <a:pt x="8721177" y="1574104"/>
                  </a:lnTo>
                  <a:lnTo>
                    <a:pt x="8656194" y="1574104"/>
                  </a:lnTo>
                  <a:lnTo>
                    <a:pt x="8475920" y="1755077"/>
                  </a:lnTo>
                  <a:lnTo>
                    <a:pt x="8386481" y="1845215"/>
                  </a:lnTo>
                  <a:lnTo>
                    <a:pt x="8519940" y="1978673"/>
                  </a:lnTo>
                  <a:lnTo>
                    <a:pt x="8517145" y="1984263"/>
                  </a:lnTo>
                  <a:lnTo>
                    <a:pt x="8517845" y="1984960"/>
                  </a:lnTo>
                  <a:lnTo>
                    <a:pt x="8517145" y="1986360"/>
                  </a:lnTo>
                  <a:lnTo>
                    <a:pt x="8380192" y="1849407"/>
                  </a:lnTo>
                  <a:lnTo>
                    <a:pt x="8116069" y="1849407"/>
                  </a:lnTo>
                  <a:lnTo>
                    <a:pt x="8387180" y="2119819"/>
                  </a:lnTo>
                  <a:lnTo>
                    <a:pt x="8116768" y="2390930"/>
                  </a:lnTo>
                  <a:lnTo>
                    <a:pt x="8314860" y="2390930"/>
                  </a:lnTo>
                  <a:lnTo>
                    <a:pt x="8312415" y="2395821"/>
                  </a:lnTo>
                  <a:lnTo>
                    <a:pt x="8312764" y="2395821"/>
                  </a:lnTo>
                  <a:lnTo>
                    <a:pt x="8311716" y="2397917"/>
                  </a:lnTo>
                  <a:lnTo>
                    <a:pt x="8116768" y="2397917"/>
                  </a:lnTo>
                  <a:lnTo>
                    <a:pt x="8246500" y="2527650"/>
                  </a:lnTo>
                  <a:lnTo>
                    <a:pt x="8243938" y="2532773"/>
                  </a:lnTo>
                  <a:lnTo>
                    <a:pt x="8244171" y="2533006"/>
                  </a:lnTo>
                  <a:lnTo>
                    <a:pt x="8243239" y="2534870"/>
                  </a:lnTo>
                  <a:lnTo>
                    <a:pt x="8102793" y="2394423"/>
                  </a:lnTo>
                  <a:lnTo>
                    <a:pt x="8373205" y="2123312"/>
                  </a:lnTo>
                  <a:lnTo>
                    <a:pt x="8109081" y="2123312"/>
                  </a:lnTo>
                  <a:lnTo>
                    <a:pt x="7838669" y="2394423"/>
                  </a:lnTo>
                  <a:lnTo>
                    <a:pt x="8109081" y="2665534"/>
                  </a:lnTo>
                  <a:lnTo>
                    <a:pt x="8177558" y="2665534"/>
                  </a:lnTo>
                  <a:lnTo>
                    <a:pt x="8178955" y="2662739"/>
                  </a:lnTo>
                  <a:lnTo>
                    <a:pt x="8373903" y="2662739"/>
                  </a:lnTo>
                  <a:lnTo>
                    <a:pt x="8244171" y="2533006"/>
                  </a:lnTo>
                  <a:lnTo>
                    <a:pt x="8246733" y="2527883"/>
                  </a:lnTo>
                  <a:lnTo>
                    <a:pt x="8246500" y="2527650"/>
                  </a:lnTo>
                  <a:lnTo>
                    <a:pt x="8247432" y="2525786"/>
                  </a:lnTo>
                  <a:lnTo>
                    <a:pt x="8387878" y="2666233"/>
                  </a:lnTo>
                  <a:lnTo>
                    <a:pt x="8117466" y="2937344"/>
                  </a:lnTo>
                  <a:lnTo>
                    <a:pt x="8381590" y="2937344"/>
                  </a:lnTo>
                  <a:lnTo>
                    <a:pt x="8652002" y="2666233"/>
                  </a:lnTo>
                  <a:lnTo>
                    <a:pt x="8380891" y="2395821"/>
                  </a:lnTo>
                  <a:lnTo>
                    <a:pt x="8312764" y="2395821"/>
                  </a:lnTo>
                  <a:lnTo>
                    <a:pt x="8315209" y="2390930"/>
                  </a:lnTo>
                  <a:lnTo>
                    <a:pt x="8314860" y="2390930"/>
                  </a:lnTo>
                  <a:lnTo>
                    <a:pt x="8315908" y="2388833"/>
                  </a:lnTo>
                  <a:lnTo>
                    <a:pt x="8380891" y="2388833"/>
                  </a:lnTo>
                  <a:lnTo>
                    <a:pt x="8651303" y="2117722"/>
                  </a:lnTo>
                  <a:lnTo>
                    <a:pt x="8517845" y="1984960"/>
                  </a:lnTo>
                  <a:lnTo>
                    <a:pt x="8520639" y="1979372"/>
                  </a:lnTo>
                  <a:lnTo>
                    <a:pt x="8519940" y="1978673"/>
                  </a:lnTo>
                  <a:lnTo>
                    <a:pt x="8520639" y="1977276"/>
                  </a:lnTo>
                  <a:lnTo>
                    <a:pt x="8657592" y="2114230"/>
                  </a:lnTo>
                  <a:lnTo>
                    <a:pt x="8921715" y="2114230"/>
                  </a:lnTo>
                  <a:lnTo>
                    <a:pt x="8650604" y="1843817"/>
                  </a:lnTo>
                  <a:lnTo>
                    <a:pt x="8652002" y="1842419"/>
                  </a:lnTo>
                  <a:lnTo>
                    <a:pt x="8920317" y="1573405"/>
                  </a:lnTo>
                  <a:lnTo>
                    <a:pt x="8721876" y="1573405"/>
                  </a:lnTo>
                  <a:lnTo>
                    <a:pt x="8725369" y="1566418"/>
                  </a:lnTo>
                  <a:lnTo>
                    <a:pt x="8920317" y="1566418"/>
                  </a:lnTo>
                  <a:lnTo>
                    <a:pt x="8790352" y="1436453"/>
                  </a:lnTo>
                  <a:lnTo>
                    <a:pt x="8793845" y="1429465"/>
                  </a:lnTo>
                  <a:lnTo>
                    <a:pt x="8934292" y="1569911"/>
                  </a:lnTo>
                  <a:lnTo>
                    <a:pt x="8663880" y="1841022"/>
                  </a:lnTo>
                  <a:lnTo>
                    <a:pt x="8928004" y="1841022"/>
                  </a:lnTo>
                  <a:lnTo>
                    <a:pt x="9198416" y="1569911"/>
                  </a:lnTo>
                  <a:lnTo>
                    <a:pt x="8927305" y="1300198"/>
                  </a:lnTo>
                  <a:lnTo>
                    <a:pt x="8858829" y="1300198"/>
                  </a:lnTo>
                  <a:lnTo>
                    <a:pt x="8663880" y="1300198"/>
                  </a:lnTo>
                  <a:lnTo>
                    <a:pt x="8793146" y="1430164"/>
                  </a:lnTo>
                  <a:lnTo>
                    <a:pt x="8789653" y="1437150"/>
                  </a:lnTo>
                  <a:lnTo>
                    <a:pt x="8649206" y="1296705"/>
                  </a:lnTo>
                  <a:lnTo>
                    <a:pt x="8919618" y="1025594"/>
                  </a:lnTo>
                  <a:close/>
                  <a:moveTo>
                    <a:pt x="11122571" y="1025213"/>
                  </a:moveTo>
                  <a:lnTo>
                    <a:pt x="10852159" y="1296324"/>
                  </a:lnTo>
                  <a:lnTo>
                    <a:pt x="11123269" y="1566736"/>
                  </a:lnTo>
                  <a:lnTo>
                    <a:pt x="11387393" y="1566736"/>
                  </a:lnTo>
                  <a:lnTo>
                    <a:pt x="11116282" y="1296324"/>
                  </a:lnTo>
                  <a:lnTo>
                    <a:pt x="11386694" y="1025213"/>
                  </a:lnTo>
                  <a:close/>
                  <a:moveTo>
                    <a:pt x="10024851" y="1025213"/>
                  </a:moveTo>
                  <a:lnTo>
                    <a:pt x="9754439" y="1296324"/>
                  </a:lnTo>
                  <a:lnTo>
                    <a:pt x="10025550" y="1566736"/>
                  </a:lnTo>
                  <a:lnTo>
                    <a:pt x="10289673" y="1566736"/>
                  </a:lnTo>
                  <a:lnTo>
                    <a:pt x="10018562" y="1296324"/>
                  </a:lnTo>
                  <a:lnTo>
                    <a:pt x="10288275" y="1025213"/>
                  </a:lnTo>
                  <a:close/>
                  <a:moveTo>
                    <a:pt x="11671081" y="1024514"/>
                  </a:moveTo>
                  <a:lnTo>
                    <a:pt x="11400668" y="1295625"/>
                  </a:lnTo>
                  <a:lnTo>
                    <a:pt x="11671780" y="1566037"/>
                  </a:lnTo>
                  <a:lnTo>
                    <a:pt x="11935902" y="1566037"/>
                  </a:lnTo>
                  <a:lnTo>
                    <a:pt x="11664792" y="1295625"/>
                  </a:lnTo>
                  <a:lnTo>
                    <a:pt x="11849259" y="1111159"/>
                  </a:lnTo>
                  <a:lnTo>
                    <a:pt x="11935204" y="1025213"/>
                  </a:lnTo>
                  <a:lnTo>
                    <a:pt x="11676671" y="1025213"/>
                  </a:lnTo>
                  <a:close/>
                  <a:moveTo>
                    <a:pt x="10573361" y="1024514"/>
                  </a:moveTo>
                  <a:lnTo>
                    <a:pt x="10302949" y="1295625"/>
                  </a:lnTo>
                  <a:lnTo>
                    <a:pt x="10574060" y="1566037"/>
                  </a:lnTo>
                  <a:lnTo>
                    <a:pt x="10838183" y="1566037"/>
                  </a:lnTo>
                  <a:lnTo>
                    <a:pt x="10567073" y="1295625"/>
                  </a:lnTo>
                  <a:lnTo>
                    <a:pt x="10751540" y="1111159"/>
                  </a:lnTo>
                  <a:lnTo>
                    <a:pt x="10837485" y="1024514"/>
                  </a:lnTo>
                  <a:close/>
                  <a:moveTo>
                    <a:pt x="162805" y="759944"/>
                  </a:moveTo>
                  <a:lnTo>
                    <a:pt x="433916" y="1030356"/>
                  </a:lnTo>
                  <a:lnTo>
                    <a:pt x="164203" y="1301467"/>
                  </a:lnTo>
                  <a:lnTo>
                    <a:pt x="427627" y="1301467"/>
                  </a:lnTo>
                  <a:lnTo>
                    <a:pt x="698039" y="1030356"/>
                  </a:lnTo>
                  <a:lnTo>
                    <a:pt x="563881" y="896896"/>
                  </a:lnTo>
                  <a:lnTo>
                    <a:pt x="426928" y="759944"/>
                  </a:lnTo>
                  <a:close/>
                  <a:moveTo>
                    <a:pt x="1809035" y="759245"/>
                  </a:moveTo>
                  <a:lnTo>
                    <a:pt x="1937603" y="887813"/>
                  </a:lnTo>
                  <a:lnTo>
                    <a:pt x="2079447" y="1029657"/>
                  </a:lnTo>
                  <a:lnTo>
                    <a:pt x="1809035" y="1300768"/>
                  </a:lnTo>
                  <a:lnTo>
                    <a:pt x="2073158" y="1300768"/>
                  </a:lnTo>
                  <a:lnTo>
                    <a:pt x="2343570" y="1029657"/>
                  </a:lnTo>
                  <a:lnTo>
                    <a:pt x="2338678" y="1024766"/>
                  </a:lnTo>
                  <a:lnTo>
                    <a:pt x="2073158" y="759245"/>
                  </a:lnTo>
                  <a:close/>
                  <a:moveTo>
                    <a:pt x="2357544" y="758546"/>
                  </a:moveTo>
                  <a:lnTo>
                    <a:pt x="2628655" y="1028259"/>
                  </a:lnTo>
                  <a:lnTo>
                    <a:pt x="2625861" y="1031055"/>
                  </a:lnTo>
                  <a:lnTo>
                    <a:pt x="2535723" y="1121890"/>
                  </a:lnTo>
                  <a:lnTo>
                    <a:pt x="2358243" y="1299370"/>
                  </a:lnTo>
                  <a:lnTo>
                    <a:pt x="2622367" y="1299370"/>
                  </a:lnTo>
                  <a:lnTo>
                    <a:pt x="2711805" y="1209931"/>
                  </a:lnTo>
                  <a:lnTo>
                    <a:pt x="2892779" y="1028958"/>
                  </a:lnTo>
                  <a:lnTo>
                    <a:pt x="2621668" y="758546"/>
                  </a:lnTo>
                  <a:close/>
                  <a:moveTo>
                    <a:pt x="1259127" y="758546"/>
                  </a:moveTo>
                  <a:lnTo>
                    <a:pt x="1530238" y="1028259"/>
                  </a:lnTo>
                  <a:lnTo>
                    <a:pt x="1527442" y="1031055"/>
                  </a:lnTo>
                  <a:lnTo>
                    <a:pt x="1437306" y="1121890"/>
                  </a:lnTo>
                  <a:lnTo>
                    <a:pt x="1259826" y="1299370"/>
                  </a:lnTo>
                  <a:lnTo>
                    <a:pt x="1523949" y="1299370"/>
                  </a:lnTo>
                  <a:lnTo>
                    <a:pt x="1613388" y="1209931"/>
                  </a:lnTo>
                  <a:lnTo>
                    <a:pt x="1794361" y="1028958"/>
                  </a:lnTo>
                  <a:lnTo>
                    <a:pt x="1523250" y="758546"/>
                  </a:lnTo>
                  <a:close/>
                  <a:moveTo>
                    <a:pt x="710617" y="758546"/>
                  </a:moveTo>
                  <a:lnTo>
                    <a:pt x="712014" y="759944"/>
                  </a:lnTo>
                  <a:lnTo>
                    <a:pt x="981727" y="1028958"/>
                  </a:lnTo>
                  <a:lnTo>
                    <a:pt x="711316" y="1300069"/>
                  </a:lnTo>
                  <a:lnTo>
                    <a:pt x="975439" y="1300069"/>
                  </a:lnTo>
                  <a:lnTo>
                    <a:pt x="1245851" y="1028958"/>
                  </a:lnTo>
                  <a:lnTo>
                    <a:pt x="1240261" y="1024067"/>
                  </a:lnTo>
                  <a:lnTo>
                    <a:pt x="974740" y="758546"/>
                  </a:lnTo>
                  <a:close/>
                  <a:moveTo>
                    <a:pt x="2906055" y="757847"/>
                  </a:moveTo>
                  <a:lnTo>
                    <a:pt x="3036720" y="887114"/>
                  </a:lnTo>
                  <a:lnTo>
                    <a:pt x="3177166" y="1027560"/>
                  </a:lnTo>
                  <a:lnTo>
                    <a:pt x="2906754" y="1298671"/>
                  </a:lnTo>
                  <a:lnTo>
                    <a:pt x="3170877" y="1298671"/>
                  </a:lnTo>
                  <a:lnTo>
                    <a:pt x="3441289" y="1028259"/>
                  </a:lnTo>
                  <a:lnTo>
                    <a:pt x="3170178" y="757847"/>
                  </a:lnTo>
                  <a:close/>
                  <a:moveTo>
                    <a:pt x="3454565" y="757148"/>
                  </a:moveTo>
                  <a:lnTo>
                    <a:pt x="3725676" y="1027560"/>
                  </a:lnTo>
                  <a:lnTo>
                    <a:pt x="3455264" y="1298671"/>
                  </a:lnTo>
                  <a:lnTo>
                    <a:pt x="3719387" y="1298671"/>
                  </a:lnTo>
                  <a:lnTo>
                    <a:pt x="3989799" y="1027560"/>
                  </a:lnTo>
                  <a:lnTo>
                    <a:pt x="3718688" y="757148"/>
                  </a:lnTo>
                  <a:close/>
                  <a:moveTo>
                    <a:pt x="4003075" y="756449"/>
                  </a:moveTo>
                  <a:lnTo>
                    <a:pt x="4274187" y="1026861"/>
                  </a:lnTo>
                  <a:lnTo>
                    <a:pt x="4003774" y="1297972"/>
                  </a:lnTo>
                  <a:lnTo>
                    <a:pt x="4202216" y="1297972"/>
                  </a:lnTo>
                  <a:lnTo>
                    <a:pt x="4267200" y="1297972"/>
                  </a:lnTo>
                  <a:lnTo>
                    <a:pt x="4538310" y="1026861"/>
                  </a:lnTo>
                  <a:lnTo>
                    <a:pt x="4404151" y="893403"/>
                  </a:lnTo>
                  <a:lnTo>
                    <a:pt x="4267200" y="756449"/>
                  </a:lnTo>
                  <a:close/>
                  <a:moveTo>
                    <a:pt x="4550188" y="755751"/>
                  </a:moveTo>
                  <a:lnTo>
                    <a:pt x="4817225" y="1022099"/>
                  </a:lnTo>
                  <a:lnTo>
                    <a:pt x="5080048" y="1022099"/>
                  </a:lnTo>
                  <a:lnTo>
                    <a:pt x="4813011" y="755751"/>
                  </a:lnTo>
                  <a:close/>
                  <a:moveTo>
                    <a:pt x="4823396" y="755182"/>
                  </a:moveTo>
                  <a:lnTo>
                    <a:pt x="4823396" y="755666"/>
                  </a:lnTo>
                  <a:lnTo>
                    <a:pt x="5094022" y="1025594"/>
                  </a:lnTo>
                  <a:lnTo>
                    <a:pt x="4824309" y="1296705"/>
                  </a:lnTo>
                  <a:lnTo>
                    <a:pt x="5087733" y="1296705"/>
                  </a:lnTo>
                  <a:lnTo>
                    <a:pt x="5358145" y="1025594"/>
                  </a:lnTo>
                  <a:lnTo>
                    <a:pt x="5223987" y="892134"/>
                  </a:lnTo>
                  <a:lnTo>
                    <a:pt x="5087035" y="755182"/>
                  </a:lnTo>
                  <a:close/>
                  <a:moveTo>
                    <a:pt x="6469141" y="754483"/>
                  </a:moveTo>
                  <a:lnTo>
                    <a:pt x="6597709" y="883051"/>
                  </a:lnTo>
                  <a:lnTo>
                    <a:pt x="6739554" y="1024895"/>
                  </a:lnTo>
                  <a:lnTo>
                    <a:pt x="6469141" y="1296006"/>
                  </a:lnTo>
                  <a:lnTo>
                    <a:pt x="6733264" y="1296006"/>
                  </a:lnTo>
                  <a:lnTo>
                    <a:pt x="7003677" y="1024895"/>
                  </a:lnTo>
                  <a:lnTo>
                    <a:pt x="6998784" y="1020004"/>
                  </a:lnTo>
                  <a:lnTo>
                    <a:pt x="6733264" y="754483"/>
                  </a:lnTo>
                  <a:close/>
                  <a:moveTo>
                    <a:pt x="7017651" y="753784"/>
                  </a:moveTo>
                  <a:lnTo>
                    <a:pt x="7288761" y="1023497"/>
                  </a:lnTo>
                  <a:lnTo>
                    <a:pt x="7285967" y="1026293"/>
                  </a:lnTo>
                  <a:lnTo>
                    <a:pt x="7195829" y="1117128"/>
                  </a:lnTo>
                  <a:lnTo>
                    <a:pt x="7018349" y="1294608"/>
                  </a:lnTo>
                  <a:lnTo>
                    <a:pt x="7282473" y="1294608"/>
                  </a:lnTo>
                  <a:lnTo>
                    <a:pt x="7371911" y="1205169"/>
                  </a:lnTo>
                  <a:lnTo>
                    <a:pt x="7552885" y="1024196"/>
                  </a:lnTo>
                  <a:lnTo>
                    <a:pt x="7281774" y="753784"/>
                  </a:lnTo>
                  <a:close/>
                  <a:moveTo>
                    <a:pt x="5919233" y="753784"/>
                  </a:moveTo>
                  <a:lnTo>
                    <a:pt x="6190345" y="1023497"/>
                  </a:lnTo>
                  <a:lnTo>
                    <a:pt x="6187548" y="1026293"/>
                  </a:lnTo>
                  <a:lnTo>
                    <a:pt x="6097412" y="1117128"/>
                  </a:lnTo>
                  <a:lnTo>
                    <a:pt x="5919933" y="1294608"/>
                  </a:lnTo>
                  <a:lnTo>
                    <a:pt x="6184056" y="1294608"/>
                  </a:lnTo>
                  <a:lnTo>
                    <a:pt x="6273494" y="1205169"/>
                  </a:lnTo>
                  <a:lnTo>
                    <a:pt x="6454468" y="1024196"/>
                  </a:lnTo>
                  <a:lnTo>
                    <a:pt x="6183356" y="753784"/>
                  </a:lnTo>
                  <a:close/>
                  <a:moveTo>
                    <a:pt x="5370723" y="753784"/>
                  </a:moveTo>
                  <a:lnTo>
                    <a:pt x="5372120" y="755182"/>
                  </a:lnTo>
                  <a:lnTo>
                    <a:pt x="5641833" y="1024196"/>
                  </a:lnTo>
                  <a:lnTo>
                    <a:pt x="5371422" y="1295307"/>
                  </a:lnTo>
                  <a:lnTo>
                    <a:pt x="5635545" y="1295307"/>
                  </a:lnTo>
                  <a:lnTo>
                    <a:pt x="5905958" y="1024196"/>
                  </a:lnTo>
                  <a:lnTo>
                    <a:pt x="5900367" y="1019305"/>
                  </a:lnTo>
                  <a:lnTo>
                    <a:pt x="5634846" y="753784"/>
                  </a:lnTo>
                  <a:close/>
                  <a:moveTo>
                    <a:pt x="7566161" y="753085"/>
                  </a:moveTo>
                  <a:lnTo>
                    <a:pt x="7696826" y="882352"/>
                  </a:lnTo>
                  <a:lnTo>
                    <a:pt x="7837272" y="1022798"/>
                  </a:lnTo>
                  <a:lnTo>
                    <a:pt x="7566860" y="1293909"/>
                  </a:lnTo>
                  <a:lnTo>
                    <a:pt x="7830983" y="1293909"/>
                  </a:lnTo>
                  <a:lnTo>
                    <a:pt x="8101395" y="1023497"/>
                  </a:lnTo>
                  <a:lnTo>
                    <a:pt x="7830284" y="753085"/>
                  </a:lnTo>
                  <a:close/>
                  <a:moveTo>
                    <a:pt x="8114671" y="752386"/>
                  </a:moveTo>
                  <a:lnTo>
                    <a:pt x="8385782" y="1022798"/>
                  </a:lnTo>
                  <a:lnTo>
                    <a:pt x="8115370" y="1293909"/>
                  </a:lnTo>
                  <a:lnTo>
                    <a:pt x="8379493" y="1293909"/>
                  </a:lnTo>
                  <a:lnTo>
                    <a:pt x="8649905" y="1022798"/>
                  </a:lnTo>
                  <a:lnTo>
                    <a:pt x="8378794" y="752386"/>
                  </a:lnTo>
                  <a:close/>
                  <a:moveTo>
                    <a:pt x="9483502" y="752007"/>
                  </a:moveTo>
                  <a:lnTo>
                    <a:pt x="9483502" y="752181"/>
                  </a:lnTo>
                  <a:lnTo>
                    <a:pt x="9754439" y="1022419"/>
                  </a:lnTo>
                  <a:lnTo>
                    <a:pt x="9484726" y="1293530"/>
                  </a:lnTo>
                  <a:lnTo>
                    <a:pt x="9748150" y="1293530"/>
                  </a:lnTo>
                  <a:lnTo>
                    <a:pt x="10018562" y="1022419"/>
                  </a:lnTo>
                  <a:lnTo>
                    <a:pt x="9884404" y="888959"/>
                  </a:lnTo>
                  <a:lnTo>
                    <a:pt x="9747451" y="752007"/>
                  </a:lnTo>
                  <a:close/>
                  <a:moveTo>
                    <a:pt x="8663181" y="751687"/>
                  </a:moveTo>
                  <a:lnTo>
                    <a:pt x="8934292" y="1022099"/>
                  </a:lnTo>
                  <a:lnTo>
                    <a:pt x="8663880" y="1293210"/>
                  </a:lnTo>
                  <a:lnTo>
                    <a:pt x="8862322" y="1293210"/>
                  </a:lnTo>
                  <a:lnTo>
                    <a:pt x="8927305" y="1293210"/>
                  </a:lnTo>
                  <a:lnTo>
                    <a:pt x="9198416" y="1022099"/>
                  </a:lnTo>
                  <a:lnTo>
                    <a:pt x="9064257" y="888641"/>
                  </a:lnTo>
                  <a:lnTo>
                    <a:pt x="8927305" y="751687"/>
                  </a:lnTo>
                  <a:close/>
                  <a:moveTo>
                    <a:pt x="11129558" y="751308"/>
                  </a:moveTo>
                  <a:lnTo>
                    <a:pt x="11258126" y="879876"/>
                  </a:lnTo>
                  <a:lnTo>
                    <a:pt x="11399970" y="1021720"/>
                  </a:lnTo>
                  <a:lnTo>
                    <a:pt x="11129558" y="1292831"/>
                  </a:lnTo>
                  <a:lnTo>
                    <a:pt x="11393681" y="1292831"/>
                  </a:lnTo>
                  <a:lnTo>
                    <a:pt x="11664093" y="1021720"/>
                  </a:lnTo>
                  <a:lnTo>
                    <a:pt x="11659201" y="1016829"/>
                  </a:lnTo>
                  <a:lnTo>
                    <a:pt x="11393681" y="751308"/>
                  </a:lnTo>
                  <a:close/>
                  <a:moveTo>
                    <a:pt x="9210294" y="750989"/>
                  </a:moveTo>
                  <a:lnTo>
                    <a:pt x="9478921" y="1018924"/>
                  </a:lnTo>
                  <a:lnTo>
                    <a:pt x="9740464" y="1018924"/>
                  </a:lnTo>
                  <a:lnTo>
                    <a:pt x="9471836" y="750989"/>
                  </a:lnTo>
                  <a:close/>
                  <a:moveTo>
                    <a:pt x="10579650" y="750609"/>
                  </a:moveTo>
                  <a:lnTo>
                    <a:pt x="10850761" y="1020322"/>
                  </a:lnTo>
                  <a:lnTo>
                    <a:pt x="10847965" y="1023118"/>
                  </a:lnTo>
                  <a:lnTo>
                    <a:pt x="10757829" y="1113953"/>
                  </a:lnTo>
                  <a:lnTo>
                    <a:pt x="10580349" y="1291433"/>
                  </a:lnTo>
                  <a:lnTo>
                    <a:pt x="10844472" y="1291433"/>
                  </a:lnTo>
                  <a:lnTo>
                    <a:pt x="10933911" y="1201994"/>
                  </a:lnTo>
                  <a:lnTo>
                    <a:pt x="11114884" y="1021021"/>
                  </a:lnTo>
                  <a:lnTo>
                    <a:pt x="10843773" y="750609"/>
                  </a:lnTo>
                  <a:close/>
                  <a:moveTo>
                    <a:pt x="10031140" y="750609"/>
                  </a:moveTo>
                  <a:lnTo>
                    <a:pt x="10032537" y="752007"/>
                  </a:lnTo>
                  <a:lnTo>
                    <a:pt x="10302250" y="1021021"/>
                  </a:lnTo>
                  <a:lnTo>
                    <a:pt x="10031839" y="1292132"/>
                  </a:lnTo>
                  <a:lnTo>
                    <a:pt x="10295962" y="1292132"/>
                  </a:lnTo>
                  <a:lnTo>
                    <a:pt x="10566374" y="1021021"/>
                  </a:lnTo>
                  <a:lnTo>
                    <a:pt x="10560784" y="1016130"/>
                  </a:lnTo>
                  <a:lnTo>
                    <a:pt x="10295263" y="750609"/>
                  </a:lnTo>
                  <a:close/>
                  <a:moveTo>
                    <a:pt x="702930" y="484641"/>
                  </a:moveTo>
                  <a:lnTo>
                    <a:pt x="522656" y="665614"/>
                  </a:lnTo>
                  <a:lnTo>
                    <a:pt x="433217" y="755751"/>
                  </a:lnTo>
                  <a:lnTo>
                    <a:pt x="567375" y="889210"/>
                  </a:lnTo>
                  <a:lnTo>
                    <a:pt x="704328" y="1026164"/>
                  </a:lnTo>
                  <a:lnTo>
                    <a:pt x="968451" y="1026164"/>
                  </a:lnTo>
                  <a:lnTo>
                    <a:pt x="697340" y="755751"/>
                  </a:lnTo>
                  <a:lnTo>
                    <a:pt x="698738" y="754354"/>
                  </a:lnTo>
                  <a:lnTo>
                    <a:pt x="967054" y="484641"/>
                  </a:lnTo>
                  <a:close/>
                  <a:moveTo>
                    <a:pt x="1252140" y="483942"/>
                  </a:moveTo>
                  <a:lnTo>
                    <a:pt x="981727" y="755053"/>
                  </a:lnTo>
                  <a:lnTo>
                    <a:pt x="1252838" y="1025465"/>
                  </a:lnTo>
                  <a:lnTo>
                    <a:pt x="1516962" y="1025465"/>
                  </a:lnTo>
                  <a:lnTo>
                    <a:pt x="1245851" y="755053"/>
                  </a:lnTo>
                  <a:lnTo>
                    <a:pt x="1516263" y="483942"/>
                  </a:lnTo>
                  <a:close/>
                  <a:moveTo>
                    <a:pt x="2899067" y="483243"/>
                  </a:moveTo>
                  <a:lnTo>
                    <a:pt x="2628655" y="754354"/>
                  </a:lnTo>
                  <a:lnTo>
                    <a:pt x="2899766" y="1024766"/>
                  </a:lnTo>
                  <a:lnTo>
                    <a:pt x="3163191" y="1024766"/>
                  </a:lnTo>
                  <a:lnTo>
                    <a:pt x="3032527" y="894800"/>
                  </a:lnTo>
                  <a:lnTo>
                    <a:pt x="2892081" y="754354"/>
                  </a:lnTo>
                  <a:lnTo>
                    <a:pt x="3163191" y="483243"/>
                  </a:lnTo>
                  <a:close/>
                  <a:moveTo>
                    <a:pt x="1799951" y="483243"/>
                  </a:moveTo>
                  <a:lnTo>
                    <a:pt x="1529539" y="754354"/>
                  </a:lnTo>
                  <a:lnTo>
                    <a:pt x="1800650" y="1024766"/>
                  </a:lnTo>
                  <a:lnTo>
                    <a:pt x="1802048" y="1026164"/>
                  </a:lnTo>
                  <a:lnTo>
                    <a:pt x="2066171" y="1026164"/>
                  </a:lnTo>
                  <a:lnTo>
                    <a:pt x="1934808" y="894800"/>
                  </a:lnTo>
                  <a:lnTo>
                    <a:pt x="1797155" y="757148"/>
                  </a:lnTo>
                  <a:lnTo>
                    <a:pt x="2066171" y="483243"/>
                  </a:lnTo>
                  <a:close/>
                  <a:moveTo>
                    <a:pt x="3446879" y="482544"/>
                  </a:moveTo>
                  <a:lnTo>
                    <a:pt x="3176467" y="753655"/>
                  </a:lnTo>
                  <a:lnTo>
                    <a:pt x="3447578" y="1024067"/>
                  </a:lnTo>
                  <a:lnTo>
                    <a:pt x="3711701" y="1024067"/>
                  </a:lnTo>
                  <a:lnTo>
                    <a:pt x="3440590" y="753655"/>
                  </a:lnTo>
                  <a:lnTo>
                    <a:pt x="3625057" y="569188"/>
                  </a:lnTo>
                  <a:lnTo>
                    <a:pt x="3709605" y="482544"/>
                  </a:lnTo>
                  <a:close/>
                  <a:moveTo>
                    <a:pt x="3995389" y="481845"/>
                  </a:moveTo>
                  <a:lnTo>
                    <a:pt x="3724977" y="752956"/>
                  </a:lnTo>
                  <a:lnTo>
                    <a:pt x="3996088" y="1023368"/>
                  </a:lnTo>
                  <a:lnTo>
                    <a:pt x="4260212" y="1023368"/>
                  </a:lnTo>
                  <a:lnTo>
                    <a:pt x="3989100" y="752956"/>
                  </a:lnTo>
                  <a:lnTo>
                    <a:pt x="3990498" y="751558"/>
                  </a:lnTo>
                  <a:lnTo>
                    <a:pt x="3989799" y="751558"/>
                  </a:lnTo>
                  <a:lnTo>
                    <a:pt x="4258116" y="482544"/>
                  </a:lnTo>
                  <a:lnTo>
                    <a:pt x="3999582" y="482544"/>
                  </a:lnTo>
                  <a:lnTo>
                    <a:pt x="4000979" y="481845"/>
                  </a:lnTo>
                  <a:close/>
                  <a:moveTo>
                    <a:pt x="4818383" y="481275"/>
                  </a:moveTo>
                  <a:lnTo>
                    <a:pt x="4550887" y="749462"/>
                  </a:lnTo>
                  <a:lnTo>
                    <a:pt x="4811162" y="749462"/>
                  </a:lnTo>
                  <a:lnTo>
                    <a:pt x="4993404" y="567221"/>
                  </a:lnTo>
                  <a:lnTo>
                    <a:pt x="5079348" y="481275"/>
                  </a:lnTo>
                  <a:close/>
                  <a:moveTo>
                    <a:pt x="4543201" y="481146"/>
                  </a:moveTo>
                  <a:lnTo>
                    <a:pt x="4362227" y="662120"/>
                  </a:lnTo>
                  <a:lnTo>
                    <a:pt x="4362927" y="662819"/>
                  </a:lnTo>
                  <a:lnTo>
                    <a:pt x="4273487" y="752956"/>
                  </a:lnTo>
                  <a:lnTo>
                    <a:pt x="4407646" y="886416"/>
                  </a:lnTo>
                  <a:lnTo>
                    <a:pt x="4543899" y="1022669"/>
                  </a:lnTo>
                  <a:lnTo>
                    <a:pt x="4805312" y="1022669"/>
                  </a:lnTo>
                  <a:lnTo>
                    <a:pt x="4660106" y="877461"/>
                  </a:lnTo>
                  <a:lnTo>
                    <a:pt x="4660106" y="875133"/>
                  </a:lnTo>
                  <a:lnTo>
                    <a:pt x="4536912" y="752257"/>
                  </a:lnTo>
                  <a:lnTo>
                    <a:pt x="4660106" y="628745"/>
                  </a:lnTo>
                  <a:lnTo>
                    <a:pt x="4660106" y="625913"/>
                  </a:lnTo>
                  <a:lnTo>
                    <a:pt x="4804193" y="481146"/>
                  </a:lnTo>
                  <a:close/>
                  <a:moveTo>
                    <a:pt x="2616078" y="481146"/>
                  </a:moveTo>
                  <a:lnTo>
                    <a:pt x="2349859" y="483942"/>
                  </a:lnTo>
                  <a:lnTo>
                    <a:pt x="2079447" y="755053"/>
                  </a:lnTo>
                  <a:lnTo>
                    <a:pt x="2350558" y="1025465"/>
                  </a:lnTo>
                  <a:lnTo>
                    <a:pt x="2614681" y="1025465"/>
                  </a:lnTo>
                  <a:lnTo>
                    <a:pt x="2343570" y="755053"/>
                  </a:lnTo>
                  <a:close/>
                  <a:moveTo>
                    <a:pt x="5363036" y="479879"/>
                  </a:moveTo>
                  <a:lnTo>
                    <a:pt x="5182762" y="660852"/>
                  </a:lnTo>
                  <a:lnTo>
                    <a:pt x="5093323" y="750989"/>
                  </a:lnTo>
                  <a:lnTo>
                    <a:pt x="5227481" y="884448"/>
                  </a:lnTo>
                  <a:lnTo>
                    <a:pt x="5364435" y="1021402"/>
                  </a:lnTo>
                  <a:lnTo>
                    <a:pt x="5628558" y="1021402"/>
                  </a:lnTo>
                  <a:lnTo>
                    <a:pt x="5357446" y="750989"/>
                  </a:lnTo>
                  <a:lnTo>
                    <a:pt x="5358844" y="749592"/>
                  </a:lnTo>
                  <a:lnTo>
                    <a:pt x="5627160" y="479879"/>
                  </a:lnTo>
                  <a:close/>
                  <a:moveTo>
                    <a:pt x="5912246" y="479180"/>
                  </a:moveTo>
                  <a:lnTo>
                    <a:pt x="5641833" y="750291"/>
                  </a:lnTo>
                  <a:lnTo>
                    <a:pt x="5912945" y="1020703"/>
                  </a:lnTo>
                  <a:lnTo>
                    <a:pt x="6177068" y="1020703"/>
                  </a:lnTo>
                  <a:lnTo>
                    <a:pt x="5905958" y="750291"/>
                  </a:lnTo>
                  <a:lnTo>
                    <a:pt x="6176369" y="479180"/>
                  </a:lnTo>
                  <a:close/>
                  <a:moveTo>
                    <a:pt x="7559173" y="478481"/>
                  </a:moveTo>
                  <a:lnTo>
                    <a:pt x="7288761" y="749592"/>
                  </a:lnTo>
                  <a:lnTo>
                    <a:pt x="7559872" y="1020004"/>
                  </a:lnTo>
                  <a:lnTo>
                    <a:pt x="7823297" y="1020004"/>
                  </a:lnTo>
                  <a:lnTo>
                    <a:pt x="7692633" y="890038"/>
                  </a:lnTo>
                  <a:lnTo>
                    <a:pt x="7552187" y="749592"/>
                  </a:lnTo>
                  <a:lnTo>
                    <a:pt x="7823297" y="478481"/>
                  </a:lnTo>
                  <a:close/>
                  <a:moveTo>
                    <a:pt x="6460057" y="478481"/>
                  </a:moveTo>
                  <a:lnTo>
                    <a:pt x="6189645" y="749592"/>
                  </a:lnTo>
                  <a:lnTo>
                    <a:pt x="6460756" y="1020004"/>
                  </a:lnTo>
                  <a:lnTo>
                    <a:pt x="6462154" y="1021402"/>
                  </a:lnTo>
                  <a:lnTo>
                    <a:pt x="6726277" y="1021402"/>
                  </a:lnTo>
                  <a:lnTo>
                    <a:pt x="6594914" y="890038"/>
                  </a:lnTo>
                  <a:lnTo>
                    <a:pt x="6457261" y="752386"/>
                  </a:lnTo>
                  <a:lnTo>
                    <a:pt x="6726277" y="478481"/>
                  </a:lnTo>
                  <a:close/>
                  <a:moveTo>
                    <a:pt x="9476907" y="478100"/>
                  </a:moveTo>
                  <a:lnTo>
                    <a:pt x="9210993" y="744700"/>
                  </a:lnTo>
                  <a:lnTo>
                    <a:pt x="9473165" y="744700"/>
                  </a:lnTo>
                  <a:lnTo>
                    <a:pt x="9653821" y="564046"/>
                  </a:lnTo>
                  <a:lnTo>
                    <a:pt x="9739765" y="478100"/>
                  </a:lnTo>
                  <a:close/>
                  <a:moveTo>
                    <a:pt x="8106985" y="477782"/>
                  </a:moveTo>
                  <a:lnTo>
                    <a:pt x="7836573" y="748893"/>
                  </a:lnTo>
                  <a:lnTo>
                    <a:pt x="8107684" y="1019305"/>
                  </a:lnTo>
                  <a:lnTo>
                    <a:pt x="8371807" y="1019305"/>
                  </a:lnTo>
                  <a:lnTo>
                    <a:pt x="8100696" y="748893"/>
                  </a:lnTo>
                  <a:lnTo>
                    <a:pt x="8285163" y="564426"/>
                  </a:lnTo>
                  <a:lnTo>
                    <a:pt x="8369711" y="477782"/>
                  </a:lnTo>
                  <a:close/>
                  <a:moveTo>
                    <a:pt x="8655495" y="477083"/>
                  </a:moveTo>
                  <a:lnTo>
                    <a:pt x="8385083" y="748194"/>
                  </a:lnTo>
                  <a:lnTo>
                    <a:pt x="8656194" y="1018606"/>
                  </a:lnTo>
                  <a:lnTo>
                    <a:pt x="8920317" y="1018606"/>
                  </a:lnTo>
                  <a:lnTo>
                    <a:pt x="8649206" y="748194"/>
                  </a:lnTo>
                  <a:lnTo>
                    <a:pt x="8650604" y="746796"/>
                  </a:lnTo>
                  <a:lnTo>
                    <a:pt x="8649905" y="746796"/>
                  </a:lnTo>
                  <a:lnTo>
                    <a:pt x="8918222" y="477782"/>
                  </a:lnTo>
                  <a:lnTo>
                    <a:pt x="8659688" y="477782"/>
                  </a:lnTo>
                  <a:lnTo>
                    <a:pt x="8661085" y="477083"/>
                  </a:lnTo>
                  <a:close/>
                  <a:moveTo>
                    <a:pt x="10023453" y="476704"/>
                  </a:moveTo>
                  <a:lnTo>
                    <a:pt x="9843179" y="657677"/>
                  </a:lnTo>
                  <a:lnTo>
                    <a:pt x="9753740" y="747814"/>
                  </a:lnTo>
                  <a:lnTo>
                    <a:pt x="9887898" y="881273"/>
                  </a:lnTo>
                  <a:lnTo>
                    <a:pt x="10024851" y="1018227"/>
                  </a:lnTo>
                  <a:lnTo>
                    <a:pt x="10288974" y="1018227"/>
                  </a:lnTo>
                  <a:lnTo>
                    <a:pt x="10017863" y="747814"/>
                  </a:lnTo>
                  <a:lnTo>
                    <a:pt x="10019261" y="746417"/>
                  </a:lnTo>
                  <a:lnTo>
                    <a:pt x="10287577" y="476704"/>
                  </a:lnTo>
                  <a:close/>
                  <a:moveTo>
                    <a:pt x="9203307" y="476384"/>
                  </a:moveTo>
                  <a:lnTo>
                    <a:pt x="9022333" y="657358"/>
                  </a:lnTo>
                  <a:lnTo>
                    <a:pt x="9023032" y="658057"/>
                  </a:lnTo>
                  <a:lnTo>
                    <a:pt x="8933593" y="748194"/>
                  </a:lnTo>
                  <a:lnTo>
                    <a:pt x="9067752" y="881654"/>
                  </a:lnTo>
                  <a:lnTo>
                    <a:pt x="9204005" y="1017907"/>
                  </a:lnTo>
                  <a:lnTo>
                    <a:pt x="9464142" y="1017907"/>
                  </a:lnTo>
                  <a:lnTo>
                    <a:pt x="9320523" y="874286"/>
                  </a:lnTo>
                  <a:lnTo>
                    <a:pt x="9320523" y="870682"/>
                  </a:lnTo>
                  <a:lnTo>
                    <a:pt x="9197018" y="747495"/>
                  </a:lnTo>
                  <a:lnTo>
                    <a:pt x="9320523" y="623671"/>
                  </a:lnTo>
                  <a:lnTo>
                    <a:pt x="9320523" y="622738"/>
                  </a:lnTo>
                  <a:lnTo>
                    <a:pt x="9466190" y="476384"/>
                  </a:lnTo>
                  <a:close/>
                  <a:moveTo>
                    <a:pt x="7276184" y="476384"/>
                  </a:moveTo>
                  <a:lnTo>
                    <a:pt x="7009966" y="479180"/>
                  </a:lnTo>
                  <a:lnTo>
                    <a:pt x="6739554" y="750291"/>
                  </a:lnTo>
                  <a:lnTo>
                    <a:pt x="7010664" y="1020703"/>
                  </a:lnTo>
                  <a:lnTo>
                    <a:pt x="7274787" y="1020703"/>
                  </a:lnTo>
                  <a:lnTo>
                    <a:pt x="7003677" y="750291"/>
                  </a:lnTo>
                  <a:close/>
                  <a:moveTo>
                    <a:pt x="10572663" y="476005"/>
                  </a:moveTo>
                  <a:lnTo>
                    <a:pt x="10302250" y="747116"/>
                  </a:lnTo>
                  <a:lnTo>
                    <a:pt x="10573361" y="1017528"/>
                  </a:lnTo>
                  <a:lnTo>
                    <a:pt x="10837485" y="1017528"/>
                  </a:lnTo>
                  <a:lnTo>
                    <a:pt x="10566374" y="747116"/>
                  </a:lnTo>
                  <a:lnTo>
                    <a:pt x="10836786" y="476005"/>
                  </a:lnTo>
                  <a:close/>
                  <a:moveTo>
                    <a:pt x="11120474" y="475306"/>
                  </a:moveTo>
                  <a:lnTo>
                    <a:pt x="10850062" y="746417"/>
                  </a:lnTo>
                  <a:lnTo>
                    <a:pt x="11121173" y="1016829"/>
                  </a:lnTo>
                  <a:lnTo>
                    <a:pt x="11122571" y="1018227"/>
                  </a:lnTo>
                  <a:lnTo>
                    <a:pt x="11386694" y="1018227"/>
                  </a:lnTo>
                  <a:lnTo>
                    <a:pt x="11255331" y="886863"/>
                  </a:lnTo>
                  <a:lnTo>
                    <a:pt x="11117678" y="749211"/>
                  </a:lnTo>
                  <a:lnTo>
                    <a:pt x="11386694" y="475306"/>
                  </a:lnTo>
                  <a:close/>
                  <a:moveTo>
                    <a:pt x="11936601" y="473209"/>
                  </a:moveTo>
                  <a:lnTo>
                    <a:pt x="11670382" y="476005"/>
                  </a:lnTo>
                  <a:lnTo>
                    <a:pt x="11399970" y="747116"/>
                  </a:lnTo>
                  <a:lnTo>
                    <a:pt x="11671081" y="1017528"/>
                  </a:lnTo>
                  <a:lnTo>
                    <a:pt x="11935204" y="1017528"/>
                  </a:lnTo>
                  <a:lnTo>
                    <a:pt x="11664093" y="747116"/>
                  </a:lnTo>
                  <a:close/>
                  <a:moveTo>
                    <a:pt x="161407" y="211433"/>
                  </a:moveTo>
                  <a:lnTo>
                    <a:pt x="432518" y="481845"/>
                  </a:lnTo>
                  <a:lnTo>
                    <a:pt x="429724" y="484641"/>
                  </a:lnTo>
                  <a:lnTo>
                    <a:pt x="339586" y="575476"/>
                  </a:lnTo>
                  <a:lnTo>
                    <a:pt x="162106" y="752257"/>
                  </a:lnTo>
                  <a:lnTo>
                    <a:pt x="426230" y="752257"/>
                  </a:lnTo>
                  <a:lnTo>
                    <a:pt x="515668" y="662819"/>
                  </a:lnTo>
                  <a:lnTo>
                    <a:pt x="696642" y="481845"/>
                  </a:lnTo>
                  <a:lnTo>
                    <a:pt x="425531" y="211433"/>
                  </a:lnTo>
                  <a:close/>
                  <a:moveTo>
                    <a:pt x="710617" y="210735"/>
                  </a:moveTo>
                  <a:lnTo>
                    <a:pt x="840582" y="340700"/>
                  </a:lnTo>
                  <a:lnTo>
                    <a:pt x="981029" y="480448"/>
                  </a:lnTo>
                  <a:lnTo>
                    <a:pt x="710617" y="751558"/>
                  </a:lnTo>
                  <a:lnTo>
                    <a:pt x="974740" y="751558"/>
                  </a:lnTo>
                  <a:lnTo>
                    <a:pt x="1245851" y="481146"/>
                  </a:lnTo>
                  <a:lnTo>
                    <a:pt x="974740" y="210735"/>
                  </a:lnTo>
                  <a:close/>
                  <a:moveTo>
                    <a:pt x="2906055" y="210036"/>
                  </a:moveTo>
                  <a:lnTo>
                    <a:pt x="3035322" y="337905"/>
                  </a:lnTo>
                  <a:lnTo>
                    <a:pt x="3035322" y="338604"/>
                  </a:lnTo>
                  <a:lnTo>
                    <a:pt x="3177166" y="480448"/>
                  </a:lnTo>
                  <a:lnTo>
                    <a:pt x="2906754" y="751558"/>
                  </a:lnTo>
                  <a:lnTo>
                    <a:pt x="3170178" y="751558"/>
                  </a:lnTo>
                  <a:lnTo>
                    <a:pt x="3440590" y="480448"/>
                  </a:lnTo>
                  <a:lnTo>
                    <a:pt x="3435000" y="474858"/>
                  </a:lnTo>
                  <a:lnTo>
                    <a:pt x="3434301" y="474858"/>
                  </a:lnTo>
                  <a:lnTo>
                    <a:pt x="3168781" y="210036"/>
                  </a:lnTo>
                  <a:close/>
                  <a:moveTo>
                    <a:pt x="1808336" y="210036"/>
                  </a:moveTo>
                  <a:lnTo>
                    <a:pt x="1810426" y="212824"/>
                  </a:lnTo>
                  <a:lnTo>
                    <a:pt x="1809733" y="212132"/>
                  </a:lnTo>
                  <a:lnTo>
                    <a:pt x="1810432" y="212831"/>
                  </a:lnTo>
                  <a:lnTo>
                    <a:pt x="1810426" y="212824"/>
                  </a:lnTo>
                  <a:lnTo>
                    <a:pt x="2068965" y="470666"/>
                  </a:lnTo>
                  <a:lnTo>
                    <a:pt x="2078748" y="479749"/>
                  </a:lnTo>
                  <a:lnTo>
                    <a:pt x="2080844" y="481845"/>
                  </a:lnTo>
                  <a:lnTo>
                    <a:pt x="1816022" y="751558"/>
                  </a:lnTo>
                  <a:lnTo>
                    <a:pt x="2075254" y="752257"/>
                  </a:lnTo>
                  <a:lnTo>
                    <a:pt x="2344968" y="481845"/>
                  </a:lnTo>
                  <a:lnTo>
                    <a:pt x="2209412" y="346988"/>
                  </a:lnTo>
                  <a:lnTo>
                    <a:pt x="2192643" y="330219"/>
                  </a:lnTo>
                  <a:lnTo>
                    <a:pt x="2073158" y="211433"/>
                  </a:lnTo>
                  <a:lnTo>
                    <a:pt x="2068965" y="210036"/>
                  </a:lnTo>
                  <a:close/>
                  <a:moveTo>
                    <a:pt x="1258428" y="210036"/>
                  </a:moveTo>
                  <a:lnTo>
                    <a:pt x="1529539" y="480448"/>
                  </a:lnTo>
                  <a:lnTo>
                    <a:pt x="1259127" y="751558"/>
                  </a:lnTo>
                  <a:lnTo>
                    <a:pt x="1523250" y="751558"/>
                  </a:lnTo>
                  <a:lnTo>
                    <a:pt x="1793662" y="480448"/>
                  </a:lnTo>
                  <a:lnTo>
                    <a:pt x="1522551" y="210036"/>
                  </a:lnTo>
                  <a:close/>
                  <a:moveTo>
                    <a:pt x="2621668" y="208638"/>
                  </a:moveTo>
                  <a:lnTo>
                    <a:pt x="2358243" y="209337"/>
                  </a:lnTo>
                  <a:lnTo>
                    <a:pt x="2627259" y="477653"/>
                  </a:lnTo>
                  <a:lnTo>
                    <a:pt x="2626560" y="478352"/>
                  </a:lnTo>
                  <a:lnTo>
                    <a:pt x="2627957" y="479749"/>
                  </a:lnTo>
                  <a:lnTo>
                    <a:pt x="2357544" y="750860"/>
                  </a:lnTo>
                  <a:lnTo>
                    <a:pt x="2621668" y="750860"/>
                  </a:lnTo>
                  <a:lnTo>
                    <a:pt x="2711805" y="660723"/>
                  </a:lnTo>
                  <a:lnTo>
                    <a:pt x="2891382" y="477653"/>
                  </a:lnTo>
                  <a:close/>
                  <a:moveTo>
                    <a:pt x="4550188" y="207940"/>
                  </a:moveTo>
                  <a:lnTo>
                    <a:pt x="4817219" y="474283"/>
                  </a:lnTo>
                  <a:lnTo>
                    <a:pt x="5079348" y="473590"/>
                  </a:lnTo>
                  <a:lnTo>
                    <a:pt x="4813011" y="207940"/>
                  </a:lnTo>
                  <a:close/>
                  <a:moveTo>
                    <a:pt x="4001678" y="207940"/>
                  </a:moveTo>
                  <a:lnTo>
                    <a:pt x="4131644" y="337206"/>
                  </a:lnTo>
                  <a:lnTo>
                    <a:pt x="4272090" y="477653"/>
                  </a:lnTo>
                  <a:lnTo>
                    <a:pt x="4179158" y="571284"/>
                  </a:lnTo>
                  <a:lnTo>
                    <a:pt x="4179856" y="571983"/>
                  </a:lnTo>
                  <a:lnTo>
                    <a:pt x="4003075" y="749462"/>
                  </a:lnTo>
                  <a:lnTo>
                    <a:pt x="4265801" y="749462"/>
                  </a:lnTo>
                  <a:lnTo>
                    <a:pt x="4536213" y="478352"/>
                  </a:lnTo>
                  <a:lnTo>
                    <a:pt x="4265103" y="207940"/>
                  </a:lnTo>
                  <a:close/>
                  <a:moveTo>
                    <a:pt x="3453167" y="207940"/>
                  </a:moveTo>
                  <a:lnTo>
                    <a:pt x="3724278" y="478352"/>
                  </a:lnTo>
                  <a:lnTo>
                    <a:pt x="3724977" y="479050"/>
                  </a:lnTo>
                  <a:lnTo>
                    <a:pt x="3454565" y="750161"/>
                  </a:lnTo>
                  <a:lnTo>
                    <a:pt x="3718688" y="750161"/>
                  </a:lnTo>
                  <a:lnTo>
                    <a:pt x="3808127" y="660024"/>
                  </a:lnTo>
                  <a:lnTo>
                    <a:pt x="3807428" y="660024"/>
                  </a:lnTo>
                  <a:lnTo>
                    <a:pt x="3988403" y="479050"/>
                  </a:lnTo>
                  <a:lnTo>
                    <a:pt x="3983511" y="473460"/>
                  </a:lnTo>
                  <a:lnTo>
                    <a:pt x="3717291" y="207940"/>
                  </a:lnTo>
                  <a:close/>
                  <a:moveTo>
                    <a:pt x="4823396" y="206671"/>
                  </a:moveTo>
                  <a:lnTo>
                    <a:pt x="4823396" y="208549"/>
                  </a:lnTo>
                  <a:lnTo>
                    <a:pt x="5092624" y="477083"/>
                  </a:lnTo>
                  <a:lnTo>
                    <a:pt x="5089830" y="479879"/>
                  </a:lnTo>
                  <a:lnTo>
                    <a:pt x="4999692" y="570714"/>
                  </a:lnTo>
                  <a:lnTo>
                    <a:pt x="4823396" y="746316"/>
                  </a:lnTo>
                  <a:lnTo>
                    <a:pt x="4823396" y="747495"/>
                  </a:lnTo>
                  <a:lnTo>
                    <a:pt x="5086337" y="747495"/>
                  </a:lnTo>
                  <a:lnTo>
                    <a:pt x="5175775" y="658057"/>
                  </a:lnTo>
                  <a:lnTo>
                    <a:pt x="5356748" y="477083"/>
                  </a:lnTo>
                  <a:lnTo>
                    <a:pt x="5085637" y="206671"/>
                  </a:lnTo>
                  <a:close/>
                  <a:moveTo>
                    <a:pt x="5370723" y="205973"/>
                  </a:moveTo>
                  <a:lnTo>
                    <a:pt x="5500688" y="335938"/>
                  </a:lnTo>
                  <a:lnTo>
                    <a:pt x="5641135" y="475686"/>
                  </a:lnTo>
                  <a:lnTo>
                    <a:pt x="5370723" y="746796"/>
                  </a:lnTo>
                  <a:lnTo>
                    <a:pt x="5634846" y="746796"/>
                  </a:lnTo>
                  <a:lnTo>
                    <a:pt x="5905958" y="476384"/>
                  </a:lnTo>
                  <a:lnTo>
                    <a:pt x="5634846" y="205973"/>
                  </a:lnTo>
                  <a:close/>
                  <a:moveTo>
                    <a:pt x="7566161" y="205274"/>
                  </a:moveTo>
                  <a:lnTo>
                    <a:pt x="7695428" y="333143"/>
                  </a:lnTo>
                  <a:lnTo>
                    <a:pt x="7695428" y="333842"/>
                  </a:lnTo>
                  <a:lnTo>
                    <a:pt x="7837272" y="475686"/>
                  </a:lnTo>
                  <a:lnTo>
                    <a:pt x="7566860" y="746796"/>
                  </a:lnTo>
                  <a:lnTo>
                    <a:pt x="7830284" y="746796"/>
                  </a:lnTo>
                  <a:lnTo>
                    <a:pt x="8100696" y="475686"/>
                  </a:lnTo>
                  <a:lnTo>
                    <a:pt x="8095106" y="470096"/>
                  </a:lnTo>
                  <a:lnTo>
                    <a:pt x="8094407" y="470096"/>
                  </a:lnTo>
                  <a:lnTo>
                    <a:pt x="7828887" y="205274"/>
                  </a:lnTo>
                  <a:close/>
                  <a:moveTo>
                    <a:pt x="6468443" y="205274"/>
                  </a:moveTo>
                  <a:lnTo>
                    <a:pt x="6470532" y="208062"/>
                  </a:lnTo>
                  <a:lnTo>
                    <a:pt x="6469839" y="207370"/>
                  </a:lnTo>
                  <a:lnTo>
                    <a:pt x="6470538" y="208069"/>
                  </a:lnTo>
                  <a:lnTo>
                    <a:pt x="6470532" y="208062"/>
                  </a:lnTo>
                  <a:lnTo>
                    <a:pt x="6729071" y="465904"/>
                  </a:lnTo>
                  <a:lnTo>
                    <a:pt x="6738854" y="474987"/>
                  </a:lnTo>
                  <a:lnTo>
                    <a:pt x="6740950" y="477083"/>
                  </a:lnTo>
                  <a:lnTo>
                    <a:pt x="6476128" y="746796"/>
                  </a:lnTo>
                  <a:lnTo>
                    <a:pt x="6735361" y="747495"/>
                  </a:lnTo>
                  <a:lnTo>
                    <a:pt x="7005075" y="477083"/>
                  </a:lnTo>
                  <a:lnTo>
                    <a:pt x="6869518" y="342226"/>
                  </a:lnTo>
                  <a:lnTo>
                    <a:pt x="6852749" y="325457"/>
                  </a:lnTo>
                  <a:lnTo>
                    <a:pt x="6733264" y="206671"/>
                  </a:lnTo>
                  <a:lnTo>
                    <a:pt x="6729071" y="205274"/>
                  </a:lnTo>
                  <a:close/>
                  <a:moveTo>
                    <a:pt x="5918534" y="205274"/>
                  </a:moveTo>
                  <a:lnTo>
                    <a:pt x="6189645" y="475686"/>
                  </a:lnTo>
                  <a:lnTo>
                    <a:pt x="5919233" y="746796"/>
                  </a:lnTo>
                  <a:lnTo>
                    <a:pt x="6183356" y="746796"/>
                  </a:lnTo>
                  <a:lnTo>
                    <a:pt x="6453768" y="475686"/>
                  </a:lnTo>
                  <a:lnTo>
                    <a:pt x="6182657" y="205274"/>
                  </a:lnTo>
                  <a:close/>
                  <a:moveTo>
                    <a:pt x="7281774" y="203876"/>
                  </a:moveTo>
                  <a:lnTo>
                    <a:pt x="7018349" y="204575"/>
                  </a:lnTo>
                  <a:lnTo>
                    <a:pt x="7287365" y="472891"/>
                  </a:lnTo>
                  <a:lnTo>
                    <a:pt x="7286666" y="473590"/>
                  </a:lnTo>
                  <a:lnTo>
                    <a:pt x="7288063" y="474987"/>
                  </a:lnTo>
                  <a:lnTo>
                    <a:pt x="7017651" y="746098"/>
                  </a:lnTo>
                  <a:lnTo>
                    <a:pt x="7281774" y="746098"/>
                  </a:lnTo>
                  <a:lnTo>
                    <a:pt x="7371911" y="655961"/>
                  </a:lnTo>
                  <a:lnTo>
                    <a:pt x="7551488" y="472891"/>
                  </a:lnTo>
                  <a:close/>
                  <a:moveTo>
                    <a:pt x="9483502" y="203496"/>
                  </a:moveTo>
                  <a:lnTo>
                    <a:pt x="9483502" y="205064"/>
                  </a:lnTo>
                  <a:lnTo>
                    <a:pt x="9753041" y="473908"/>
                  </a:lnTo>
                  <a:lnTo>
                    <a:pt x="9750247" y="476704"/>
                  </a:lnTo>
                  <a:lnTo>
                    <a:pt x="9660109" y="567539"/>
                  </a:lnTo>
                  <a:lnTo>
                    <a:pt x="9483502" y="743451"/>
                  </a:lnTo>
                  <a:lnTo>
                    <a:pt x="9483502" y="744320"/>
                  </a:lnTo>
                  <a:lnTo>
                    <a:pt x="9746753" y="744320"/>
                  </a:lnTo>
                  <a:lnTo>
                    <a:pt x="9836191" y="654882"/>
                  </a:lnTo>
                  <a:lnTo>
                    <a:pt x="10017165" y="473908"/>
                  </a:lnTo>
                  <a:lnTo>
                    <a:pt x="9746054" y="203496"/>
                  </a:lnTo>
                  <a:close/>
                  <a:moveTo>
                    <a:pt x="9210294" y="203178"/>
                  </a:moveTo>
                  <a:lnTo>
                    <a:pt x="9478913" y="471105"/>
                  </a:lnTo>
                  <a:lnTo>
                    <a:pt x="9739765" y="470415"/>
                  </a:lnTo>
                  <a:lnTo>
                    <a:pt x="9471837" y="203178"/>
                  </a:lnTo>
                  <a:close/>
                  <a:moveTo>
                    <a:pt x="8661784" y="203178"/>
                  </a:moveTo>
                  <a:lnTo>
                    <a:pt x="8791750" y="332444"/>
                  </a:lnTo>
                  <a:lnTo>
                    <a:pt x="8932196" y="472891"/>
                  </a:lnTo>
                  <a:lnTo>
                    <a:pt x="8839264" y="566522"/>
                  </a:lnTo>
                  <a:lnTo>
                    <a:pt x="8839962" y="567221"/>
                  </a:lnTo>
                  <a:lnTo>
                    <a:pt x="8663181" y="744700"/>
                  </a:lnTo>
                  <a:lnTo>
                    <a:pt x="8925907" y="744700"/>
                  </a:lnTo>
                  <a:lnTo>
                    <a:pt x="9196319" y="473590"/>
                  </a:lnTo>
                  <a:lnTo>
                    <a:pt x="8925208" y="203178"/>
                  </a:lnTo>
                  <a:close/>
                  <a:moveTo>
                    <a:pt x="8113273" y="203178"/>
                  </a:moveTo>
                  <a:lnTo>
                    <a:pt x="8384384" y="473590"/>
                  </a:lnTo>
                  <a:lnTo>
                    <a:pt x="8385083" y="474288"/>
                  </a:lnTo>
                  <a:lnTo>
                    <a:pt x="8114671" y="745399"/>
                  </a:lnTo>
                  <a:lnTo>
                    <a:pt x="8378794" y="745399"/>
                  </a:lnTo>
                  <a:lnTo>
                    <a:pt x="8468233" y="655262"/>
                  </a:lnTo>
                  <a:lnTo>
                    <a:pt x="8467534" y="655262"/>
                  </a:lnTo>
                  <a:lnTo>
                    <a:pt x="8648509" y="474288"/>
                  </a:lnTo>
                  <a:lnTo>
                    <a:pt x="8643617" y="468698"/>
                  </a:lnTo>
                  <a:lnTo>
                    <a:pt x="8377397" y="203178"/>
                  </a:lnTo>
                  <a:close/>
                  <a:moveTo>
                    <a:pt x="10031140" y="202798"/>
                  </a:moveTo>
                  <a:lnTo>
                    <a:pt x="10161105" y="332763"/>
                  </a:lnTo>
                  <a:lnTo>
                    <a:pt x="10301552" y="472511"/>
                  </a:lnTo>
                  <a:lnTo>
                    <a:pt x="10031140" y="743621"/>
                  </a:lnTo>
                  <a:lnTo>
                    <a:pt x="10295263" y="743621"/>
                  </a:lnTo>
                  <a:lnTo>
                    <a:pt x="10566374" y="473209"/>
                  </a:lnTo>
                  <a:lnTo>
                    <a:pt x="10295263" y="202798"/>
                  </a:lnTo>
                  <a:close/>
                  <a:moveTo>
                    <a:pt x="11128859" y="202099"/>
                  </a:moveTo>
                  <a:lnTo>
                    <a:pt x="11130949" y="204887"/>
                  </a:lnTo>
                  <a:lnTo>
                    <a:pt x="11130256" y="204195"/>
                  </a:lnTo>
                  <a:lnTo>
                    <a:pt x="11130955" y="204894"/>
                  </a:lnTo>
                  <a:lnTo>
                    <a:pt x="11130949" y="204887"/>
                  </a:lnTo>
                  <a:lnTo>
                    <a:pt x="11389488" y="462729"/>
                  </a:lnTo>
                  <a:lnTo>
                    <a:pt x="11399271" y="471812"/>
                  </a:lnTo>
                  <a:lnTo>
                    <a:pt x="11401367" y="473908"/>
                  </a:lnTo>
                  <a:lnTo>
                    <a:pt x="11136545" y="743621"/>
                  </a:lnTo>
                  <a:lnTo>
                    <a:pt x="11395777" y="744320"/>
                  </a:lnTo>
                  <a:lnTo>
                    <a:pt x="11665491" y="473908"/>
                  </a:lnTo>
                  <a:lnTo>
                    <a:pt x="11529935" y="339051"/>
                  </a:lnTo>
                  <a:lnTo>
                    <a:pt x="11513166" y="322282"/>
                  </a:lnTo>
                  <a:lnTo>
                    <a:pt x="11393681" y="203496"/>
                  </a:lnTo>
                  <a:lnTo>
                    <a:pt x="11389488" y="202099"/>
                  </a:lnTo>
                  <a:close/>
                  <a:moveTo>
                    <a:pt x="10578951" y="202099"/>
                  </a:moveTo>
                  <a:lnTo>
                    <a:pt x="10850062" y="472511"/>
                  </a:lnTo>
                  <a:lnTo>
                    <a:pt x="10579650" y="743621"/>
                  </a:lnTo>
                  <a:lnTo>
                    <a:pt x="10843773" y="743621"/>
                  </a:lnTo>
                  <a:lnTo>
                    <a:pt x="11114185" y="472511"/>
                  </a:lnTo>
                  <a:lnTo>
                    <a:pt x="10843074" y="202099"/>
                  </a:lnTo>
                  <a:close/>
                  <a:moveTo>
                    <a:pt x="73183" y="7937"/>
                  </a:moveTo>
                  <a:lnTo>
                    <a:pt x="84011" y="7937"/>
                  </a:lnTo>
                  <a:lnTo>
                    <a:pt x="0" y="91948"/>
                  </a:lnTo>
                  <a:lnTo>
                    <a:pt x="0" y="81467"/>
                  </a:lnTo>
                  <a:close/>
                  <a:moveTo>
                    <a:pt x="9393706" y="0"/>
                  </a:moveTo>
                  <a:lnTo>
                    <a:pt x="9404534" y="0"/>
                  </a:lnTo>
                  <a:lnTo>
                    <a:pt x="9401359" y="3175"/>
                  </a:lnTo>
                  <a:lnTo>
                    <a:pt x="9401912" y="3175"/>
                  </a:lnTo>
                  <a:lnTo>
                    <a:pt x="9209595" y="195492"/>
                  </a:lnTo>
                  <a:lnTo>
                    <a:pt x="9473165" y="195492"/>
                  </a:lnTo>
                  <a:lnTo>
                    <a:pt x="9668657" y="0"/>
                  </a:lnTo>
                  <a:lnTo>
                    <a:pt x="9679138" y="0"/>
                  </a:lnTo>
                  <a:lnTo>
                    <a:pt x="9483502" y="195636"/>
                  </a:lnTo>
                  <a:lnTo>
                    <a:pt x="9483502" y="196191"/>
                  </a:lnTo>
                  <a:lnTo>
                    <a:pt x="9483184" y="196509"/>
                  </a:lnTo>
                  <a:lnTo>
                    <a:pt x="9746753" y="196509"/>
                  </a:lnTo>
                  <a:lnTo>
                    <a:pt x="9942755" y="0"/>
                  </a:lnTo>
                  <a:lnTo>
                    <a:pt x="9952529" y="0"/>
                  </a:lnTo>
                  <a:lnTo>
                    <a:pt x="9753041" y="200003"/>
                  </a:lnTo>
                  <a:lnTo>
                    <a:pt x="10024851" y="470415"/>
                  </a:lnTo>
                  <a:lnTo>
                    <a:pt x="10288275" y="470415"/>
                  </a:lnTo>
                  <a:lnTo>
                    <a:pt x="10157612" y="340449"/>
                  </a:lnTo>
                  <a:lnTo>
                    <a:pt x="10017165" y="200003"/>
                  </a:lnTo>
                  <a:lnTo>
                    <a:pt x="10216652" y="0"/>
                  </a:lnTo>
                  <a:lnTo>
                    <a:pt x="10227841" y="0"/>
                  </a:lnTo>
                  <a:lnTo>
                    <a:pt x="10031839" y="196509"/>
                  </a:lnTo>
                  <a:lnTo>
                    <a:pt x="10295263" y="196509"/>
                  </a:lnTo>
                  <a:lnTo>
                    <a:pt x="10491265" y="0"/>
                  </a:lnTo>
                  <a:lnTo>
                    <a:pt x="10500342" y="0"/>
                  </a:lnTo>
                  <a:lnTo>
                    <a:pt x="10301552" y="199304"/>
                  </a:lnTo>
                  <a:lnTo>
                    <a:pt x="10572663" y="469716"/>
                  </a:lnTo>
                  <a:lnTo>
                    <a:pt x="10836786" y="469716"/>
                  </a:lnTo>
                  <a:lnTo>
                    <a:pt x="10565675" y="199304"/>
                  </a:lnTo>
                  <a:lnTo>
                    <a:pt x="10764465" y="0"/>
                  </a:lnTo>
                  <a:lnTo>
                    <a:pt x="10773933" y="0"/>
                  </a:lnTo>
                  <a:lnTo>
                    <a:pt x="10757130" y="16933"/>
                  </a:lnTo>
                  <a:lnTo>
                    <a:pt x="10756431" y="16933"/>
                  </a:lnTo>
                  <a:lnTo>
                    <a:pt x="10578951" y="195111"/>
                  </a:lnTo>
                  <a:lnTo>
                    <a:pt x="10843074" y="195111"/>
                  </a:lnTo>
                  <a:lnTo>
                    <a:pt x="11038186" y="0"/>
                  </a:lnTo>
                  <a:lnTo>
                    <a:pt x="11048947" y="0"/>
                  </a:lnTo>
                  <a:lnTo>
                    <a:pt x="10940899" y="108468"/>
                  </a:lnTo>
                  <a:lnTo>
                    <a:pt x="10940200" y="108468"/>
                  </a:lnTo>
                  <a:lnTo>
                    <a:pt x="10850062" y="198605"/>
                  </a:lnTo>
                  <a:lnTo>
                    <a:pt x="11120474" y="469716"/>
                  </a:lnTo>
                  <a:lnTo>
                    <a:pt x="11384597" y="469716"/>
                  </a:lnTo>
                  <a:lnTo>
                    <a:pt x="11113487" y="199304"/>
                  </a:lnTo>
                  <a:lnTo>
                    <a:pt x="11297954" y="14837"/>
                  </a:lnTo>
                  <a:lnTo>
                    <a:pt x="11298653" y="14837"/>
                  </a:lnTo>
                  <a:lnTo>
                    <a:pt x="11313370" y="0"/>
                  </a:lnTo>
                  <a:lnTo>
                    <a:pt x="11322770" y="0"/>
                  </a:lnTo>
                  <a:lnTo>
                    <a:pt x="11128859" y="194412"/>
                  </a:lnTo>
                  <a:lnTo>
                    <a:pt x="11392284" y="194412"/>
                  </a:lnTo>
                  <a:lnTo>
                    <a:pt x="11586696" y="0"/>
                  </a:lnTo>
                  <a:lnTo>
                    <a:pt x="11598062" y="0"/>
                  </a:lnTo>
                  <a:lnTo>
                    <a:pt x="11399271" y="199304"/>
                  </a:lnTo>
                  <a:lnTo>
                    <a:pt x="11668984" y="468319"/>
                  </a:lnTo>
                  <a:lnTo>
                    <a:pt x="11932409" y="468319"/>
                  </a:lnTo>
                  <a:lnTo>
                    <a:pt x="11663395" y="199304"/>
                  </a:lnTo>
                  <a:lnTo>
                    <a:pt x="11664093" y="198605"/>
                  </a:lnTo>
                  <a:lnTo>
                    <a:pt x="11662696" y="197208"/>
                  </a:lnTo>
                  <a:lnTo>
                    <a:pt x="11859391" y="0"/>
                  </a:lnTo>
                  <a:lnTo>
                    <a:pt x="11872675" y="0"/>
                  </a:lnTo>
                  <a:lnTo>
                    <a:pt x="11678766" y="194412"/>
                  </a:lnTo>
                  <a:lnTo>
                    <a:pt x="11940794" y="194412"/>
                  </a:lnTo>
                  <a:lnTo>
                    <a:pt x="12134704" y="0"/>
                  </a:lnTo>
                  <a:lnTo>
                    <a:pt x="12146063" y="0"/>
                  </a:lnTo>
                  <a:lnTo>
                    <a:pt x="11949178" y="197906"/>
                  </a:lnTo>
                  <a:lnTo>
                    <a:pt x="12192001" y="440101"/>
                  </a:lnTo>
                  <a:lnTo>
                    <a:pt x="12192001" y="449864"/>
                  </a:lnTo>
                  <a:lnTo>
                    <a:pt x="11942191" y="200701"/>
                  </a:lnTo>
                  <a:lnTo>
                    <a:pt x="11678766" y="201400"/>
                  </a:lnTo>
                  <a:lnTo>
                    <a:pt x="11947782" y="469716"/>
                  </a:lnTo>
                  <a:lnTo>
                    <a:pt x="11947083" y="470415"/>
                  </a:lnTo>
                  <a:lnTo>
                    <a:pt x="11948480" y="471812"/>
                  </a:lnTo>
                  <a:lnTo>
                    <a:pt x="11678067" y="742923"/>
                  </a:lnTo>
                  <a:lnTo>
                    <a:pt x="11942191" y="742923"/>
                  </a:lnTo>
                  <a:lnTo>
                    <a:pt x="12032328" y="652786"/>
                  </a:lnTo>
                  <a:lnTo>
                    <a:pt x="12192001" y="490007"/>
                  </a:lnTo>
                  <a:lnTo>
                    <a:pt x="12192001" y="502966"/>
                  </a:lnTo>
                  <a:lnTo>
                    <a:pt x="11949178" y="746417"/>
                  </a:lnTo>
                  <a:lnTo>
                    <a:pt x="12192001" y="988614"/>
                  </a:lnTo>
                  <a:lnTo>
                    <a:pt x="12192001" y="999775"/>
                  </a:lnTo>
                  <a:lnTo>
                    <a:pt x="11942191" y="750609"/>
                  </a:lnTo>
                  <a:lnTo>
                    <a:pt x="11678067" y="750609"/>
                  </a:lnTo>
                  <a:lnTo>
                    <a:pt x="11949178" y="1020322"/>
                  </a:lnTo>
                  <a:lnTo>
                    <a:pt x="11946384" y="1023118"/>
                  </a:lnTo>
                  <a:lnTo>
                    <a:pt x="11856246" y="1113953"/>
                  </a:lnTo>
                  <a:lnTo>
                    <a:pt x="11678766" y="1291433"/>
                  </a:lnTo>
                  <a:lnTo>
                    <a:pt x="11942890" y="1291433"/>
                  </a:lnTo>
                  <a:lnTo>
                    <a:pt x="12032328" y="1201994"/>
                  </a:lnTo>
                  <a:lnTo>
                    <a:pt x="12192001" y="1042322"/>
                  </a:lnTo>
                  <a:lnTo>
                    <a:pt x="12192001" y="1052103"/>
                  </a:lnTo>
                  <a:lnTo>
                    <a:pt x="12039316" y="1204790"/>
                  </a:lnTo>
                  <a:lnTo>
                    <a:pt x="11949877" y="1294927"/>
                  </a:lnTo>
                  <a:lnTo>
                    <a:pt x="12084035" y="1428386"/>
                  </a:lnTo>
                  <a:lnTo>
                    <a:pt x="12192001" y="1536351"/>
                  </a:lnTo>
                  <a:lnTo>
                    <a:pt x="12192001" y="1547647"/>
                  </a:lnTo>
                  <a:lnTo>
                    <a:pt x="12079843" y="1436072"/>
                  </a:lnTo>
                  <a:lnTo>
                    <a:pt x="11942890" y="1299119"/>
                  </a:lnTo>
                  <a:lnTo>
                    <a:pt x="11678766" y="1299119"/>
                  </a:lnTo>
                  <a:lnTo>
                    <a:pt x="11949877" y="1569531"/>
                  </a:lnTo>
                  <a:lnTo>
                    <a:pt x="11680164" y="1840642"/>
                  </a:lnTo>
                  <a:lnTo>
                    <a:pt x="11943588" y="1840642"/>
                  </a:lnTo>
                  <a:lnTo>
                    <a:pt x="12192001" y="1591587"/>
                  </a:lnTo>
                  <a:lnTo>
                    <a:pt x="12192001" y="1601385"/>
                  </a:lnTo>
                  <a:lnTo>
                    <a:pt x="11949877" y="1844135"/>
                  </a:lnTo>
                  <a:lnTo>
                    <a:pt x="12192001" y="2085635"/>
                  </a:lnTo>
                  <a:lnTo>
                    <a:pt x="12192001" y="2095403"/>
                  </a:lnTo>
                  <a:lnTo>
                    <a:pt x="11943588" y="1847630"/>
                  </a:lnTo>
                  <a:lnTo>
                    <a:pt x="11680164" y="1847630"/>
                  </a:lnTo>
                  <a:lnTo>
                    <a:pt x="11810129" y="1977595"/>
                  </a:lnTo>
                  <a:lnTo>
                    <a:pt x="11950576" y="2118042"/>
                  </a:lnTo>
                  <a:lnTo>
                    <a:pt x="11680164" y="2389152"/>
                  </a:lnTo>
                  <a:lnTo>
                    <a:pt x="11944287" y="2389152"/>
                  </a:lnTo>
                  <a:lnTo>
                    <a:pt x="12192001" y="2140799"/>
                  </a:lnTo>
                  <a:lnTo>
                    <a:pt x="12192001" y="2150597"/>
                  </a:lnTo>
                  <a:lnTo>
                    <a:pt x="11950576" y="2392646"/>
                  </a:lnTo>
                  <a:lnTo>
                    <a:pt x="12192001" y="2633449"/>
                  </a:lnTo>
                  <a:lnTo>
                    <a:pt x="12192001" y="2643202"/>
                  </a:lnTo>
                  <a:lnTo>
                    <a:pt x="11944287" y="2396139"/>
                  </a:lnTo>
                  <a:lnTo>
                    <a:pt x="11680164" y="2396139"/>
                  </a:lnTo>
                  <a:lnTo>
                    <a:pt x="11681562" y="2397537"/>
                  </a:lnTo>
                  <a:lnTo>
                    <a:pt x="11949877" y="2665853"/>
                  </a:lnTo>
                  <a:lnTo>
                    <a:pt x="11679465" y="2936964"/>
                  </a:lnTo>
                  <a:lnTo>
                    <a:pt x="11943588" y="2936964"/>
                  </a:lnTo>
                  <a:lnTo>
                    <a:pt x="12192001" y="2687909"/>
                  </a:lnTo>
                  <a:lnTo>
                    <a:pt x="12192001" y="2698409"/>
                  </a:lnTo>
                  <a:lnTo>
                    <a:pt x="11950576" y="2940457"/>
                  </a:lnTo>
                  <a:lnTo>
                    <a:pt x="12192001" y="3181261"/>
                  </a:lnTo>
                  <a:lnTo>
                    <a:pt x="12192001" y="3190330"/>
                  </a:lnTo>
                  <a:lnTo>
                    <a:pt x="11944986" y="2943952"/>
                  </a:lnTo>
                  <a:lnTo>
                    <a:pt x="11680863" y="2943952"/>
                  </a:lnTo>
                  <a:lnTo>
                    <a:pt x="11951974" y="3214364"/>
                  </a:lnTo>
                  <a:lnTo>
                    <a:pt x="11681562" y="3485473"/>
                  </a:lnTo>
                  <a:lnTo>
                    <a:pt x="11945685" y="3485473"/>
                  </a:lnTo>
                  <a:lnTo>
                    <a:pt x="12192001" y="3238522"/>
                  </a:lnTo>
                  <a:lnTo>
                    <a:pt x="12192001" y="3249019"/>
                  </a:lnTo>
                  <a:lnTo>
                    <a:pt x="11951275" y="3490365"/>
                  </a:lnTo>
                  <a:lnTo>
                    <a:pt x="12192001" y="3730470"/>
                  </a:lnTo>
                  <a:lnTo>
                    <a:pt x="12192001" y="3738839"/>
                  </a:lnTo>
                  <a:lnTo>
                    <a:pt x="11945685" y="3493160"/>
                  </a:lnTo>
                  <a:lnTo>
                    <a:pt x="11681562" y="3493160"/>
                  </a:lnTo>
                  <a:lnTo>
                    <a:pt x="11951974" y="3762174"/>
                  </a:lnTo>
                  <a:lnTo>
                    <a:pt x="11949178" y="3764969"/>
                  </a:lnTo>
                  <a:lnTo>
                    <a:pt x="11859042" y="3855806"/>
                  </a:lnTo>
                  <a:lnTo>
                    <a:pt x="11682312" y="4032535"/>
                  </a:lnTo>
                  <a:lnTo>
                    <a:pt x="11945176" y="4032535"/>
                  </a:lnTo>
                  <a:lnTo>
                    <a:pt x="12116367" y="3860644"/>
                  </a:lnTo>
                  <a:lnTo>
                    <a:pt x="12118325" y="3860644"/>
                  </a:lnTo>
                  <a:lnTo>
                    <a:pt x="12192001" y="3786969"/>
                  </a:lnTo>
                  <a:lnTo>
                    <a:pt x="12192001" y="3798267"/>
                  </a:lnTo>
                  <a:lnTo>
                    <a:pt x="12042111" y="3948738"/>
                  </a:lnTo>
                  <a:lnTo>
                    <a:pt x="11953840" y="4037700"/>
                  </a:lnTo>
                  <a:lnTo>
                    <a:pt x="12192001" y="4275248"/>
                  </a:lnTo>
                  <a:lnTo>
                    <a:pt x="12192001" y="4286404"/>
                  </a:lnTo>
                  <a:lnTo>
                    <a:pt x="11988663" y="4083594"/>
                  </a:lnTo>
                  <a:lnTo>
                    <a:pt x="11986910" y="4083594"/>
                  </a:lnTo>
                  <a:lnTo>
                    <a:pt x="11946384" y="4043068"/>
                  </a:lnTo>
                  <a:lnTo>
                    <a:pt x="11683900" y="4043068"/>
                  </a:lnTo>
                  <a:lnTo>
                    <a:pt x="11951465" y="4310632"/>
                  </a:lnTo>
                  <a:lnTo>
                    <a:pt x="11952862" y="4312030"/>
                  </a:lnTo>
                  <a:lnTo>
                    <a:pt x="11683847" y="4581743"/>
                  </a:lnTo>
                  <a:lnTo>
                    <a:pt x="11945875" y="4581743"/>
                  </a:lnTo>
                  <a:lnTo>
                    <a:pt x="12192001" y="4334979"/>
                  </a:lnTo>
                  <a:lnTo>
                    <a:pt x="12192001" y="4346260"/>
                  </a:lnTo>
                  <a:lnTo>
                    <a:pt x="11954259" y="4585237"/>
                  </a:lnTo>
                  <a:lnTo>
                    <a:pt x="12192001" y="4822363"/>
                  </a:lnTo>
                  <a:lnTo>
                    <a:pt x="12192001" y="4832127"/>
                  </a:lnTo>
                  <a:lnTo>
                    <a:pt x="11947272" y="4588031"/>
                  </a:lnTo>
                  <a:lnTo>
                    <a:pt x="11683847" y="4588730"/>
                  </a:lnTo>
                  <a:lnTo>
                    <a:pt x="11952862" y="4857047"/>
                  </a:lnTo>
                  <a:lnTo>
                    <a:pt x="11952164" y="4857746"/>
                  </a:lnTo>
                  <a:lnTo>
                    <a:pt x="11953561" y="4859142"/>
                  </a:lnTo>
                  <a:lnTo>
                    <a:pt x="11683148" y="5130253"/>
                  </a:lnTo>
                  <a:lnTo>
                    <a:pt x="11947272" y="5130253"/>
                  </a:lnTo>
                  <a:lnTo>
                    <a:pt x="12037409" y="5040116"/>
                  </a:lnTo>
                  <a:lnTo>
                    <a:pt x="12192001" y="4882518"/>
                  </a:lnTo>
                  <a:lnTo>
                    <a:pt x="12192001" y="4895391"/>
                  </a:lnTo>
                  <a:lnTo>
                    <a:pt x="11954259" y="5133747"/>
                  </a:lnTo>
                  <a:lnTo>
                    <a:pt x="12192001" y="5370876"/>
                  </a:lnTo>
                  <a:lnTo>
                    <a:pt x="12192001" y="5382038"/>
                  </a:lnTo>
                  <a:lnTo>
                    <a:pt x="11947272" y="5137939"/>
                  </a:lnTo>
                  <a:lnTo>
                    <a:pt x="11683148" y="5137939"/>
                  </a:lnTo>
                  <a:lnTo>
                    <a:pt x="11954259" y="5407653"/>
                  </a:lnTo>
                  <a:lnTo>
                    <a:pt x="11951465" y="5410448"/>
                  </a:lnTo>
                  <a:lnTo>
                    <a:pt x="11861327" y="5501283"/>
                  </a:lnTo>
                  <a:lnTo>
                    <a:pt x="11683847" y="5678763"/>
                  </a:lnTo>
                  <a:lnTo>
                    <a:pt x="11947970" y="5678763"/>
                  </a:lnTo>
                  <a:lnTo>
                    <a:pt x="12037409" y="5589325"/>
                  </a:lnTo>
                  <a:lnTo>
                    <a:pt x="12192001" y="5434732"/>
                  </a:lnTo>
                  <a:lnTo>
                    <a:pt x="12192001" y="5444515"/>
                  </a:lnTo>
                  <a:lnTo>
                    <a:pt x="12044397" y="5592120"/>
                  </a:lnTo>
                  <a:lnTo>
                    <a:pt x="11954958" y="5682258"/>
                  </a:lnTo>
                  <a:lnTo>
                    <a:pt x="12089116" y="5815716"/>
                  </a:lnTo>
                  <a:lnTo>
                    <a:pt x="12192001" y="5918601"/>
                  </a:lnTo>
                  <a:lnTo>
                    <a:pt x="12192001" y="5929923"/>
                  </a:lnTo>
                  <a:lnTo>
                    <a:pt x="12084924" y="5823402"/>
                  </a:lnTo>
                  <a:lnTo>
                    <a:pt x="11947970" y="5686450"/>
                  </a:lnTo>
                  <a:lnTo>
                    <a:pt x="11683847" y="5686450"/>
                  </a:lnTo>
                  <a:lnTo>
                    <a:pt x="11954958" y="5956862"/>
                  </a:lnTo>
                  <a:lnTo>
                    <a:pt x="11685245" y="6227973"/>
                  </a:lnTo>
                  <a:lnTo>
                    <a:pt x="11948669" y="6227973"/>
                  </a:lnTo>
                  <a:lnTo>
                    <a:pt x="12192001" y="5984012"/>
                  </a:lnTo>
                  <a:lnTo>
                    <a:pt x="12192001" y="5993810"/>
                  </a:lnTo>
                  <a:lnTo>
                    <a:pt x="11954958" y="6231466"/>
                  </a:lnTo>
                  <a:lnTo>
                    <a:pt x="12192001" y="6467898"/>
                  </a:lnTo>
                  <a:lnTo>
                    <a:pt x="12192001" y="6477665"/>
                  </a:lnTo>
                  <a:lnTo>
                    <a:pt x="11948669" y="6234960"/>
                  </a:lnTo>
                  <a:lnTo>
                    <a:pt x="11685245" y="6234960"/>
                  </a:lnTo>
                  <a:lnTo>
                    <a:pt x="11815210" y="6364925"/>
                  </a:lnTo>
                  <a:lnTo>
                    <a:pt x="11955657" y="6505372"/>
                  </a:lnTo>
                  <a:lnTo>
                    <a:pt x="11945954" y="6515100"/>
                  </a:lnTo>
                  <a:lnTo>
                    <a:pt x="11935461" y="6515100"/>
                  </a:lnTo>
                  <a:lnTo>
                    <a:pt x="11940983" y="6509564"/>
                  </a:lnTo>
                  <a:lnTo>
                    <a:pt x="11677558" y="6509564"/>
                  </a:lnTo>
                  <a:lnTo>
                    <a:pt x="11672044" y="6515100"/>
                  </a:lnTo>
                  <a:lnTo>
                    <a:pt x="11661542" y="6515100"/>
                  </a:lnTo>
                  <a:lnTo>
                    <a:pt x="11671270" y="6505372"/>
                  </a:lnTo>
                  <a:lnTo>
                    <a:pt x="11400159" y="6234960"/>
                  </a:lnTo>
                  <a:lnTo>
                    <a:pt x="11136036" y="6234960"/>
                  </a:lnTo>
                  <a:lnTo>
                    <a:pt x="11407146" y="6505372"/>
                  </a:lnTo>
                  <a:lnTo>
                    <a:pt x="11404352" y="6508166"/>
                  </a:lnTo>
                  <a:lnTo>
                    <a:pt x="11397471" y="6515100"/>
                  </a:lnTo>
                  <a:lnTo>
                    <a:pt x="11387635" y="6515100"/>
                  </a:lnTo>
                  <a:lnTo>
                    <a:pt x="11393171" y="6509564"/>
                  </a:lnTo>
                  <a:lnTo>
                    <a:pt x="11129049" y="6509564"/>
                  </a:lnTo>
                  <a:lnTo>
                    <a:pt x="11123527" y="6515100"/>
                  </a:lnTo>
                  <a:lnTo>
                    <a:pt x="11113055" y="6515100"/>
                  </a:lnTo>
                  <a:lnTo>
                    <a:pt x="11122062" y="6506071"/>
                  </a:lnTo>
                  <a:lnTo>
                    <a:pt x="11117170" y="6501179"/>
                  </a:lnTo>
                  <a:lnTo>
                    <a:pt x="10851650" y="6236358"/>
                  </a:lnTo>
                  <a:lnTo>
                    <a:pt x="10587525" y="6236358"/>
                  </a:lnTo>
                  <a:lnTo>
                    <a:pt x="10588224" y="6237056"/>
                  </a:lnTo>
                  <a:lnTo>
                    <a:pt x="10588923" y="6237056"/>
                  </a:lnTo>
                  <a:lnTo>
                    <a:pt x="10857937" y="6506071"/>
                  </a:lnTo>
                  <a:lnTo>
                    <a:pt x="10848931" y="6515100"/>
                  </a:lnTo>
                  <a:lnTo>
                    <a:pt x="10840523" y="6515100"/>
                  </a:lnTo>
                  <a:lnTo>
                    <a:pt x="10845361" y="6510263"/>
                  </a:lnTo>
                  <a:lnTo>
                    <a:pt x="10581237" y="6510263"/>
                  </a:lnTo>
                  <a:lnTo>
                    <a:pt x="10576412" y="6515100"/>
                  </a:lnTo>
                  <a:lnTo>
                    <a:pt x="10563823" y="6515100"/>
                  </a:lnTo>
                  <a:lnTo>
                    <a:pt x="10572852" y="6506071"/>
                  </a:lnTo>
                  <a:lnTo>
                    <a:pt x="10440092" y="6374009"/>
                  </a:lnTo>
                  <a:lnTo>
                    <a:pt x="10301742" y="6235659"/>
                  </a:lnTo>
                  <a:lnTo>
                    <a:pt x="10037618" y="6235659"/>
                  </a:lnTo>
                  <a:lnTo>
                    <a:pt x="10308729" y="6505372"/>
                  </a:lnTo>
                  <a:lnTo>
                    <a:pt x="10305934" y="6508166"/>
                  </a:lnTo>
                  <a:lnTo>
                    <a:pt x="10299053" y="6515100"/>
                  </a:lnTo>
                  <a:lnTo>
                    <a:pt x="10289917" y="6515100"/>
                  </a:lnTo>
                  <a:lnTo>
                    <a:pt x="10295453" y="6509564"/>
                  </a:lnTo>
                  <a:lnTo>
                    <a:pt x="10036919" y="6509564"/>
                  </a:lnTo>
                  <a:lnTo>
                    <a:pt x="10035464" y="6508865"/>
                  </a:lnTo>
                  <a:lnTo>
                    <a:pt x="10036919" y="6508865"/>
                  </a:lnTo>
                  <a:lnTo>
                    <a:pt x="10019451" y="6500480"/>
                  </a:lnTo>
                  <a:lnTo>
                    <a:pt x="10020794" y="6501824"/>
                  </a:lnTo>
                  <a:lnTo>
                    <a:pt x="10019451" y="6501179"/>
                  </a:lnTo>
                  <a:lnTo>
                    <a:pt x="9753930" y="6236358"/>
                  </a:lnTo>
                  <a:lnTo>
                    <a:pt x="9489807" y="6236358"/>
                  </a:lnTo>
                  <a:lnTo>
                    <a:pt x="9491204" y="6237754"/>
                  </a:lnTo>
                  <a:lnTo>
                    <a:pt x="9760219" y="6506770"/>
                  </a:lnTo>
                  <a:lnTo>
                    <a:pt x="9751867" y="6515100"/>
                  </a:lnTo>
                  <a:lnTo>
                    <a:pt x="9741431" y="6515100"/>
                  </a:lnTo>
                  <a:lnTo>
                    <a:pt x="9746244" y="6510263"/>
                  </a:lnTo>
                  <a:lnTo>
                    <a:pt x="9484783" y="6510263"/>
                  </a:lnTo>
                  <a:lnTo>
                    <a:pt x="9476833" y="6518275"/>
                  </a:lnTo>
                  <a:lnTo>
                    <a:pt x="9466908" y="6518275"/>
                  </a:lnTo>
                  <a:lnTo>
                    <a:pt x="9470109" y="6515100"/>
                  </a:lnTo>
                  <a:lnTo>
                    <a:pt x="9467501" y="6515100"/>
                  </a:lnTo>
                  <a:lnTo>
                    <a:pt x="9472657" y="6509945"/>
                  </a:lnTo>
                  <a:lnTo>
                    <a:pt x="9211183" y="6509945"/>
                  </a:lnTo>
                  <a:lnTo>
                    <a:pt x="9202874" y="6518275"/>
                  </a:lnTo>
                  <a:lnTo>
                    <a:pt x="9191704" y="6518275"/>
                  </a:lnTo>
                  <a:lnTo>
                    <a:pt x="9204195" y="6505752"/>
                  </a:lnTo>
                  <a:lnTo>
                    <a:pt x="9199304" y="6500861"/>
                  </a:lnTo>
                  <a:lnTo>
                    <a:pt x="8933783" y="6235340"/>
                  </a:lnTo>
                  <a:lnTo>
                    <a:pt x="8669660" y="6235340"/>
                  </a:lnTo>
                  <a:lnTo>
                    <a:pt x="8671058" y="6236737"/>
                  </a:lnTo>
                  <a:lnTo>
                    <a:pt x="8940072" y="6505752"/>
                  </a:lnTo>
                  <a:lnTo>
                    <a:pt x="8927581" y="6518275"/>
                  </a:lnTo>
                  <a:lnTo>
                    <a:pt x="8919183" y="6518275"/>
                  </a:lnTo>
                  <a:lnTo>
                    <a:pt x="8926796" y="6510643"/>
                  </a:lnTo>
                  <a:lnTo>
                    <a:pt x="8662672" y="6510643"/>
                  </a:lnTo>
                  <a:lnTo>
                    <a:pt x="8655060" y="6518275"/>
                  </a:lnTo>
                  <a:lnTo>
                    <a:pt x="8643195" y="6518275"/>
                  </a:lnTo>
                  <a:lnTo>
                    <a:pt x="8656384" y="6505053"/>
                  </a:lnTo>
                  <a:lnTo>
                    <a:pt x="8522925" y="6372290"/>
                  </a:lnTo>
                  <a:lnTo>
                    <a:pt x="8525720" y="6366702"/>
                  </a:lnTo>
                  <a:lnTo>
                    <a:pt x="8525021" y="6366004"/>
                  </a:lnTo>
                  <a:lnTo>
                    <a:pt x="8525720" y="6364607"/>
                  </a:lnTo>
                  <a:lnTo>
                    <a:pt x="8662672" y="6501560"/>
                  </a:lnTo>
                  <a:lnTo>
                    <a:pt x="8926796" y="6501560"/>
                  </a:lnTo>
                  <a:lnTo>
                    <a:pt x="8655685" y="6231148"/>
                  </a:lnTo>
                  <a:lnTo>
                    <a:pt x="8657083" y="6229750"/>
                  </a:lnTo>
                  <a:lnTo>
                    <a:pt x="8925398" y="5960736"/>
                  </a:lnTo>
                  <a:lnTo>
                    <a:pt x="8726957" y="5960736"/>
                  </a:lnTo>
                  <a:lnTo>
                    <a:pt x="8730450" y="5953748"/>
                  </a:lnTo>
                  <a:lnTo>
                    <a:pt x="8925398" y="5953748"/>
                  </a:lnTo>
                  <a:lnTo>
                    <a:pt x="8795433" y="5823783"/>
                  </a:lnTo>
                  <a:lnTo>
                    <a:pt x="8798926" y="5816795"/>
                  </a:lnTo>
                  <a:lnTo>
                    <a:pt x="8939373" y="5957241"/>
                  </a:lnTo>
                  <a:lnTo>
                    <a:pt x="8668961" y="6228352"/>
                  </a:lnTo>
                  <a:lnTo>
                    <a:pt x="8933085" y="6228352"/>
                  </a:lnTo>
                  <a:lnTo>
                    <a:pt x="9203497" y="5957241"/>
                  </a:lnTo>
                  <a:lnTo>
                    <a:pt x="8932386" y="5687528"/>
                  </a:lnTo>
                  <a:lnTo>
                    <a:pt x="8863909" y="5687528"/>
                  </a:lnTo>
                  <a:lnTo>
                    <a:pt x="8668961" y="5687528"/>
                  </a:lnTo>
                  <a:lnTo>
                    <a:pt x="8798227" y="5817494"/>
                  </a:lnTo>
                  <a:lnTo>
                    <a:pt x="8794734" y="5824481"/>
                  </a:lnTo>
                  <a:lnTo>
                    <a:pt x="8654287" y="5684035"/>
                  </a:lnTo>
                  <a:lnTo>
                    <a:pt x="8924699" y="5412924"/>
                  </a:lnTo>
                  <a:lnTo>
                    <a:pt x="8660576" y="5412924"/>
                  </a:lnTo>
                  <a:lnTo>
                    <a:pt x="8390164" y="5684035"/>
                  </a:lnTo>
                  <a:lnTo>
                    <a:pt x="8661275" y="5954447"/>
                  </a:lnTo>
                  <a:lnTo>
                    <a:pt x="8729751" y="5954447"/>
                  </a:lnTo>
                  <a:lnTo>
                    <a:pt x="8726258" y="5961434"/>
                  </a:lnTo>
                  <a:lnTo>
                    <a:pt x="8661275" y="5961434"/>
                  </a:lnTo>
                  <a:lnTo>
                    <a:pt x="8481000" y="6142408"/>
                  </a:lnTo>
                  <a:lnTo>
                    <a:pt x="8391562" y="6232545"/>
                  </a:lnTo>
                  <a:lnTo>
                    <a:pt x="8525021" y="6366004"/>
                  </a:lnTo>
                  <a:lnTo>
                    <a:pt x="8522226" y="6371593"/>
                  </a:lnTo>
                  <a:lnTo>
                    <a:pt x="8522925" y="6372290"/>
                  </a:lnTo>
                  <a:lnTo>
                    <a:pt x="8522226" y="6373690"/>
                  </a:lnTo>
                  <a:lnTo>
                    <a:pt x="8385273" y="6236737"/>
                  </a:lnTo>
                  <a:lnTo>
                    <a:pt x="8121150" y="6236737"/>
                  </a:lnTo>
                  <a:lnTo>
                    <a:pt x="8392260" y="6507149"/>
                  </a:lnTo>
                  <a:lnTo>
                    <a:pt x="8381163" y="6518275"/>
                  </a:lnTo>
                  <a:lnTo>
                    <a:pt x="8370672" y="6518275"/>
                  </a:lnTo>
                  <a:lnTo>
                    <a:pt x="8378285" y="6510643"/>
                  </a:lnTo>
                  <a:lnTo>
                    <a:pt x="8114162" y="6510643"/>
                  </a:lnTo>
                  <a:lnTo>
                    <a:pt x="8106549" y="6518275"/>
                  </a:lnTo>
                  <a:lnTo>
                    <a:pt x="8097473" y="6518275"/>
                  </a:lnTo>
                  <a:lnTo>
                    <a:pt x="8107873" y="6507848"/>
                  </a:lnTo>
                  <a:lnTo>
                    <a:pt x="7836763" y="6237436"/>
                  </a:lnTo>
                  <a:lnTo>
                    <a:pt x="7572639" y="6237436"/>
                  </a:lnTo>
                  <a:lnTo>
                    <a:pt x="7843750" y="6507848"/>
                  </a:lnTo>
                  <a:lnTo>
                    <a:pt x="7833350" y="6518275"/>
                  </a:lnTo>
                  <a:lnTo>
                    <a:pt x="7823556" y="6518275"/>
                  </a:lnTo>
                  <a:lnTo>
                    <a:pt x="7829775" y="6512040"/>
                  </a:lnTo>
                  <a:lnTo>
                    <a:pt x="7565652" y="6512040"/>
                  </a:lnTo>
                  <a:lnTo>
                    <a:pt x="7559433" y="6518275"/>
                  </a:lnTo>
                  <a:lnTo>
                    <a:pt x="7549660" y="6518275"/>
                  </a:lnTo>
                  <a:lnTo>
                    <a:pt x="7559363" y="6508547"/>
                  </a:lnTo>
                  <a:lnTo>
                    <a:pt x="7288252" y="6238135"/>
                  </a:lnTo>
                  <a:lnTo>
                    <a:pt x="7024828" y="6238135"/>
                  </a:lnTo>
                  <a:lnTo>
                    <a:pt x="7154793" y="6368100"/>
                  </a:lnTo>
                  <a:lnTo>
                    <a:pt x="7295240" y="6508547"/>
                  </a:lnTo>
                  <a:lnTo>
                    <a:pt x="7285537" y="6518275"/>
                  </a:lnTo>
                  <a:lnTo>
                    <a:pt x="7275044" y="6518275"/>
                  </a:lnTo>
                  <a:lnTo>
                    <a:pt x="7280566" y="6512739"/>
                  </a:lnTo>
                  <a:lnTo>
                    <a:pt x="7017141" y="6512739"/>
                  </a:lnTo>
                  <a:lnTo>
                    <a:pt x="7011627" y="6518275"/>
                  </a:lnTo>
                  <a:lnTo>
                    <a:pt x="7001125" y="6518275"/>
                  </a:lnTo>
                  <a:lnTo>
                    <a:pt x="7010853" y="6508547"/>
                  </a:lnTo>
                  <a:lnTo>
                    <a:pt x="6739742" y="6238135"/>
                  </a:lnTo>
                  <a:lnTo>
                    <a:pt x="6475619" y="6238135"/>
                  </a:lnTo>
                  <a:lnTo>
                    <a:pt x="6746729" y="6508547"/>
                  </a:lnTo>
                  <a:lnTo>
                    <a:pt x="6743935" y="6511341"/>
                  </a:lnTo>
                  <a:lnTo>
                    <a:pt x="6737054" y="6518275"/>
                  </a:lnTo>
                  <a:lnTo>
                    <a:pt x="6727219" y="6518275"/>
                  </a:lnTo>
                  <a:lnTo>
                    <a:pt x="6732754" y="6512739"/>
                  </a:lnTo>
                  <a:lnTo>
                    <a:pt x="6468632" y="6512739"/>
                  </a:lnTo>
                  <a:lnTo>
                    <a:pt x="6463111" y="6518275"/>
                  </a:lnTo>
                  <a:lnTo>
                    <a:pt x="6452638" y="6518275"/>
                  </a:lnTo>
                  <a:lnTo>
                    <a:pt x="6461645" y="6509246"/>
                  </a:lnTo>
                  <a:lnTo>
                    <a:pt x="6456753" y="6504354"/>
                  </a:lnTo>
                  <a:lnTo>
                    <a:pt x="6191234" y="6239533"/>
                  </a:lnTo>
                  <a:lnTo>
                    <a:pt x="5927108" y="6239533"/>
                  </a:lnTo>
                  <a:lnTo>
                    <a:pt x="5927807" y="6240231"/>
                  </a:lnTo>
                  <a:lnTo>
                    <a:pt x="5928507" y="6240231"/>
                  </a:lnTo>
                  <a:lnTo>
                    <a:pt x="6197521" y="6509246"/>
                  </a:lnTo>
                  <a:lnTo>
                    <a:pt x="6188514" y="6518275"/>
                  </a:lnTo>
                  <a:lnTo>
                    <a:pt x="6180107" y="6518275"/>
                  </a:lnTo>
                  <a:lnTo>
                    <a:pt x="6184944" y="6513438"/>
                  </a:lnTo>
                  <a:lnTo>
                    <a:pt x="5920821" y="6513438"/>
                  </a:lnTo>
                  <a:lnTo>
                    <a:pt x="5915996" y="6518275"/>
                  </a:lnTo>
                  <a:lnTo>
                    <a:pt x="5903406" y="6518275"/>
                  </a:lnTo>
                  <a:lnTo>
                    <a:pt x="5912435" y="6509246"/>
                  </a:lnTo>
                  <a:lnTo>
                    <a:pt x="5779675" y="6377184"/>
                  </a:lnTo>
                  <a:lnTo>
                    <a:pt x="5641325" y="6238834"/>
                  </a:lnTo>
                  <a:lnTo>
                    <a:pt x="5377202" y="6238834"/>
                  </a:lnTo>
                  <a:lnTo>
                    <a:pt x="5648312" y="6508547"/>
                  </a:lnTo>
                  <a:lnTo>
                    <a:pt x="5645518" y="6511341"/>
                  </a:lnTo>
                  <a:lnTo>
                    <a:pt x="5638636" y="6518275"/>
                  </a:lnTo>
                  <a:lnTo>
                    <a:pt x="5629500" y="6518275"/>
                  </a:lnTo>
                  <a:lnTo>
                    <a:pt x="5635036" y="6512739"/>
                  </a:lnTo>
                  <a:lnTo>
                    <a:pt x="5376502" y="6512739"/>
                  </a:lnTo>
                  <a:lnTo>
                    <a:pt x="5375047" y="6512040"/>
                  </a:lnTo>
                  <a:lnTo>
                    <a:pt x="5376502" y="6512040"/>
                  </a:lnTo>
                  <a:lnTo>
                    <a:pt x="5359034" y="6503655"/>
                  </a:lnTo>
                  <a:lnTo>
                    <a:pt x="5360377" y="6504999"/>
                  </a:lnTo>
                  <a:lnTo>
                    <a:pt x="5359034" y="6504354"/>
                  </a:lnTo>
                  <a:lnTo>
                    <a:pt x="5093513" y="6239533"/>
                  </a:lnTo>
                  <a:lnTo>
                    <a:pt x="4829390" y="6239533"/>
                  </a:lnTo>
                  <a:lnTo>
                    <a:pt x="4830788" y="6240929"/>
                  </a:lnTo>
                  <a:lnTo>
                    <a:pt x="5099802" y="6509945"/>
                  </a:lnTo>
                  <a:lnTo>
                    <a:pt x="5091450" y="6518275"/>
                  </a:lnTo>
                  <a:lnTo>
                    <a:pt x="5081014" y="6518275"/>
                  </a:lnTo>
                  <a:lnTo>
                    <a:pt x="5085827" y="6513438"/>
                  </a:lnTo>
                  <a:lnTo>
                    <a:pt x="4826252" y="6513438"/>
                  </a:lnTo>
                  <a:lnTo>
                    <a:pt x="4816727" y="6523037"/>
                  </a:lnTo>
                  <a:lnTo>
                    <a:pt x="4806802" y="6523037"/>
                  </a:lnTo>
                  <a:lnTo>
                    <a:pt x="4811603" y="6518275"/>
                  </a:lnTo>
                  <a:lnTo>
                    <a:pt x="4807085" y="6518275"/>
                  </a:lnTo>
                  <a:lnTo>
                    <a:pt x="4810652" y="6514707"/>
                  </a:lnTo>
                  <a:lnTo>
                    <a:pt x="4551077" y="6514707"/>
                  </a:lnTo>
                  <a:lnTo>
                    <a:pt x="4542768" y="6523037"/>
                  </a:lnTo>
                  <a:lnTo>
                    <a:pt x="4531598" y="6523037"/>
                  </a:lnTo>
                  <a:lnTo>
                    <a:pt x="4544090" y="6510514"/>
                  </a:lnTo>
                  <a:lnTo>
                    <a:pt x="4539199" y="6505623"/>
                  </a:lnTo>
                  <a:lnTo>
                    <a:pt x="4273677" y="6240102"/>
                  </a:lnTo>
                  <a:lnTo>
                    <a:pt x="4009554" y="6240102"/>
                  </a:lnTo>
                  <a:lnTo>
                    <a:pt x="4010952" y="6241499"/>
                  </a:lnTo>
                  <a:lnTo>
                    <a:pt x="4279967" y="6510514"/>
                  </a:lnTo>
                  <a:lnTo>
                    <a:pt x="4267475" y="6523037"/>
                  </a:lnTo>
                  <a:lnTo>
                    <a:pt x="4259077" y="6523037"/>
                  </a:lnTo>
                  <a:lnTo>
                    <a:pt x="4266690" y="6515405"/>
                  </a:lnTo>
                  <a:lnTo>
                    <a:pt x="4002566" y="6515405"/>
                  </a:lnTo>
                  <a:lnTo>
                    <a:pt x="3994954" y="6523037"/>
                  </a:lnTo>
                  <a:lnTo>
                    <a:pt x="3983089" y="6523037"/>
                  </a:lnTo>
                  <a:lnTo>
                    <a:pt x="3996278" y="6509815"/>
                  </a:lnTo>
                  <a:lnTo>
                    <a:pt x="3862819" y="6377052"/>
                  </a:lnTo>
                  <a:lnTo>
                    <a:pt x="3865614" y="6371464"/>
                  </a:lnTo>
                  <a:lnTo>
                    <a:pt x="3864915" y="6370766"/>
                  </a:lnTo>
                  <a:lnTo>
                    <a:pt x="3865614" y="6369369"/>
                  </a:lnTo>
                  <a:lnTo>
                    <a:pt x="4002566" y="6506322"/>
                  </a:lnTo>
                  <a:lnTo>
                    <a:pt x="4266690" y="6506322"/>
                  </a:lnTo>
                  <a:lnTo>
                    <a:pt x="3995579" y="6235910"/>
                  </a:lnTo>
                  <a:lnTo>
                    <a:pt x="3996977" y="6234512"/>
                  </a:lnTo>
                  <a:lnTo>
                    <a:pt x="4265292" y="5965498"/>
                  </a:lnTo>
                  <a:lnTo>
                    <a:pt x="4066851" y="5965498"/>
                  </a:lnTo>
                  <a:lnTo>
                    <a:pt x="4070344" y="5958510"/>
                  </a:lnTo>
                  <a:lnTo>
                    <a:pt x="4265292" y="5958510"/>
                  </a:lnTo>
                  <a:lnTo>
                    <a:pt x="4135327" y="5828545"/>
                  </a:lnTo>
                  <a:lnTo>
                    <a:pt x="4138820" y="5821557"/>
                  </a:lnTo>
                  <a:lnTo>
                    <a:pt x="4279267" y="5962003"/>
                  </a:lnTo>
                  <a:lnTo>
                    <a:pt x="4008855" y="6233114"/>
                  </a:lnTo>
                  <a:lnTo>
                    <a:pt x="4272979" y="6233114"/>
                  </a:lnTo>
                  <a:lnTo>
                    <a:pt x="4543392" y="5962003"/>
                  </a:lnTo>
                  <a:lnTo>
                    <a:pt x="4272281" y="5692290"/>
                  </a:lnTo>
                  <a:lnTo>
                    <a:pt x="4203803" y="5692290"/>
                  </a:lnTo>
                  <a:lnTo>
                    <a:pt x="4008855" y="5692290"/>
                  </a:lnTo>
                  <a:lnTo>
                    <a:pt x="4138121" y="5822256"/>
                  </a:lnTo>
                  <a:lnTo>
                    <a:pt x="4134628" y="5829243"/>
                  </a:lnTo>
                  <a:lnTo>
                    <a:pt x="3994181" y="5688797"/>
                  </a:lnTo>
                  <a:lnTo>
                    <a:pt x="4264593" y="5417686"/>
                  </a:lnTo>
                  <a:lnTo>
                    <a:pt x="4000470" y="5417686"/>
                  </a:lnTo>
                  <a:lnTo>
                    <a:pt x="3730058" y="5688797"/>
                  </a:lnTo>
                  <a:lnTo>
                    <a:pt x="4001169" y="5959209"/>
                  </a:lnTo>
                  <a:lnTo>
                    <a:pt x="4069645" y="5959209"/>
                  </a:lnTo>
                  <a:lnTo>
                    <a:pt x="4066152" y="5966196"/>
                  </a:lnTo>
                  <a:lnTo>
                    <a:pt x="4001169" y="5966196"/>
                  </a:lnTo>
                  <a:lnTo>
                    <a:pt x="3820894" y="6147170"/>
                  </a:lnTo>
                  <a:lnTo>
                    <a:pt x="3731456" y="6237307"/>
                  </a:lnTo>
                  <a:lnTo>
                    <a:pt x="3864915" y="6370766"/>
                  </a:lnTo>
                  <a:lnTo>
                    <a:pt x="3862120" y="6376355"/>
                  </a:lnTo>
                  <a:lnTo>
                    <a:pt x="3862819" y="6377052"/>
                  </a:lnTo>
                  <a:lnTo>
                    <a:pt x="3862120" y="6378452"/>
                  </a:lnTo>
                  <a:lnTo>
                    <a:pt x="3725167" y="6241499"/>
                  </a:lnTo>
                  <a:lnTo>
                    <a:pt x="3461044" y="6241499"/>
                  </a:lnTo>
                  <a:lnTo>
                    <a:pt x="3732154" y="6511911"/>
                  </a:lnTo>
                  <a:lnTo>
                    <a:pt x="3721057" y="6523037"/>
                  </a:lnTo>
                  <a:lnTo>
                    <a:pt x="3710566" y="6523037"/>
                  </a:lnTo>
                  <a:lnTo>
                    <a:pt x="3718179" y="6515405"/>
                  </a:lnTo>
                  <a:lnTo>
                    <a:pt x="3454056" y="6515405"/>
                  </a:lnTo>
                  <a:lnTo>
                    <a:pt x="3446443" y="6523037"/>
                  </a:lnTo>
                  <a:lnTo>
                    <a:pt x="3437367" y="6523037"/>
                  </a:lnTo>
                  <a:lnTo>
                    <a:pt x="3447767" y="6512610"/>
                  </a:lnTo>
                  <a:lnTo>
                    <a:pt x="3176657" y="6242198"/>
                  </a:lnTo>
                  <a:lnTo>
                    <a:pt x="2912533" y="6242198"/>
                  </a:lnTo>
                  <a:lnTo>
                    <a:pt x="3183644" y="6512610"/>
                  </a:lnTo>
                  <a:lnTo>
                    <a:pt x="3173244" y="6523037"/>
                  </a:lnTo>
                  <a:lnTo>
                    <a:pt x="3163450" y="6523037"/>
                  </a:lnTo>
                  <a:lnTo>
                    <a:pt x="3169669" y="6516802"/>
                  </a:lnTo>
                  <a:lnTo>
                    <a:pt x="2905546" y="6516802"/>
                  </a:lnTo>
                  <a:lnTo>
                    <a:pt x="2899327" y="6523037"/>
                  </a:lnTo>
                  <a:lnTo>
                    <a:pt x="2889554" y="6523037"/>
                  </a:lnTo>
                  <a:lnTo>
                    <a:pt x="2899257" y="6513309"/>
                  </a:lnTo>
                  <a:lnTo>
                    <a:pt x="2628146" y="6242897"/>
                  </a:lnTo>
                  <a:lnTo>
                    <a:pt x="2364722" y="6242897"/>
                  </a:lnTo>
                  <a:lnTo>
                    <a:pt x="2494687" y="6372862"/>
                  </a:lnTo>
                  <a:lnTo>
                    <a:pt x="2635134" y="6513309"/>
                  </a:lnTo>
                  <a:lnTo>
                    <a:pt x="2625431" y="6523037"/>
                  </a:lnTo>
                  <a:lnTo>
                    <a:pt x="2614938" y="6523037"/>
                  </a:lnTo>
                  <a:lnTo>
                    <a:pt x="2620460" y="6517501"/>
                  </a:lnTo>
                  <a:lnTo>
                    <a:pt x="2357035" y="6517501"/>
                  </a:lnTo>
                  <a:lnTo>
                    <a:pt x="2351521" y="6523037"/>
                  </a:lnTo>
                  <a:lnTo>
                    <a:pt x="2341019" y="6523037"/>
                  </a:lnTo>
                  <a:lnTo>
                    <a:pt x="2350747" y="6513309"/>
                  </a:lnTo>
                  <a:lnTo>
                    <a:pt x="2079636" y="6242897"/>
                  </a:lnTo>
                  <a:lnTo>
                    <a:pt x="1815513" y="6242897"/>
                  </a:lnTo>
                  <a:lnTo>
                    <a:pt x="2086623" y="6513309"/>
                  </a:lnTo>
                  <a:lnTo>
                    <a:pt x="2083829" y="6516103"/>
                  </a:lnTo>
                  <a:lnTo>
                    <a:pt x="2076948" y="6523037"/>
                  </a:lnTo>
                  <a:lnTo>
                    <a:pt x="2067112" y="6523037"/>
                  </a:lnTo>
                  <a:lnTo>
                    <a:pt x="2072648" y="6517501"/>
                  </a:lnTo>
                  <a:lnTo>
                    <a:pt x="1808526" y="6517501"/>
                  </a:lnTo>
                  <a:lnTo>
                    <a:pt x="1803004" y="6523037"/>
                  </a:lnTo>
                  <a:lnTo>
                    <a:pt x="1792532" y="6523037"/>
                  </a:lnTo>
                  <a:lnTo>
                    <a:pt x="1801539" y="6514008"/>
                  </a:lnTo>
                  <a:lnTo>
                    <a:pt x="1796647" y="6509116"/>
                  </a:lnTo>
                  <a:lnTo>
                    <a:pt x="1531127" y="6244295"/>
                  </a:lnTo>
                  <a:lnTo>
                    <a:pt x="1267002" y="6244295"/>
                  </a:lnTo>
                  <a:lnTo>
                    <a:pt x="1267701" y="6244993"/>
                  </a:lnTo>
                  <a:lnTo>
                    <a:pt x="1268400" y="6244993"/>
                  </a:lnTo>
                  <a:lnTo>
                    <a:pt x="1537414" y="6514008"/>
                  </a:lnTo>
                  <a:lnTo>
                    <a:pt x="1528408" y="6523037"/>
                  </a:lnTo>
                  <a:lnTo>
                    <a:pt x="1520000" y="6523037"/>
                  </a:lnTo>
                  <a:lnTo>
                    <a:pt x="1524838" y="6518200"/>
                  </a:lnTo>
                  <a:lnTo>
                    <a:pt x="1260714" y="6518200"/>
                  </a:lnTo>
                  <a:lnTo>
                    <a:pt x="1255889" y="6523037"/>
                  </a:lnTo>
                  <a:lnTo>
                    <a:pt x="1243300" y="6523037"/>
                  </a:lnTo>
                  <a:lnTo>
                    <a:pt x="1252329" y="6514008"/>
                  </a:lnTo>
                  <a:lnTo>
                    <a:pt x="1119569" y="6381946"/>
                  </a:lnTo>
                  <a:lnTo>
                    <a:pt x="981219" y="6243596"/>
                  </a:lnTo>
                  <a:lnTo>
                    <a:pt x="717095" y="6243596"/>
                  </a:lnTo>
                  <a:lnTo>
                    <a:pt x="988206" y="6513309"/>
                  </a:lnTo>
                  <a:lnTo>
                    <a:pt x="985411" y="6516103"/>
                  </a:lnTo>
                  <a:lnTo>
                    <a:pt x="978530" y="6523037"/>
                  </a:lnTo>
                  <a:lnTo>
                    <a:pt x="969394" y="6523037"/>
                  </a:lnTo>
                  <a:lnTo>
                    <a:pt x="974930" y="6517501"/>
                  </a:lnTo>
                  <a:lnTo>
                    <a:pt x="716396" y="6517501"/>
                  </a:lnTo>
                  <a:lnTo>
                    <a:pt x="714941" y="6516802"/>
                  </a:lnTo>
                  <a:lnTo>
                    <a:pt x="716396" y="6516802"/>
                  </a:lnTo>
                  <a:lnTo>
                    <a:pt x="698928" y="6508417"/>
                  </a:lnTo>
                  <a:lnTo>
                    <a:pt x="700271" y="6509761"/>
                  </a:lnTo>
                  <a:lnTo>
                    <a:pt x="698928" y="6509116"/>
                  </a:lnTo>
                  <a:lnTo>
                    <a:pt x="433407" y="6244295"/>
                  </a:lnTo>
                  <a:lnTo>
                    <a:pt x="169284" y="6244295"/>
                  </a:lnTo>
                  <a:lnTo>
                    <a:pt x="170681" y="6245691"/>
                  </a:lnTo>
                  <a:lnTo>
                    <a:pt x="439696" y="6514707"/>
                  </a:lnTo>
                  <a:lnTo>
                    <a:pt x="431344" y="6523037"/>
                  </a:lnTo>
                  <a:lnTo>
                    <a:pt x="420908" y="6523037"/>
                  </a:lnTo>
                  <a:lnTo>
                    <a:pt x="425721" y="6518200"/>
                  </a:lnTo>
                  <a:lnTo>
                    <a:pt x="161597" y="6518200"/>
                  </a:lnTo>
                  <a:lnTo>
                    <a:pt x="156781" y="6523037"/>
                  </a:lnTo>
                  <a:lnTo>
                    <a:pt x="146978" y="6523037"/>
                  </a:lnTo>
                  <a:lnTo>
                    <a:pt x="155309" y="6514707"/>
                  </a:lnTo>
                  <a:lnTo>
                    <a:pt x="21150" y="6381247"/>
                  </a:lnTo>
                  <a:lnTo>
                    <a:pt x="5080" y="6365176"/>
                  </a:lnTo>
                  <a:lnTo>
                    <a:pt x="5080" y="6355394"/>
                  </a:lnTo>
                  <a:lnTo>
                    <a:pt x="24645" y="6374959"/>
                  </a:lnTo>
                  <a:lnTo>
                    <a:pt x="161597" y="6511212"/>
                  </a:lnTo>
                  <a:lnTo>
                    <a:pt x="425721" y="6511212"/>
                  </a:lnTo>
                  <a:lnTo>
                    <a:pt x="154610" y="6240800"/>
                  </a:lnTo>
                  <a:lnTo>
                    <a:pt x="156008" y="6239403"/>
                  </a:lnTo>
                  <a:lnTo>
                    <a:pt x="156706" y="6239403"/>
                  </a:lnTo>
                  <a:lnTo>
                    <a:pt x="425022" y="5970389"/>
                  </a:lnTo>
                  <a:lnTo>
                    <a:pt x="161597" y="5970389"/>
                  </a:lnTo>
                  <a:lnTo>
                    <a:pt x="5080" y="6126906"/>
                  </a:lnTo>
                  <a:lnTo>
                    <a:pt x="5080" y="6116425"/>
                  </a:lnTo>
                  <a:lnTo>
                    <a:pt x="154610" y="5966894"/>
                  </a:lnTo>
                  <a:lnTo>
                    <a:pt x="5080" y="5817364"/>
                  </a:lnTo>
                  <a:lnTo>
                    <a:pt x="5080" y="5806884"/>
                  </a:lnTo>
                  <a:lnTo>
                    <a:pt x="161597" y="5962702"/>
                  </a:lnTo>
                  <a:lnTo>
                    <a:pt x="425022" y="5962702"/>
                  </a:lnTo>
                  <a:lnTo>
                    <a:pt x="295057" y="5832737"/>
                  </a:lnTo>
                  <a:lnTo>
                    <a:pt x="154610" y="5692290"/>
                  </a:lnTo>
                  <a:lnTo>
                    <a:pt x="425022" y="5421878"/>
                  </a:lnTo>
                  <a:lnTo>
                    <a:pt x="160898" y="5421878"/>
                  </a:lnTo>
                  <a:lnTo>
                    <a:pt x="5080" y="5577697"/>
                  </a:lnTo>
                  <a:lnTo>
                    <a:pt x="5080" y="5567216"/>
                  </a:lnTo>
                  <a:lnTo>
                    <a:pt x="153911" y="5418385"/>
                  </a:lnTo>
                  <a:lnTo>
                    <a:pt x="5080" y="5269553"/>
                  </a:lnTo>
                  <a:lnTo>
                    <a:pt x="5080" y="5259072"/>
                  </a:lnTo>
                  <a:lnTo>
                    <a:pt x="160898" y="5414192"/>
                  </a:lnTo>
                  <a:lnTo>
                    <a:pt x="425022" y="5414192"/>
                  </a:lnTo>
                  <a:lnTo>
                    <a:pt x="153911" y="5143780"/>
                  </a:lnTo>
                  <a:lnTo>
                    <a:pt x="338378" y="4959313"/>
                  </a:lnTo>
                  <a:lnTo>
                    <a:pt x="424323" y="4873368"/>
                  </a:lnTo>
                  <a:lnTo>
                    <a:pt x="160200" y="4873368"/>
                  </a:lnTo>
                  <a:lnTo>
                    <a:pt x="5080" y="5028489"/>
                  </a:lnTo>
                  <a:lnTo>
                    <a:pt x="5080" y="5018007"/>
                  </a:lnTo>
                  <a:lnTo>
                    <a:pt x="153212" y="4869176"/>
                  </a:lnTo>
                  <a:lnTo>
                    <a:pt x="148321" y="4864285"/>
                  </a:lnTo>
                  <a:lnTo>
                    <a:pt x="5080" y="4721741"/>
                  </a:lnTo>
                  <a:lnTo>
                    <a:pt x="5080" y="4711960"/>
                  </a:lnTo>
                  <a:lnTo>
                    <a:pt x="160200" y="4866380"/>
                  </a:lnTo>
                  <a:lnTo>
                    <a:pt x="424323" y="4865683"/>
                  </a:lnTo>
                  <a:lnTo>
                    <a:pt x="153212" y="4595271"/>
                  </a:lnTo>
                  <a:lnTo>
                    <a:pt x="423624" y="4324859"/>
                  </a:lnTo>
                  <a:lnTo>
                    <a:pt x="159501" y="4324859"/>
                  </a:lnTo>
                  <a:lnTo>
                    <a:pt x="5080" y="4479279"/>
                  </a:lnTo>
                  <a:lnTo>
                    <a:pt x="5080" y="4468799"/>
                  </a:lnTo>
                  <a:lnTo>
                    <a:pt x="152513" y="4320665"/>
                  </a:lnTo>
                  <a:lnTo>
                    <a:pt x="5080" y="4173930"/>
                  </a:lnTo>
                  <a:lnTo>
                    <a:pt x="5080" y="4163449"/>
                  </a:lnTo>
                  <a:lnTo>
                    <a:pt x="159501" y="4317172"/>
                  </a:lnTo>
                  <a:lnTo>
                    <a:pt x="423624" y="4317172"/>
                  </a:lnTo>
                  <a:lnTo>
                    <a:pt x="152513" y="4047459"/>
                  </a:lnTo>
                  <a:lnTo>
                    <a:pt x="331391" y="3868581"/>
                  </a:lnTo>
                  <a:lnTo>
                    <a:pt x="331489" y="3868581"/>
                  </a:lnTo>
                  <a:lnTo>
                    <a:pt x="422038" y="3777797"/>
                  </a:lnTo>
                  <a:lnTo>
                    <a:pt x="225692" y="3777797"/>
                  </a:lnTo>
                  <a:lnTo>
                    <a:pt x="226391" y="3776401"/>
                  </a:lnTo>
                  <a:lnTo>
                    <a:pt x="158613" y="3776401"/>
                  </a:lnTo>
                  <a:lnTo>
                    <a:pt x="0" y="3935012"/>
                  </a:lnTo>
                  <a:lnTo>
                    <a:pt x="0" y="3925231"/>
                  </a:lnTo>
                  <a:lnTo>
                    <a:pt x="152324" y="3772906"/>
                  </a:lnTo>
                  <a:lnTo>
                    <a:pt x="0" y="3621281"/>
                  </a:lnTo>
                  <a:lnTo>
                    <a:pt x="0" y="3610800"/>
                  </a:lnTo>
                  <a:lnTo>
                    <a:pt x="159312" y="3768713"/>
                  </a:lnTo>
                  <a:lnTo>
                    <a:pt x="423435" y="3768713"/>
                  </a:lnTo>
                  <a:lnTo>
                    <a:pt x="294168" y="3640146"/>
                  </a:lnTo>
                  <a:lnTo>
                    <a:pt x="152324" y="3499001"/>
                  </a:lnTo>
                  <a:lnTo>
                    <a:pt x="336093" y="3313835"/>
                  </a:lnTo>
                  <a:lnTo>
                    <a:pt x="422038" y="3227890"/>
                  </a:lnTo>
                  <a:lnTo>
                    <a:pt x="157914" y="3227890"/>
                  </a:lnTo>
                  <a:lnTo>
                    <a:pt x="0" y="3386503"/>
                  </a:lnTo>
                  <a:lnTo>
                    <a:pt x="0" y="3376021"/>
                  </a:lnTo>
                  <a:lnTo>
                    <a:pt x="152324" y="3224396"/>
                  </a:lnTo>
                  <a:lnTo>
                    <a:pt x="146735" y="3219505"/>
                  </a:lnTo>
                  <a:lnTo>
                    <a:pt x="0" y="3073469"/>
                  </a:lnTo>
                  <a:lnTo>
                    <a:pt x="0" y="3062989"/>
                  </a:lnTo>
                  <a:lnTo>
                    <a:pt x="157914" y="3220903"/>
                  </a:lnTo>
                  <a:lnTo>
                    <a:pt x="422038" y="3220903"/>
                  </a:lnTo>
                  <a:lnTo>
                    <a:pt x="150927" y="2950491"/>
                  </a:lnTo>
                  <a:lnTo>
                    <a:pt x="421339" y="2679380"/>
                  </a:lnTo>
                  <a:lnTo>
                    <a:pt x="157215" y="2679380"/>
                  </a:lnTo>
                  <a:lnTo>
                    <a:pt x="0" y="2837294"/>
                  </a:lnTo>
                  <a:lnTo>
                    <a:pt x="0" y="2826812"/>
                  </a:lnTo>
                  <a:lnTo>
                    <a:pt x="150927" y="2675886"/>
                  </a:lnTo>
                  <a:lnTo>
                    <a:pt x="0" y="2525658"/>
                  </a:lnTo>
                  <a:lnTo>
                    <a:pt x="0" y="2515876"/>
                  </a:lnTo>
                  <a:lnTo>
                    <a:pt x="157914" y="2672393"/>
                  </a:lnTo>
                  <a:lnTo>
                    <a:pt x="422038" y="2672393"/>
                  </a:lnTo>
                  <a:lnTo>
                    <a:pt x="150927" y="2401981"/>
                  </a:lnTo>
                  <a:lnTo>
                    <a:pt x="420640" y="2130870"/>
                  </a:lnTo>
                  <a:lnTo>
                    <a:pt x="156517" y="2130870"/>
                  </a:lnTo>
                  <a:lnTo>
                    <a:pt x="0" y="2288085"/>
                  </a:lnTo>
                  <a:lnTo>
                    <a:pt x="0" y="2277604"/>
                  </a:lnTo>
                  <a:lnTo>
                    <a:pt x="150228" y="2127376"/>
                  </a:lnTo>
                  <a:lnTo>
                    <a:pt x="16070" y="1993917"/>
                  </a:lnTo>
                  <a:lnTo>
                    <a:pt x="0" y="1977846"/>
                  </a:lnTo>
                  <a:lnTo>
                    <a:pt x="0" y="1968064"/>
                  </a:lnTo>
                  <a:lnTo>
                    <a:pt x="19564" y="1987628"/>
                  </a:lnTo>
                  <a:lnTo>
                    <a:pt x="156517" y="2123882"/>
                  </a:lnTo>
                  <a:lnTo>
                    <a:pt x="420640" y="2123882"/>
                  </a:lnTo>
                  <a:lnTo>
                    <a:pt x="149529" y="1853470"/>
                  </a:lnTo>
                  <a:lnTo>
                    <a:pt x="150927" y="1852072"/>
                  </a:lnTo>
                  <a:lnTo>
                    <a:pt x="151626" y="1852072"/>
                  </a:lnTo>
                  <a:lnTo>
                    <a:pt x="419941" y="1583058"/>
                  </a:lnTo>
                  <a:lnTo>
                    <a:pt x="156517" y="1583058"/>
                  </a:lnTo>
                  <a:lnTo>
                    <a:pt x="0" y="1739574"/>
                  </a:lnTo>
                  <a:lnTo>
                    <a:pt x="0" y="1729094"/>
                  </a:lnTo>
                  <a:lnTo>
                    <a:pt x="149529" y="1579564"/>
                  </a:lnTo>
                  <a:lnTo>
                    <a:pt x="0" y="1430035"/>
                  </a:lnTo>
                  <a:lnTo>
                    <a:pt x="0" y="1419554"/>
                  </a:lnTo>
                  <a:lnTo>
                    <a:pt x="156517" y="1575372"/>
                  </a:lnTo>
                  <a:lnTo>
                    <a:pt x="419941" y="1575372"/>
                  </a:lnTo>
                  <a:lnTo>
                    <a:pt x="289976" y="1445407"/>
                  </a:lnTo>
                  <a:lnTo>
                    <a:pt x="149529" y="1304960"/>
                  </a:lnTo>
                  <a:lnTo>
                    <a:pt x="419941" y="1034548"/>
                  </a:lnTo>
                  <a:lnTo>
                    <a:pt x="155818" y="1034548"/>
                  </a:lnTo>
                  <a:lnTo>
                    <a:pt x="0" y="1190365"/>
                  </a:lnTo>
                  <a:lnTo>
                    <a:pt x="0" y="1179885"/>
                  </a:lnTo>
                  <a:lnTo>
                    <a:pt x="148830" y="1031055"/>
                  </a:lnTo>
                  <a:lnTo>
                    <a:pt x="0" y="882223"/>
                  </a:lnTo>
                  <a:lnTo>
                    <a:pt x="0" y="871743"/>
                  </a:lnTo>
                  <a:lnTo>
                    <a:pt x="155818" y="1026861"/>
                  </a:lnTo>
                  <a:lnTo>
                    <a:pt x="419941" y="1026861"/>
                  </a:lnTo>
                  <a:lnTo>
                    <a:pt x="148830" y="756449"/>
                  </a:lnTo>
                  <a:lnTo>
                    <a:pt x="333298" y="571983"/>
                  </a:lnTo>
                  <a:lnTo>
                    <a:pt x="419242" y="486037"/>
                  </a:lnTo>
                  <a:lnTo>
                    <a:pt x="155119" y="486037"/>
                  </a:lnTo>
                  <a:lnTo>
                    <a:pt x="0" y="641157"/>
                  </a:lnTo>
                  <a:lnTo>
                    <a:pt x="0" y="630675"/>
                  </a:lnTo>
                  <a:lnTo>
                    <a:pt x="148131" y="481845"/>
                  </a:lnTo>
                  <a:lnTo>
                    <a:pt x="143240" y="476954"/>
                  </a:lnTo>
                  <a:lnTo>
                    <a:pt x="0" y="334412"/>
                  </a:lnTo>
                  <a:lnTo>
                    <a:pt x="0" y="324630"/>
                  </a:lnTo>
                  <a:lnTo>
                    <a:pt x="155119" y="479050"/>
                  </a:lnTo>
                  <a:lnTo>
                    <a:pt x="419242" y="478352"/>
                  </a:lnTo>
                  <a:lnTo>
                    <a:pt x="148131" y="207940"/>
                  </a:lnTo>
                  <a:lnTo>
                    <a:pt x="348134" y="7937"/>
                  </a:lnTo>
                  <a:lnTo>
                    <a:pt x="358615" y="7937"/>
                  </a:lnTo>
                  <a:lnTo>
                    <a:pt x="162106" y="204446"/>
                  </a:lnTo>
                  <a:lnTo>
                    <a:pt x="426230" y="204446"/>
                  </a:lnTo>
                  <a:lnTo>
                    <a:pt x="622232" y="7937"/>
                  </a:lnTo>
                  <a:lnTo>
                    <a:pt x="632006" y="7937"/>
                  </a:lnTo>
                  <a:lnTo>
                    <a:pt x="432518" y="207940"/>
                  </a:lnTo>
                  <a:lnTo>
                    <a:pt x="704328" y="478352"/>
                  </a:lnTo>
                  <a:lnTo>
                    <a:pt x="967752" y="478352"/>
                  </a:lnTo>
                  <a:lnTo>
                    <a:pt x="837089" y="348386"/>
                  </a:lnTo>
                  <a:lnTo>
                    <a:pt x="696642" y="207940"/>
                  </a:lnTo>
                  <a:lnTo>
                    <a:pt x="896129" y="7937"/>
                  </a:lnTo>
                  <a:lnTo>
                    <a:pt x="907318" y="7937"/>
                  </a:lnTo>
                  <a:lnTo>
                    <a:pt x="711316" y="204446"/>
                  </a:lnTo>
                  <a:lnTo>
                    <a:pt x="974740" y="204446"/>
                  </a:lnTo>
                  <a:lnTo>
                    <a:pt x="1170742" y="7937"/>
                  </a:lnTo>
                  <a:lnTo>
                    <a:pt x="1179819" y="7937"/>
                  </a:lnTo>
                  <a:lnTo>
                    <a:pt x="981029" y="207241"/>
                  </a:lnTo>
                  <a:lnTo>
                    <a:pt x="1252140" y="477653"/>
                  </a:lnTo>
                  <a:lnTo>
                    <a:pt x="1516263" y="477653"/>
                  </a:lnTo>
                  <a:lnTo>
                    <a:pt x="1245152" y="207241"/>
                  </a:lnTo>
                  <a:lnTo>
                    <a:pt x="1443942" y="7937"/>
                  </a:lnTo>
                  <a:lnTo>
                    <a:pt x="1453410" y="7937"/>
                  </a:lnTo>
                  <a:lnTo>
                    <a:pt x="1436607" y="24870"/>
                  </a:lnTo>
                  <a:lnTo>
                    <a:pt x="1435908" y="24870"/>
                  </a:lnTo>
                  <a:lnTo>
                    <a:pt x="1258428" y="203048"/>
                  </a:lnTo>
                  <a:lnTo>
                    <a:pt x="1522551" y="203048"/>
                  </a:lnTo>
                  <a:lnTo>
                    <a:pt x="1717663" y="7937"/>
                  </a:lnTo>
                  <a:lnTo>
                    <a:pt x="1728424" y="7937"/>
                  </a:lnTo>
                  <a:lnTo>
                    <a:pt x="1620376" y="116405"/>
                  </a:lnTo>
                  <a:lnTo>
                    <a:pt x="1619677" y="116405"/>
                  </a:lnTo>
                  <a:lnTo>
                    <a:pt x="1529539" y="206542"/>
                  </a:lnTo>
                  <a:lnTo>
                    <a:pt x="1799951" y="477653"/>
                  </a:lnTo>
                  <a:lnTo>
                    <a:pt x="2064074" y="477653"/>
                  </a:lnTo>
                  <a:lnTo>
                    <a:pt x="1792964" y="207241"/>
                  </a:lnTo>
                  <a:lnTo>
                    <a:pt x="1977431" y="22774"/>
                  </a:lnTo>
                  <a:lnTo>
                    <a:pt x="1978130" y="22774"/>
                  </a:lnTo>
                  <a:lnTo>
                    <a:pt x="1992847" y="7937"/>
                  </a:lnTo>
                  <a:lnTo>
                    <a:pt x="2002247" y="7937"/>
                  </a:lnTo>
                  <a:lnTo>
                    <a:pt x="1808336" y="202349"/>
                  </a:lnTo>
                  <a:lnTo>
                    <a:pt x="2071761" y="202349"/>
                  </a:lnTo>
                  <a:lnTo>
                    <a:pt x="2266173" y="7937"/>
                  </a:lnTo>
                  <a:lnTo>
                    <a:pt x="2277539" y="7937"/>
                  </a:lnTo>
                  <a:lnTo>
                    <a:pt x="2078748" y="207241"/>
                  </a:lnTo>
                  <a:lnTo>
                    <a:pt x="2348461" y="476256"/>
                  </a:lnTo>
                  <a:lnTo>
                    <a:pt x="2611886" y="476256"/>
                  </a:lnTo>
                  <a:lnTo>
                    <a:pt x="2342872" y="207241"/>
                  </a:lnTo>
                  <a:lnTo>
                    <a:pt x="2343570" y="206542"/>
                  </a:lnTo>
                  <a:lnTo>
                    <a:pt x="2342173" y="205145"/>
                  </a:lnTo>
                  <a:lnTo>
                    <a:pt x="2538868" y="7937"/>
                  </a:lnTo>
                  <a:lnTo>
                    <a:pt x="2552152" y="7937"/>
                  </a:lnTo>
                  <a:lnTo>
                    <a:pt x="2358243" y="202349"/>
                  </a:lnTo>
                  <a:lnTo>
                    <a:pt x="2620271" y="202349"/>
                  </a:lnTo>
                  <a:lnTo>
                    <a:pt x="2814181" y="7937"/>
                  </a:lnTo>
                  <a:lnTo>
                    <a:pt x="2825540" y="7937"/>
                  </a:lnTo>
                  <a:lnTo>
                    <a:pt x="2628655" y="205843"/>
                  </a:lnTo>
                  <a:lnTo>
                    <a:pt x="2898368" y="474858"/>
                  </a:lnTo>
                  <a:lnTo>
                    <a:pt x="3163191" y="476256"/>
                  </a:lnTo>
                  <a:lnTo>
                    <a:pt x="2892081" y="205843"/>
                  </a:lnTo>
                  <a:lnTo>
                    <a:pt x="2890683" y="204446"/>
                  </a:lnTo>
                  <a:lnTo>
                    <a:pt x="3086683" y="7937"/>
                  </a:lnTo>
                  <a:lnTo>
                    <a:pt x="3097556" y="7937"/>
                  </a:lnTo>
                  <a:lnTo>
                    <a:pt x="3082137" y="23473"/>
                  </a:lnTo>
                  <a:lnTo>
                    <a:pt x="3082836" y="24172"/>
                  </a:lnTo>
                  <a:lnTo>
                    <a:pt x="2906754" y="200254"/>
                  </a:lnTo>
                  <a:lnTo>
                    <a:pt x="3103099" y="200254"/>
                  </a:lnTo>
                  <a:lnTo>
                    <a:pt x="3102401" y="201651"/>
                  </a:lnTo>
                  <a:lnTo>
                    <a:pt x="3168083" y="201651"/>
                  </a:lnTo>
                  <a:lnTo>
                    <a:pt x="3361298" y="7937"/>
                  </a:lnTo>
                  <a:lnTo>
                    <a:pt x="3371863" y="7937"/>
                  </a:lnTo>
                  <a:lnTo>
                    <a:pt x="3264508" y="115706"/>
                  </a:lnTo>
                  <a:lnTo>
                    <a:pt x="3265906" y="116405"/>
                  </a:lnTo>
                  <a:lnTo>
                    <a:pt x="3176467" y="205843"/>
                  </a:lnTo>
                  <a:lnTo>
                    <a:pt x="3446879" y="475557"/>
                  </a:lnTo>
                  <a:lnTo>
                    <a:pt x="3710303" y="475557"/>
                  </a:lnTo>
                  <a:lnTo>
                    <a:pt x="3439891" y="205843"/>
                  </a:lnTo>
                  <a:lnTo>
                    <a:pt x="3439193" y="205145"/>
                  </a:lnTo>
                  <a:lnTo>
                    <a:pt x="3635893" y="7937"/>
                  </a:lnTo>
                  <a:lnTo>
                    <a:pt x="3646183" y="7937"/>
                  </a:lnTo>
                  <a:lnTo>
                    <a:pt x="3453167" y="200953"/>
                  </a:lnTo>
                  <a:lnTo>
                    <a:pt x="3717291" y="200953"/>
                  </a:lnTo>
                  <a:lnTo>
                    <a:pt x="3910306" y="7937"/>
                  </a:lnTo>
                  <a:lnTo>
                    <a:pt x="3919582" y="7937"/>
                  </a:lnTo>
                  <a:lnTo>
                    <a:pt x="3723579" y="204446"/>
                  </a:lnTo>
                  <a:lnTo>
                    <a:pt x="3994690" y="474858"/>
                  </a:lnTo>
                  <a:lnTo>
                    <a:pt x="4258116" y="474858"/>
                  </a:lnTo>
                  <a:lnTo>
                    <a:pt x="4128150" y="344893"/>
                  </a:lnTo>
                  <a:lnTo>
                    <a:pt x="3987703" y="204446"/>
                  </a:lnTo>
                  <a:lnTo>
                    <a:pt x="4183705" y="7937"/>
                  </a:lnTo>
                  <a:lnTo>
                    <a:pt x="4194197" y="7937"/>
                  </a:lnTo>
                  <a:lnTo>
                    <a:pt x="4002377" y="200254"/>
                  </a:lnTo>
                  <a:lnTo>
                    <a:pt x="4265801" y="200254"/>
                  </a:lnTo>
                  <a:lnTo>
                    <a:pt x="4457622" y="7937"/>
                  </a:lnTo>
                  <a:lnTo>
                    <a:pt x="4467396" y="7937"/>
                  </a:lnTo>
                  <a:lnTo>
                    <a:pt x="4272090" y="203747"/>
                  </a:lnTo>
                  <a:lnTo>
                    <a:pt x="4543201" y="474159"/>
                  </a:lnTo>
                  <a:lnTo>
                    <a:pt x="4805314" y="474159"/>
                  </a:lnTo>
                  <a:lnTo>
                    <a:pt x="4803346" y="472192"/>
                  </a:lnTo>
                  <a:lnTo>
                    <a:pt x="4660106" y="329650"/>
                  </a:lnTo>
                  <a:lnTo>
                    <a:pt x="4660106" y="327321"/>
                  </a:lnTo>
                  <a:lnTo>
                    <a:pt x="4536213" y="203747"/>
                  </a:lnTo>
                  <a:lnTo>
                    <a:pt x="4660106" y="79534"/>
                  </a:lnTo>
                  <a:lnTo>
                    <a:pt x="4660106" y="76705"/>
                  </a:lnTo>
                  <a:lnTo>
                    <a:pt x="4733289" y="3175"/>
                  </a:lnTo>
                  <a:lnTo>
                    <a:pt x="4744118" y="3175"/>
                  </a:lnTo>
                  <a:lnTo>
                    <a:pt x="4739355" y="7937"/>
                  </a:lnTo>
                  <a:lnTo>
                    <a:pt x="4741807" y="7937"/>
                  </a:lnTo>
                  <a:lnTo>
                    <a:pt x="4549490" y="200254"/>
                  </a:lnTo>
                  <a:lnTo>
                    <a:pt x="4811162" y="200254"/>
                  </a:lnTo>
                  <a:lnTo>
                    <a:pt x="5008241" y="3175"/>
                  </a:lnTo>
                  <a:lnTo>
                    <a:pt x="5018721" y="3175"/>
                  </a:lnTo>
                  <a:lnTo>
                    <a:pt x="4823396" y="198500"/>
                  </a:lnTo>
                  <a:lnTo>
                    <a:pt x="4823396" y="199684"/>
                  </a:lnTo>
                  <a:lnTo>
                    <a:pt x="5086337" y="199684"/>
                  </a:lnTo>
                  <a:lnTo>
                    <a:pt x="5282338" y="3175"/>
                  </a:lnTo>
                  <a:lnTo>
                    <a:pt x="5292112" y="3175"/>
                  </a:lnTo>
                  <a:lnTo>
                    <a:pt x="5092624" y="203178"/>
                  </a:lnTo>
                  <a:lnTo>
                    <a:pt x="5364435" y="473590"/>
                  </a:lnTo>
                  <a:lnTo>
                    <a:pt x="5627858" y="473590"/>
                  </a:lnTo>
                  <a:lnTo>
                    <a:pt x="5497196" y="343624"/>
                  </a:lnTo>
                  <a:lnTo>
                    <a:pt x="5356748" y="203178"/>
                  </a:lnTo>
                  <a:lnTo>
                    <a:pt x="5556235" y="3175"/>
                  </a:lnTo>
                  <a:lnTo>
                    <a:pt x="5567425" y="3175"/>
                  </a:lnTo>
                  <a:lnTo>
                    <a:pt x="5371422" y="199684"/>
                  </a:lnTo>
                  <a:lnTo>
                    <a:pt x="5634846" y="199684"/>
                  </a:lnTo>
                  <a:lnTo>
                    <a:pt x="5830848" y="3175"/>
                  </a:lnTo>
                  <a:lnTo>
                    <a:pt x="5839925" y="3175"/>
                  </a:lnTo>
                  <a:lnTo>
                    <a:pt x="5641135" y="202479"/>
                  </a:lnTo>
                  <a:lnTo>
                    <a:pt x="5912246" y="472891"/>
                  </a:lnTo>
                  <a:lnTo>
                    <a:pt x="6176369" y="472891"/>
                  </a:lnTo>
                  <a:lnTo>
                    <a:pt x="5905258" y="202479"/>
                  </a:lnTo>
                  <a:lnTo>
                    <a:pt x="6104048" y="3175"/>
                  </a:lnTo>
                  <a:lnTo>
                    <a:pt x="6113517" y="3175"/>
                  </a:lnTo>
                  <a:lnTo>
                    <a:pt x="6096713" y="20108"/>
                  </a:lnTo>
                  <a:lnTo>
                    <a:pt x="6096014" y="20108"/>
                  </a:lnTo>
                  <a:lnTo>
                    <a:pt x="5918534" y="198286"/>
                  </a:lnTo>
                  <a:lnTo>
                    <a:pt x="6182657" y="198286"/>
                  </a:lnTo>
                  <a:lnTo>
                    <a:pt x="6377769" y="3175"/>
                  </a:lnTo>
                  <a:lnTo>
                    <a:pt x="6388531" y="3175"/>
                  </a:lnTo>
                  <a:lnTo>
                    <a:pt x="6280482" y="111643"/>
                  </a:lnTo>
                  <a:lnTo>
                    <a:pt x="6279783" y="111643"/>
                  </a:lnTo>
                  <a:lnTo>
                    <a:pt x="6189645" y="201780"/>
                  </a:lnTo>
                  <a:lnTo>
                    <a:pt x="6460057" y="472891"/>
                  </a:lnTo>
                  <a:lnTo>
                    <a:pt x="6724180" y="472891"/>
                  </a:lnTo>
                  <a:lnTo>
                    <a:pt x="6453070" y="202479"/>
                  </a:lnTo>
                  <a:lnTo>
                    <a:pt x="6637537" y="18012"/>
                  </a:lnTo>
                  <a:lnTo>
                    <a:pt x="6638236" y="18012"/>
                  </a:lnTo>
                  <a:lnTo>
                    <a:pt x="6652953" y="3175"/>
                  </a:lnTo>
                  <a:lnTo>
                    <a:pt x="6662353" y="3175"/>
                  </a:lnTo>
                  <a:lnTo>
                    <a:pt x="6468443" y="197587"/>
                  </a:lnTo>
                  <a:lnTo>
                    <a:pt x="6731868" y="197587"/>
                  </a:lnTo>
                  <a:lnTo>
                    <a:pt x="6926279" y="3175"/>
                  </a:lnTo>
                  <a:lnTo>
                    <a:pt x="6937645" y="3175"/>
                  </a:lnTo>
                  <a:lnTo>
                    <a:pt x="6738854" y="202479"/>
                  </a:lnTo>
                  <a:lnTo>
                    <a:pt x="7008567" y="471494"/>
                  </a:lnTo>
                  <a:lnTo>
                    <a:pt x="7271992" y="471494"/>
                  </a:lnTo>
                  <a:lnTo>
                    <a:pt x="7002979" y="202479"/>
                  </a:lnTo>
                  <a:lnTo>
                    <a:pt x="7003677" y="201780"/>
                  </a:lnTo>
                  <a:lnTo>
                    <a:pt x="7002279" y="200383"/>
                  </a:lnTo>
                  <a:lnTo>
                    <a:pt x="7198974" y="3175"/>
                  </a:lnTo>
                  <a:lnTo>
                    <a:pt x="7212258" y="3175"/>
                  </a:lnTo>
                  <a:lnTo>
                    <a:pt x="7018349" y="197587"/>
                  </a:lnTo>
                  <a:lnTo>
                    <a:pt x="7280377" y="197587"/>
                  </a:lnTo>
                  <a:lnTo>
                    <a:pt x="7474287" y="3175"/>
                  </a:lnTo>
                  <a:lnTo>
                    <a:pt x="7485646" y="3175"/>
                  </a:lnTo>
                  <a:lnTo>
                    <a:pt x="7288761" y="201081"/>
                  </a:lnTo>
                  <a:lnTo>
                    <a:pt x="7558474" y="470096"/>
                  </a:lnTo>
                  <a:lnTo>
                    <a:pt x="7823297" y="471494"/>
                  </a:lnTo>
                  <a:lnTo>
                    <a:pt x="7552187" y="201081"/>
                  </a:lnTo>
                  <a:lnTo>
                    <a:pt x="7550789" y="199684"/>
                  </a:lnTo>
                  <a:lnTo>
                    <a:pt x="7746789" y="3175"/>
                  </a:lnTo>
                  <a:lnTo>
                    <a:pt x="7757662" y="3175"/>
                  </a:lnTo>
                  <a:lnTo>
                    <a:pt x="7742243" y="18711"/>
                  </a:lnTo>
                  <a:lnTo>
                    <a:pt x="7742942" y="19410"/>
                  </a:lnTo>
                  <a:lnTo>
                    <a:pt x="7566860" y="195492"/>
                  </a:lnTo>
                  <a:lnTo>
                    <a:pt x="7763205" y="195492"/>
                  </a:lnTo>
                  <a:lnTo>
                    <a:pt x="7762507" y="196889"/>
                  </a:lnTo>
                  <a:lnTo>
                    <a:pt x="7828189" y="196889"/>
                  </a:lnTo>
                  <a:lnTo>
                    <a:pt x="8021404" y="3175"/>
                  </a:lnTo>
                  <a:lnTo>
                    <a:pt x="8031969" y="3175"/>
                  </a:lnTo>
                  <a:lnTo>
                    <a:pt x="7924614" y="110944"/>
                  </a:lnTo>
                  <a:lnTo>
                    <a:pt x="7926012" y="111643"/>
                  </a:lnTo>
                  <a:lnTo>
                    <a:pt x="7836573" y="201081"/>
                  </a:lnTo>
                  <a:lnTo>
                    <a:pt x="8106985" y="470795"/>
                  </a:lnTo>
                  <a:lnTo>
                    <a:pt x="8370409" y="470795"/>
                  </a:lnTo>
                  <a:lnTo>
                    <a:pt x="8099997" y="201081"/>
                  </a:lnTo>
                  <a:lnTo>
                    <a:pt x="8099299" y="200383"/>
                  </a:lnTo>
                  <a:lnTo>
                    <a:pt x="8295999" y="3175"/>
                  </a:lnTo>
                  <a:lnTo>
                    <a:pt x="8306289" y="3175"/>
                  </a:lnTo>
                  <a:lnTo>
                    <a:pt x="8113273" y="196191"/>
                  </a:lnTo>
                  <a:lnTo>
                    <a:pt x="8377397" y="196191"/>
                  </a:lnTo>
                  <a:lnTo>
                    <a:pt x="8570412" y="3175"/>
                  </a:lnTo>
                  <a:lnTo>
                    <a:pt x="8579688" y="3175"/>
                  </a:lnTo>
                  <a:lnTo>
                    <a:pt x="8383685" y="199684"/>
                  </a:lnTo>
                  <a:lnTo>
                    <a:pt x="8654796" y="470096"/>
                  </a:lnTo>
                  <a:lnTo>
                    <a:pt x="8918222" y="470096"/>
                  </a:lnTo>
                  <a:lnTo>
                    <a:pt x="8788256" y="340131"/>
                  </a:lnTo>
                  <a:lnTo>
                    <a:pt x="8647809" y="199684"/>
                  </a:lnTo>
                  <a:lnTo>
                    <a:pt x="8843811" y="3175"/>
                  </a:lnTo>
                  <a:lnTo>
                    <a:pt x="8854303" y="3175"/>
                  </a:lnTo>
                  <a:lnTo>
                    <a:pt x="8662483" y="195492"/>
                  </a:lnTo>
                  <a:lnTo>
                    <a:pt x="8925907" y="195492"/>
                  </a:lnTo>
                  <a:lnTo>
                    <a:pt x="9117728" y="3175"/>
                  </a:lnTo>
                  <a:lnTo>
                    <a:pt x="9127502" y="3175"/>
                  </a:lnTo>
                  <a:lnTo>
                    <a:pt x="8932196" y="198985"/>
                  </a:lnTo>
                  <a:lnTo>
                    <a:pt x="9203307" y="469397"/>
                  </a:lnTo>
                  <a:lnTo>
                    <a:pt x="9464143" y="469397"/>
                  </a:lnTo>
                  <a:lnTo>
                    <a:pt x="9463763" y="469017"/>
                  </a:lnTo>
                  <a:lnTo>
                    <a:pt x="9320523" y="326475"/>
                  </a:lnTo>
                  <a:lnTo>
                    <a:pt x="9320523" y="322869"/>
                  </a:lnTo>
                  <a:lnTo>
                    <a:pt x="9196319" y="198985"/>
                  </a:lnTo>
                  <a:lnTo>
                    <a:pt x="9320523" y="74460"/>
                  </a:lnTo>
                  <a:lnTo>
                    <a:pt x="9320523" y="7353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8" name="Rectangle 7">
              <a:extLst>
                <a:ext uri="{FF2B5EF4-FFF2-40B4-BE49-F238E27FC236}">
                  <a16:creationId xmlns:a16="http://schemas.microsoft.com/office/drawing/2014/main" id="{76040F1C-0A9C-4AF8-802F-A871A191E178}"/>
                </a:ext>
              </a:extLst>
            </p:cNvPr>
            <p:cNvSpPr/>
            <p:nvPr/>
          </p:nvSpPr>
          <p:spPr>
            <a:xfrm rot="16200000">
              <a:off x="3248888" y="-3342392"/>
              <a:ext cx="5684747" cy="12201256"/>
            </a:xfrm>
            <a:prstGeom prst="rect">
              <a:avLst/>
            </a:prstGeom>
            <a:gradFill flip="none" rotWithShape="1">
              <a:gsLst>
                <a:gs pos="7000">
                  <a:schemeClr val="bg1"/>
                </a:gs>
                <a:gs pos="100000">
                  <a:schemeClr val="bg1">
                    <a:shade val="100000"/>
                    <a:satMod val="115000"/>
                    <a:alpha val="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rgbClr val="FF0000"/>
                  </a:solidFill>
                </a:rPr>
                <a:t> </a:t>
              </a:r>
            </a:p>
          </p:txBody>
        </p:sp>
      </p:grpSp>
      <p:sp>
        <p:nvSpPr>
          <p:cNvPr id="9" name="Rectangle 8">
            <a:extLst>
              <a:ext uri="{FF2B5EF4-FFF2-40B4-BE49-F238E27FC236}">
                <a16:creationId xmlns:a16="http://schemas.microsoft.com/office/drawing/2014/main" id="{E4624E1C-3E69-42D0-A648-EDCC39BF6A81}"/>
              </a:ext>
            </a:extLst>
          </p:cNvPr>
          <p:cNvSpPr/>
          <p:nvPr/>
        </p:nvSpPr>
        <p:spPr bwMode="white">
          <a:xfrm>
            <a:off x="-9366" y="-99378"/>
            <a:ext cx="12201367" cy="13815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3" name="Rectangle 2" hidden="1">
            <a:extLst>
              <a:ext uri="{FF2B5EF4-FFF2-40B4-BE49-F238E27FC236}">
                <a16:creationId xmlns:a16="http://schemas.microsoft.com/office/drawing/2014/main" id="{EB495991-1E07-4639-8B3E-0877E9367090}"/>
              </a:ext>
            </a:extLst>
          </p:cNvPr>
          <p:cNvSpPr/>
          <p:nvPr>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a:xfrm>
            <a:off x="457201" y="-99379"/>
            <a:ext cx="8946033" cy="1381571"/>
          </a:xfrm>
        </p:spPr>
        <p:txBody>
          <a:bodyPr vert="horz" anchor="ctr" anchorCtr="0"/>
          <a:lstStyle>
            <a:lvl1pPr>
              <a:defRPr sz="3200">
                <a:solidFill>
                  <a:schemeClr val="bg1"/>
                </a:solidFill>
              </a:defRPr>
            </a:lvl1pPr>
          </a:lstStyle>
          <a:p>
            <a:r>
              <a:rPr lang="en-US" dirty="0"/>
              <a:t>Click to edit Master title style</a:t>
            </a:r>
          </a:p>
        </p:txBody>
      </p:sp>
      <p:sp>
        <p:nvSpPr>
          <p:cNvPr id="15" name="Rectangle 14" hidden="1">
            <a:extLst>
              <a:ext uri="{FF2B5EF4-FFF2-40B4-BE49-F238E27FC236}">
                <a16:creationId xmlns:a16="http://schemas.microsoft.com/office/drawing/2014/main" id="{6BEFB06B-0CF5-4D94-8633-7B4DA2DCECBD}"/>
              </a:ext>
            </a:extLst>
          </p:cNvPr>
          <p:cNvSpPr/>
          <p:nvPr userDrawn="1">
            <p:custDataLst>
              <p:tags r:id="rId3"/>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Tree>
    <p:extLst>
      <p:ext uri="{BB962C8B-B14F-4D97-AF65-F5344CB8AC3E}">
        <p14:creationId xmlns:p14="http://schemas.microsoft.com/office/powerpoint/2010/main" val="1219727793"/>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88129-9522-48B2-BB7C-F82AD9E4E52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CA0DDE4-EFA9-465A-8952-427E623576C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290304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1_Practice Area Master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p:custDataLst>
              <p:tags r:id="rId1"/>
            </p:custDataLst>
            <p:extLst>
              <p:ext uri="{D42A27DB-BD31-4B8C-83A1-F6EECF244321}">
                <p14:modId xmlns:p14="http://schemas.microsoft.com/office/powerpoint/2010/main" val="3325561404"/>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14674BC2-E50F-4B30-8010-E785F2B1A9F2}"/>
              </a:ext>
            </a:extLst>
          </p:cNvPr>
          <p:cNvGrpSpPr/>
          <p:nvPr/>
        </p:nvGrpSpPr>
        <p:grpSpPr>
          <a:xfrm>
            <a:off x="0" y="42672"/>
            <a:ext cx="6676008" cy="6457188"/>
            <a:chOff x="0" y="0"/>
            <a:chExt cx="6676008" cy="6515100"/>
          </a:xfrm>
        </p:grpSpPr>
        <p:sp>
          <p:nvSpPr>
            <p:cNvPr id="7" name="Freeform: Shape 6">
              <a:extLst>
                <a:ext uri="{FF2B5EF4-FFF2-40B4-BE49-F238E27FC236}">
                  <a16:creationId xmlns:a16="http://schemas.microsoft.com/office/drawing/2014/main" id="{94365968-5CF1-4ABD-B1A5-BA2EAB122F0E}"/>
                </a:ext>
              </a:extLst>
            </p:cNvPr>
            <p:cNvSpPr/>
            <p:nvPr/>
          </p:nvSpPr>
          <p:spPr>
            <a:xfrm>
              <a:off x="0" y="0"/>
              <a:ext cx="4829175" cy="6515100"/>
            </a:xfrm>
            <a:custGeom>
              <a:avLst/>
              <a:gdLst>
                <a:gd name="connsiteX0" fmla="*/ 700271 w 4829175"/>
                <a:gd name="connsiteY0" fmla="*/ 6501824 h 6515100"/>
                <a:gd name="connsiteX1" fmla="*/ 714941 w 4829175"/>
                <a:gd name="connsiteY1" fmla="*/ 6508865 h 6515100"/>
                <a:gd name="connsiteX2" fmla="*/ 710807 w 4829175"/>
                <a:gd name="connsiteY2" fmla="*/ 6508865 h 6515100"/>
                <a:gd name="connsiteX3" fmla="*/ 704588 w 4829175"/>
                <a:gd name="connsiteY3" fmla="*/ 6515100 h 6515100"/>
                <a:gd name="connsiteX4" fmla="*/ 694116 w 4829175"/>
                <a:gd name="connsiteY4" fmla="*/ 6515100 h 6515100"/>
                <a:gd name="connsiteX5" fmla="*/ 703819 w 4829175"/>
                <a:gd name="connsiteY5" fmla="*/ 6505372 h 6515100"/>
                <a:gd name="connsiteX6" fmla="*/ 710108 w 4829175"/>
                <a:gd name="connsiteY6" fmla="*/ 5961753 h 6515100"/>
                <a:gd name="connsiteX7" fmla="*/ 439696 w 4829175"/>
                <a:gd name="connsiteY7" fmla="*/ 6232863 h 6515100"/>
                <a:gd name="connsiteX8" fmla="*/ 710807 w 4829175"/>
                <a:gd name="connsiteY8" fmla="*/ 6503275 h 6515100"/>
                <a:gd name="connsiteX9" fmla="*/ 974930 w 4829175"/>
                <a:gd name="connsiteY9" fmla="*/ 6503275 h 6515100"/>
                <a:gd name="connsiteX10" fmla="*/ 703819 w 4829175"/>
                <a:gd name="connsiteY10" fmla="*/ 6232863 h 6515100"/>
                <a:gd name="connsiteX11" fmla="*/ 974231 w 4829175"/>
                <a:gd name="connsiteY11" fmla="*/ 5961753 h 6515100"/>
                <a:gd name="connsiteX12" fmla="*/ 1807827 w 4829175"/>
                <a:gd name="connsiteY12" fmla="*/ 5961054 h 6515100"/>
                <a:gd name="connsiteX13" fmla="*/ 1537414 w 4829175"/>
                <a:gd name="connsiteY13" fmla="*/ 6232165 h 6515100"/>
                <a:gd name="connsiteX14" fmla="*/ 1808526 w 4829175"/>
                <a:gd name="connsiteY14" fmla="*/ 6502577 h 6515100"/>
                <a:gd name="connsiteX15" fmla="*/ 2072648 w 4829175"/>
                <a:gd name="connsiteY15" fmla="*/ 6502577 h 6515100"/>
                <a:gd name="connsiteX16" fmla="*/ 1801539 w 4829175"/>
                <a:gd name="connsiteY16" fmla="*/ 6232165 h 6515100"/>
                <a:gd name="connsiteX17" fmla="*/ 2071951 w 4829175"/>
                <a:gd name="connsiteY17" fmla="*/ 5961054 h 6515100"/>
                <a:gd name="connsiteX18" fmla="*/ 1257919 w 4829175"/>
                <a:gd name="connsiteY18" fmla="*/ 5961054 h 6515100"/>
                <a:gd name="connsiteX19" fmla="*/ 988206 w 4829175"/>
                <a:gd name="connsiteY19" fmla="*/ 6232165 h 6515100"/>
                <a:gd name="connsiteX20" fmla="*/ 1188744 w 4829175"/>
                <a:gd name="connsiteY20" fmla="*/ 6432703 h 6515100"/>
                <a:gd name="connsiteX21" fmla="*/ 1259317 w 4829175"/>
                <a:gd name="connsiteY21" fmla="*/ 6502577 h 6515100"/>
                <a:gd name="connsiteX22" fmla="*/ 1327793 w 4829175"/>
                <a:gd name="connsiteY22" fmla="*/ 6502577 h 6515100"/>
                <a:gd name="connsiteX23" fmla="*/ 1327094 w 4829175"/>
                <a:gd name="connsiteY23" fmla="*/ 6503974 h 6515100"/>
                <a:gd name="connsiteX24" fmla="*/ 1524139 w 4829175"/>
                <a:gd name="connsiteY24" fmla="*/ 6503974 h 6515100"/>
                <a:gd name="connsiteX25" fmla="*/ 1253028 w 4829175"/>
                <a:gd name="connsiteY25" fmla="*/ 6233562 h 6515100"/>
                <a:gd name="connsiteX26" fmla="*/ 1253727 w 4829175"/>
                <a:gd name="connsiteY26" fmla="*/ 6232863 h 6515100"/>
                <a:gd name="connsiteX27" fmla="*/ 1251631 w 4829175"/>
                <a:gd name="connsiteY27" fmla="*/ 6232165 h 6515100"/>
                <a:gd name="connsiteX28" fmla="*/ 1522043 w 4829175"/>
                <a:gd name="connsiteY28" fmla="*/ 5961054 h 6515100"/>
                <a:gd name="connsiteX29" fmla="*/ 2904847 w 4829175"/>
                <a:gd name="connsiteY29" fmla="*/ 5960355 h 6515100"/>
                <a:gd name="connsiteX30" fmla="*/ 2634435 w 4829175"/>
                <a:gd name="connsiteY30" fmla="*/ 6231466 h 6515100"/>
                <a:gd name="connsiteX31" fmla="*/ 2905546 w 4829175"/>
                <a:gd name="connsiteY31" fmla="*/ 6501878 h 6515100"/>
                <a:gd name="connsiteX32" fmla="*/ 3169669 w 4829175"/>
                <a:gd name="connsiteY32" fmla="*/ 6501878 h 6515100"/>
                <a:gd name="connsiteX33" fmla="*/ 2898558 w 4829175"/>
                <a:gd name="connsiteY33" fmla="*/ 6231466 h 6515100"/>
                <a:gd name="connsiteX34" fmla="*/ 3168970 w 4829175"/>
                <a:gd name="connsiteY34" fmla="*/ 5960355 h 6515100"/>
                <a:gd name="connsiteX35" fmla="*/ 2356338 w 4829175"/>
                <a:gd name="connsiteY35" fmla="*/ 5960355 h 6515100"/>
                <a:gd name="connsiteX36" fmla="*/ 2085925 w 4829175"/>
                <a:gd name="connsiteY36" fmla="*/ 6231466 h 6515100"/>
                <a:gd name="connsiteX37" fmla="*/ 2357035 w 4829175"/>
                <a:gd name="connsiteY37" fmla="*/ 6501878 h 6515100"/>
                <a:gd name="connsiteX38" fmla="*/ 2620460 w 4829175"/>
                <a:gd name="connsiteY38" fmla="*/ 6501878 h 6515100"/>
                <a:gd name="connsiteX39" fmla="*/ 2490495 w 4829175"/>
                <a:gd name="connsiteY39" fmla="*/ 6371913 h 6515100"/>
                <a:gd name="connsiteX40" fmla="*/ 2350049 w 4829175"/>
                <a:gd name="connsiteY40" fmla="*/ 6231466 h 6515100"/>
                <a:gd name="connsiteX41" fmla="*/ 2620460 w 4829175"/>
                <a:gd name="connsiteY41" fmla="*/ 5960355 h 6515100"/>
                <a:gd name="connsiteX42" fmla="*/ 3453357 w 4829175"/>
                <a:gd name="connsiteY42" fmla="*/ 5959656 h 6515100"/>
                <a:gd name="connsiteX43" fmla="*/ 3182945 w 4829175"/>
                <a:gd name="connsiteY43" fmla="*/ 6230767 h 6515100"/>
                <a:gd name="connsiteX44" fmla="*/ 3454056 w 4829175"/>
                <a:gd name="connsiteY44" fmla="*/ 6500480 h 6515100"/>
                <a:gd name="connsiteX45" fmla="*/ 3718179 w 4829175"/>
                <a:gd name="connsiteY45" fmla="*/ 6500480 h 6515100"/>
                <a:gd name="connsiteX46" fmla="*/ 3447069 w 4829175"/>
                <a:gd name="connsiteY46" fmla="*/ 6230069 h 6515100"/>
                <a:gd name="connsiteX47" fmla="*/ 3631536 w 4829175"/>
                <a:gd name="connsiteY47" fmla="*/ 6045602 h 6515100"/>
                <a:gd name="connsiteX48" fmla="*/ 3717481 w 4829175"/>
                <a:gd name="connsiteY48" fmla="*/ 5959656 h 6515100"/>
                <a:gd name="connsiteX49" fmla="*/ 4550378 w 4829175"/>
                <a:gd name="connsiteY49" fmla="*/ 5958259 h 6515100"/>
                <a:gd name="connsiteX50" fmla="*/ 4279966 w 4829175"/>
                <a:gd name="connsiteY50" fmla="*/ 6229370 h 6515100"/>
                <a:gd name="connsiteX51" fmla="*/ 4551077 w 4829175"/>
                <a:gd name="connsiteY51" fmla="*/ 6499083 h 6515100"/>
                <a:gd name="connsiteX52" fmla="*/ 4815200 w 4829175"/>
                <a:gd name="connsiteY52" fmla="*/ 6499083 h 6515100"/>
                <a:gd name="connsiteX53" fmla="*/ 4544089 w 4829175"/>
                <a:gd name="connsiteY53" fmla="*/ 6228671 h 6515100"/>
                <a:gd name="connsiteX54" fmla="*/ 4814501 w 4829175"/>
                <a:gd name="connsiteY54" fmla="*/ 5958259 h 6515100"/>
                <a:gd name="connsiteX55" fmla="*/ 169284 w 4829175"/>
                <a:gd name="connsiteY55" fmla="*/ 5687847 h 6515100"/>
                <a:gd name="connsiteX56" fmla="*/ 299249 w 4829175"/>
                <a:gd name="connsiteY56" fmla="*/ 5817813 h 6515100"/>
                <a:gd name="connsiteX57" fmla="*/ 439696 w 4829175"/>
                <a:gd name="connsiteY57" fmla="*/ 5958259 h 6515100"/>
                <a:gd name="connsiteX58" fmla="*/ 169284 w 4829175"/>
                <a:gd name="connsiteY58" fmla="*/ 6229370 h 6515100"/>
                <a:gd name="connsiteX59" fmla="*/ 433407 w 4829175"/>
                <a:gd name="connsiteY59" fmla="*/ 6229370 h 6515100"/>
                <a:gd name="connsiteX60" fmla="*/ 703819 w 4829175"/>
                <a:gd name="connsiteY60" fmla="*/ 5958259 h 6515100"/>
                <a:gd name="connsiteX61" fmla="*/ 432708 w 4829175"/>
                <a:gd name="connsiteY61" fmla="*/ 5687847 h 6515100"/>
                <a:gd name="connsiteX62" fmla="*/ 1814814 w 4829175"/>
                <a:gd name="connsiteY62" fmla="*/ 5687149 h 6515100"/>
                <a:gd name="connsiteX63" fmla="*/ 2085925 w 4829175"/>
                <a:gd name="connsiteY63" fmla="*/ 5957561 h 6515100"/>
                <a:gd name="connsiteX64" fmla="*/ 1815513 w 4829175"/>
                <a:gd name="connsiteY64" fmla="*/ 6227973 h 6515100"/>
                <a:gd name="connsiteX65" fmla="*/ 2079636 w 4829175"/>
                <a:gd name="connsiteY65" fmla="*/ 6227973 h 6515100"/>
                <a:gd name="connsiteX66" fmla="*/ 2350049 w 4829175"/>
                <a:gd name="connsiteY66" fmla="*/ 5957561 h 6515100"/>
                <a:gd name="connsiteX67" fmla="*/ 2078937 w 4829175"/>
                <a:gd name="connsiteY67" fmla="*/ 5687149 h 6515100"/>
                <a:gd name="connsiteX68" fmla="*/ 717095 w 4829175"/>
                <a:gd name="connsiteY68" fmla="*/ 5687149 h 6515100"/>
                <a:gd name="connsiteX69" fmla="*/ 988206 w 4829175"/>
                <a:gd name="connsiteY69" fmla="*/ 5957561 h 6515100"/>
                <a:gd name="connsiteX70" fmla="*/ 717794 w 4829175"/>
                <a:gd name="connsiteY70" fmla="*/ 6228671 h 6515100"/>
                <a:gd name="connsiteX71" fmla="*/ 981917 w 4829175"/>
                <a:gd name="connsiteY71" fmla="*/ 6228671 h 6515100"/>
                <a:gd name="connsiteX72" fmla="*/ 1252329 w 4829175"/>
                <a:gd name="connsiteY72" fmla="*/ 5957561 h 6515100"/>
                <a:gd name="connsiteX73" fmla="*/ 981219 w 4829175"/>
                <a:gd name="connsiteY73" fmla="*/ 5687149 h 6515100"/>
                <a:gd name="connsiteX74" fmla="*/ 2363324 w 4829175"/>
                <a:gd name="connsiteY74" fmla="*/ 5686450 h 6515100"/>
                <a:gd name="connsiteX75" fmla="*/ 2634435 w 4829175"/>
                <a:gd name="connsiteY75" fmla="*/ 5956862 h 6515100"/>
                <a:gd name="connsiteX76" fmla="*/ 2364722 w 4829175"/>
                <a:gd name="connsiteY76" fmla="*/ 6227973 h 6515100"/>
                <a:gd name="connsiteX77" fmla="*/ 2628146 w 4829175"/>
                <a:gd name="connsiteY77" fmla="*/ 6227973 h 6515100"/>
                <a:gd name="connsiteX78" fmla="*/ 2898558 w 4829175"/>
                <a:gd name="connsiteY78" fmla="*/ 5956862 h 6515100"/>
                <a:gd name="connsiteX79" fmla="*/ 2764401 w 4829175"/>
                <a:gd name="connsiteY79" fmla="*/ 5823402 h 6515100"/>
                <a:gd name="connsiteX80" fmla="*/ 2627447 w 4829175"/>
                <a:gd name="connsiteY80" fmla="*/ 5686450 h 6515100"/>
                <a:gd name="connsiteX81" fmla="*/ 2911834 w 4829175"/>
                <a:gd name="connsiteY81" fmla="*/ 5685751 h 6515100"/>
                <a:gd name="connsiteX82" fmla="*/ 2913232 w 4829175"/>
                <a:gd name="connsiteY82" fmla="*/ 5687149 h 6515100"/>
                <a:gd name="connsiteX83" fmla="*/ 3182945 w 4829175"/>
                <a:gd name="connsiteY83" fmla="*/ 5956163 h 6515100"/>
                <a:gd name="connsiteX84" fmla="*/ 2912533 w 4829175"/>
                <a:gd name="connsiteY84" fmla="*/ 6226575 h 6515100"/>
                <a:gd name="connsiteX85" fmla="*/ 3176657 w 4829175"/>
                <a:gd name="connsiteY85" fmla="*/ 6226575 h 6515100"/>
                <a:gd name="connsiteX86" fmla="*/ 3447069 w 4829175"/>
                <a:gd name="connsiteY86" fmla="*/ 5956163 h 6515100"/>
                <a:gd name="connsiteX87" fmla="*/ 3441479 w 4829175"/>
                <a:gd name="connsiteY87" fmla="*/ 5951272 h 6515100"/>
                <a:gd name="connsiteX88" fmla="*/ 3175958 w 4829175"/>
                <a:gd name="connsiteY88" fmla="*/ 5685751 h 6515100"/>
                <a:gd name="connsiteX89" fmla="*/ 1530428 w 4829175"/>
                <a:gd name="connsiteY89" fmla="*/ 5685751 h 6515100"/>
                <a:gd name="connsiteX90" fmla="*/ 1529030 w 4829175"/>
                <a:gd name="connsiteY90" fmla="*/ 5686450 h 6515100"/>
                <a:gd name="connsiteX91" fmla="*/ 1264907 w 4829175"/>
                <a:gd name="connsiteY91" fmla="*/ 5686450 h 6515100"/>
                <a:gd name="connsiteX92" fmla="*/ 1536018 w 4829175"/>
                <a:gd name="connsiteY92" fmla="*/ 5956862 h 6515100"/>
                <a:gd name="connsiteX93" fmla="*/ 1531824 w 4829175"/>
                <a:gd name="connsiteY93" fmla="*/ 5961054 h 6515100"/>
                <a:gd name="connsiteX94" fmla="*/ 1537414 w 4829175"/>
                <a:gd name="connsiteY94" fmla="*/ 5958259 h 6515100"/>
                <a:gd name="connsiteX95" fmla="*/ 1267002 w 4829175"/>
                <a:gd name="connsiteY95" fmla="*/ 6229370 h 6515100"/>
                <a:gd name="connsiteX96" fmla="*/ 1531127 w 4829175"/>
                <a:gd name="connsiteY96" fmla="*/ 6229370 h 6515100"/>
                <a:gd name="connsiteX97" fmla="*/ 1801539 w 4829175"/>
                <a:gd name="connsiteY97" fmla="*/ 5958259 h 6515100"/>
                <a:gd name="connsiteX98" fmla="*/ 1530428 w 4829175"/>
                <a:gd name="connsiteY98" fmla="*/ 5687847 h 6515100"/>
                <a:gd name="connsiteX99" fmla="*/ 3459646 w 4829175"/>
                <a:gd name="connsiteY99" fmla="*/ 5685052 h 6515100"/>
                <a:gd name="connsiteX100" fmla="*/ 3730757 w 4829175"/>
                <a:gd name="connsiteY100" fmla="*/ 5955464 h 6515100"/>
                <a:gd name="connsiteX101" fmla="*/ 3727962 w 4829175"/>
                <a:gd name="connsiteY101" fmla="*/ 5958259 h 6515100"/>
                <a:gd name="connsiteX102" fmla="*/ 3637825 w 4829175"/>
                <a:gd name="connsiteY102" fmla="*/ 6049095 h 6515100"/>
                <a:gd name="connsiteX103" fmla="*/ 3460345 w 4829175"/>
                <a:gd name="connsiteY103" fmla="*/ 6225876 h 6515100"/>
                <a:gd name="connsiteX104" fmla="*/ 3724468 w 4829175"/>
                <a:gd name="connsiteY104" fmla="*/ 6225876 h 6515100"/>
                <a:gd name="connsiteX105" fmla="*/ 3813907 w 4829175"/>
                <a:gd name="connsiteY105" fmla="*/ 6136437 h 6515100"/>
                <a:gd name="connsiteX106" fmla="*/ 3994880 w 4829175"/>
                <a:gd name="connsiteY106" fmla="*/ 5955464 h 6515100"/>
                <a:gd name="connsiteX107" fmla="*/ 3723769 w 4829175"/>
                <a:gd name="connsiteY107" fmla="*/ 5685052 h 6515100"/>
                <a:gd name="connsiteX108" fmla="*/ 1807128 w 4829175"/>
                <a:gd name="connsiteY108" fmla="*/ 5412543 h 6515100"/>
                <a:gd name="connsiteX109" fmla="*/ 1536716 w 4829175"/>
                <a:gd name="connsiteY109" fmla="*/ 5683654 h 6515100"/>
                <a:gd name="connsiteX110" fmla="*/ 1807827 w 4829175"/>
                <a:gd name="connsiteY110" fmla="*/ 5954066 h 6515100"/>
                <a:gd name="connsiteX111" fmla="*/ 2071951 w 4829175"/>
                <a:gd name="connsiteY111" fmla="*/ 5954066 h 6515100"/>
                <a:gd name="connsiteX112" fmla="*/ 1800840 w 4829175"/>
                <a:gd name="connsiteY112" fmla="*/ 5683654 h 6515100"/>
                <a:gd name="connsiteX113" fmla="*/ 2071252 w 4829175"/>
                <a:gd name="connsiteY113" fmla="*/ 5412543 h 6515100"/>
                <a:gd name="connsiteX114" fmla="*/ 709409 w 4829175"/>
                <a:gd name="connsiteY114" fmla="*/ 5412543 h 6515100"/>
                <a:gd name="connsiteX115" fmla="*/ 438997 w 4829175"/>
                <a:gd name="connsiteY115" fmla="*/ 5683654 h 6515100"/>
                <a:gd name="connsiteX116" fmla="*/ 710108 w 4829175"/>
                <a:gd name="connsiteY116" fmla="*/ 5954066 h 6515100"/>
                <a:gd name="connsiteX117" fmla="*/ 974231 w 4829175"/>
                <a:gd name="connsiteY117" fmla="*/ 5954066 h 6515100"/>
                <a:gd name="connsiteX118" fmla="*/ 703120 w 4829175"/>
                <a:gd name="connsiteY118" fmla="*/ 5683654 h 6515100"/>
                <a:gd name="connsiteX119" fmla="*/ 972833 w 4829175"/>
                <a:gd name="connsiteY119" fmla="*/ 5412543 h 6515100"/>
                <a:gd name="connsiteX120" fmla="*/ 2904148 w 4829175"/>
                <a:gd name="connsiteY120" fmla="*/ 5411845 h 6515100"/>
                <a:gd name="connsiteX121" fmla="*/ 2723874 w 4829175"/>
                <a:gd name="connsiteY121" fmla="*/ 5592120 h 6515100"/>
                <a:gd name="connsiteX122" fmla="*/ 2634435 w 4829175"/>
                <a:gd name="connsiteY122" fmla="*/ 5682258 h 6515100"/>
                <a:gd name="connsiteX123" fmla="*/ 2768593 w 4829175"/>
                <a:gd name="connsiteY123" fmla="*/ 5815716 h 6515100"/>
                <a:gd name="connsiteX124" fmla="*/ 2905546 w 4829175"/>
                <a:gd name="connsiteY124" fmla="*/ 5952669 h 6515100"/>
                <a:gd name="connsiteX125" fmla="*/ 3169669 w 4829175"/>
                <a:gd name="connsiteY125" fmla="*/ 5952669 h 6515100"/>
                <a:gd name="connsiteX126" fmla="*/ 2898558 w 4829175"/>
                <a:gd name="connsiteY126" fmla="*/ 5682258 h 6515100"/>
                <a:gd name="connsiteX127" fmla="*/ 2899956 w 4829175"/>
                <a:gd name="connsiteY127" fmla="*/ 5680860 h 6515100"/>
                <a:gd name="connsiteX128" fmla="*/ 3168271 w 4829175"/>
                <a:gd name="connsiteY128" fmla="*/ 5411845 h 6515100"/>
                <a:gd name="connsiteX129" fmla="*/ 2355639 w 4829175"/>
                <a:gd name="connsiteY129" fmla="*/ 5411845 h 6515100"/>
                <a:gd name="connsiteX130" fmla="*/ 2085226 w 4829175"/>
                <a:gd name="connsiteY130" fmla="*/ 5682955 h 6515100"/>
                <a:gd name="connsiteX131" fmla="*/ 2356338 w 4829175"/>
                <a:gd name="connsiteY131" fmla="*/ 5953367 h 6515100"/>
                <a:gd name="connsiteX132" fmla="*/ 2620460 w 4829175"/>
                <a:gd name="connsiteY132" fmla="*/ 5953367 h 6515100"/>
                <a:gd name="connsiteX133" fmla="*/ 2349350 w 4829175"/>
                <a:gd name="connsiteY133" fmla="*/ 5682955 h 6515100"/>
                <a:gd name="connsiteX134" fmla="*/ 2533816 w 4829175"/>
                <a:gd name="connsiteY134" fmla="*/ 5498489 h 6515100"/>
                <a:gd name="connsiteX135" fmla="*/ 2619762 w 4829175"/>
                <a:gd name="connsiteY135" fmla="*/ 5412543 h 6515100"/>
                <a:gd name="connsiteX136" fmla="*/ 2361229 w 4829175"/>
                <a:gd name="connsiteY136" fmla="*/ 5412543 h 6515100"/>
                <a:gd name="connsiteX137" fmla="*/ 1257919 w 4829175"/>
                <a:gd name="connsiteY137" fmla="*/ 5411845 h 6515100"/>
                <a:gd name="connsiteX138" fmla="*/ 987507 w 4829175"/>
                <a:gd name="connsiteY138" fmla="*/ 5682955 h 6515100"/>
                <a:gd name="connsiteX139" fmla="*/ 1258618 w 4829175"/>
                <a:gd name="connsiteY139" fmla="*/ 5953367 h 6515100"/>
                <a:gd name="connsiteX140" fmla="*/ 1522741 w 4829175"/>
                <a:gd name="connsiteY140" fmla="*/ 5953367 h 6515100"/>
                <a:gd name="connsiteX141" fmla="*/ 1251631 w 4829175"/>
                <a:gd name="connsiteY141" fmla="*/ 5682955 h 6515100"/>
                <a:gd name="connsiteX142" fmla="*/ 1436098 w 4829175"/>
                <a:gd name="connsiteY142" fmla="*/ 5498489 h 6515100"/>
                <a:gd name="connsiteX143" fmla="*/ 1522043 w 4829175"/>
                <a:gd name="connsiteY143" fmla="*/ 5411845 h 6515100"/>
                <a:gd name="connsiteX144" fmla="*/ 3452658 w 4829175"/>
                <a:gd name="connsiteY144" fmla="*/ 5411147 h 6515100"/>
                <a:gd name="connsiteX145" fmla="*/ 3182246 w 4829175"/>
                <a:gd name="connsiteY145" fmla="*/ 5682258 h 6515100"/>
                <a:gd name="connsiteX146" fmla="*/ 3453357 w 4829175"/>
                <a:gd name="connsiteY146" fmla="*/ 5952669 h 6515100"/>
                <a:gd name="connsiteX147" fmla="*/ 3717481 w 4829175"/>
                <a:gd name="connsiteY147" fmla="*/ 5952669 h 6515100"/>
                <a:gd name="connsiteX148" fmla="*/ 3446370 w 4829175"/>
                <a:gd name="connsiteY148" fmla="*/ 5682258 h 6515100"/>
                <a:gd name="connsiteX149" fmla="*/ 3716782 w 4829175"/>
                <a:gd name="connsiteY149" fmla="*/ 5411147 h 6515100"/>
                <a:gd name="connsiteX150" fmla="*/ 4549679 w 4829175"/>
                <a:gd name="connsiteY150" fmla="*/ 5409749 h 6515100"/>
                <a:gd name="connsiteX151" fmla="*/ 4279267 w 4829175"/>
                <a:gd name="connsiteY151" fmla="*/ 5680860 h 6515100"/>
                <a:gd name="connsiteX152" fmla="*/ 4550378 w 4829175"/>
                <a:gd name="connsiteY152" fmla="*/ 5951272 h 6515100"/>
                <a:gd name="connsiteX153" fmla="*/ 4814501 w 4829175"/>
                <a:gd name="connsiteY153" fmla="*/ 5951272 h 6515100"/>
                <a:gd name="connsiteX154" fmla="*/ 4543391 w 4829175"/>
                <a:gd name="connsiteY154" fmla="*/ 5680860 h 6515100"/>
                <a:gd name="connsiteX155" fmla="*/ 4727858 w 4829175"/>
                <a:gd name="connsiteY155" fmla="*/ 5495694 h 6515100"/>
                <a:gd name="connsiteX156" fmla="*/ 4727159 w 4829175"/>
                <a:gd name="connsiteY156" fmla="*/ 5494995 h 6515100"/>
                <a:gd name="connsiteX157" fmla="*/ 4812405 w 4829175"/>
                <a:gd name="connsiteY157" fmla="*/ 5409749 h 6515100"/>
                <a:gd name="connsiteX158" fmla="*/ 167886 w 4829175"/>
                <a:gd name="connsiteY158" fmla="*/ 5139337 h 6515100"/>
                <a:gd name="connsiteX159" fmla="*/ 438997 w 4829175"/>
                <a:gd name="connsiteY159" fmla="*/ 5409749 h 6515100"/>
                <a:gd name="connsiteX160" fmla="*/ 169284 w 4829175"/>
                <a:gd name="connsiteY160" fmla="*/ 5680860 h 6515100"/>
                <a:gd name="connsiteX161" fmla="*/ 432708 w 4829175"/>
                <a:gd name="connsiteY161" fmla="*/ 5680860 h 6515100"/>
                <a:gd name="connsiteX162" fmla="*/ 703120 w 4829175"/>
                <a:gd name="connsiteY162" fmla="*/ 5409749 h 6515100"/>
                <a:gd name="connsiteX163" fmla="*/ 568962 w 4829175"/>
                <a:gd name="connsiteY163" fmla="*/ 5276290 h 6515100"/>
                <a:gd name="connsiteX164" fmla="*/ 432009 w 4829175"/>
                <a:gd name="connsiteY164" fmla="*/ 5139337 h 6515100"/>
                <a:gd name="connsiteX165" fmla="*/ 1814116 w 4829175"/>
                <a:gd name="connsiteY165" fmla="*/ 5138638 h 6515100"/>
                <a:gd name="connsiteX166" fmla="*/ 1942683 w 4829175"/>
                <a:gd name="connsiteY166" fmla="*/ 5267207 h 6515100"/>
                <a:gd name="connsiteX167" fmla="*/ 2084528 w 4829175"/>
                <a:gd name="connsiteY167" fmla="*/ 5409050 h 6515100"/>
                <a:gd name="connsiteX168" fmla="*/ 1814116 w 4829175"/>
                <a:gd name="connsiteY168" fmla="*/ 5680161 h 6515100"/>
                <a:gd name="connsiteX169" fmla="*/ 2078239 w 4829175"/>
                <a:gd name="connsiteY169" fmla="*/ 5680161 h 6515100"/>
                <a:gd name="connsiteX170" fmla="*/ 2348651 w 4829175"/>
                <a:gd name="connsiteY170" fmla="*/ 5409050 h 6515100"/>
                <a:gd name="connsiteX171" fmla="*/ 2343759 w 4829175"/>
                <a:gd name="connsiteY171" fmla="*/ 5404159 h 6515100"/>
                <a:gd name="connsiteX172" fmla="*/ 2078239 w 4829175"/>
                <a:gd name="connsiteY172" fmla="*/ 5138638 h 6515100"/>
                <a:gd name="connsiteX173" fmla="*/ 2362625 w 4829175"/>
                <a:gd name="connsiteY173" fmla="*/ 5137939 h 6515100"/>
                <a:gd name="connsiteX174" fmla="*/ 2633736 w 4829175"/>
                <a:gd name="connsiteY174" fmla="*/ 5407653 h 6515100"/>
                <a:gd name="connsiteX175" fmla="*/ 2630942 w 4829175"/>
                <a:gd name="connsiteY175" fmla="*/ 5410448 h 6515100"/>
                <a:gd name="connsiteX176" fmla="*/ 2540804 w 4829175"/>
                <a:gd name="connsiteY176" fmla="*/ 5501283 h 6515100"/>
                <a:gd name="connsiteX177" fmla="*/ 2363324 w 4829175"/>
                <a:gd name="connsiteY177" fmla="*/ 5678763 h 6515100"/>
                <a:gd name="connsiteX178" fmla="*/ 2627447 w 4829175"/>
                <a:gd name="connsiteY178" fmla="*/ 5678763 h 6515100"/>
                <a:gd name="connsiteX179" fmla="*/ 2716886 w 4829175"/>
                <a:gd name="connsiteY179" fmla="*/ 5589325 h 6515100"/>
                <a:gd name="connsiteX180" fmla="*/ 2897859 w 4829175"/>
                <a:gd name="connsiteY180" fmla="*/ 5408351 h 6515100"/>
                <a:gd name="connsiteX181" fmla="*/ 2626749 w 4829175"/>
                <a:gd name="connsiteY181" fmla="*/ 5137939 h 6515100"/>
                <a:gd name="connsiteX182" fmla="*/ 1264208 w 4829175"/>
                <a:gd name="connsiteY182" fmla="*/ 5137939 h 6515100"/>
                <a:gd name="connsiteX183" fmla="*/ 1535319 w 4829175"/>
                <a:gd name="connsiteY183" fmla="*/ 5407653 h 6515100"/>
                <a:gd name="connsiteX184" fmla="*/ 1532523 w 4829175"/>
                <a:gd name="connsiteY184" fmla="*/ 5410448 h 6515100"/>
                <a:gd name="connsiteX185" fmla="*/ 1442387 w 4829175"/>
                <a:gd name="connsiteY185" fmla="*/ 5501283 h 6515100"/>
                <a:gd name="connsiteX186" fmla="*/ 1264907 w 4829175"/>
                <a:gd name="connsiteY186" fmla="*/ 5678763 h 6515100"/>
                <a:gd name="connsiteX187" fmla="*/ 1529030 w 4829175"/>
                <a:gd name="connsiteY187" fmla="*/ 5678763 h 6515100"/>
                <a:gd name="connsiteX188" fmla="*/ 1618469 w 4829175"/>
                <a:gd name="connsiteY188" fmla="*/ 5589325 h 6515100"/>
                <a:gd name="connsiteX189" fmla="*/ 1799442 w 4829175"/>
                <a:gd name="connsiteY189" fmla="*/ 5408351 h 6515100"/>
                <a:gd name="connsiteX190" fmla="*/ 1528331 w 4829175"/>
                <a:gd name="connsiteY190" fmla="*/ 5137939 h 6515100"/>
                <a:gd name="connsiteX191" fmla="*/ 715697 w 4829175"/>
                <a:gd name="connsiteY191" fmla="*/ 5137939 h 6515100"/>
                <a:gd name="connsiteX192" fmla="*/ 717095 w 4829175"/>
                <a:gd name="connsiteY192" fmla="*/ 5139337 h 6515100"/>
                <a:gd name="connsiteX193" fmla="*/ 986808 w 4829175"/>
                <a:gd name="connsiteY193" fmla="*/ 5408351 h 6515100"/>
                <a:gd name="connsiteX194" fmla="*/ 716396 w 4829175"/>
                <a:gd name="connsiteY194" fmla="*/ 5679462 h 6515100"/>
                <a:gd name="connsiteX195" fmla="*/ 980520 w 4829175"/>
                <a:gd name="connsiteY195" fmla="*/ 5679462 h 6515100"/>
                <a:gd name="connsiteX196" fmla="*/ 1250932 w 4829175"/>
                <a:gd name="connsiteY196" fmla="*/ 5408351 h 6515100"/>
                <a:gd name="connsiteX197" fmla="*/ 1245342 w 4829175"/>
                <a:gd name="connsiteY197" fmla="*/ 5403460 h 6515100"/>
                <a:gd name="connsiteX198" fmla="*/ 979821 w 4829175"/>
                <a:gd name="connsiteY198" fmla="*/ 5137939 h 6515100"/>
                <a:gd name="connsiteX199" fmla="*/ 2911136 w 4829175"/>
                <a:gd name="connsiteY199" fmla="*/ 5137241 h 6515100"/>
                <a:gd name="connsiteX200" fmla="*/ 3041801 w 4829175"/>
                <a:gd name="connsiteY200" fmla="*/ 5266508 h 6515100"/>
                <a:gd name="connsiteX201" fmla="*/ 3182246 w 4829175"/>
                <a:gd name="connsiteY201" fmla="*/ 5406954 h 6515100"/>
                <a:gd name="connsiteX202" fmla="*/ 2911834 w 4829175"/>
                <a:gd name="connsiteY202" fmla="*/ 5678065 h 6515100"/>
                <a:gd name="connsiteX203" fmla="*/ 3175958 w 4829175"/>
                <a:gd name="connsiteY203" fmla="*/ 5678065 h 6515100"/>
                <a:gd name="connsiteX204" fmla="*/ 3446370 w 4829175"/>
                <a:gd name="connsiteY204" fmla="*/ 5407653 h 6515100"/>
                <a:gd name="connsiteX205" fmla="*/ 3175259 w 4829175"/>
                <a:gd name="connsiteY205" fmla="*/ 5137241 h 6515100"/>
                <a:gd name="connsiteX206" fmla="*/ 3459646 w 4829175"/>
                <a:gd name="connsiteY206" fmla="*/ 5136542 h 6515100"/>
                <a:gd name="connsiteX207" fmla="*/ 3730757 w 4829175"/>
                <a:gd name="connsiteY207" fmla="*/ 5406954 h 6515100"/>
                <a:gd name="connsiteX208" fmla="*/ 3460345 w 4829175"/>
                <a:gd name="connsiteY208" fmla="*/ 5678065 h 6515100"/>
                <a:gd name="connsiteX209" fmla="*/ 3724468 w 4829175"/>
                <a:gd name="connsiteY209" fmla="*/ 5678065 h 6515100"/>
                <a:gd name="connsiteX210" fmla="*/ 3994880 w 4829175"/>
                <a:gd name="connsiteY210" fmla="*/ 5406954 h 6515100"/>
                <a:gd name="connsiteX211" fmla="*/ 3723769 w 4829175"/>
                <a:gd name="connsiteY211" fmla="*/ 5136542 h 6515100"/>
                <a:gd name="connsiteX212" fmla="*/ 4008156 w 4829175"/>
                <a:gd name="connsiteY212" fmla="*/ 5135843 h 6515100"/>
                <a:gd name="connsiteX213" fmla="*/ 4279267 w 4829175"/>
                <a:gd name="connsiteY213" fmla="*/ 5406255 h 6515100"/>
                <a:gd name="connsiteX214" fmla="*/ 4008855 w 4829175"/>
                <a:gd name="connsiteY214" fmla="*/ 5677366 h 6515100"/>
                <a:gd name="connsiteX215" fmla="*/ 4207297 w 4829175"/>
                <a:gd name="connsiteY215" fmla="*/ 5677366 h 6515100"/>
                <a:gd name="connsiteX216" fmla="*/ 4272280 w 4829175"/>
                <a:gd name="connsiteY216" fmla="*/ 5677366 h 6515100"/>
                <a:gd name="connsiteX217" fmla="*/ 4543391 w 4829175"/>
                <a:gd name="connsiteY217" fmla="*/ 5406255 h 6515100"/>
                <a:gd name="connsiteX218" fmla="*/ 4409232 w 4829175"/>
                <a:gd name="connsiteY218" fmla="*/ 5272797 h 6515100"/>
                <a:gd name="connsiteX219" fmla="*/ 4272280 w 4829175"/>
                <a:gd name="connsiteY219" fmla="*/ 5135843 h 6515100"/>
                <a:gd name="connsiteX220" fmla="*/ 708011 w 4829175"/>
                <a:gd name="connsiteY220" fmla="*/ 4864034 h 6515100"/>
                <a:gd name="connsiteX221" fmla="*/ 527737 w 4829175"/>
                <a:gd name="connsiteY221" fmla="*/ 5045007 h 6515100"/>
                <a:gd name="connsiteX222" fmla="*/ 438298 w 4829175"/>
                <a:gd name="connsiteY222" fmla="*/ 5135144 h 6515100"/>
                <a:gd name="connsiteX223" fmla="*/ 572456 w 4829175"/>
                <a:gd name="connsiteY223" fmla="*/ 5268603 h 6515100"/>
                <a:gd name="connsiteX224" fmla="*/ 709409 w 4829175"/>
                <a:gd name="connsiteY224" fmla="*/ 5405557 h 6515100"/>
                <a:gd name="connsiteX225" fmla="*/ 973532 w 4829175"/>
                <a:gd name="connsiteY225" fmla="*/ 5405557 h 6515100"/>
                <a:gd name="connsiteX226" fmla="*/ 702421 w 4829175"/>
                <a:gd name="connsiteY226" fmla="*/ 5135144 h 6515100"/>
                <a:gd name="connsiteX227" fmla="*/ 703819 w 4829175"/>
                <a:gd name="connsiteY227" fmla="*/ 5133747 h 6515100"/>
                <a:gd name="connsiteX228" fmla="*/ 972135 w 4829175"/>
                <a:gd name="connsiteY228" fmla="*/ 4864034 h 6515100"/>
                <a:gd name="connsiteX229" fmla="*/ 1257220 w 4829175"/>
                <a:gd name="connsiteY229" fmla="*/ 4863335 h 6515100"/>
                <a:gd name="connsiteX230" fmla="*/ 986808 w 4829175"/>
                <a:gd name="connsiteY230" fmla="*/ 5134446 h 6515100"/>
                <a:gd name="connsiteX231" fmla="*/ 1257919 w 4829175"/>
                <a:gd name="connsiteY231" fmla="*/ 5404858 h 6515100"/>
                <a:gd name="connsiteX232" fmla="*/ 1522043 w 4829175"/>
                <a:gd name="connsiteY232" fmla="*/ 5404858 h 6515100"/>
                <a:gd name="connsiteX233" fmla="*/ 1250932 w 4829175"/>
                <a:gd name="connsiteY233" fmla="*/ 5134446 h 6515100"/>
                <a:gd name="connsiteX234" fmla="*/ 1521344 w 4829175"/>
                <a:gd name="connsiteY234" fmla="*/ 4863335 h 6515100"/>
                <a:gd name="connsiteX235" fmla="*/ 2904148 w 4829175"/>
                <a:gd name="connsiteY235" fmla="*/ 4862636 h 6515100"/>
                <a:gd name="connsiteX236" fmla="*/ 2633736 w 4829175"/>
                <a:gd name="connsiteY236" fmla="*/ 5133747 h 6515100"/>
                <a:gd name="connsiteX237" fmla="*/ 2904847 w 4829175"/>
                <a:gd name="connsiteY237" fmla="*/ 5404159 h 6515100"/>
                <a:gd name="connsiteX238" fmla="*/ 3168271 w 4829175"/>
                <a:gd name="connsiteY238" fmla="*/ 5404159 h 6515100"/>
                <a:gd name="connsiteX239" fmla="*/ 3037607 w 4829175"/>
                <a:gd name="connsiteY239" fmla="*/ 5274193 h 6515100"/>
                <a:gd name="connsiteX240" fmla="*/ 2897162 w 4829175"/>
                <a:gd name="connsiteY240" fmla="*/ 5133747 h 6515100"/>
                <a:gd name="connsiteX241" fmla="*/ 3168271 w 4829175"/>
                <a:gd name="connsiteY241" fmla="*/ 4862636 h 6515100"/>
                <a:gd name="connsiteX242" fmla="*/ 1805032 w 4829175"/>
                <a:gd name="connsiteY242" fmla="*/ 4862636 h 6515100"/>
                <a:gd name="connsiteX243" fmla="*/ 1534620 w 4829175"/>
                <a:gd name="connsiteY243" fmla="*/ 5133747 h 6515100"/>
                <a:gd name="connsiteX244" fmla="*/ 1805731 w 4829175"/>
                <a:gd name="connsiteY244" fmla="*/ 5404159 h 6515100"/>
                <a:gd name="connsiteX245" fmla="*/ 1807128 w 4829175"/>
                <a:gd name="connsiteY245" fmla="*/ 5405557 h 6515100"/>
                <a:gd name="connsiteX246" fmla="*/ 2071252 w 4829175"/>
                <a:gd name="connsiteY246" fmla="*/ 5405557 h 6515100"/>
                <a:gd name="connsiteX247" fmla="*/ 1939889 w 4829175"/>
                <a:gd name="connsiteY247" fmla="*/ 5274193 h 6515100"/>
                <a:gd name="connsiteX248" fmla="*/ 1802236 w 4829175"/>
                <a:gd name="connsiteY248" fmla="*/ 5136542 h 6515100"/>
                <a:gd name="connsiteX249" fmla="*/ 2071252 w 4829175"/>
                <a:gd name="connsiteY249" fmla="*/ 4862636 h 6515100"/>
                <a:gd name="connsiteX250" fmla="*/ 3451960 w 4829175"/>
                <a:gd name="connsiteY250" fmla="*/ 4861938 h 6515100"/>
                <a:gd name="connsiteX251" fmla="*/ 3181548 w 4829175"/>
                <a:gd name="connsiteY251" fmla="*/ 5133048 h 6515100"/>
                <a:gd name="connsiteX252" fmla="*/ 3452658 w 4829175"/>
                <a:gd name="connsiteY252" fmla="*/ 5403460 h 6515100"/>
                <a:gd name="connsiteX253" fmla="*/ 3716782 w 4829175"/>
                <a:gd name="connsiteY253" fmla="*/ 5403460 h 6515100"/>
                <a:gd name="connsiteX254" fmla="*/ 3445671 w 4829175"/>
                <a:gd name="connsiteY254" fmla="*/ 5133048 h 6515100"/>
                <a:gd name="connsiteX255" fmla="*/ 3630138 w 4829175"/>
                <a:gd name="connsiteY255" fmla="*/ 4948581 h 6515100"/>
                <a:gd name="connsiteX256" fmla="*/ 3714686 w 4829175"/>
                <a:gd name="connsiteY256" fmla="*/ 4861938 h 6515100"/>
                <a:gd name="connsiteX257" fmla="*/ 4000470 w 4829175"/>
                <a:gd name="connsiteY257" fmla="*/ 4861239 h 6515100"/>
                <a:gd name="connsiteX258" fmla="*/ 3730058 w 4829175"/>
                <a:gd name="connsiteY258" fmla="*/ 5132350 h 6515100"/>
                <a:gd name="connsiteX259" fmla="*/ 4001169 w 4829175"/>
                <a:gd name="connsiteY259" fmla="*/ 5402762 h 6515100"/>
                <a:gd name="connsiteX260" fmla="*/ 4265292 w 4829175"/>
                <a:gd name="connsiteY260" fmla="*/ 5402762 h 6515100"/>
                <a:gd name="connsiteX261" fmla="*/ 3994181 w 4829175"/>
                <a:gd name="connsiteY261" fmla="*/ 5132350 h 6515100"/>
                <a:gd name="connsiteX262" fmla="*/ 3995579 w 4829175"/>
                <a:gd name="connsiteY262" fmla="*/ 5130952 h 6515100"/>
                <a:gd name="connsiteX263" fmla="*/ 3994880 w 4829175"/>
                <a:gd name="connsiteY263" fmla="*/ 5130952 h 6515100"/>
                <a:gd name="connsiteX264" fmla="*/ 4263197 w 4829175"/>
                <a:gd name="connsiteY264" fmla="*/ 4861938 h 6515100"/>
                <a:gd name="connsiteX265" fmla="*/ 4004663 w 4829175"/>
                <a:gd name="connsiteY265" fmla="*/ 4861938 h 6515100"/>
                <a:gd name="connsiteX266" fmla="*/ 4006060 w 4829175"/>
                <a:gd name="connsiteY266" fmla="*/ 4861239 h 6515100"/>
                <a:gd name="connsiteX267" fmla="*/ 4548281 w 4829175"/>
                <a:gd name="connsiteY267" fmla="*/ 4860540 h 6515100"/>
                <a:gd name="connsiteX268" fmla="*/ 4367308 w 4829175"/>
                <a:gd name="connsiteY268" fmla="*/ 5041513 h 6515100"/>
                <a:gd name="connsiteX269" fmla="*/ 4368007 w 4829175"/>
                <a:gd name="connsiteY269" fmla="*/ 5042212 h 6515100"/>
                <a:gd name="connsiteX270" fmla="*/ 4278568 w 4829175"/>
                <a:gd name="connsiteY270" fmla="*/ 5132350 h 6515100"/>
                <a:gd name="connsiteX271" fmla="*/ 4412727 w 4829175"/>
                <a:gd name="connsiteY271" fmla="*/ 5265809 h 6515100"/>
                <a:gd name="connsiteX272" fmla="*/ 4548980 w 4829175"/>
                <a:gd name="connsiteY272" fmla="*/ 5402063 h 6515100"/>
                <a:gd name="connsiteX273" fmla="*/ 4813104 w 4829175"/>
                <a:gd name="connsiteY273" fmla="*/ 5402063 h 6515100"/>
                <a:gd name="connsiteX274" fmla="*/ 4541993 w 4829175"/>
                <a:gd name="connsiteY274" fmla="*/ 5131651 h 6515100"/>
                <a:gd name="connsiteX275" fmla="*/ 4812405 w 4829175"/>
                <a:gd name="connsiteY275" fmla="*/ 4860540 h 6515100"/>
                <a:gd name="connsiteX276" fmla="*/ 2621159 w 4829175"/>
                <a:gd name="connsiteY276" fmla="*/ 4860540 h 6515100"/>
                <a:gd name="connsiteX277" fmla="*/ 2354940 w 4829175"/>
                <a:gd name="connsiteY277" fmla="*/ 4863335 h 6515100"/>
                <a:gd name="connsiteX278" fmla="*/ 2084528 w 4829175"/>
                <a:gd name="connsiteY278" fmla="*/ 5134446 h 6515100"/>
                <a:gd name="connsiteX279" fmla="*/ 2355639 w 4829175"/>
                <a:gd name="connsiteY279" fmla="*/ 5404858 h 6515100"/>
                <a:gd name="connsiteX280" fmla="*/ 2619762 w 4829175"/>
                <a:gd name="connsiteY280" fmla="*/ 5404858 h 6515100"/>
                <a:gd name="connsiteX281" fmla="*/ 2348651 w 4829175"/>
                <a:gd name="connsiteY281" fmla="*/ 5134446 h 6515100"/>
                <a:gd name="connsiteX282" fmla="*/ 166488 w 4829175"/>
                <a:gd name="connsiteY282" fmla="*/ 4590827 h 6515100"/>
                <a:gd name="connsiteX283" fmla="*/ 437599 w 4829175"/>
                <a:gd name="connsiteY283" fmla="*/ 4861239 h 6515100"/>
                <a:gd name="connsiteX284" fmla="*/ 434805 w 4829175"/>
                <a:gd name="connsiteY284" fmla="*/ 4864034 h 6515100"/>
                <a:gd name="connsiteX285" fmla="*/ 344667 w 4829175"/>
                <a:gd name="connsiteY285" fmla="*/ 4954870 h 6515100"/>
                <a:gd name="connsiteX286" fmla="*/ 167187 w 4829175"/>
                <a:gd name="connsiteY286" fmla="*/ 5131651 h 6515100"/>
                <a:gd name="connsiteX287" fmla="*/ 431311 w 4829175"/>
                <a:gd name="connsiteY287" fmla="*/ 5131651 h 6515100"/>
                <a:gd name="connsiteX288" fmla="*/ 520749 w 4829175"/>
                <a:gd name="connsiteY288" fmla="*/ 5042212 h 6515100"/>
                <a:gd name="connsiteX289" fmla="*/ 701722 w 4829175"/>
                <a:gd name="connsiteY289" fmla="*/ 4861239 h 6515100"/>
                <a:gd name="connsiteX290" fmla="*/ 430612 w 4829175"/>
                <a:gd name="connsiteY290" fmla="*/ 4590827 h 6515100"/>
                <a:gd name="connsiteX291" fmla="*/ 715697 w 4829175"/>
                <a:gd name="connsiteY291" fmla="*/ 4590128 h 6515100"/>
                <a:gd name="connsiteX292" fmla="*/ 845663 w 4829175"/>
                <a:gd name="connsiteY292" fmla="*/ 4720093 h 6515100"/>
                <a:gd name="connsiteX293" fmla="*/ 986109 w 4829175"/>
                <a:gd name="connsiteY293" fmla="*/ 4859841 h 6515100"/>
                <a:gd name="connsiteX294" fmla="*/ 715697 w 4829175"/>
                <a:gd name="connsiteY294" fmla="*/ 5130952 h 6515100"/>
                <a:gd name="connsiteX295" fmla="*/ 979821 w 4829175"/>
                <a:gd name="connsiteY295" fmla="*/ 5130952 h 6515100"/>
                <a:gd name="connsiteX296" fmla="*/ 1250932 w 4829175"/>
                <a:gd name="connsiteY296" fmla="*/ 4860540 h 6515100"/>
                <a:gd name="connsiteX297" fmla="*/ 979821 w 4829175"/>
                <a:gd name="connsiteY297" fmla="*/ 4590128 h 6515100"/>
                <a:gd name="connsiteX298" fmla="*/ 2911136 w 4829175"/>
                <a:gd name="connsiteY298" fmla="*/ 4589429 h 6515100"/>
                <a:gd name="connsiteX299" fmla="*/ 3040403 w 4829175"/>
                <a:gd name="connsiteY299" fmla="*/ 4717299 h 6515100"/>
                <a:gd name="connsiteX300" fmla="*/ 3040403 w 4829175"/>
                <a:gd name="connsiteY300" fmla="*/ 4717998 h 6515100"/>
                <a:gd name="connsiteX301" fmla="*/ 3182246 w 4829175"/>
                <a:gd name="connsiteY301" fmla="*/ 4859841 h 6515100"/>
                <a:gd name="connsiteX302" fmla="*/ 2911834 w 4829175"/>
                <a:gd name="connsiteY302" fmla="*/ 5130952 h 6515100"/>
                <a:gd name="connsiteX303" fmla="*/ 3175259 w 4829175"/>
                <a:gd name="connsiteY303" fmla="*/ 5130952 h 6515100"/>
                <a:gd name="connsiteX304" fmla="*/ 3445671 w 4829175"/>
                <a:gd name="connsiteY304" fmla="*/ 4859841 h 6515100"/>
                <a:gd name="connsiteX305" fmla="*/ 3440081 w 4829175"/>
                <a:gd name="connsiteY305" fmla="*/ 4854251 h 6515100"/>
                <a:gd name="connsiteX306" fmla="*/ 3439382 w 4829175"/>
                <a:gd name="connsiteY306" fmla="*/ 4854251 h 6515100"/>
                <a:gd name="connsiteX307" fmla="*/ 3173862 w 4829175"/>
                <a:gd name="connsiteY307" fmla="*/ 4589429 h 6515100"/>
                <a:gd name="connsiteX308" fmla="*/ 1813417 w 4829175"/>
                <a:gd name="connsiteY308" fmla="*/ 4589429 h 6515100"/>
                <a:gd name="connsiteX309" fmla="*/ 1815507 w 4829175"/>
                <a:gd name="connsiteY309" fmla="*/ 4592217 h 6515100"/>
                <a:gd name="connsiteX310" fmla="*/ 1814814 w 4829175"/>
                <a:gd name="connsiteY310" fmla="*/ 4591526 h 6515100"/>
                <a:gd name="connsiteX311" fmla="*/ 1815513 w 4829175"/>
                <a:gd name="connsiteY311" fmla="*/ 4592225 h 6515100"/>
                <a:gd name="connsiteX312" fmla="*/ 1815507 w 4829175"/>
                <a:gd name="connsiteY312" fmla="*/ 4592217 h 6515100"/>
                <a:gd name="connsiteX313" fmla="*/ 2074046 w 4829175"/>
                <a:gd name="connsiteY313" fmla="*/ 4850059 h 6515100"/>
                <a:gd name="connsiteX314" fmla="*/ 2083829 w 4829175"/>
                <a:gd name="connsiteY314" fmla="*/ 4859142 h 6515100"/>
                <a:gd name="connsiteX315" fmla="*/ 2085925 w 4829175"/>
                <a:gd name="connsiteY315" fmla="*/ 4861239 h 6515100"/>
                <a:gd name="connsiteX316" fmla="*/ 1821102 w 4829175"/>
                <a:gd name="connsiteY316" fmla="*/ 5130952 h 6515100"/>
                <a:gd name="connsiteX317" fmla="*/ 2080335 w 4829175"/>
                <a:gd name="connsiteY317" fmla="*/ 5131651 h 6515100"/>
                <a:gd name="connsiteX318" fmla="*/ 2350049 w 4829175"/>
                <a:gd name="connsiteY318" fmla="*/ 4861239 h 6515100"/>
                <a:gd name="connsiteX319" fmla="*/ 2214493 w 4829175"/>
                <a:gd name="connsiteY319" fmla="*/ 4726382 h 6515100"/>
                <a:gd name="connsiteX320" fmla="*/ 2197724 w 4829175"/>
                <a:gd name="connsiteY320" fmla="*/ 4709612 h 6515100"/>
                <a:gd name="connsiteX321" fmla="*/ 2078239 w 4829175"/>
                <a:gd name="connsiteY321" fmla="*/ 4590827 h 6515100"/>
                <a:gd name="connsiteX322" fmla="*/ 2074046 w 4829175"/>
                <a:gd name="connsiteY322" fmla="*/ 4589429 h 6515100"/>
                <a:gd name="connsiteX323" fmla="*/ 1263509 w 4829175"/>
                <a:gd name="connsiteY323" fmla="*/ 4589429 h 6515100"/>
                <a:gd name="connsiteX324" fmla="*/ 1534620 w 4829175"/>
                <a:gd name="connsiteY324" fmla="*/ 4859841 h 6515100"/>
                <a:gd name="connsiteX325" fmla="*/ 1264208 w 4829175"/>
                <a:gd name="connsiteY325" fmla="*/ 5130952 h 6515100"/>
                <a:gd name="connsiteX326" fmla="*/ 1528331 w 4829175"/>
                <a:gd name="connsiteY326" fmla="*/ 5130952 h 6515100"/>
                <a:gd name="connsiteX327" fmla="*/ 1798743 w 4829175"/>
                <a:gd name="connsiteY327" fmla="*/ 4859841 h 6515100"/>
                <a:gd name="connsiteX328" fmla="*/ 1527632 w 4829175"/>
                <a:gd name="connsiteY328" fmla="*/ 4589429 h 6515100"/>
                <a:gd name="connsiteX329" fmla="*/ 2626749 w 4829175"/>
                <a:gd name="connsiteY329" fmla="*/ 4588031 h 6515100"/>
                <a:gd name="connsiteX330" fmla="*/ 2363324 w 4829175"/>
                <a:gd name="connsiteY330" fmla="*/ 4588730 h 6515100"/>
                <a:gd name="connsiteX331" fmla="*/ 2632339 w 4829175"/>
                <a:gd name="connsiteY331" fmla="*/ 4857047 h 6515100"/>
                <a:gd name="connsiteX332" fmla="*/ 2631641 w 4829175"/>
                <a:gd name="connsiteY332" fmla="*/ 4857746 h 6515100"/>
                <a:gd name="connsiteX333" fmla="*/ 2633038 w 4829175"/>
                <a:gd name="connsiteY333" fmla="*/ 4859142 h 6515100"/>
                <a:gd name="connsiteX334" fmla="*/ 2362625 w 4829175"/>
                <a:gd name="connsiteY334" fmla="*/ 5130253 h 6515100"/>
                <a:gd name="connsiteX335" fmla="*/ 2626749 w 4829175"/>
                <a:gd name="connsiteY335" fmla="*/ 5130253 h 6515100"/>
                <a:gd name="connsiteX336" fmla="*/ 2716886 w 4829175"/>
                <a:gd name="connsiteY336" fmla="*/ 5040116 h 6515100"/>
                <a:gd name="connsiteX337" fmla="*/ 2896463 w 4829175"/>
                <a:gd name="connsiteY337" fmla="*/ 4857047 h 6515100"/>
                <a:gd name="connsiteX338" fmla="*/ 4006759 w 4829175"/>
                <a:gd name="connsiteY338" fmla="*/ 4587334 h 6515100"/>
                <a:gd name="connsiteX339" fmla="*/ 4136725 w 4829175"/>
                <a:gd name="connsiteY339" fmla="*/ 4716600 h 6515100"/>
                <a:gd name="connsiteX340" fmla="*/ 4277171 w 4829175"/>
                <a:gd name="connsiteY340" fmla="*/ 4857047 h 6515100"/>
                <a:gd name="connsiteX341" fmla="*/ 4184238 w 4829175"/>
                <a:gd name="connsiteY341" fmla="*/ 4950678 h 6515100"/>
                <a:gd name="connsiteX342" fmla="*/ 4184937 w 4829175"/>
                <a:gd name="connsiteY342" fmla="*/ 4951376 h 6515100"/>
                <a:gd name="connsiteX343" fmla="*/ 4008156 w 4829175"/>
                <a:gd name="connsiteY343" fmla="*/ 5128855 h 6515100"/>
                <a:gd name="connsiteX344" fmla="*/ 4270882 w 4829175"/>
                <a:gd name="connsiteY344" fmla="*/ 5128855 h 6515100"/>
                <a:gd name="connsiteX345" fmla="*/ 4541294 w 4829175"/>
                <a:gd name="connsiteY345" fmla="*/ 4857746 h 6515100"/>
                <a:gd name="connsiteX346" fmla="*/ 4270183 w 4829175"/>
                <a:gd name="connsiteY346" fmla="*/ 4587334 h 6515100"/>
                <a:gd name="connsiteX347" fmla="*/ 3458248 w 4829175"/>
                <a:gd name="connsiteY347" fmla="*/ 4587334 h 6515100"/>
                <a:gd name="connsiteX348" fmla="*/ 3729359 w 4829175"/>
                <a:gd name="connsiteY348" fmla="*/ 4857746 h 6515100"/>
                <a:gd name="connsiteX349" fmla="*/ 3730058 w 4829175"/>
                <a:gd name="connsiteY349" fmla="*/ 4858443 h 6515100"/>
                <a:gd name="connsiteX350" fmla="*/ 3459646 w 4829175"/>
                <a:gd name="connsiteY350" fmla="*/ 5129554 h 6515100"/>
                <a:gd name="connsiteX351" fmla="*/ 3723769 w 4829175"/>
                <a:gd name="connsiteY351" fmla="*/ 5129554 h 6515100"/>
                <a:gd name="connsiteX352" fmla="*/ 3813208 w 4829175"/>
                <a:gd name="connsiteY352" fmla="*/ 5039418 h 6515100"/>
                <a:gd name="connsiteX353" fmla="*/ 3812509 w 4829175"/>
                <a:gd name="connsiteY353" fmla="*/ 5039418 h 6515100"/>
                <a:gd name="connsiteX354" fmla="*/ 3993483 w 4829175"/>
                <a:gd name="connsiteY354" fmla="*/ 4858443 h 6515100"/>
                <a:gd name="connsiteX355" fmla="*/ 3988591 w 4829175"/>
                <a:gd name="connsiteY355" fmla="*/ 4852854 h 6515100"/>
                <a:gd name="connsiteX356" fmla="*/ 3722372 w 4829175"/>
                <a:gd name="connsiteY356" fmla="*/ 4587334 h 6515100"/>
                <a:gd name="connsiteX357" fmla="*/ 708011 w 4829175"/>
                <a:gd name="connsiteY357" fmla="*/ 4316223 h 6515100"/>
                <a:gd name="connsiteX358" fmla="*/ 437599 w 4829175"/>
                <a:gd name="connsiteY358" fmla="*/ 4587334 h 6515100"/>
                <a:gd name="connsiteX359" fmla="*/ 709409 w 4829175"/>
                <a:gd name="connsiteY359" fmla="*/ 4857746 h 6515100"/>
                <a:gd name="connsiteX360" fmla="*/ 972833 w 4829175"/>
                <a:gd name="connsiteY360" fmla="*/ 4857746 h 6515100"/>
                <a:gd name="connsiteX361" fmla="*/ 842169 w 4829175"/>
                <a:gd name="connsiteY361" fmla="*/ 4727779 h 6515100"/>
                <a:gd name="connsiteX362" fmla="*/ 701722 w 4829175"/>
                <a:gd name="connsiteY362" fmla="*/ 4587334 h 6515100"/>
                <a:gd name="connsiteX363" fmla="*/ 972135 w 4829175"/>
                <a:gd name="connsiteY363" fmla="*/ 4316223 h 6515100"/>
                <a:gd name="connsiteX364" fmla="*/ 2354241 w 4829175"/>
                <a:gd name="connsiteY364" fmla="*/ 4315524 h 6515100"/>
                <a:gd name="connsiteX365" fmla="*/ 2083829 w 4829175"/>
                <a:gd name="connsiteY365" fmla="*/ 4586635 h 6515100"/>
                <a:gd name="connsiteX366" fmla="*/ 2353542 w 4829175"/>
                <a:gd name="connsiteY366" fmla="*/ 4855649 h 6515100"/>
                <a:gd name="connsiteX367" fmla="*/ 2616967 w 4829175"/>
                <a:gd name="connsiteY367" fmla="*/ 4855649 h 6515100"/>
                <a:gd name="connsiteX368" fmla="*/ 2347952 w 4829175"/>
                <a:gd name="connsiteY368" fmla="*/ 4586635 h 6515100"/>
                <a:gd name="connsiteX369" fmla="*/ 2348651 w 4829175"/>
                <a:gd name="connsiteY369" fmla="*/ 4585936 h 6515100"/>
                <a:gd name="connsiteX370" fmla="*/ 2347254 w 4829175"/>
                <a:gd name="connsiteY370" fmla="*/ 4584538 h 6515100"/>
                <a:gd name="connsiteX371" fmla="*/ 2615569 w 4829175"/>
                <a:gd name="connsiteY371" fmla="*/ 4315524 h 6515100"/>
                <a:gd name="connsiteX372" fmla="*/ 1256521 w 4829175"/>
                <a:gd name="connsiteY372" fmla="*/ 4315524 h 6515100"/>
                <a:gd name="connsiteX373" fmla="*/ 986109 w 4829175"/>
                <a:gd name="connsiteY373" fmla="*/ 4586635 h 6515100"/>
                <a:gd name="connsiteX374" fmla="*/ 1257220 w 4829175"/>
                <a:gd name="connsiteY374" fmla="*/ 4857047 h 6515100"/>
                <a:gd name="connsiteX375" fmla="*/ 1521344 w 4829175"/>
                <a:gd name="connsiteY375" fmla="*/ 4857047 h 6515100"/>
                <a:gd name="connsiteX376" fmla="*/ 1250233 w 4829175"/>
                <a:gd name="connsiteY376" fmla="*/ 4586635 h 6515100"/>
                <a:gd name="connsiteX377" fmla="*/ 1520645 w 4829175"/>
                <a:gd name="connsiteY377" fmla="*/ 4315524 h 6515100"/>
                <a:gd name="connsiteX378" fmla="*/ 1392775 w 4829175"/>
                <a:gd name="connsiteY378" fmla="*/ 4315524 h 6515100"/>
                <a:gd name="connsiteX379" fmla="*/ 1805731 w 4829175"/>
                <a:gd name="connsiteY379" fmla="*/ 4314825 h 6515100"/>
                <a:gd name="connsiteX380" fmla="*/ 1625456 w 4829175"/>
                <a:gd name="connsiteY380" fmla="*/ 4495798 h 6515100"/>
                <a:gd name="connsiteX381" fmla="*/ 1624758 w 4829175"/>
                <a:gd name="connsiteY381" fmla="*/ 4495798 h 6515100"/>
                <a:gd name="connsiteX382" fmla="*/ 1534620 w 4829175"/>
                <a:gd name="connsiteY382" fmla="*/ 4585936 h 6515100"/>
                <a:gd name="connsiteX383" fmla="*/ 1805032 w 4829175"/>
                <a:gd name="connsiteY383" fmla="*/ 4857047 h 6515100"/>
                <a:gd name="connsiteX384" fmla="*/ 2069155 w 4829175"/>
                <a:gd name="connsiteY384" fmla="*/ 4857047 h 6515100"/>
                <a:gd name="connsiteX385" fmla="*/ 1798044 w 4829175"/>
                <a:gd name="connsiteY385" fmla="*/ 4586635 h 6515100"/>
                <a:gd name="connsiteX386" fmla="*/ 1982512 w 4829175"/>
                <a:gd name="connsiteY386" fmla="*/ 4402167 h 6515100"/>
                <a:gd name="connsiteX387" fmla="*/ 1983211 w 4829175"/>
                <a:gd name="connsiteY387" fmla="*/ 4402167 h 6515100"/>
                <a:gd name="connsiteX388" fmla="*/ 2069155 w 4829175"/>
                <a:gd name="connsiteY388" fmla="*/ 4315524 h 6515100"/>
                <a:gd name="connsiteX389" fmla="*/ 1810622 w 4829175"/>
                <a:gd name="connsiteY389" fmla="*/ 4315524 h 6515100"/>
                <a:gd name="connsiteX390" fmla="*/ 3450563 w 4829175"/>
                <a:gd name="connsiteY390" fmla="*/ 4313427 h 6515100"/>
                <a:gd name="connsiteX391" fmla="*/ 3269589 w 4829175"/>
                <a:gd name="connsiteY391" fmla="*/ 4495099 h 6515100"/>
                <a:gd name="connsiteX392" fmla="*/ 3270986 w 4829175"/>
                <a:gd name="connsiteY392" fmla="*/ 4495798 h 6515100"/>
                <a:gd name="connsiteX393" fmla="*/ 3181548 w 4829175"/>
                <a:gd name="connsiteY393" fmla="*/ 4585237 h 6515100"/>
                <a:gd name="connsiteX394" fmla="*/ 3451960 w 4829175"/>
                <a:gd name="connsiteY394" fmla="*/ 4854950 h 6515100"/>
                <a:gd name="connsiteX395" fmla="*/ 3715384 w 4829175"/>
                <a:gd name="connsiteY395" fmla="*/ 4854950 h 6515100"/>
                <a:gd name="connsiteX396" fmla="*/ 3444972 w 4829175"/>
                <a:gd name="connsiteY396" fmla="*/ 4585237 h 6515100"/>
                <a:gd name="connsiteX397" fmla="*/ 3444274 w 4829175"/>
                <a:gd name="connsiteY397" fmla="*/ 4584538 h 6515100"/>
                <a:gd name="connsiteX398" fmla="*/ 3714686 w 4829175"/>
                <a:gd name="connsiteY398" fmla="*/ 4313427 h 6515100"/>
                <a:gd name="connsiteX399" fmla="*/ 2904847 w 4829175"/>
                <a:gd name="connsiteY399" fmla="*/ 4313427 h 6515100"/>
                <a:gd name="connsiteX400" fmla="*/ 2908341 w 4829175"/>
                <a:gd name="connsiteY400" fmla="*/ 4314825 h 6515100"/>
                <a:gd name="connsiteX401" fmla="*/ 2902751 w 4829175"/>
                <a:gd name="connsiteY401" fmla="*/ 4314825 h 6515100"/>
                <a:gd name="connsiteX402" fmla="*/ 2633736 w 4829175"/>
                <a:gd name="connsiteY402" fmla="*/ 4585237 h 6515100"/>
                <a:gd name="connsiteX403" fmla="*/ 2903449 w 4829175"/>
                <a:gd name="connsiteY403" fmla="*/ 4854251 h 6515100"/>
                <a:gd name="connsiteX404" fmla="*/ 3168271 w 4829175"/>
                <a:gd name="connsiteY404" fmla="*/ 4855649 h 6515100"/>
                <a:gd name="connsiteX405" fmla="*/ 2897162 w 4829175"/>
                <a:gd name="connsiteY405" fmla="*/ 4585237 h 6515100"/>
                <a:gd name="connsiteX406" fmla="*/ 2895764 w 4829175"/>
                <a:gd name="connsiteY406" fmla="*/ 4583839 h 6515100"/>
                <a:gd name="connsiteX407" fmla="*/ 3164778 w 4829175"/>
                <a:gd name="connsiteY407" fmla="*/ 4314126 h 6515100"/>
                <a:gd name="connsiteX408" fmla="*/ 2967035 w 4829175"/>
                <a:gd name="connsiteY408" fmla="*/ 4314126 h 6515100"/>
                <a:gd name="connsiteX409" fmla="*/ 2967733 w 4829175"/>
                <a:gd name="connsiteY409" fmla="*/ 4313427 h 6515100"/>
                <a:gd name="connsiteX410" fmla="*/ 3999073 w 4829175"/>
                <a:gd name="connsiteY410" fmla="*/ 4312728 h 6515100"/>
                <a:gd name="connsiteX411" fmla="*/ 3728660 w 4829175"/>
                <a:gd name="connsiteY411" fmla="*/ 4583839 h 6515100"/>
                <a:gd name="connsiteX412" fmla="*/ 3999771 w 4829175"/>
                <a:gd name="connsiteY412" fmla="*/ 4854251 h 6515100"/>
                <a:gd name="connsiteX413" fmla="*/ 4263197 w 4829175"/>
                <a:gd name="connsiteY413" fmla="*/ 4854251 h 6515100"/>
                <a:gd name="connsiteX414" fmla="*/ 4133230 w 4829175"/>
                <a:gd name="connsiteY414" fmla="*/ 4724286 h 6515100"/>
                <a:gd name="connsiteX415" fmla="*/ 3992783 w 4829175"/>
                <a:gd name="connsiteY415" fmla="*/ 4583839 h 6515100"/>
                <a:gd name="connsiteX416" fmla="*/ 4263197 w 4829175"/>
                <a:gd name="connsiteY416" fmla="*/ 4312728 h 6515100"/>
                <a:gd name="connsiteX417" fmla="*/ 4547584 w 4829175"/>
                <a:gd name="connsiteY417" fmla="*/ 4312030 h 6515100"/>
                <a:gd name="connsiteX418" fmla="*/ 4277171 w 4829175"/>
                <a:gd name="connsiteY418" fmla="*/ 4583140 h 6515100"/>
                <a:gd name="connsiteX419" fmla="*/ 4548281 w 4829175"/>
                <a:gd name="connsiteY419" fmla="*/ 4853552 h 6515100"/>
                <a:gd name="connsiteX420" fmla="*/ 4812405 w 4829175"/>
                <a:gd name="connsiteY420" fmla="*/ 4853552 h 6515100"/>
                <a:gd name="connsiteX421" fmla="*/ 4541294 w 4829175"/>
                <a:gd name="connsiteY421" fmla="*/ 4583140 h 6515100"/>
                <a:gd name="connsiteX422" fmla="*/ 4811706 w 4829175"/>
                <a:gd name="connsiteY422" fmla="*/ 4312030 h 6515100"/>
                <a:gd name="connsiteX423" fmla="*/ 717155 w 4829175"/>
                <a:gd name="connsiteY423" fmla="*/ 4044465 h 6515100"/>
                <a:gd name="connsiteX424" fmla="*/ 986808 w 4829175"/>
                <a:gd name="connsiteY424" fmla="*/ 4312728 h 6515100"/>
                <a:gd name="connsiteX425" fmla="*/ 716396 w 4829175"/>
                <a:gd name="connsiteY425" fmla="*/ 4583839 h 6515100"/>
                <a:gd name="connsiteX426" fmla="*/ 979821 w 4829175"/>
                <a:gd name="connsiteY426" fmla="*/ 4583839 h 6515100"/>
                <a:gd name="connsiteX427" fmla="*/ 1250233 w 4829175"/>
                <a:gd name="connsiteY427" fmla="*/ 4312728 h 6515100"/>
                <a:gd name="connsiteX428" fmla="*/ 1116075 w 4829175"/>
                <a:gd name="connsiteY428" fmla="*/ 4179269 h 6515100"/>
                <a:gd name="connsiteX429" fmla="*/ 1019702 w 4829175"/>
                <a:gd name="connsiteY429" fmla="*/ 4082896 h 6515100"/>
                <a:gd name="connsiteX430" fmla="*/ 1018761 w 4829175"/>
                <a:gd name="connsiteY430" fmla="*/ 4082896 h 6515100"/>
                <a:gd name="connsiteX431" fmla="*/ 980330 w 4829175"/>
                <a:gd name="connsiteY431" fmla="*/ 4044465 h 6515100"/>
                <a:gd name="connsiteX432" fmla="*/ 168395 w 4829175"/>
                <a:gd name="connsiteY432" fmla="*/ 4044465 h 6515100"/>
                <a:gd name="connsiteX433" fmla="*/ 206127 w 4829175"/>
                <a:gd name="connsiteY433" fmla="*/ 4082197 h 6515100"/>
                <a:gd name="connsiteX434" fmla="*/ 205772 w 4829175"/>
                <a:gd name="connsiteY434" fmla="*/ 4082197 h 6515100"/>
                <a:gd name="connsiteX435" fmla="*/ 437599 w 4829175"/>
                <a:gd name="connsiteY435" fmla="*/ 4313427 h 6515100"/>
                <a:gd name="connsiteX436" fmla="*/ 167187 w 4829175"/>
                <a:gd name="connsiteY436" fmla="*/ 4583839 h 6515100"/>
                <a:gd name="connsiteX437" fmla="*/ 431311 w 4829175"/>
                <a:gd name="connsiteY437" fmla="*/ 4583839 h 6515100"/>
                <a:gd name="connsiteX438" fmla="*/ 701722 w 4829175"/>
                <a:gd name="connsiteY438" fmla="*/ 4312728 h 6515100"/>
                <a:gd name="connsiteX439" fmla="*/ 470596 w 4829175"/>
                <a:gd name="connsiteY439" fmla="*/ 4082197 h 6515100"/>
                <a:gd name="connsiteX440" fmla="*/ 470250 w 4829175"/>
                <a:gd name="connsiteY440" fmla="*/ 4082197 h 6515100"/>
                <a:gd name="connsiteX441" fmla="*/ 432518 w 4829175"/>
                <a:gd name="connsiteY441" fmla="*/ 4044465 h 6515100"/>
                <a:gd name="connsiteX442" fmla="*/ 1816265 w 4829175"/>
                <a:gd name="connsiteY442" fmla="*/ 4043766 h 6515100"/>
                <a:gd name="connsiteX443" fmla="*/ 1942683 w 4829175"/>
                <a:gd name="connsiteY443" fmla="*/ 4170186 h 6515100"/>
                <a:gd name="connsiteX444" fmla="*/ 2083829 w 4829175"/>
                <a:gd name="connsiteY444" fmla="*/ 4310632 h 6515100"/>
                <a:gd name="connsiteX445" fmla="*/ 1813417 w 4829175"/>
                <a:gd name="connsiteY445" fmla="*/ 4581743 h 6515100"/>
                <a:gd name="connsiteX446" fmla="*/ 2076842 w 4829175"/>
                <a:gd name="connsiteY446" fmla="*/ 4581743 h 6515100"/>
                <a:gd name="connsiteX447" fmla="*/ 2347254 w 4829175"/>
                <a:gd name="connsiteY447" fmla="*/ 4311331 h 6515100"/>
                <a:gd name="connsiteX448" fmla="*/ 2214493 w 4829175"/>
                <a:gd name="connsiteY448" fmla="*/ 4178570 h 6515100"/>
                <a:gd name="connsiteX449" fmla="*/ 2214493 w 4829175"/>
                <a:gd name="connsiteY449" fmla="*/ 4177872 h 6515100"/>
                <a:gd name="connsiteX450" fmla="*/ 2119736 w 4829175"/>
                <a:gd name="connsiteY450" fmla="*/ 4083594 h 6515100"/>
                <a:gd name="connsiteX451" fmla="*/ 2116480 w 4829175"/>
                <a:gd name="connsiteY451" fmla="*/ 4083594 h 6515100"/>
                <a:gd name="connsiteX452" fmla="*/ 2076652 w 4829175"/>
                <a:gd name="connsiteY452" fmla="*/ 4043766 h 6515100"/>
                <a:gd name="connsiteX453" fmla="*/ 1266369 w 4829175"/>
                <a:gd name="connsiteY453" fmla="*/ 4043766 h 6515100"/>
                <a:gd name="connsiteX454" fmla="*/ 1534620 w 4829175"/>
                <a:gd name="connsiteY454" fmla="*/ 4310632 h 6515100"/>
                <a:gd name="connsiteX455" fmla="*/ 1531824 w 4829175"/>
                <a:gd name="connsiteY455" fmla="*/ 4313427 h 6515100"/>
                <a:gd name="connsiteX456" fmla="*/ 1441688 w 4829175"/>
                <a:gd name="connsiteY456" fmla="*/ 4404264 h 6515100"/>
                <a:gd name="connsiteX457" fmla="*/ 1440989 w 4829175"/>
                <a:gd name="connsiteY457" fmla="*/ 4404264 h 6515100"/>
                <a:gd name="connsiteX458" fmla="*/ 1263509 w 4829175"/>
                <a:gd name="connsiteY458" fmla="*/ 4582442 h 6515100"/>
                <a:gd name="connsiteX459" fmla="*/ 1527632 w 4829175"/>
                <a:gd name="connsiteY459" fmla="*/ 4582442 h 6515100"/>
                <a:gd name="connsiteX460" fmla="*/ 1798044 w 4829175"/>
                <a:gd name="connsiteY460" fmla="*/ 4312030 h 6515100"/>
                <a:gd name="connsiteX461" fmla="*/ 1793153 w 4829175"/>
                <a:gd name="connsiteY461" fmla="*/ 4307139 h 6515100"/>
                <a:gd name="connsiteX462" fmla="*/ 1795249 w 4829175"/>
                <a:gd name="connsiteY462" fmla="*/ 4307838 h 6515100"/>
                <a:gd name="connsiteX463" fmla="*/ 1569718 w 4829175"/>
                <a:gd name="connsiteY463" fmla="*/ 4082896 h 6515100"/>
                <a:gd name="connsiteX464" fmla="*/ 1567271 w 4829175"/>
                <a:gd name="connsiteY464" fmla="*/ 4082896 h 6515100"/>
                <a:gd name="connsiteX465" fmla="*/ 1528141 w 4829175"/>
                <a:gd name="connsiteY465" fmla="*/ 4043766 h 6515100"/>
                <a:gd name="connsiteX466" fmla="*/ 2363377 w 4829175"/>
                <a:gd name="connsiteY466" fmla="*/ 4043068 h 6515100"/>
                <a:gd name="connsiteX467" fmla="*/ 2630942 w 4829175"/>
                <a:gd name="connsiteY467" fmla="*/ 4310632 h 6515100"/>
                <a:gd name="connsiteX468" fmla="*/ 2632339 w 4829175"/>
                <a:gd name="connsiteY468" fmla="*/ 4312030 h 6515100"/>
                <a:gd name="connsiteX469" fmla="*/ 2363324 w 4829175"/>
                <a:gd name="connsiteY469" fmla="*/ 4581743 h 6515100"/>
                <a:gd name="connsiteX470" fmla="*/ 2625352 w 4829175"/>
                <a:gd name="connsiteY470" fmla="*/ 4581743 h 6515100"/>
                <a:gd name="connsiteX471" fmla="*/ 2895065 w 4829175"/>
                <a:gd name="connsiteY471" fmla="*/ 4311331 h 6515100"/>
                <a:gd name="connsiteX472" fmla="*/ 2890873 w 4829175"/>
                <a:gd name="connsiteY472" fmla="*/ 4307139 h 6515100"/>
                <a:gd name="connsiteX473" fmla="*/ 2892968 w 4829175"/>
                <a:gd name="connsiteY473" fmla="*/ 4307838 h 6515100"/>
                <a:gd name="connsiteX474" fmla="*/ 2668140 w 4829175"/>
                <a:gd name="connsiteY474" fmla="*/ 4083594 h 6515100"/>
                <a:gd name="connsiteX475" fmla="*/ 2666387 w 4829175"/>
                <a:gd name="connsiteY475" fmla="*/ 4083594 h 6515100"/>
                <a:gd name="connsiteX476" fmla="*/ 2625861 w 4829175"/>
                <a:gd name="connsiteY476" fmla="*/ 4043068 h 6515100"/>
                <a:gd name="connsiteX477" fmla="*/ 2911879 w 4829175"/>
                <a:gd name="connsiteY477" fmla="*/ 4041670 h 6515100"/>
                <a:gd name="connsiteX478" fmla="*/ 3179452 w 4829175"/>
                <a:gd name="connsiteY478" fmla="*/ 4309934 h 6515100"/>
                <a:gd name="connsiteX479" fmla="*/ 3087218 w 4829175"/>
                <a:gd name="connsiteY479" fmla="*/ 4402866 h 6515100"/>
                <a:gd name="connsiteX480" fmla="*/ 3087917 w 4829175"/>
                <a:gd name="connsiteY480" fmla="*/ 4403565 h 6515100"/>
                <a:gd name="connsiteX481" fmla="*/ 2911834 w 4829175"/>
                <a:gd name="connsiteY481" fmla="*/ 4579647 h 6515100"/>
                <a:gd name="connsiteX482" fmla="*/ 3108180 w 4829175"/>
                <a:gd name="connsiteY482" fmla="*/ 4579647 h 6515100"/>
                <a:gd name="connsiteX483" fmla="*/ 3107481 w 4829175"/>
                <a:gd name="connsiteY483" fmla="*/ 4581045 h 6515100"/>
                <a:gd name="connsiteX484" fmla="*/ 3173163 w 4829175"/>
                <a:gd name="connsiteY484" fmla="*/ 4581045 h 6515100"/>
                <a:gd name="connsiteX485" fmla="*/ 3443575 w 4829175"/>
                <a:gd name="connsiteY485" fmla="*/ 4309934 h 6515100"/>
                <a:gd name="connsiteX486" fmla="*/ 3215951 w 4829175"/>
                <a:gd name="connsiteY486" fmla="*/ 4082896 h 6515100"/>
                <a:gd name="connsiteX487" fmla="*/ 3215596 w 4829175"/>
                <a:gd name="connsiteY487" fmla="*/ 4082896 h 6515100"/>
                <a:gd name="connsiteX488" fmla="*/ 3174371 w 4829175"/>
                <a:gd name="connsiteY488" fmla="*/ 4041670 h 6515100"/>
                <a:gd name="connsiteX489" fmla="*/ 3459004 w 4829175"/>
                <a:gd name="connsiteY489" fmla="*/ 4040971 h 6515100"/>
                <a:gd name="connsiteX490" fmla="*/ 3728660 w 4829175"/>
                <a:gd name="connsiteY490" fmla="*/ 4309934 h 6515100"/>
                <a:gd name="connsiteX491" fmla="*/ 3458248 w 4829175"/>
                <a:gd name="connsiteY491" fmla="*/ 4580346 h 6515100"/>
                <a:gd name="connsiteX492" fmla="*/ 3722372 w 4829175"/>
                <a:gd name="connsiteY492" fmla="*/ 4580346 h 6515100"/>
                <a:gd name="connsiteX493" fmla="*/ 3992783 w 4829175"/>
                <a:gd name="connsiteY493" fmla="*/ 4309934 h 6515100"/>
                <a:gd name="connsiteX494" fmla="*/ 3765160 w 4829175"/>
                <a:gd name="connsiteY494" fmla="*/ 4082896 h 6515100"/>
                <a:gd name="connsiteX495" fmla="*/ 3764107 w 4829175"/>
                <a:gd name="connsiteY495" fmla="*/ 4082896 h 6515100"/>
                <a:gd name="connsiteX496" fmla="*/ 3722183 w 4829175"/>
                <a:gd name="connsiteY496" fmla="*/ 4040971 h 6515100"/>
                <a:gd name="connsiteX497" fmla="*/ 4007520 w 4829175"/>
                <a:gd name="connsiteY497" fmla="*/ 4040272 h 6515100"/>
                <a:gd name="connsiteX498" fmla="*/ 4277869 w 4829175"/>
                <a:gd name="connsiteY498" fmla="*/ 4308536 h 6515100"/>
                <a:gd name="connsiteX499" fmla="*/ 4007457 w 4829175"/>
                <a:gd name="connsiteY499" fmla="*/ 4579647 h 6515100"/>
                <a:gd name="connsiteX500" fmla="*/ 4270882 w 4829175"/>
                <a:gd name="connsiteY500" fmla="*/ 4579647 h 6515100"/>
                <a:gd name="connsiteX501" fmla="*/ 4541294 w 4829175"/>
                <a:gd name="connsiteY501" fmla="*/ 4308536 h 6515100"/>
                <a:gd name="connsiteX502" fmla="*/ 4407136 w 4829175"/>
                <a:gd name="connsiteY502" fmla="*/ 4175077 h 6515100"/>
                <a:gd name="connsiteX503" fmla="*/ 4314482 w 4829175"/>
                <a:gd name="connsiteY503" fmla="*/ 4082896 h 6515100"/>
                <a:gd name="connsiteX504" fmla="*/ 4313316 w 4829175"/>
                <a:gd name="connsiteY504" fmla="*/ 4082896 h 6515100"/>
                <a:gd name="connsiteX505" fmla="*/ 4270692 w 4829175"/>
                <a:gd name="connsiteY505" fmla="*/ 4040272 h 6515100"/>
                <a:gd name="connsiteX506" fmla="*/ 2354051 w 4829175"/>
                <a:gd name="connsiteY506" fmla="*/ 3769161 h 6515100"/>
                <a:gd name="connsiteX507" fmla="*/ 2084461 w 4829175"/>
                <a:gd name="connsiteY507" fmla="*/ 4039450 h 6515100"/>
                <a:gd name="connsiteX508" fmla="*/ 2353542 w 4829175"/>
                <a:gd name="connsiteY508" fmla="*/ 4307838 h 6515100"/>
                <a:gd name="connsiteX509" fmla="*/ 2616967 w 4829175"/>
                <a:gd name="connsiteY509" fmla="*/ 4307838 h 6515100"/>
                <a:gd name="connsiteX510" fmla="*/ 2392140 w 4829175"/>
                <a:gd name="connsiteY510" fmla="*/ 4083594 h 6515100"/>
                <a:gd name="connsiteX511" fmla="*/ 2391783 w 4829175"/>
                <a:gd name="connsiteY511" fmla="*/ 4083594 h 6515100"/>
                <a:gd name="connsiteX512" fmla="*/ 2347762 w 4829175"/>
                <a:gd name="connsiteY512" fmla="*/ 4039573 h 6515100"/>
                <a:gd name="connsiteX513" fmla="*/ 2347884 w 4829175"/>
                <a:gd name="connsiteY513" fmla="*/ 4039452 h 6515100"/>
                <a:gd name="connsiteX514" fmla="*/ 2347254 w 4829175"/>
                <a:gd name="connsiteY514" fmla="*/ 4038823 h 6515100"/>
                <a:gd name="connsiteX515" fmla="*/ 2347952 w 4829175"/>
                <a:gd name="connsiteY515" fmla="*/ 4038124 h 6515100"/>
                <a:gd name="connsiteX516" fmla="*/ 2346555 w 4829175"/>
                <a:gd name="connsiteY516" fmla="*/ 4036727 h 6515100"/>
                <a:gd name="connsiteX517" fmla="*/ 2521938 w 4829175"/>
                <a:gd name="connsiteY517" fmla="*/ 3860644 h 6515100"/>
                <a:gd name="connsiteX518" fmla="*/ 2526691 w 4829175"/>
                <a:gd name="connsiteY518" fmla="*/ 3860644 h 6515100"/>
                <a:gd name="connsiteX519" fmla="*/ 2532230 w 4829175"/>
                <a:gd name="connsiteY519" fmla="*/ 3855106 h 6515100"/>
                <a:gd name="connsiteX520" fmla="*/ 2618174 w 4829175"/>
                <a:gd name="connsiteY520" fmla="*/ 3769161 h 6515100"/>
                <a:gd name="connsiteX521" fmla="*/ 1804842 w 4829175"/>
                <a:gd name="connsiteY521" fmla="*/ 3769161 h 6515100"/>
                <a:gd name="connsiteX522" fmla="*/ 1535948 w 4829175"/>
                <a:gd name="connsiteY522" fmla="*/ 4038751 h 6515100"/>
                <a:gd name="connsiteX523" fmla="*/ 1805731 w 4829175"/>
                <a:gd name="connsiteY523" fmla="*/ 4307838 h 6515100"/>
                <a:gd name="connsiteX524" fmla="*/ 2069155 w 4829175"/>
                <a:gd name="connsiteY524" fmla="*/ 4307838 h 6515100"/>
                <a:gd name="connsiteX525" fmla="*/ 1939190 w 4829175"/>
                <a:gd name="connsiteY525" fmla="*/ 4177872 h 6515100"/>
                <a:gd name="connsiteX526" fmla="*/ 1844912 w 4829175"/>
                <a:gd name="connsiteY526" fmla="*/ 4083594 h 6515100"/>
                <a:gd name="connsiteX527" fmla="*/ 1841875 w 4829175"/>
                <a:gd name="connsiteY527" fmla="*/ 4083594 h 6515100"/>
                <a:gd name="connsiteX528" fmla="*/ 1798553 w 4829175"/>
                <a:gd name="connsiteY528" fmla="*/ 4040272 h 6515100"/>
                <a:gd name="connsiteX529" fmla="*/ 1800069 w 4829175"/>
                <a:gd name="connsiteY529" fmla="*/ 4038752 h 6515100"/>
                <a:gd name="connsiteX530" fmla="*/ 1798743 w 4829175"/>
                <a:gd name="connsiteY530" fmla="*/ 4037426 h 6515100"/>
                <a:gd name="connsiteX531" fmla="*/ 1974825 w 4829175"/>
                <a:gd name="connsiteY531" fmla="*/ 3860644 h 6515100"/>
                <a:gd name="connsiteX532" fmla="*/ 1977718 w 4829175"/>
                <a:gd name="connsiteY532" fmla="*/ 3860644 h 6515100"/>
                <a:gd name="connsiteX533" fmla="*/ 2068965 w 4829175"/>
                <a:gd name="connsiteY533" fmla="*/ 3769161 h 6515100"/>
                <a:gd name="connsiteX534" fmla="*/ 1257031 w 4829175"/>
                <a:gd name="connsiteY534" fmla="*/ 3769161 h 6515100"/>
                <a:gd name="connsiteX535" fmla="*/ 987788 w 4829175"/>
                <a:gd name="connsiteY535" fmla="*/ 4039100 h 6515100"/>
                <a:gd name="connsiteX536" fmla="*/ 1257220 w 4829175"/>
                <a:gd name="connsiteY536" fmla="*/ 4307838 h 6515100"/>
                <a:gd name="connsiteX537" fmla="*/ 1519946 w 4829175"/>
                <a:gd name="connsiteY537" fmla="*/ 4307838 h 6515100"/>
                <a:gd name="connsiteX538" fmla="*/ 1294422 w 4829175"/>
                <a:gd name="connsiteY538" fmla="*/ 4082896 h 6515100"/>
                <a:gd name="connsiteX539" fmla="*/ 1293365 w 4829175"/>
                <a:gd name="connsiteY539" fmla="*/ 4082896 h 6515100"/>
                <a:gd name="connsiteX540" fmla="*/ 1250742 w 4829175"/>
                <a:gd name="connsiteY540" fmla="*/ 4040272 h 6515100"/>
                <a:gd name="connsiteX541" fmla="*/ 1251213 w 4829175"/>
                <a:gd name="connsiteY541" fmla="*/ 4039800 h 6515100"/>
                <a:gd name="connsiteX542" fmla="*/ 1249534 w 4829175"/>
                <a:gd name="connsiteY542" fmla="*/ 4038124 h 6515100"/>
                <a:gd name="connsiteX543" fmla="*/ 1250932 w 4829175"/>
                <a:gd name="connsiteY543" fmla="*/ 4036727 h 6515100"/>
                <a:gd name="connsiteX544" fmla="*/ 1426315 w 4829175"/>
                <a:gd name="connsiteY544" fmla="*/ 3860644 h 6515100"/>
                <a:gd name="connsiteX545" fmla="*/ 1429907 w 4829175"/>
                <a:gd name="connsiteY545" fmla="*/ 3860644 h 6515100"/>
                <a:gd name="connsiteX546" fmla="*/ 1521154 w 4829175"/>
                <a:gd name="connsiteY546" fmla="*/ 3769161 h 6515100"/>
                <a:gd name="connsiteX547" fmla="*/ 709219 w 4829175"/>
                <a:gd name="connsiteY547" fmla="*/ 3769161 h 6515100"/>
                <a:gd name="connsiteX548" fmla="*/ 438807 w 4829175"/>
                <a:gd name="connsiteY548" fmla="*/ 4040272 h 6515100"/>
                <a:gd name="connsiteX549" fmla="*/ 480732 w 4829175"/>
                <a:gd name="connsiteY549" fmla="*/ 4082197 h 6515100"/>
                <a:gd name="connsiteX550" fmla="*/ 480499 w 4829175"/>
                <a:gd name="connsiteY550" fmla="*/ 4082197 h 6515100"/>
                <a:gd name="connsiteX551" fmla="*/ 708011 w 4829175"/>
                <a:gd name="connsiteY551" fmla="*/ 4308536 h 6515100"/>
                <a:gd name="connsiteX552" fmla="*/ 972135 w 4829175"/>
                <a:gd name="connsiteY552" fmla="*/ 4308536 h 6515100"/>
                <a:gd name="connsiteX553" fmla="*/ 745211 w 4829175"/>
                <a:gd name="connsiteY553" fmla="*/ 4082197 h 6515100"/>
                <a:gd name="connsiteX554" fmla="*/ 744855 w 4829175"/>
                <a:gd name="connsiteY554" fmla="*/ 4082197 h 6515100"/>
                <a:gd name="connsiteX555" fmla="*/ 702930 w 4829175"/>
                <a:gd name="connsiteY555" fmla="*/ 4040272 h 6515100"/>
                <a:gd name="connsiteX556" fmla="*/ 703053 w 4829175"/>
                <a:gd name="connsiteY556" fmla="*/ 4040149 h 6515100"/>
                <a:gd name="connsiteX557" fmla="*/ 701024 w 4829175"/>
                <a:gd name="connsiteY557" fmla="*/ 4038124 h 6515100"/>
                <a:gd name="connsiteX558" fmla="*/ 878504 w 4829175"/>
                <a:gd name="connsiteY558" fmla="*/ 3860644 h 6515100"/>
                <a:gd name="connsiteX559" fmla="*/ 882095 w 4829175"/>
                <a:gd name="connsiteY559" fmla="*/ 3860644 h 6515100"/>
                <a:gd name="connsiteX560" fmla="*/ 973342 w 4829175"/>
                <a:gd name="connsiteY560" fmla="*/ 3769161 h 6515100"/>
                <a:gd name="connsiteX561" fmla="*/ 3451072 w 4829175"/>
                <a:gd name="connsiteY561" fmla="*/ 3767066 h 6515100"/>
                <a:gd name="connsiteX562" fmla="*/ 3181135 w 4829175"/>
                <a:gd name="connsiteY562" fmla="*/ 4037702 h 6515100"/>
                <a:gd name="connsiteX563" fmla="*/ 3312910 w 4829175"/>
                <a:gd name="connsiteY563" fmla="*/ 4168788 h 6515100"/>
                <a:gd name="connsiteX564" fmla="*/ 3312910 w 4829175"/>
                <a:gd name="connsiteY564" fmla="*/ 4169487 h 6515100"/>
                <a:gd name="connsiteX565" fmla="*/ 3450563 w 4829175"/>
                <a:gd name="connsiteY565" fmla="*/ 4306440 h 6515100"/>
                <a:gd name="connsiteX566" fmla="*/ 3714686 w 4829175"/>
                <a:gd name="connsiteY566" fmla="*/ 4306440 h 6515100"/>
                <a:gd name="connsiteX567" fmla="*/ 3490444 w 4829175"/>
                <a:gd name="connsiteY567" fmla="*/ 4082197 h 6515100"/>
                <a:gd name="connsiteX568" fmla="*/ 3489503 w 4829175"/>
                <a:gd name="connsiteY568" fmla="*/ 4082197 h 6515100"/>
                <a:gd name="connsiteX569" fmla="*/ 3444084 w 4829175"/>
                <a:gd name="connsiteY569" fmla="*/ 4036779 h 6515100"/>
                <a:gd name="connsiteX570" fmla="*/ 3444556 w 4829175"/>
                <a:gd name="connsiteY570" fmla="*/ 4036310 h 6515100"/>
                <a:gd name="connsiteX571" fmla="*/ 3444274 w 4829175"/>
                <a:gd name="connsiteY571" fmla="*/ 4036028 h 6515100"/>
                <a:gd name="connsiteX572" fmla="*/ 3618959 w 4829175"/>
                <a:gd name="connsiteY572" fmla="*/ 3860644 h 6515100"/>
                <a:gd name="connsiteX573" fmla="*/ 3621132 w 4829175"/>
                <a:gd name="connsiteY573" fmla="*/ 3860644 h 6515100"/>
                <a:gd name="connsiteX574" fmla="*/ 3715195 w 4829175"/>
                <a:gd name="connsiteY574" fmla="*/ 3767066 h 6515100"/>
                <a:gd name="connsiteX575" fmla="*/ 3999582 w 4829175"/>
                <a:gd name="connsiteY575" fmla="*/ 3766367 h 6515100"/>
                <a:gd name="connsiteX576" fmla="*/ 3729642 w 4829175"/>
                <a:gd name="connsiteY576" fmla="*/ 4037004 h 6515100"/>
                <a:gd name="connsiteX577" fmla="*/ 3999073 w 4829175"/>
                <a:gd name="connsiteY577" fmla="*/ 4305741 h 6515100"/>
                <a:gd name="connsiteX578" fmla="*/ 4263197 w 4829175"/>
                <a:gd name="connsiteY578" fmla="*/ 4305741 h 6515100"/>
                <a:gd name="connsiteX579" fmla="*/ 4039076 w 4829175"/>
                <a:gd name="connsiteY579" fmla="*/ 4082197 h 6515100"/>
                <a:gd name="connsiteX580" fmla="*/ 4038711 w 4829175"/>
                <a:gd name="connsiteY580" fmla="*/ 4082197 h 6515100"/>
                <a:gd name="connsiteX581" fmla="*/ 3992595 w 4829175"/>
                <a:gd name="connsiteY581" fmla="*/ 4036080 h 6515100"/>
                <a:gd name="connsiteX582" fmla="*/ 3992717 w 4829175"/>
                <a:gd name="connsiteY582" fmla="*/ 4035958 h 6515100"/>
                <a:gd name="connsiteX583" fmla="*/ 3992086 w 4829175"/>
                <a:gd name="connsiteY583" fmla="*/ 4035329 h 6515100"/>
                <a:gd name="connsiteX584" fmla="*/ 4166770 w 4829175"/>
                <a:gd name="connsiteY584" fmla="*/ 3860644 h 6515100"/>
                <a:gd name="connsiteX585" fmla="*/ 4168939 w 4829175"/>
                <a:gd name="connsiteY585" fmla="*/ 3860644 h 6515100"/>
                <a:gd name="connsiteX586" fmla="*/ 4263706 w 4829175"/>
                <a:gd name="connsiteY586" fmla="*/ 3766367 h 6515100"/>
                <a:gd name="connsiteX587" fmla="*/ 4547394 w 4829175"/>
                <a:gd name="connsiteY587" fmla="*/ 3765668 h 6515100"/>
                <a:gd name="connsiteX588" fmla="*/ 4277804 w 4829175"/>
                <a:gd name="connsiteY588" fmla="*/ 4035954 h 6515100"/>
                <a:gd name="connsiteX589" fmla="*/ 4410630 w 4829175"/>
                <a:gd name="connsiteY589" fmla="*/ 4168089 h 6515100"/>
                <a:gd name="connsiteX590" fmla="*/ 4547584 w 4829175"/>
                <a:gd name="connsiteY590" fmla="*/ 4305042 h 6515100"/>
                <a:gd name="connsiteX591" fmla="*/ 4811706 w 4829175"/>
                <a:gd name="connsiteY591" fmla="*/ 4305042 h 6515100"/>
                <a:gd name="connsiteX592" fmla="*/ 4588162 w 4829175"/>
                <a:gd name="connsiteY592" fmla="*/ 4081498 h 6515100"/>
                <a:gd name="connsiteX593" fmla="*/ 4587920 w 4829175"/>
                <a:gd name="connsiteY593" fmla="*/ 4081498 h 6515100"/>
                <a:gd name="connsiteX594" fmla="*/ 4541105 w 4829175"/>
                <a:gd name="connsiteY594" fmla="*/ 4035381 h 6515100"/>
                <a:gd name="connsiteX595" fmla="*/ 4541576 w 4829175"/>
                <a:gd name="connsiteY595" fmla="*/ 4034912 h 6515100"/>
                <a:gd name="connsiteX596" fmla="*/ 4541294 w 4829175"/>
                <a:gd name="connsiteY596" fmla="*/ 4034630 h 6515100"/>
                <a:gd name="connsiteX597" fmla="*/ 4542692 w 4829175"/>
                <a:gd name="connsiteY597" fmla="*/ 4033233 h 6515100"/>
                <a:gd name="connsiteX598" fmla="*/ 4714582 w 4829175"/>
                <a:gd name="connsiteY598" fmla="*/ 3860644 h 6515100"/>
                <a:gd name="connsiteX599" fmla="*/ 4716295 w 4829175"/>
                <a:gd name="connsiteY599" fmla="*/ 3860644 h 6515100"/>
                <a:gd name="connsiteX600" fmla="*/ 4811517 w 4829175"/>
                <a:gd name="connsiteY600" fmla="*/ 3765668 h 6515100"/>
                <a:gd name="connsiteX601" fmla="*/ 1264018 w 4829175"/>
                <a:gd name="connsiteY601" fmla="*/ 3493858 h 6515100"/>
                <a:gd name="connsiteX602" fmla="*/ 1535828 w 4829175"/>
                <a:gd name="connsiteY602" fmla="*/ 3763572 h 6515100"/>
                <a:gd name="connsiteX603" fmla="*/ 1266165 w 4829175"/>
                <a:gd name="connsiteY603" fmla="*/ 4033931 h 6515100"/>
                <a:gd name="connsiteX604" fmla="*/ 1527632 w 4829175"/>
                <a:gd name="connsiteY604" fmla="*/ 4033931 h 6515100"/>
                <a:gd name="connsiteX605" fmla="*/ 1700221 w 4829175"/>
                <a:gd name="connsiteY605" fmla="*/ 3860644 h 6515100"/>
                <a:gd name="connsiteX606" fmla="*/ 1702878 w 4829175"/>
                <a:gd name="connsiteY606" fmla="*/ 3860644 h 6515100"/>
                <a:gd name="connsiteX607" fmla="*/ 1799252 w 4829175"/>
                <a:gd name="connsiteY607" fmla="*/ 3764270 h 6515100"/>
                <a:gd name="connsiteX608" fmla="*/ 1665094 w 4829175"/>
                <a:gd name="connsiteY608" fmla="*/ 3630811 h 6515100"/>
                <a:gd name="connsiteX609" fmla="*/ 1528141 w 4829175"/>
                <a:gd name="connsiteY609" fmla="*/ 3493858 h 6515100"/>
                <a:gd name="connsiteX610" fmla="*/ 715508 w 4829175"/>
                <a:gd name="connsiteY610" fmla="*/ 3493858 h 6515100"/>
                <a:gd name="connsiteX611" fmla="*/ 986618 w 4829175"/>
                <a:gd name="connsiteY611" fmla="*/ 3764270 h 6515100"/>
                <a:gd name="connsiteX612" fmla="*/ 716955 w 4829175"/>
                <a:gd name="connsiteY612" fmla="*/ 4034630 h 6515100"/>
                <a:gd name="connsiteX613" fmla="*/ 979122 w 4829175"/>
                <a:gd name="connsiteY613" fmla="*/ 4034630 h 6515100"/>
                <a:gd name="connsiteX614" fmla="*/ 1067862 w 4829175"/>
                <a:gd name="connsiteY614" fmla="*/ 3945192 h 6515100"/>
                <a:gd name="connsiteX615" fmla="*/ 1152410 w 4829175"/>
                <a:gd name="connsiteY615" fmla="*/ 3860644 h 6515100"/>
                <a:gd name="connsiteX616" fmla="*/ 1154616 w 4829175"/>
                <a:gd name="connsiteY616" fmla="*/ 3860644 h 6515100"/>
                <a:gd name="connsiteX617" fmla="*/ 1250742 w 4829175"/>
                <a:gd name="connsiteY617" fmla="*/ 3764270 h 6515100"/>
                <a:gd name="connsiteX618" fmla="*/ 979631 w 4829175"/>
                <a:gd name="connsiteY618" fmla="*/ 3493858 h 6515100"/>
                <a:gd name="connsiteX619" fmla="*/ 165601 w 4829175"/>
                <a:gd name="connsiteY619" fmla="*/ 3493858 h 6515100"/>
                <a:gd name="connsiteX620" fmla="*/ 436711 w 4829175"/>
                <a:gd name="connsiteY620" fmla="*/ 3764270 h 6515100"/>
                <a:gd name="connsiteX621" fmla="*/ 438108 w 4829175"/>
                <a:gd name="connsiteY621" fmla="*/ 3764969 h 6515100"/>
                <a:gd name="connsiteX622" fmla="*/ 169094 w 4829175"/>
                <a:gd name="connsiteY622" fmla="*/ 4034682 h 6515100"/>
                <a:gd name="connsiteX623" fmla="*/ 365440 w 4829175"/>
                <a:gd name="connsiteY623" fmla="*/ 4034682 h 6515100"/>
                <a:gd name="connsiteX624" fmla="*/ 365116 w 4829175"/>
                <a:gd name="connsiteY624" fmla="*/ 4035329 h 6515100"/>
                <a:gd name="connsiteX625" fmla="*/ 430612 w 4829175"/>
                <a:gd name="connsiteY625" fmla="*/ 4035329 h 6515100"/>
                <a:gd name="connsiteX626" fmla="*/ 604598 w 4829175"/>
                <a:gd name="connsiteY626" fmla="*/ 3860644 h 6515100"/>
                <a:gd name="connsiteX627" fmla="*/ 606802 w 4829175"/>
                <a:gd name="connsiteY627" fmla="*/ 3860644 h 6515100"/>
                <a:gd name="connsiteX628" fmla="*/ 701533 w 4829175"/>
                <a:gd name="connsiteY628" fmla="*/ 3765668 h 6515100"/>
                <a:gd name="connsiteX629" fmla="*/ 430423 w 4829175"/>
                <a:gd name="connsiteY629" fmla="*/ 3495256 h 6515100"/>
                <a:gd name="connsiteX630" fmla="*/ 362644 w 4829175"/>
                <a:gd name="connsiteY630" fmla="*/ 3493858 h 6515100"/>
                <a:gd name="connsiteX631" fmla="*/ 2361039 w 4829175"/>
                <a:gd name="connsiteY631" fmla="*/ 3493160 h 6515100"/>
                <a:gd name="connsiteX632" fmla="*/ 2631451 w 4829175"/>
                <a:gd name="connsiteY632" fmla="*/ 3762174 h 6515100"/>
                <a:gd name="connsiteX633" fmla="*/ 2628655 w 4829175"/>
                <a:gd name="connsiteY633" fmla="*/ 3764969 h 6515100"/>
                <a:gd name="connsiteX634" fmla="*/ 2538519 w 4829175"/>
                <a:gd name="connsiteY634" fmla="*/ 3855806 h 6515100"/>
                <a:gd name="connsiteX635" fmla="*/ 2361789 w 4829175"/>
                <a:gd name="connsiteY635" fmla="*/ 4032535 h 6515100"/>
                <a:gd name="connsiteX636" fmla="*/ 2624653 w 4829175"/>
                <a:gd name="connsiteY636" fmla="*/ 4032535 h 6515100"/>
                <a:gd name="connsiteX637" fmla="*/ 2795844 w 4829175"/>
                <a:gd name="connsiteY637" fmla="*/ 3860644 h 6515100"/>
                <a:gd name="connsiteX638" fmla="*/ 2797802 w 4829175"/>
                <a:gd name="connsiteY638" fmla="*/ 3860644 h 6515100"/>
                <a:gd name="connsiteX639" fmla="*/ 2895574 w 4829175"/>
                <a:gd name="connsiteY639" fmla="*/ 3762873 h 6515100"/>
                <a:gd name="connsiteX640" fmla="*/ 2625162 w 4829175"/>
                <a:gd name="connsiteY640" fmla="*/ 3493160 h 6515100"/>
                <a:gd name="connsiteX641" fmla="*/ 1812528 w 4829175"/>
                <a:gd name="connsiteY641" fmla="*/ 3493160 h 6515100"/>
                <a:gd name="connsiteX642" fmla="*/ 1813926 w 4829175"/>
                <a:gd name="connsiteY642" fmla="*/ 3494557 h 6515100"/>
                <a:gd name="connsiteX643" fmla="*/ 2083639 w 4829175"/>
                <a:gd name="connsiteY643" fmla="*/ 3763572 h 6515100"/>
                <a:gd name="connsiteX644" fmla="*/ 1814673 w 4829175"/>
                <a:gd name="connsiteY644" fmla="*/ 4033233 h 6515100"/>
                <a:gd name="connsiteX645" fmla="*/ 2076143 w 4829175"/>
                <a:gd name="connsiteY645" fmla="*/ 4033233 h 6515100"/>
                <a:gd name="connsiteX646" fmla="*/ 2248033 w 4829175"/>
                <a:gd name="connsiteY646" fmla="*/ 3860644 h 6515100"/>
                <a:gd name="connsiteX647" fmla="*/ 2250940 w 4829175"/>
                <a:gd name="connsiteY647" fmla="*/ 3860644 h 6515100"/>
                <a:gd name="connsiteX648" fmla="*/ 2347762 w 4829175"/>
                <a:gd name="connsiteY648" fmla="*/ 3763572 h 6515100"/>
                <a:gd name="connsiteX649" fmla="*/ 2342173 w 4829175"/>
                <a:gd name="connsiteY649" fmla="*/ 3758681 h 6515100"/>
                <a:gd name="connsiteX650" fmla="*/ 2076652 w 4829175"/>
                <a:gd name="connsiteY650" fmla="*/ 3493160 h 6515100"/>
                <a:gd name="connsiteX651" fmla="*/ 4005871 w 4829175"/>
                <a:gd name="connsiteY651" fmla="*/ 3491064 h 6515100"/>
                <a:gd name="connsiteX652" fmla="*/ 4277680 w 4829175"/>
                <a:gd name="connsiteY652" fmla="*/ 3760776 h 6515100"/>
                <a:gd name="connsiteX653" fmla="*/ 4008016 w 4829175"/>
                <a:gd name="connsiteY653" fmla="*/ 4031137 h 6515100"/>
                <a:gd name="connsiteX654" fmla="*/ 4270183 w 4829175"/>
                <a:gd name="connsiteY654" fmla="*/ 4031137 h 6515100"/>
                <a:gd name="connsiteX655" fmla="*/ 4359622 w 4829175"/>
                <a:gd name="connsiteY655" fmla="*/ 3941698 h 6515100"/>
                <a:gd name="connsiteX656" fmla="*/ 4440676 w 4829175"/>
                <a:gd name="connsiteY656" fmla="*/ 3860644 h 6515100"/>
                <a:gd name="connsiteX657" fmla="*/ 4441937 w 4829175"/>
                <a:gd name="connsiteY657" fmla="*/ 3860644 h 6515100"/>
                <a:gd name="connsiteX658" fmla="*/ 4541105 w 4829175"/>
                <a:gd name="connsiteY658" fmla="*/ 3761476 h 6515100"/>
                <a:gd name="connsiteX659" fmla="*/ 4406947 w 4829175"/>
                <a:gd name="connsiteY659" fmla="*/ 3628017 h 6515100"/>
                <a:gd name="connsiteX660" fmla="*/ 4269994 w 4829175"/>
                <a:gd name="connsiteY660" fmla="*/ 3491064 h 6515100"/>
                <a:gd name="connsiteX661" fmla="*/ 3721484 w 4829175"/>
                <a:gd name="connsiteY661" fmla="*/ 3490365 h 6515100"/>
                <a:gd name="connsiteX662" fmla="*/ 3457360 w 4829175"/>
                <a:gd name="connsiteY662" fmla="*/ 3491064 h 6515100"/>
                <a:gd name="connsiteX663" fmla="*/ 3728471 w 4829175"/>
                <a:gd name="connsiteY663" fmla="*/ 3761476 h 6515100"/>
                <a:gd name="connsiteX664" fmla="*/ 3458808 w 4829175"/>
                <a:gd name="connsiteY664" fmla="*/ 4031836 h 6515100"/>
                <a:gd name="connsiteX665" fmla="*/ 3721674 w 4829175"/>
                <a:gd name="connsiteY665" fmla="*/ 4031836 h 6515100"/>
                <a:gd name="connsiteX666" fmla="*/ 3892166 w 4829175"/>
                <a:gd name="connsiteY666" fmla="*/ 3859946 h 6515100"/>
                <a:gd name="connsiteX667" fmla="*/ 3893935 w 4829175"/>
                <a:gd name="connsiteY667" fmla="*/ 3859946 h 6515100"/>
                <a:gd name="connsiteX668" fmla="*/ 3992595 w 4829175"/>
                <a:gd name="connsiteY668" fmla="*/ 3760776 h 6515100"/>
                <a:gd name="connsiteX669" fmla="*/ 707821 w 4829175"/>
                <a:gd name="connsiteY669" fmla="*/ 3220651 h 6515100"/>
                <a:gd name="connsiteX670" fmla="*/ 437409 w 4829175"/>
                <a:gd name="connsiteY670" fmla="*/ 3491762 h 6515100"/>
                <a:gd name="connsiteX671" fmla="*/ 570170 w 4829175"/>
                <a:gd name="connsiteY671" fmla="*/ 3623824 h 6515100"/>
                <a:gd name="connsiteX672" fmla="*/ 708520 w 4829175"/>
                <a:gd name="connsiteY672" fmla="*/ 3761476 h 6515100"/>
                <a:gd name="connsiteX673" fmla="*/ 972643 w 4829175"/>
                <a:gd name="connsiteY673" fmla="*/ 3761476 h 6515100"/>
                <a:gd name="connsiteX674" fmla="*/ 701533 w 4829175"/>
                <a:gd name="connsiteY674" fmla="*/ 3491064 h 6515100"/>
                <a:gd name="connsiteX675" fmla="*/ 971945 w 4829175"/>
                <a:gd name="connsiteY675" fmla="*/ 3220651 h 6515100"/>
                <a:gd name="connsiteX676" fmla="*/ 1256332 w 4829175"/>
                <a:gd name="connsiteY676" fmla="*/ 3219953 h 6515100"/>
                <a:gd name="connsiteX677" fmla="*/ 985920 w 4829175"/>
                <a:gd name="connsiteY677" fmla="*/ 3491064 h 6515100"/>
                <a:gd name="connsiteX678" fmla="*/ 1257031 w 4829175"/>
                <a:gd name="connsiteY678" fmla="*/ 3761476 h 6515100"/>
                <a:gd name="connsiteX679" fmla="*/ 1521154 w 4829175"/>
                <a:gd name="connsiteY679" fmla="*/ 3760776 h 6515100"/>
                <a:gd name="connsiteX680" fmla="*/ 1250043 w 4829175"/>
                <a:gd name="connsiteY680" fmla="*/ 3490365 h 6515100"/>
                <a:gd name="connsiteX681" fmla="*/ 1434510 w 4829175"/>
                <a:gd name="connsiteY681" fmla="*/ 3305898 h 6515100"/>
                <a:gd name="connsiteX682" fmla="*/ 1520455 w 4829175"/>
                <a:gd name="connsiteY682" fmla="*/ 3219953 h 6515100"/>
                <a:gd name="connsiteX683" fmla="*/ 1804143 w 4829175"/>
                <a:gd name="connsiteY683" fmla="*/ 3219255 h 6515100"/>
                <a:gd name="connsiteX684" fmla="*/ 1623869 w 4829175"/>
                <a:gd name="connsiteY684" fmla="*/ 3400228 h 6515100"/>
                <a:gd name="connsiteX685" fmla="*/ 1534430 w 4829175"/>
                <a:gd name="connsiteY685" fmla="*/ 3490365 h 6515100"/>
                <a:gd name="connsiteX686" fmla="*/ 1668588 w 4829175"/>
                <a:gd name="connsiteY686" fmla="*/ 3623824 h 6515100"/>
                <a:gd name="connsiteX687" fmla="*/ 1805541 w 4829175"/>
                <a:gd name="connsiteY687" fmla="*/ 3760776 h 6515100"/>
                <a:gd name="connsiteX688" fmla="*/ 2069664 w 4829175"/>
                <a:gd name="connsiteY688" fmla="*/ 3760078 h 6515100"/>
                <a:gd name="connsiteX689" fmla="*/ 1798553 w 4829175"/>
                <a:gd name="connsiteY689" fmla="*/ 3489666 h 6515100"/>
                <a:gd name="connsiteX690" fmla="*/ 1799951 w 4829175"/>
                <a:gd name="connsiteY690" fmla="*/ 3488269 h 6515100"/>
                <a:gd name="connsiteX691" fmla="*/ 2068266 w 4829175"/>
                <a:gd name="connsiteY691" fmla="*/ 3219255 h 6515100"/>
                <a:gd name="connsiteX692" fmla="*/ 2353352 w 4829175"/>
                <a:gd name="connsiteY692" fmla="*/ 3218555 h 6515100"/>
                <a:gd name="connsiteX693" fmla="*/ 2082940 w 4829175"/>
                <a:gd name="connsiteY693" fmla="*/ 3489666 h 6515100"/>
                <a:gd name="connsiteX694" fmla="*/ 2354051 w 4829175"/>
                <a:gd name="connsiteY694" fmla="*/ 3760078 h 6515100"/>
                <a:gd name="connsiteX695" fmla="*/ 2618174 w 4829175"/>
                <a:gd name="connsiteY695" fmla="*/ 3760078 h 6515100"/>
                <a:gd name="connsiteX696" fmla="*/ 2347064 w 4829175"/>
                <a:gd name="connsiteY696" fmla="*/ 3489666 h 6515100"/>
                <a:gd name="connsiteX697" fmla="*/ 2617476 w 4829175"/>
                <a:gd name="connsiteY697" fmla="*/ 3218555 h 6515100"/>
                <a:gd name="connsiteX698" fmla="*/ 3449674 w 4829175"/>
                <a:gd name="connsiteY698" fmla="*/ 3217158 h 6515100"/>
                <a:gd name="connsiteX699" fmla="*/ 3179262 w 4829175"/>
                <a:gd name="connsiteY699" fmla="*/ 3488269 h 6515100"/>
                <a:gd name="connsiteX700" fmla="*/ 3450373 w 4829175"/>
                <a:gd name="connsiteY700" fmla="*/ 3758681 h 6515100"/>
                <a:gd name="connsiteX701" fmla="*/ 3714496 w 4829175"/>
                <a:gd name="connsiteY701" fmla="*/ 3758681 h 6515100"/>
                <a:gd name="connsiteX702" fmla="*/ 3443385 w 4829175"/>
                <a:gd name="connsiteY702" fmla="*/ 3488269 h 6515100"/>
                <a:gd name="connsiteX703" fmla="*/ 3713797 w 4829175"/>
                <a:gd name="connsiteY703" fmla="*/ 3217158 h 6515100"/>
                <a:gd name="connsiteX704" fmla="*/ 3998184 w 4829175"/>
                <a:gd name="connsiteY704" fmla="*/ 3216459 h 6515100"/>
                <a:gd name="connsiteX705" fmla="*/ 3727772 w 4829175"/>
                <a:gd name="connsiteY705" fmla="*/ 3487570 h 6515100"/>
                <a:gd name="connsiteX706" fmla="*/ 3998883 w 4829175"/>
                <a:gd name="connsiteY706" fmla="*/ 3757982 h 6515100"/>
                <a:gd name="connsiteX707" fmla="*/ 4263007 w 4829175"/>
                <a:gd name="connsiteY707" fmla="*/ 3757283 h 6515100"/>
                <a:gd name="connsiteX708" fmla="*/ 3991896 w 4829175"/>
                <a:gd name="connsiteY708" fmla="*/ 3486871 h 6515100"/>
                <a:gd name="connsiteX709" fmla="*/ 4176362 w 4829175"/>
                <a:gd name="connsiteY709" fmla="*/ 3302404 h 6515100"/>
                <a:gd name="connsiteX710" fmla="*/ 4177062 w 4829175"/>
                <a:gd name="connsiteY710" fmla="*/ 3302404 h 6515100"/>
                <a:gd name="connsiteX711" fmla="*/ 4262308 w 4829175"/>
                <a:gd name="connsiteY711" fmla="*/ 3216459 h 6515100"/>
                <a:gd name="connsiteX712" fmla="*/ 4546695 w 4829175"/>
                <a:gd name="connsiteY712" fmla="*/ 3215760 h 6515100"/>
                <a:gd name="connsiteX713" fmla="*/ 4366420 w 4829175"/>
                <a:gd name="connsiteY713" fmla="*/ 3396734 h 6515100"/>
                <a:gd name="connsiteX714" fmla="*/ 4365722 w 4829175"/>
                <a:gd name="connsiteY714" fmla="*/ 3396734 h 6515100"/>
                <a:gd name="connsiteX715" fmla="*/ 4276282 w 4829175"/>
                <a:gd name="connsiteY715" fmla="*/ 3486871 h 6515100"/>
                <a:gd name="connsiteX716" fmla="*/ 4410440 w 4829175"/>
                <a:gd name="connsiteY716" fmla="*/ 3620330 h 6515100"/>
                <a:gd name="connsiteX717" fmla="*/ 4547394 w 4829175"/>
                <a:gd name="connsiteY717" fmla="*/ 3757283 h 6515100"/>
                <a:gd name="connsiteX718" fmla="*/ 4811517 w 4829175"/>
                <a:gd name="connsiteY718" fmla="*/ 3757283 h 6515100"/>
                <a:gd name="connsiteX719" fmla="*/ 4540406 w 4829175"/>
                <a:gd name="connsiteY719" fmla="*/ 3486871 h 6515100"/>
                <a:gd name="connsiteX720" fmla="*/ 4542503 w 4829175"/>
                <a:gd name="connsiteY720" fmla="*/ 3485473 h 6515100"/>
                <a:gd name="connsiteX721" fmla="*/ 4810119 w 4829175"/>
                <a:gd name="connsiteY721" fmla="*/ 3215760 h 6515100"/>
                <a:gd name="connsiteX722" fmla="*/ 1263319 w 4829175"/>
                <a:gd name="connsiteY722" fmla="*/ 2946047 h 6515100"/>
                <a:gd name="connsiteX723" fmla="*/ 1534430 w 4829175"/>
                <a:gd name="connsiteY723" fmla="*/ 3215760 h 6515100"/>
                <a:gd name="connsiteX724" fmla="*/ 1531636 w 4829175"/>
                <a:gd name="connsiteY724" fmla="*/ 3218555 h 6515100"/>
                <a:gd name="connsiteX725" fmla="*/ 1441498 w 4829175"/>
                <a:gd name="connsiteY725" fmla="*/ 3309391 h 6515100"/>
                <a:gd name="connsiteX726" fmla="*/ 1264018 w 4829175"/>
                <a:gd name="connsiteY726" fmla="*/ 3486871 h 6515100"/>
                <a:gd name="connsiteX727" fmla="*/ 1528141 w 4829175"/>
                <a:gd name="connsiteY727" fmla="*/ 3486871 h 6515100"/>
                <a:gd name="connsiteX728" fmla="*/ 1617580 w 4829175"/>
                <a:gd name="connsiteY728" fmla="*/ 3397432 h 6515100"/>
                <a:gd name="connsiteX729" fmla="*/ 1798553 w 4829175"/>
                <a:gd name="connsiteY729" fmla="*/ 3216459 h 6515100"/>
                <a:gd name="connsiteX730" fmla="*/ 1527442 w 4829175"/>
                <a:gd name="connsiteY730" fmla="*/ 2946047 h 6515100"/>
                <a:gd name="connsiteX731" fmla="*/ 714809 w 4829175"/>
                <a:gd name="connsiteY731" fmla="*/ 2946047 h 6515100"/>
                <a:gd name="connsiteX732" fmla="*/ 843377 w 4829175"/>
                <a:gd name="connsiteY732" fmla="*/ 3074615 h 6515100"/>
                <a:gd name="connsiteX733" fmla="*/ 985221 w 4829175"/>
                <a:gd name="connsiteY733" fmla="*/ 3216459 h 6515100"/>
                <a:gd name="connsiteX734" fmla="*/ 714809 w 4829175"/>
                <a:gd name="connsiteY734" fmla="*/ 3487570 h 6515100"/>
                <a:gd name="connsiteX735" fmla="*/ 978932 w 4829175"/>
                <a:gd name="connsiteY735" fmla="*/ 3487570 h 6515100"/>
                <a:gd name="connsiteX736" fmla="*/ 1249344 w 4829175"/>
                <a:gd name="connsiteY736" fmla="*/ 3216459 h 6515100"/>
                <a:gd name="connsiteX737" fmla="*/ 1244453 w 4829175"/>
                <a:gd name="connsiteY737" fmla="*/ 3211568 h 6515100"/>
                <a:gd name="connsiteX738" fmla="*/ 978932 w 4829175"/>
                <a:gd name="connsiteY738" fmla="*/ 2946047 h 6515100"/>
                <a:gd name="connsiteX739" fmla="*/ 164902 w 4829175"/>
                <a:gd name="connsiteY739" fmla="*/ 2946047 h 6515100"/>
                <a:gd name="connsiteX740" fmla="*/ 436013 w 4829175"/>
                <a:gd name="connsiteY740" fmla="*/ 3215760 h 6515100"/>
                <a:gd name="connsiteX741" fmla="*/ 433217 w 4829175"/>
                <a:gd name="connsiteY741" fmla="*/ 3218555 h 6515100"/>
                <a:gd name="connsiteX742" fmla="*/ 343079 w 4829175"/>
                <a:gd name="connsiteY742" fmla="*/ 3309391 h 6515100"/>
                <a:gd name="connsiteX743" fmla="*/ 165601 w 4829175"/>
                <a:gd name="connsiteY743" fmla="*/ 3486871 h 6515100"/>
                <a:gd name="connsiteX744" fmla="*/ 429724 w 4829175"/>
                <a:gd name="connsiteY744" fmla="*/ 3486871 h 6515100"/>
                <a:gd name="connsiteX745" fmla="*/ 519162 w 4829175"/>
                <a:gd name="connsiteY745" fmla="*/ 3397432 h 6515100"/>
                <a:gd name="connsiteX746" fmla="*/ 700136 w 4829175"/>
                <a:gd name="connsiteY746" fmla="*/ 3216459 h 6515100"/>
                <a:gd name="connsiteX747" fmla="*/ 429025 w 4829175"/>
                <a:gd name="connsiteY747" fmla="*/ 2946047 h 6515100"/>
                <a:gd name="connsiteX748" fmla="*/ 2908151 w 4829175"/>
                <a:gd name="connsiteY748" fmla="*/ 2945348 h 6515100"/>
                <a:gd name="connsiteX749" fmla="*/ 3179262 w 4829175"/>
                <a:gd name="connsiteY749" fmla="*/ 3215760 h 6515100"/>
                <a:gd name="connsiteX750" fmla="*/ 2908850 w 4829175"/>
                <a:gd name="connsiteY750" fmla="*/ 3486871 h 6515100"/>
                <a:gd name="connsiteX751" fmla="*/ 3107292 w 4829175"/>
                <a:gd name="connsiteY751" fmla="*/ 3486871 h 6515100"/>
                <a:gd name="connsiteX752" fmla="*/ 3103798 w 4829175"/>
                <a:gd name="connsiteY752" fmla="*/ 3493858 h 6515100"/>
                <a:gd name="connsiteX753" fmla="*/ 2908850 w 4829175"/>
                <a:gd name="connsiteY753" fmla="*/ 3493858 h 6515100"/>
                <a:gd name="connsiteX754" fmla="*/ 3038815 w 4829175"/>
                <a:gd name="connsiteY754" fmla="*/ 3623824 h 6515100"/>
                <a:gd name="connsiteX755" fmla="*/ 3035322 w 4829175"/>
                <a:gd name="connsiteY755" fmla="*/ 3630811 h 6515100"/>
                <a:gd name="connsiteX756" fmla="*/ 2894875 w 4829175"/>
                <a:gd name="connsiteY756" fmla="*/ 3490365 h 6515100"/>
                <a:gd name="connsiteX757" fmla="*/ 3165287 w 4829175"/>
                <a:gd name="connsiteY757" fmla="*/ 3219255 h 6515100"/>
                <a:gd name="connsiteX758" fmla="*/ 2901164 w 4829175"/>
                <a:gd name="connsiteY758" fmla="*/ 3219255 h 6515100"/>
                <a:gd name="connsiteX759" fmla="*/ 2630752 w 4829175"/>
                <a:gd name="connsiteY759" fmla="*/ 3490365 h 6515100"/>
                <a:gd name="connsiteX760" fmla="*/ 2901863 w 4829175"/>
                <a:gd name="connsiteY760" fmla="*/ 3760776 h 6515100"/>
                <a:gd name="connsiteX761" fmla="*/ 2970339 w 4829175"/>
                <a:gd name="connsiteY761" fmla="*/ 3760776 h 6515100"/>
                <a:gd name="connsiteX762" fmla="*/ 2966846 w 4829175"/>
                <a:gd name="connsiteY762" fmla="*/ 3767764 h 6515100"/>
                <a:gd name="connsiteX763" fmla="*/ 2901863 w 4829175"/>
                <a:gd name="connsiteY763" fmla="*/ 3767764 h 6515100"/>
                <a:gd name="connsiteX764" fmla="*/ 2721588 w 4829175"/>
                <a:gd name="connsiteY764" fmla="*/ 3948738 h 6515100"/>
                <a:gd name="connsiteX765" fmla="*/ 2633317 w 4829175"/>
                <a:gd name="connsiteY765" fmla="*/ 4037700 h 6515100"/>
                <a:gd name="connsiteX766" fmla="*/ 2902751 w 4829175"/>
                <a:gd name="connsiteY766" fmla="*/ 4306440 h 6515100"/>
                <a:gd name="connsiteX767" fmla="*/ 3165477 w 4829175"/>
                <a:gd name="connsiteY767" fmla="*/ 4306440 h 6515100"/>
                <a:gd name="connsiteX768" fmla="*/ 3036210 w 4829175"/>
                <a:gd name="connsiteY768" fmla="*/ 4177174 h 6515100"/>
                <a:gd name="connsiteX769" fmla="*/ 3036909 w 4829175"/>
                <a:gd name="connsiteY769" fmla="*/ 4176475 h 6515100"/>
                <a:gd name="connsiteX770" fmla="*/ 2942163 w 4829175"/>
                <a:gd name="connsiteY770" fmla="*/ 4082197 h 6515100"/>
                <a:gd name="connsiteX771" fmla="*/ 2940992 w 4829175"/>
                <a:gd name="connsiteY771" fmla="*/ 4082197 h 6515100"/>
                <a:gd name="connsiteX772" fmla="*/ 2896273 w 4829175"/>
                <a:gd name="connsiteY772" fmla="*/ 4037478 h 6515100"/>
                <a:gd name="connsiteX773" fmla="*/ 2896745 w 4829175"/>
                <a:gd name="connsiteY773" fmla="*/ 4037005 h 6515100"/>
                <a:gd name="connsiteX774" fmla="*/ 2895764 w 4829175"/>
                <a:gd name="connsiteY774" fmla="*/ 4036028 h 6515100"/>
                <a:gd name="connsiteX775" fmla="*/ 3070448 w 4829175"/>
                <a:gd name="connsiteY775" fmla="*/ 3860644 h 6515100"/>
                <a:gd name="connsiteX776" fmla="*/ 3072651 w 4829175"/>
                <a:gd name="connsiteY776" fmla="*/ 3860644 h 6515100"/>
                <a:gd name="connsiteX777" fmla="*/ 3165986 w 4829175"/>
                <a:gd name="connsiteY777" fmla="*/ 3767066 h 6515100"/>
                <a:gd name="connsiteX778" fmla="*/ 2967543 w 4829175"/>
                <a:gd name="connsiteY778" fmla="*/ 3767066 h 6515100"/>
                <a:gd name="connsiteX779" fmla="*/ 2971038 w 4829175"/>
                <a:gd name="connsiteY779" fmla="*/ 3760078 h 6515100"/>
                <a:gd name="connsiteX780" fmla="*/ 3165986 w 4829175"/>
                <a:gd name="connsiteY780" fmla="*/ 3760078 h 6515100"/>
                <a:gd name="connsiteX781" fmla="*/ 3036021 w 4829175"/>
                <a:gd name="connsiteY781" fmla="*/ 3630113 h 6515100"/>
                <a:gd name="connsiteX782" fmla="*/ 3039514 w 4829175"/>
                <a:gd name="connsiteY782" fmla="*/ 3623126 h 6515100"/>
                <a:gd name="connsiteX783" fmla="*/ 3179961 w 4829175"/>
                <a:gd name="connsiteY783" fmla="*/ 3763572 h 6515100"/>
                <a:gd name="connsiteX784" fmla="*/ 2912388 w 4829175"/>
                <a:gd name="connsiteY784" fmla="*/ 4031836 h 6515100"/>
                <a:gd name="connsiteX785" fmla="*/ 3173163 w 4829175"/>
                <a:gd name="connsiteY785" fmla="*/ 4031836 h 6515100"/>
                <a:gd name="connsiteX786" fmla="*/ 3262601 w 4829175"/>
                <a:gd name="connsiteY786" fmla="*/ 3942397 h 6515100"/>
                <a:gd name="connsiteX787" fmla="*/ 3344354 w 4829175"/>
                <a:gd name="connsiteY787" fmla="*/ 3860644 h 6515100"/>
                <a:gd name="connsiteX788" fmla="*/ 3347262 w 4829175"/>
                <a:gd name="connsiteY788" fmla="*/ 3860644 h 6515100"/>
                <a:gd name="connsiteX789" fmla="*/ 3444084 w 4829175"/>
                <a:gd name="connsiteY789" fmla="*/ 3763572 h 6515100"/>
                <a:gd name="connsiteX790" fmla="*/ 3172973 w 4829175"/>
                <a:gd name="connsiteY790" fmla="*/ 3493858 h 6515100"/>
                <a:gd name="connsiteX791" fmla="*/ 3104497 w 4829175"/>
                <a:gd name="connsiteY791" fmla="*/ 3493858 h 6515100"/>
                <a:gd name="connsiteX792" fmla="*/ 3107990 w 4829175"/>
                <a:gd name="connsiteY792" fmla="*/ 3486871 h 6515100"/>
                <a:gd name="connsiteX793" fmla="*/ 3172973 w 4829175"/>
                <a:gd name="connsiteY793" fmla="*/ 3486871 h 6515100"/>
                <a:gd name="connsiteX794" fmla="*/ 3443385 w 4829175"/>
                <a:gd name="connsiteY794" fmla="*/ 3215760 h 6515100"/>
                <a:gd name="connsiteX795" fmla="*/ 3309227 w 4829175"/>
                <a:gd name="connsiteY795" fmla="*/ 3082301 h 6515100"/>
                <a:gd name="connsiteX796" fmla="*/ 3172275 w 4829175"/>
                <a:gd name="connsiteY796" fmla="*/ 2945348 h 6515100"/>
                <a:gd name="connsiteX797" fmla="*/ 1811829 w 4829175"/>
                <a:gd name="connsiteY797" fmla="*/ 2944649 h 6515100"/>
                <a:gd name="connsiteX798" fmla="*/ 1941795 w 4829175"/>
                <a:gd name="connsiteY798" fmla="*/ 3074615 h 6515100"/>
                <a:gd name="connsiteX799" fmla="*/ 2082940 w 4829175"/>
                <a:gd name="connsiteY799" fmla="*/ 3215061 h 6515100"/>
                <a:gd name="connsiteX800" fmla="*/ 1812528 w 4829175"/>
                <a:gd name="connsiteY800" fmla="*/ 3486172 h 6515100"/>
                <a:gd name="connsiteX801" fmla="*/ 2076652 w 4829175"/>
                <a:gd name="connsiteY801" fmla="*/ 3486172 h 6515100"/>
                <a:gd name="connsiteX802" fmla="*/ 2347064 w 4829175"/>
                <a:gd name="connsiteY802" fmla="*/ 3215061 h 6515100"/>
                <a:gd name="connsiteX803" fmla="*/ 2075953 w 4829175"/>
                <a:gd name="connsiteY803" fmla="*/ 2944649 h 6515100"/>
                <a:gd name="connsiteX804" fmla="*/ 2360340 w 4829175"/>
                <a:gd name="connsiteY804" fmla="*/ 2943952 h 6515100"/>
                <a:gd name="connsiteX805" fmla="*/ 2631451 w 4829175"/>
                <a:gd name="connsiteY805" fmla="*/ 3214364 h 6515100"/>
                <a:gd name="connsiteX806" fmla="*/ 2361039 w 4829175"/>
                <a:gd name="connsiteY806" fmla="*/ 3485473 h 6515100"/>
                <a:gd name="connsiteX807" fmla="*/ 2625162 w 4829175"/>
                <a:gd name="connsiteY807" fmla="*/ 3485473 h 6515100"/>
                <a:gd name="connsiteX808" fmla="*/ 2895574 w 4829175"/>
                <a:gd name="connsiteY808" fmla="*/ 3214364 h 6515100"/>
                <a:gd name="connsiteX809" fmla="*/ 2624463 w 4829175"/>
                <a:gd name="connsiteY809" fmla="*/ 2943952 h 6515100"/>
                <a:gd name="connsiteX810" fmla="*/ 4005871 w 4829175"/>
                <a:gd name="connsiteY810" fmla="*/ 2943253 h 6515100"/>
                <a:gd name="connsiteX811" fmla="*/ 4275584 w 4829175"/>
                <a:gd name="connsiteY811" fmla="*/ 3212267 h 6515100"/>
                <a:gd name="connsiteX812" fmla="*/ 4272789 w 4829175"/>
                <a:gd name="connsiteY812" fmla="*/ 3215061 h 6515100"/>
                <a:gd name="connsiteX813" fmla="*/ 4182652 w 4829175"/>
                <a:gd name="connsiteY813" fmla="*/ 3305898 h 6515100"/>
                <a:gd name="connsiteX814" fmla="*/ 4181952 w 4829175"/>
                <a:gd name="connsiteY814" fmla="*/ 3305898 h 6515100"/>
                <a:gd name="connsiteX815" fmla="*/ 4005172 w 4829175"/>
                <a:gd name="connsiteY815" fmla="*/ 3483378 h 6515100"/>
                <a:gd name="connsiteX816" fmla="*/ 4269295 w 4829175"/>
                <a:gd name="connsiteY816" fmla="*/ 3483378 h 6515100"/>
                <a:gd name="connsiteX817" fmla="*/ 4358734 w 4829175"/>
                <a:gd name="connsiteY817" fmla="*/ 3393939 h 6515100"/>
                <a:gd name="connsiteX818" fmla="*/ 4359432 w 4829175"/>
                <a:gd name="connsiteY818" fmla="*/ 3393939 h 6515100"/>
                <a:gd name="connsiteX819" fmla="*/ 4541105 w 4829175"/>
                <a:gd name="connsiteY819" fmla="*/ 3213665 h 6515100"/>
                <a:gd name="connsiteX820" fmla="*/ 4269994 w 4829175"/>
                <a:gd name="connsiteY820" fmla="*/ 2943253 h 6515100"/>
                <a:gd name="connsiteX821" fmla="*/ 3457360 w 4829175"/>
                <a:gd name="connsiteY821" fmla="*/ 2943253 h 6515100"/>
                <a:gd name="connsiteX822" fmla="*/ 3458059 w 4829175"/>
                <a:gd name="connsiteY822" fmla="*/ 2943952 h 6515100"/>
                <a:gd name="connsiteX823" fmla="*/ 3458758 w 4829175"/>
                <a:gd name="connsiteY823" fmla="*/ 2943952 h 6515100"/>
                <a:gd name="connsiteX824" fmla="*/ 3727772 w 4829175"/>
                <a:gd name="connsiteY824" fmla="*/ 3212966 h 6515100"/>
                <a:gd name="connsiteX825" fmla="*/ 3457360 w 4829175"/>
                <a:gd name="connsiteY825" fmla="*/ 3484077 h 6515100"/>
                <a:gd name="connsiteX826" fmla="*/ 3721484 w 4829175"/>
                <a:gd name="connsiteY826" fmla="*/ 3484077 h 6515100"/>
                <a:gd name="connsiteX827" fmla="*/ 3991896 w 4829175"/>
                <a:gd name="connsiteY827" fmla="*/ 3213665 h 6515100"/>
                <a:gd name="connsiteX828" fmla="*/ 3987005 w 4829175"/>
                <a:gd name="connsiteY828" fmla="*/ 3208074 h 6515100"/>
                <a:gd name="connsiteX829" fmla="*/ 3721484 w 4829175"/>
                <a:gd name="connsiteY829" fmla="*/ 2943253 h 6515100"/>
                <a:gd name="connsiteX830" fmla="*/ 1255633 w 4829175"/>
                <a:gd name="connsiteY830" fmla="*/ 2671443 h 6515100"/>
                <a:gd name="connsiteX831" fmla="*/ 985221 w 4829175"/>
                <a:gd name="connsiteY831" fmla="*/ 2942554 h 6515100"/>
                <a:gd name="connsiteX832" fmla="*/ 1256332 w 4829175"/>
                <a:gd name="connsiteY832" fmla="*/ 3212966 h 6515100"/>
                <a:gd name="connsiteX833" fmla="*/ 1520455 w 4829175"/>
                <a:gd name="connsiteY833" fmla="*/ 3212966 h 6515100"/>
                <a:gd name="connsiteX834" fmla="*/ 1249344 w 4829175"/>
                <a:gd name="connsiteY834" fmla="*/ 2942554 h 6515100"/>
                <a:gd name="connsiteX835" fmla="*/ 1519757 w 4829175"/>
                <a:gd name="connsiteY835" fmla="*/ 2671443 h 6515100"/>
                <a:gd name="connsiteX836" fmla="*/ 1804143 w 4829175"/>
                <a:gd name="connsiteY836" fmla="*/ 2670744 h 6515100"/>
                <a:gd name="connsiteX837" fmla="*/ 1533731 w 4829175"/>
                <a:gd name="connsiteY837" fmla="*/ 2941855 h 6515100"/>
                <a:gd name="connsiteX838" fmla="*/ 1805541 w 4829175"/>
                <a:gd name="connsiteY838" fmla="*/ 3212267 h 6515100"/>
                <a:gd name="connsiteX839" fmla="*/ 2068965 w 4829175"/>
                <a:gd name="connsiteY839" fmla="*/ 3212267 h 6515100"/>
                <a:gd name="connsiteX840" fmla="*/ 1938301 w 4829175"/>
                <a:gd name="connsiteY840" fmla="*/ 3082301 h 6515100"/>
                <a:gd name="connsiteX841" fmla="*/ 1797854 w 4829175"/>
                <a:gd name="connsiteY841" fmla="*/ 2941855 h 6515100"/>
                <a:gd name="connsiteX842" fmla="*/ 2068266 w 4829175"/>
                <a:gd name="connsiteY842" fmla="*/ 2670744 h 6515100"/>
                <a:gd name="connsiteX843" fmla="*/ 705027 w 4829175"/>
                <a:gd name="connsiteY843" fmla="*/ 2670744 h 6515100"/>
                <a:gd name="connsiteX844" fmla="*/ 434615 w 4829175"/>
                <a:gd name="connsiteY844" fmla="*/ 2941855 h 6515100"/>
                <a:gd name="connsiteX845" fmla="*/ 705726 w 4829175"/>
                <a:gd name="connsiteY845" fmla="*/ 3212267 h 6515100"/>
                <a:gd name="connsiteX846" fmla="*/ 774202 w 4829175"/>
                <a:gd name="connsiteY846" fmla="*/ 3212267 h 6515100"/>
                <a:gd name="connsiteX847" fmla="*/ 773503 w 4829175"/>
                <a:gd name="connsiteY847" fmla="*/ 3213665 h 6515100"/>
                <a:gd name="connsiteX848" fmla="*/ 971247 w 4829175"/>
                <a:gd name="connsiteY848" fmla="*/ 3213665 h 6515100"/>
                <a:gd name="connsiteX849" fmla="*/ 839884 w 4829175"/>
                <a:gd name="connsiteY849" fmla="*/ 3082301 h 6515100"/>
                <a:gd name="connsiteX850" fmla="*/ 699437 w 4829175"/>
                <a:gd name="connsiteY850" fmla="*/ 2941855 h 6515100"/>
                <a:gd name="connsiteX851" fmla="*/ 968451 w 4829175"/>
                <a:gd name="connsiteY851" fmla="*/ 2672142 h 6515100"/>
                <a:gd name="connsiteX852" fmla="*/ 772105 w 4829175"/>
                <a:gd name="connsiteY852" fmla="*/ 2672142 h 6515100"/>
                <a:gd name="connsiteX853" fmla="*/ 772804 w 4829175"/>
                <a:gd name="connsiteY853" fmla="*/ 2670744 h 6515100"/>
                <a:gd name="connsiteX854" fmla="*/ 2352653 w 4829175"/>
                <a:gd name="connsiteY854" fmla="*/ 2670045 h 6515100"/>
                <a:gd name="connsiteX855" fmla="*/ 2082241 w 4829175"/>
                <a:gd name="connsiteY855" fmla="*/ 2941156 h 6515100"/>
                <a:gd name="connsiteX856" fmla="*/ 2353352 w 4829175"/>
                <a:gd name="connsiteY856" fmla="*/ 3211568 h 6515100"/>
                <a:gd name="connsiteX857" fmla="*/ 2617476 w 4829175"/>
                <a:gd name="connsiteY857" fmla="*/ 3211568 h 6515100"/>
                <a:gd name="connsiteX858" fmla="*/ 2346365 w 4829175"/>
                <a:gd name="connsiteY858" fmla="*/ 2941156 h 6515100"/>
                <a:gd name="connsiteX859" fmla="*/ 2616777 w 4829175"/>
                <a:gd name="connsiteY859" fmla="*/ 2670045 h 6515100"/>
                <a:gd name="connsiteX860" fmla="*/ 3998184 w 4829175"/>
                <a:gd name="connsiteY860" fmla="*/ 2667949 h 6515100"/>
                <a:gd name="connsiteX861" fmla="*/ 3727772 w 4829175"/>
                <a:gd name="connsiteY861" fmla="*/ 2939060 h 6515100"/>
                <a:gd name="connsiteX862" fmla="*/ 3998883 w 4829175"/>
                <a:gd name="connsiteY862" fmla="*/ 3209471 h 6515100"/>
                <a:gd name="connsiteX863" fmla="*/ 4263007 w 4829175"/>
                <a:gd name="connsiteY863" fmla="*/ 3209471 h 6515100"/>
                <a:gd name="connsiteX864" fmla="*/ 3991896 w 4829175"/>
                <a:gd name="connsiteY864" fmla="*/ 2939060 h 6515100"/>
                <a:gd name="connsiteX865" fmla="*/ 4262308 w 4829175"/>
                <a:gd name="connsiteY865" fmla="*/ 2667949 h 6515100"/>
                <a:gd name="connsiteX866" fmla="*/ 4546695 w 4829175"/>
                <a:gd name="connsiteY866" fmla="*/ 2667250 h 6515100"/>
                <a:gd name="connsiteX867" fmla="*/ 4276282 w 4829175"/>
                <a:gd name="connsiteY867" fmla="*/ 2938360 h 6515100"/>
                <a:gd name="connsiteX868" fmla="*/ 4547394 w 4829175"/>
                <a:gd name="connsiteY868" fmla="*/ 3208772 h 6515100"/>
                <a:gd name="connsiteX869" fmla="*/ 4810818 w 4829175"/>
                <a:gd name="connsiteY869" fmla="*/ 3208772 h 6515100"/>
                <a:gd name="connsiteX870" fmla="*/ 4680852 w 4829175"/>
                <a:gd name="connsiteY870" fmla="*/ 3078808 h 6515100"/>
                <a:gd name="connsiteX871" fmla="*/ 4540406 w 4829175"/>
                <a:gd name="connsiteY871" fmla="*/ 2938360 h 6515100"/>
                <a:gd name="connsiteX872" fmla="*/ 4810818 w 4829175"/>
                <a:gd name="connsiteY872" fmla="*/ 2667250 h 6515100"/>
                <a:gd name="connsiteX873" fmla="*/ 164203 w 4829175"/>
                <a:gd name="connsiteY873" fmla="*/ 2397537 h 6515100"/>
                <a:gd name="connsiteX874" fmla="*/ 435314 w 4829175"/>
                <a:gd name="connsiteY874" fmla="*/ 2667949 h 6515100"/>
                <a:gd name="connsiteX875" fmla="*/ 164902 w 4829175"/>
                <a:gd name="connsiteY875" fmla="*/ 2939060 h 6515100"/>
                <a:gd name="connsiteX876" fmla="*/ 429025 w 4829175"/>
                <a:gd name="connsiteY876" fmla="*/ 2939060 h 6515100"/>
                <a:gd name="connsiteX877" fmla="*/ 699437 w 4829175"/>
                <a:gd name="connsiteY877" fmla="*/ 2667949 h 6515100"/>
                <a:gd name="connsiteX878" fmla="*/ 428326 w 4829175"/>
                <a:gd name="connsiteY878" fmla="*/ 2397537 h 6515100"/>
                <a:gd name="connsiteX879" fmla="*/ 1811131 w 4829175"/>
                <a:gd name="connsiteY879" fmla="*/ 2396838 h 6515100"/>
                <a:gd name="connsiteX880" fmla="*/ 2082940 w 4829175"/>
                <a:gd name="connsiteY880" fmla="*/ 2667250 h 6515100"/>
                <a:gd name="connsiteX881" fmla="*/ 1812528 w 4829175"/>
                <a:gd name="connsiteY881" fmla="*/ 2938360 h 6515100"/>
                <a:gd name="connsiteX882" fmla="*/ 2075953 w 4829175"/>
                <a:gd name="connsiteY882" fmla="*/ 2938360 h 6515100"/>
                <a:gd name="connsiteX883" fmla="*/ 2346365 w 4829175"/>
                <a:gd name="connsiteY883" fmla="*/ 2667250 h 6515100"/>
                <a:gd name="connsiteX884" fmla="*/ 2212208 w 4829175"/>
                <a:gd name="connsiteY884" fmla="*/ 2533791 h 6515100"/>
                <a:gd name="connsiteX885" fmla="*/ 2075254 w 4829175"/>
                <a:gd name="connsiteY885" fmla="*/ 2396838 h 6515100"/>
                <a:gd name="connsiteX886" fmla="*/ 1262620 w 4829175"/>
                <a:gd name="connsiteY886" fmla="*/ 2396838 h 6515100"/>
                <a:gd name="connsiteX887" fmla="*/ 1533731 w 4829175"/>
                <a:gd name="connsiteY887" fmla="*/ 2667250 h 6515100"/>
                <a:gd name="connsiteX888" fmla="*/ 1263319 w 4829175"/>
                <a:gd name="connsiteY888" fmla="*/ 2938360 h 6515100"/>
                <a:gd name="connsiteX889" fmla="*/ 1527442 w 4829175"/>
                <a:gd name="connsiteY889" fmla="*/ 2938360 h 6515100"/>
                <a:gd name="connsiteX890" fmla="*/ 1797854 w 4829175"/>
                <a:gd name="connsiteY890" fmla="*/ 2667250 h 6515100"/>
                <a:gd name="connsiteX891" fmla="*/ 1526744 w 4829175"/>
                <a:gd name="connsiteY891" fmla="*/ 2396838 h 6515100"/>
                <a:gd name="connsiteX892" fmla="*/ 2359641 w 4829175"/>
                <a:gd name="connsiteY892" fmla="*/ 2396139 h 6515100"/>
                <a:gd name="connsiteX893" fmla="*/ 2361039 w 4829175"/>
                <a:gd name="connsiteY893" fmla="*/ 2397537 h 6515100"/>
                <a:gd name="connsiteX894" fmla="*/ 2629354 w 4829175"/>
                <a:gd name="connsiteY894" fmla="*/ 2665853 h 6515100"/>
                <a:gd name="connsiteX895" fmla="*/ 2358942 w 4829175"/>
                <a:gd name="connsiteY895" fmla="*/ 2936964 h 6515100"/>
                <a:gd name="connsiteX896" fmla="*/ 2623065 w 4829175"/>
                <a:gd name="connsiteY896" fmla="*/ 2936964 h 6515100"/>
                <a:gd name="connsiteX897" fmla="*/ 2893477 w 4829175"/>
                <a:gd name="connsiteY897" fmla="*/ 2665853 h 6515100"/>
                <a:gd name="connsiteX898" fmla="*/ 2888586 w 4829175"/>
                <a:gd name="connsiteY898" fmla="*/ 2660962 h 6515100"/>
                <a:gd name="connsiteX899" fmla="*/ 2906055 w 4829175"/>
                <a:gd name="connsiteY899" fmla="*/ 2669346 h 6515100"/>
                <a:gd name="connsiteX900" fmla="*/ 2900465 w 4829175"/>
                <a:gd name="connsiteY900" fmla="*/ 2669346 h 6515100"/>
                <a:gd name="connsiteX901" fmla="*/ 2630053 w 4829175"/>
                <a:gd name="connsiteY901" fmla="*/ 2940457 h 6515100"/>
                <a:gd name="connsiteX902" fmla="*/ 2901164 w 4829175"/>
                <a:gd name="connsiteY902" fmla="*/ 3210869 h 6515100"/>
                <a:gd name="connsiteX903" fmla="*/ 3165287 w 4829175"/>
                <a:gd name="connsiteY903" fmla="*/ 3210869 h 6515100"/>
                <a:gd name="connsiteX904" fmla="*/ 2894875 w 4829175"/>
                <a:gd name="connsiteY904" fmla="*/ 2939758 h 6515100"/>
                <a:gd name="connsiteX905" fmla="*/ 3079343 w 4829175"/>
                <a:gd name="connsiteY905" fmla="*/ 2755292 h 6515100"/>
                <a:gd name="connsiteX906" fmla="*/ 3165287 w 4829175"/>
                <a:gd name="connsiteY906" fmla="*/ 2669346 h 6515100"/>
                <a:gd name="connsiteX907" fmla="*/ 2906754 w 4829175"/>
                <a:gd name="connsiteY907" fmla="*/ 2669346 h 6515100"/>
                <a:gd name="connsiteX908" fmla="*/ 2889285 w 4829175"/>
                <a:gd name="connsiteY908" fmla="*/ 2660962 h 6515100"/>
                <a:gd name="connsiteX909" fmla="*/ 2623764 w 4829175"/>
                <a:gd name="connsiteY909" fmla="*/ 2396139 h 6515100"/>
                <a:gd name="connsiteX910" fmla="*/ 713412 w 4829175"/>
                <a:gd name="connsiteY910" fmla="*/ 2396139 h 6515100"/>
                <a:gd name="connsiteX911" fmla="*/ 844775 w 4829175"/>
                <a:gd name="connsiteY911" fmla="*/ 2527503 h 6515100"/>
                <a:gd name="connsiteX912" fmla="*/ 985221 w 4829175"/>
                <a:gd name="connsiteY912" fmla="*/ 2667949 h 6515100"/>
                <a:gd name="connsiteX913" fmla="*/ 716206 w 4829175"/>
                <a:gd name="connsiteY913" fmla="*/ 2937662 h 6515100"/>
                <a:gd name="connsiteX914" fmla="*/ 912552 w 4829175"/>
                <a:gd name="connsiteY914" fmla="*/ 2937662 h 6515100"/>
                <a:gd name="connsiteX915" fmla="*/ 911853 w 4829175"/>
                <a:gd name="connsiteY915" fmla="*/ 2939060 h 6515100"/>
                <a:gd name="connsiteX916" fmla="*/ 978932 w 4829175"/>
                <a:gd name="connsiteY916" fmla="*/ 2939060 h 6515100"/>
                <a:gd name="connsiteX917" fmla="*/ 1248646 w 4829175"/>
                <a:gd name="connsiteY917" fmla="*/ 2667949 h 6515100"/>
                <a:gd name="connsiteX918" fmla="*/ 1113090 w 4829175"/>
                <a:gd name="connsiteY918" fmla="*/ 2533092 h 6515100"/>
                <a:gd name="connsiteX919" fmla="*/ 1094923 w 4829175"/>
                <a:gd name="connsiteY919" fmla="*/ 2514926 h 6515100"/>
                <a:gd name="connsiteX920" fmla="*/ 977535 w 4829175"/>
                <a:gd name="connsiteY920" fmla="*/ 2398236 h 6515100"/>
                <a:gd name="connsiteX921" fmla="*/ 909058 w 4829175"/>
                <a:gd name="connsiteY921" fmla="*/ 2398236 h 6515100"/>
                <a:gd name="connsiteX922" fmla="*/ 909757 w 4829175"/>
                <a:gd name="connsiteY922" fmla="*/ 2396838 h 6515100"/>
                <a:gd name="connsiteX923" fmla="*/ 2907452 w 4829175"/>
                <a:gd name="connsiteY923" fmla="*/ 2394742 h 6515100"/>
                <a:gd name="connsiteX924" fmla="*/ 3178563 w 4829175"/>
                <a:gd name="connsiteY924" fmla="*/ 2665154 h 6515100"/>
                <a:gd name="connsiteX925" fmla="*/ 3175769 w 4829175"/>
                <a:gd name="connsiteY925" fmla="*/ 2667949 h 6515100"/>
                <a:gd name="connsiteX926" fmla="*/ 3085631 w 4829175"/>
                <a:gd name="connsiteY926" fmla="*/ 2758785 h 6515100"/>
                <a:gd name="connsiteX927" fmla="*/ 2908151 w 4829175"/>
                <a:gd name="connsiteY927" fmla="*/ 2936265 h 6515100"/>
                <a:gd name="connsiteX928" fmla="*/ 3172275 w 4829175"/>
                <a:gd name="connsiteY928" fmla="*/ 2936265 h 6515100"/>
                <a:gd name="connsiteX929" fmla="*/ 3262412 w 4829175"/>
                <a:gd name="connsiteY929" fmla="*/ 2846826 h 6515100"/>
                <a:gd name="connsiteX930" fmla="*/ 3442687 w 4829175"/>
                <a:gd name="connsiteY930" fmla="*/ 2665154 h 6515100"/>
                <a:gd name="connsiteX931" fmla="*/ 3171576 w 4829175"/>
                <a:gd name="connsiteY931" fmla="*/ 2394742 h 6515100"/>
                <a:gd name="connsiteX932" fmla="*/ 4004473 w 4829175"/>
                <a:gd name="connsiteY932" fmla="*/ 2394044 h 6515100"/>
                <a:gd name="connsiteX933" fmla="*/ 4275584 w 4829175"/>
                <a:gd name="connsiteY933" fmla="*/ 2663757 h 6515100"/>
                <a:gd name="connsiteX934" fmla="*/ 4005172 w 4829175"/>
                <a:gd name="connsiteY934" fmla="*/ 2934868 h 6515100"/>
                <a:gd name="connsiteX935" fmla="*/ 4269295 w 4829175"/>
                <a:gd name="connsiteY935" fmla="*/ 2934868 h 6515100"/>
                <a:gd name="connsiteX936" fmla="*/ 4539707 w 4829175"/>
                <a:gd name="connsiteY936" fmla="*/ 2664456 h 6515100"/>
                <a:gd name="connsiteX937" fmla="*/ 4268597 w 4829175"/>
                <a:gd name="connsiteY937" fmla="*/ 2394044 h 6515100"/>
                <a:gd name="connsiteX938" fmla="*/ 1255633 w 4829175"/>
                <a:gd name="connsiteY938" fmla="*/ 2122933 h 6515100"/>
                <a:gd name="connsiteX939" fmla="*/ 985221 w 4829175"/>
                <a:gd name="connsiteY939" fmla="*/ 2394044 h 6515100"/>
                <a:gd name="connsiteX940" fmla="*/ 1117282 w 4829175"/>
                <a:gd name="connsiteY940" fmla="*/ 2526105 h 6515100"/>
                <a:gd name="connsiteX941" fmla="*/ 1255633 w 4829175"/>
                <a:gd name="connsiteY941" fmla="*/ 2664456 h 6515100"/>
                <a:gd name="connsiteX942" fmla="*/ 1519757 w 4829175"/>
                <a:gd name="connsiteY942" fmla="*/ 2664456 h 6515100"/>
                <a:gd name="connsiteX943" fmla="*/ 1248646 w 4829175"/>
                <a:gd name="connsiteY943" fmla="*/ 2394044 h 6515100"/>
                <a:gd name="connsiteX944" fmla="*/ 1519757 w 4829175"/>
                <a:gd name="connsiteY944" fmla="*/ 2122933 h 6515100"/>
                <a:gd name="connsiteX945" fmla="*/ 2351955 w 4829175"/>
                <a:gd name="connsiteY945" fmla="*/ 2122234 h 6515100"/>
                <a:gd name="connsiteX946" fmla="*/ 2171680 w 4829175"/>
                <a:gd name="connsiteY946" fmla="*/ 2303207 h 6515100"/>
                <a:gd name="connsiteX947" fmla="*/ 2170981 w 4829175"/>
                <a:gd name="connsiteY947" fmla="*/ 2303207 h 6515100"/>
                <a:gd name="connsiteX948" fmla="*/ 2081543 w 4829175"/>
                <a:gd name="connsiteY948" fmla="*/ 2392646 h 6515100"/>
                <a:gd name="connsiteX949" fmla="*/ 2215701 w 4829175"/>
                <a:gd name="connsiteY949" fmla="*/ 2526804 h 6515100"/>
                <a:gd name="connsiteX950" fmla="*/ 2352653 w 4829175"/>
                <a:gd name="connsiteY950" fmla="*/ 2663058 h 6515100"/>
                <a:gd name="connsiteX951" fmla="*/ 2616078 w 4829175"/>
                <a:gd name="connsiteY951" fmla="*/ 2663058 h 6515100"/>
                <a:gd name="connsiteX952" fmla="*/ 2344968 w 4829175"/>
                <a:gd name="connsiteY952" fmla="*/ 2392646 h 6515100"/>
                <a:gd name="connsiteX953" fmla="*/ 2346365 w 4829175"/>
                <a:gd name="connsiteY953" fmla="*/ 2391248 h 6515100"/>
                <a:gd name="connsiteX954" fmla="*/ 2347064 w 4829175"/>
                <a:gd name="connsiteY954" fmla="*/ 2391248 h 6515100"/>
                <a:gd name="connsiteX955" fmla="*/ 2615379 w 4829175"/>
                <a:gd name="connsiteY955" fmla="*/ 2122234 h 6515100"/>
                <a:gd name="connsiteX956" fmla="*/ 1803445 w 4829175"/>
                <a:gd name="connsiteY956" fmla="*/ 2122234 h 6515100"/>
                <a:gd name="connsiteX957" fmla="*/ 1533032 w 4829175"/>
                <a:gd name="connsiteY957" fmla="*/ 2393345 h 6515100"/>
                <a:gd name="connsiteX958" fmla="*/ 1803445 w 4829175"/>
                <a:gd name="connsiteY958" fmla="*/ 2663058 h 6515100"/>
                <a:gd name="connsiteX959" fmla="*/ 2067568 w 4829175"/>
                <a:gd name="connsiteY959" fmla="*/ 2663058 h 6515100"/>
                <a:gd name="connsiteX960" fmla="*/ 1796458 w 4829175"/>
                <a:gd name="connsiteY960" fmla="*/ 2392646 h 6515100"/>
                <a:gd name="connsiteX961" fmla="*/ 1980924 w 4829175"/>
                <a:gd name="connsiteY961" fmla="*/ 2208178 h 6515100"/>
                <a:gd name="connsiteX962" fmla="*/ 1981623 w 4829175"/>
                <a:gd name="connsiteY962" fmla="*/ 2208178 h 6515100"/>
                <a:gd name="connsiteX963" fmla="*/ 2067568 w 4829175"/>
                <a:gd name="connsiteY963" fmla="*/ 2122234 h 6515100"/>
                <a:gd name="connsiteX964" fmla="*/ 2900465 w 4829175"/>
                <a:gd name="connsiteY964" fmla="*/ 2121535 h 6515100"/>
                <a:gd name="connsiteX965" fmla="*/ 2630053 w 4829175"/>
                <a:gd name="connsiteY965" fmla="*/ 2392646 h 6515100"/>
                <a:gd name="connsiteX966" fmla="*/ 2901164 w 4829175"/>
                <a:gd name="connsiteY966" fmla="*/ 2663058 h 6515100"/>
                <a:gd name="connsiteX967" fmla="*/ 3165287 w 4829175"/>
                <a:gd name="connsiteY967" fmla="*/ 2663058 h 6515100"/>
                <a:gd name="connsiteX968" fmla="*/ 2894176 w 4829175"/>
                <a:gd name="connsiteY968" fmla="*/ 2392646 h 6515100"/>
                <a:gd name="connsiteX969" fmla="*/ 3164588 w 4829175"/>
                <a:gd name="connsiteY969" fmla="*/ 2121535 h 6515100"/>
                <a:gd name="connsiteX970" fmla="*/ 3997486 w 4829175"/>
                <a:gd name="connsiteY970" fmla="*/ 2120137 h 6515100"/>
                <a:gd name="connsiteX971" fmla="*/ 3727074 w 4829175"/>
                <a:gd name="connsiteY971" fmla="*/ 2391248 h 6515100"/>
                <a:gd name="connsiteX972" fmla="*/ 3998184 w 4829175"/>
                <a:gd name="connsiteY972" fmla="*/ 2661660 h 6515100"/>
                <a:gd name="connsiteX973" fmla="*/ 4262308 w 4829175"/>
                <a:gd name="connsiteY973" fmla="*/ 2661660 h 6515100"/>
                <a:gd name="connsiteX974" fmla="*/ 3991197 w 4829175"/>
                <a:gd name="connsiteY974" fmla="*/ 2391248 h 6515100"/>
                <a:gd name="connsiteX975" fmla="*/ 4261609 w 4829175"/>
                <a:gd name="connsiteY975" fmla="*/ 2120137 h 6515100"/>
                <a:gd name="connsiteX976" fmla="*/ 4545996 w 4829175"/>
                <a:gd name="connsiteY976" fmla="*/ 2119439 h 6515100"/>
                <a:gd name="connsiteX977" fmla="*/ 4275584 w 4829175"/>
                <a:gd name="connsiteY977" fmla="*/ 2390549 h 6515100"/>
                <a:gd name="connsiteX978" fmla="*/ 4545996 w 4829175"/>
                <a:gd name="connsiteY978" fmla="*/ 2660263 h 6515100"/>
                <a:gd name="connsiteX979" fmla="*/ 4810119 w 4829175"/>
                <a:gd name="connsiteY979" fmla="*/ 2660263 h 6515100"/>
                <a:gd name="connsiteX980" fmla="*/ 4539009 w 4829175"/>
                <a:gd name="connsiteY980" fmla="*/ 2389851 h 6515100"/>
                <a:gd name="connsiteX981" fmla="*/ 4723476 w 4829175"/>
                <a:gd name="connsiteY981" fmla="*/ 2205384 h 6515100"/>
                <a:gd name="connsiteX982" fmla="*/ 4810119 w 4829175"/>
                <a:gd name="connsiteY982" fmla="*/ 2119439 h 6515100"/>
                <a:gd name="connsiteX983" fmla="*/ 1261921 w 4829175"/>
                <a:gd name="connsiteY983" fmla="*/ 1849027 h 6515100"/>
                <a:gd name="connsiteX984" fmla="*/ 1262620 w 4829175"/>
                <a:gd name="connsiteY984" fmla="*/ 1849725 h 6515100"/>
                <a:gd name="connsiteX985" fmla="*/ 1263319 w 4829175"/>
                <a:gd name="connsiteY985" fmla="*/ 1849725 h 6515100"/>
                <a:gd name="connsiteX986" fmla="*/ 1532333 w 4829175"/>
                <a:gd name="connsiteY986" fmla="*/ 2118740 h 6515100"/>
                <a:gd name="connsiteX987" fmla="*/ 1261921 w 4829175"/>
                <a:gd name="connsiteY987" fmla="*/ 2389851 h 6515100"/>
                <a:gd name="connsiteX988" fmla="*/ 1526046 w 4829175"/>
                <a:gd name="connsiteY988" fmla="*/ 2389851 h 6515100"/>
                <a:gd name="connsiteX989" fmla="*/ 1796458 w 4829175"/>
                <a:gd name="connsiteY989" fmla="*/ 2118740 h 6515100"/>
                <a:gd name="connsiteX990" fmla="*/ 1791566 w 4829175"/>
                <a:gd name="connsiteY990" fmla="*/ 2113849 h 6515100"/>
                <a:gd name="connsiteX991" fmla="*/ 1526046 w 4829175"/>
                <a:gd name="connsiteY991" fmla="*/ 1849027 h 6515100"/>
                <a:gd name="connsiteX992" fmla="*/ 164203 w 4829175"/>
                <a:gd name="connsiteY992" fmla="*/ 1849027 h 6515100"/>
                <a:gd name="connsiteX993" fmla="*/ 165601 w 4829175"/>
                <a:gd name="connsiteY993" fmla="*/ 1850424 h 6515100"/>
                <a:gd name="connsiteX994" fmla="*/ 434615 w 4829175"/>
                <a:gd name="connsiteY994" fmla="*/ 2119439 h 6515100"/>
                <a:gd name="connsiteX995" fmla="*/ 164203 w 4829175"/>
                <a:gd name="connsiteY995" fmla="*/ 2389152 h 6515100"/>
                <a:gd name="connsiteX996" fmla="*/ 428326 w 4829175"/>
                <a:gd name="connsiteY996" fmla="*/ 2389152 h 6515100"/>
                <a:gd name="connsiteX997" fmla="*/ 698738 w 4829175"/>
                <a:gd name="connsiteY997" fmla="*/ 2118042 h 6515100"/>
                <a:gd name="connsiteX998" fmla="*/ 695191 w 4829175"/>
                <a:gd name="connsiteY998" fmla="*/ 2114493 h 6515100"/>
                <a:gd name="connsiteX999" fmla="*/ 709860 w 4829175"/>
                <a:gd name="connsiteY999" fmla="*/ 2121535 h 6515100"/>
                <a:gd name="connsiteX1000" fmla="*/ 705726 w 4829175"/>
                <a:gd name="connsiteY1000" fmla="*/ 2121535 h 6515100"/>
                <a:gd name="connsiteX1001" fmla="*/ 435314 w 4829175"/>
                <a:gd name="connsiteY1001" fmla="*/ 2392646 h 6515100"/>
                <a:gd name="connsiteX1002" fmla="*/ 706425 w 4829175"/>
                <a:gd name="connsiteY1002" fmla="*/ 2663058 h 6515100"/>
                <a:gd name="connsiteX1003" fmla="*/ 970548 w 4829175"/>
                <a:gd name="connsiteY1003" fmla="*/ 2663058 h 6515100"/>
                <a:gd name="connsiteX1004" fmla="*/ 699437 w 4829175"/>
                <a:gd name="connsiteY1004" fmla="*/ 2392646 h 6515100"/>
                <a:gd name="connsiteX1005" fmla="*/ 883903 w 4829175"/>
                <a:gd name="connsiteY1005" fmla="*/ 2208178 h 6515100"/>
                <a:gd name="connsiteX1006" fmla="*/ 969849 w 4829175"/>
                <a:gd name="connsiteY1006" fmla="*/ 2122234 h 6515100"/>
                <a:gd name="connsiteX1007" fmla="*/ 711316 w 4829175"/>
                <a:gd name="connsiteY1007" fmla="*/ 2122234 h 6515100"/>
                <a:gd name="connsiteX1008" fmla="*/ 709860 w 4829175"/>
                <a:gd name="connsiteY1008" fmla="*/ 2121535 h 6515100"/>
                <a:gd name="connsiteX1009" fmla="*/ 711316 w 4829175"/>
                <a:gd name="connsiteY1009" fmla="*/ 2121535 h 6515100"/>
                <a:gd name="connsiteX1010" fmla="*/ 693847 w 4829175"/>
                <a:gd name="connsiteY1010" fmla="*/ 2113150 h 6515100"/>
                <a:gd name="connsiteX1011" fmla="*/ 695191 w 4829175"/>
                <a:gd name="connsiteY1011" fmla="*/ 2114493 h 6515100"/>
                <a:gd name="connsiteX1012" fmla="*/ 693847 w 4829175"/>
                <a:gd name="connsiteY1012" fmla="*/ 2113849 h 6515100"/>
                <a:gd name="connsiteX1013" fmla="*/ 428326 w 4829175"/>
                <a:gd name="connsiteY1013" fmla="*/ 1849027 h 6515100"/>
                <a:gd name="connsiteX1014" fmla="*/ 712014 w 4829175"/>
                <a:gd name="connsiteY1014" fmla="*/ 1848328 h 6515100"/>
                <a:gd name="connsiteX1015" fmla="*/ 983125 w 4829175"/>
                <a:gd name="connsiteY1015" fmla="*/ 2118042 h 6515100"/>
                <a:gd name="connsiteX1016" fmla="*/ 980330 w 4829175"/>
                <a:gd name="connsiteY1016" fmla="*/ 2120836 h 6515100"/>
                <a:gd name="connsiteX1017" fmla="*/ 890192 w 4829175"/>
                <a:gd name="connsiteY1017" fmla="*/ 2211673 h 6515100"/>
                <a:gd name="connsiteX1018" fmla="*/ 712713 w 4829175"/>
                <a:gd name="connsiteY1018" fmla="*/ 2389152 h 6515100"/>
                <a:gd name="connsiteX1019" fmla="*/ 976837 w 4829175"/>
                <a:gd name="connsiteY1019" fmla="*/ 2389152 h 6515100"/>
                <a:gd name="connsiteX1020" fmla="*/ 1066275 w 4829175"/>
                <a:gd name="connsiteY1020" fmla="*/ 2299714 h 6515100"/>
                <a:gd name="connsiteX1021" fmla="*/ 1247249 w 4829175"/>
                <a:gd name="connsiteY1021" fmla="*/ 2118740 h 6515100"/>
                <a:gd name="connsiteX1022" fmla="*/ 1114488 w 4829175"/>
                <a:gd name="connsiteY1022" fmla="*/ 1986679 h 6515100"/>
                <a:gd name="connsiteX1023" fmla="*/ 976138 w 4829175"/>
                <a:gd name="connsiteY1023" fmla="*/ 1848328 h 6515100"/>
                <a:gd name="connsiteX1024" fmla="*/ 2359641 w 4829175"/>
                <a:gd name="connsiteY1024" fmla="*/ 1847630 h 6515100"/>
                <a:gd name="connsiteX1025" fmla="*/ 2489606 w 4829175"/>
                <a:gd name="connsiteY1025" fmla="*/ 1977595 h 6515100"/>
                <a:gd name="connsiteX1026" fmla="*/ 2630053 w 4829175"/>
                <a:gd name="connsiteY1026" fmla="*/ 2118042 h 6515100"/>
                <a:gd name="connsiteX1027" fmla="*/ 2359641 w 4829175"/>
                <a:gd name="connsiteY1027" fmla="*/ 2389152 h 6515100"/>
                <a:gd name="connsiteX1028" fmla="*/ 2623764 w 4829175"/>
                <a:gd name="connsiteY1028" fmla="*/ 2389152 h 6515100"/>
                <a:gd name="connsiteX1029" fmla="*/ 2894176 w 4829175"/>
                <a:gd name="connsiteY1029" fmla="*/ 2118042 h 6515100"/>
                <a:gd name="connsiteX1030" fmla="*/ 2623065 w 4829175"/>
                <a:gd name="connsiteY1030" fmla="*/ 1847630 h 6515100"/>
                <a:gd name="connsiteX1031" fmla="*/ 1810432 w 4829175"/>
                <a:gd name="connsiteY1031" fmla="*/ 1847630 h 6515100"/>
                <a:gd name="connsiteX1032" fmla="*/ 2081543 w 4829175"/>
                <a:gd name="connsiteY1032" fmla="*/ 2118042 h 6515100"/>
                <a:gd name="connsiteX1033" fmla="*/ 2078748 w 4829175"/>
                <a:gd name="connsiteY1033" fmla="*/ 2120836 h 6515100"/>
                <a:gd name="connsiteX1034" fmla="*/ 1988611 w 4829175"/>
                <a:gd name="connsiteY1034" fmla="*/ 2211673 h 6515100"/>
                <a:gd name="connsiteX1035" fmla="*/ 1987912 w 4829175"/>
                <a:gd name="connsiteY1035" fmla="*/ 2211673 h 6515100"/>
                <a:gd name="connsiteX1036" fmla="*/ 1811131 w 4829175"/>
                <a:gd name="connsiteY1036" fmla="*/ 2389152 h 6515100"/>
                <a:gd name="connsiteX1037" fmla="*/ 2074555 w 4829175"/>
                <a:gd name="connsiteY1037" fmla="*/ 2388454 h 6515100"/>
                <a:gd name="connsiteX1038" fmla="*/ 2163994 w 4829175"/>
                <a:gd name="connsiteY1038" fmla="*/ 2299015 h 6515100"/>
                <a:gd name="connsiteX1039" fmla="*/ 2164693 w 4829175"/>
                <a:gd name="connsiteY1039" fmla="*/ 2299015 h 6515100"/>
                <a:gd name="connsiteX1040" fmla="*/ 2345666 w 4829175"/>
                <a:gd name="connsiteY1040" fmla="*/ 2118042 h 6515100"/>
                <a:gd name="connsiteX1041" fmla="*/ 2074555 w 4829175"/>
                <a:gd name="connsiteY1041" fmla="*/ 1847630 h 6515100"/>
                <a:gd name="connsiteX1042" fmla="*/ 2907452 w 4829175"/>
                <a:gd name="connsiteY1042" fmla="*/ 1846931 h 6515100"/>
                <a:gd name="connsiteX1043" fmla="*/ 3178563 w 4829175"/>
                <a:gd name="connsiteY1043" fmla="*/ 2117343 h 6515100"/>
                <a:gd name="connsiteX1044" fmla="*/ 2908151 w 4829175"/>
                <a:gd name="connsiteY1044" fmla="*/ 2388454 h 6515100"/>
                <a:gd name="connsiteX1045" fmla="*/ 3172275 w 4829175"/>
                <a:gd name="connsiteY1045" fmla="*/ 2388454 h 6515100"/>
                <a:gd name="connsiteX1046" fmla="*/ 3442687 w 4829175"/>
                <a:gd name="connsiteY1046" fmla="*/ 2117343 h 6515100"/>
                <a:gd name="connsiteX1047" fmla="*/ 3171576 w 4829175"/>
                <a:gd name="connsiteY1047" fmla="*/ 1846931 h 6515100"/>
                <a:gd name="connsiteX1048" fmla="*/ 4004473 w 4829175"/>
                <a:gd name="connsiteY1048" fmla="*/ 1844834 h 6515100"/>
                <a:gd name="connsiteX1049" fmla="*/ 4005871 w 4829175"/>
                <a:gd name="connsiteY1049" fmla="*/ 1846232 h 6515100"/>
                <a:gd name="connsiteX1050" fmla="*/ 4274885 w 4829175"/>
                <a:gd name="connsiteY1050" fmla="*/ 2115246 h 6515100"/>
                <a:gd name="connsiteX1051" fmla="*/ 4004473 w 4829175"/>
                <a:gd name="connsiteY1051" fmla="*/ 2386357 h 6515100"/>
                <a:gd name="connsiteX1052" fmla="*/ 4268597 w 4829175"/>
                <a:gd name="connsiteY1052" fmla="*/ 2386357 h 6515100"/>
                <a:gd name="connsiteX1053" fmla="*/ 4539009 w 4829175"/>
                <a:gd name="connsiteY1053" fmla="*/ 2115246 h 6515100"/>
                <a:gd name="connsiteX1054" fmla="*/ 4534118 w 4829175"/>
                <a:gd name="connsiteY1054" fmla="*/ 2110355 h 6515100"/>
                <a:gd name="connsiteX1055" fmla="*/ 4268597 w 4829175"/>
                <a:gd name="connsiteY1055" fmla="*/ 1844834 h 6515100"/>
                <a:gd name="connsiteX1056" fmla="*/ 705027 w 4829175"/>
                <a:gd name="connsiteY1056" fmla="*/ 1574422 h 6515100"/>
                <a:gd name="connsiteX1057" fmla="*/ 434615 w 4829175"/>
                <a:gd name="connsiteY1057" fmla="*/ 1845533 h 6515100"/>
                <a:gd name="connsiteX1058" fmla="*/ 705726 w 4829175"/>
                <a:gd name="connsiteY1058" fmla="*/ 2115945 h 6515100"/>
                <a:gd name="connsiteX1059" fmla="*/ 969849 w 4829175"/>
                <a:gd name="connsiteY1059" fmla="*/ 2115945 h 6515100"/>
                <a:gd name="connsiteX1060" fmla="*/ 698738 w 4829175"/>
                <a:gd name="connsiteY1060" fmla="*/ 1845533 h 6515100"/>
                <a:gd name="connsiteX1061" fmla="*/ 969150 w 4829175"/>
                <a:gd name="connsiteY1061" fmla="*/ 1574422 h 6515100"/>
                <a:gd name="connsiteX1062" fmla="*/ 1802746 w 4829175"/>
                <a:gd name="connsiteY1062" fmla="*/ 1573723 h 6515100"/>
                <a:gd name="connsiteX1063" fmla="*/ 1532333 w 4829175"/>
                <a:gd name="connsiteY1063" fmla="*/ 1844834 h 6515100"/>
                <a:gd name="connsiteX1064" fmla="*/ 1803445 w 4829175"/>
                <a:gd name="connsiteY1064" fmla="*/ 2115246 h 6515100"/>
                <a:gd name="connsiteX1065" fmla="*/ 2067568 w 4829175"/>
                <a:gd name="connsiteY1065" fmla="*/ 2115246 h 6515100"/>
                <a:gd name="connsiteX1066" fmla="*/ 1796458 w 4829175"/>
                <a:gd name="connsiteY1066" fmla="*/ 1844834 h 6515100"/>
                <a:gd name="connsiteX1067" fmla="*/ 2066870 w 4829175"/>
                <a:gd name="connsiteY1067" fmla="*/ 1573723 h 6515100"/>
                <a:gd name="connsiteX1068" fmla="*/ 1252838 w 4829175"/>
                <a:gd name="connsiteY1068" fmla="*/ 1573723 h 6515100"/>
                <a:gd name="connsiteX1069" fmla="*/ 983125 w 4829175"/>
                <a:gd name="connsiteY1069" fmla="*/ 1844834 h 6515100"/>
                <a:gd name="connsiteX1070" fmla="*/ 1183663 w 4829175"/>
                <a:gd name="connsiteY1070" fmla="*/ 2045372 h 6515100"/>
                <a:gd name="connsiteX1071" fmla="*/ 1254236 w 4829175"/>
                <a:gd name="connsiteY1071" fmla="*/ 2115246 h 6515100"/>
                <a:gd name="connsiteX1072" fmla="*/ 1322712 w 4829175"/>
                <a:gd name="connsiteY1072" fmla="*/ 2115246 h 6515100"/>
                <a:gd name="connsiteX1073" fmla="*/ 1322014 w 4829175"/>
                <a:gd name="connsiteY1073" fmla="*/ 2116644 h 6515100"/>
                <a:gd name="connsiteX1074" fmla="*/ 1519058 w 4829175"/>
                <a:gd name="connsiteY1074" fmla="*/ 2116644 h 6515100"/>
                <a:gd name="connsiteX1075" fmla="*/ 1247947 w 4829175"/>
                <a:gd name="connsiteY1075" fmla="*/ 1846232 h 6515100"/>
                <a:gd name="connsiteX1076" fmla="*/ 1248646 w 4829175"/>
                <a:gd name="connsiteY1076" fmla="*/ 1845533 h 6515100"/>
                <a:gd name="connsiteX1077" fmla="*/ 1246550 w 4829175"/>
                <a:gd name="connsiteY1077" fmla="*/ 1844834 h 6515100"/>
                <a:gd name="connsiteX1078" fmla="*/ 1516962 w 4829175"/>
                <a:gd name="connsiteY1078" fmla="*/ 1573723 h 6515100"/>
                <a:gd name="connsiteX1079" fmla="*/ 2899766 w 4829175"/>
                <a:gd name="connsiteY1079" fmla="*/ 1573024 h 6515100"/>
                <a:gd name="connsiteX1080" fmla="*/ 2629354 w 4829175"/>
                <a:gd name="connsiteY1080" fmla="*/ 1844135 h 6515100"/>
                <a:gd name="connsiteX1081" fmla="*/ 2900465 w 4829175"/>
                <a:gd name="connsiteY1081" fmla="*/ 2114547 h 6515100"/>
                <a:gd name="connsiteX1082" fmla="*/ 3164588 w 4829175"/>
                <a:gd name="connsiteY1082" fmla="*/ 2114547 h 6515100"/>
                <a:gd name="connsiteX1083" fmla="*/ 2893477 w 4829175"/>
                <a:gd name="connsiteY1083" fmla="*/ 1844135 h 6515100"/>
                <a:gd name="connsiteX1084" fmla="*/ 3163889 w 4829175"/>
                <a:gd name="connsiteY1084" fmla="*/ 1573024 h 6515100"/>
                <a:gd name="connsiteX1085" fmla="*/ 2351257 w 4829175"/>
                <a:gd name="connsiteY1085" fmla="*/ 1573024 h 6515100"/>
                <a:gd name="connsiteX1086" fmla="*/ 2080844 w 4829175"/>
                <a:gd name="connsiteY1086" fmla="*/ 1844135 h 6515100"/>
                <a:gd name="connsiteX1087" fmla="*/ 2351955 w 4829175"/>
                <a:gd name="connsiteY1087" fmla="*/ 2114547 h 6515100"/>
                <a:gd name="connsiteX1088" fmla="*/ 2615379 w 4829175"/>
                <a:gd name="connsiteY1088" fmla="*/ 2114547 h 6515100"/>
                <a:gd name="connsiteX1089" fmla="*/ 2485414 w 4829175"/>
                <a:gd name="connsiteY1089" fmla="*/ 1984582 h 6515100"/>
                <a:gd name="connsiteX1090" fmla="*/ 2344968 w 4829175"/>
                <a:gd name="connsiteY1090" fmla="*/ 1844135 h 6515100"/>
                <a:gd name="connsiteX1091" fmla="*/ 2615379 w 4829175"/>
                <a:gd name="connsiteY1091" fmla="*/ 1573024 h 6515100"/>
                <a:gd name="connsiteX1092" fmla="*/ 3448276 w 4829175"/>
                <a:gd name="connsiteY1092" fmla="*/ 1572326 h 6515100"/>
                <a:gd name="connsiteX1093" fmla="*/ 3177864 w 4829175"/>
                <a:gd name="connsiteY1093" fmla="*/ 1843436 h 6515100"/>
                <a:gd name="connsiteX1094" fmla="*/ 3448975 w 4829175"/>
                <a:gd name="connsiteY1094" fmla="*/ 2113150 h 6515100"/>
                <a:gd name="connsiteX1095" fmla="*/ 3713099 w 4829175"/>
                <a:gd name="connsiteY1095" fmla="*/ 2113150 h 6515100"/>
                <a:gd name="connsiteX1096" fmla="*/ 3441988 w 4829175"/>
                <a:gd name="connsiteY1096" fmla="*/ 1842739 h 6515100"/>
                <a:gd name="connsiteX1097" fmla="*/ 3626455 w 4829175"/>
                <a:gd name="connsiteY1097" fmla="*/ 1658271 h 6515100"/>
                <a:gd name="connsiteX1098" fmla="*/ 3712400 w 4829175"/>
                <a:gd name="connsiteY1098" fmla="*/ 1572326 h 6515100"/>
                <a:gd name="connsiteX1099" fmla="*/ 4545297 w 4829175"/>
                <a:gd name="connsiteY1099" fmla="*/ 1570929 h 6515100"/>
                <a:gd name="connsiteX1100" fmla="*/ 4274885 w 4829175"/>
                <a:gd name="connsiteY1100" fmla="*/ 1842040 h 6515100"/>
                <a:gd name="connsiteX1101" fmla="*/ 4545996 w 4829175"/>
                <a:gd name="connsiteY1101" fmla="*/ 2111753 h 6515100"/>
                <a:gd name="connsiteX1102" fmla="*/ 4810119 w 4829175"/>
                <a:gd name="connsiteY1102" fmla="*/ 2111753 h 6515100"/>
                <a:gd name="connsiteX1103" fmla="*/ 4539009 w 4829175"/>
                <a:gd name="connsiteY1103" fmla="*/ 1841341 h 6515100"/>
                <a:gd name="connsiteX1104" fmla="*/ 4809421 w 4829175"/>
                <a:gd name="connsiteY1104" fmla="*/ 1570929 h 6515100"/>
                <a:gd name="connsiteX1105" fmla="*/ 164203 w 4829175"/>
                <a:gd name="connsiteY1105" fmla="*/ 1300517 h 6515100"/>
                <a:gd name="connsiteX1106" fmla="*/ 294168 w 4829175"/>
                <a:gd name="connsiteY1106" fmla="*/ 1430482 h 6515100"/>
                <a:gd name="connsiteX1107" fmla="*/ 434615 w 4829175"/>
                <a:gd name="connsiteY1107" fmla="*/ 1570929 h 6515100"/>
                <a:gd name="connsiteX1108" fmla="*/ 164203 w 4829175"/>
                <a:gd name="connsiteY1108" fmla="*/ 1842040 h 6515100"/>
                <a:gd name="connsiteX1109" fmla="*/ 428326 w 4829175"/>
                <a:gd name="connsiteY1109" fmla="*/ 1842040 h 6515100"/>
                <a:gd name="connsiteX1110" fmla="*/ 698738 w 4829175"/>
                <a:gd name="connsiteY1110" fmla="*/ 1570929 h 6515100"/>
                <a:gd name="connsiteX1111" fmla="*/ 427627 w 4829175"/>
                <a:gd name="connsiteY1111" fmla="*/ 1300517 h 6515100"/>
                <a:gd name="connsiteX1112" fmla="*/ 1809733 w 4829175"/>
                <a:gd name="connsiteY1112" fmla="*/ 1299818 h 6515100"/>
                <a:gd name="connsiteX1113" fmla="*/ 2080844 w 4829175"/>
                <a:gd name="connsiteY1113" fmla="*/ 1570230 h 6515100"/>
                <a:gd name="connsiteX1114" fmla="*/ 1810432 w 4829175"/>
                <a:gd name="connsiteY1114" fmla="*/ 1840642 h 6515100"/>
                <a:gd name="connsiteX1115" fmla="*/ 2074555 w 4829175"/>
                <a:gd name="connsiteY1115" fmla="*/ 1840642 h 6515100"/>
                <a:gd name="connsiteX1116" fmla="*/ 2344968 w 4829175"/>
                <a:gd name="connsiteY1116" fmla="*/ 1570230 h 6515100"/>
                <a:gd name="connsiteX1117" fmla="*/ 2073856 w 4829175"/>
                <a:gd name="connsiteY1117" fmla="*/ 1299818 h 6515100"/>
                <a:gd name="connsiteX1118" fmla="*/ 712014 w 4829175"/>
                <a:gd name="connsiteY1118" fmla="*/ 1299818 h 6515100"/>
                <a:gd name="connsiteX1119" fmla="*/ 983125 w 4829175"/>
                <a:gd name="connsiteY1119" fmla="*/ 1570230 h 6515100"/>
                <a:gd name="connsiteX1120" fmla="*/ 712713 w 4829175"/>
                <a:gd name="connsiteY1120" fmla="*/ 1841341 h 6515100"/>
                <a:gd name="connsiteX1121" fmla="*/ 976837 w 4829175"/>
                <a:gd name="connsiteY1121" fmla="*/ 1841341 h 6515100"/>
                <a:gd name="connsiteX1122" fmla="*/ 1247249 w 4829175"/>
                <a:gd name="connsiteY1122" fmla="*/ 1570230 h 6515100"/>
                <a:gd name="connsiteX1123" fmla="*/ 976138 w 4829175"/>
                <a:gd name="connsiteY1123" fmla="*/ 1299818 h 6515100"/>
                <a:gd name="connsiteX1124" fmla="*/ 2358243 w 4829175"/>
                <a:gd name="connsiteY1124" fmla="*/ 1299119 h 6515100"/>
                <a:gd name="connsiteX1125" fmla="*/ 2629354 w 4829175"/>
                <a:gd name="connsiteY1125" fmla="*/ 1569531 h 6515100"/>
                <a:gd name="connsiteX1126" fmla="*/ 2359641 w 4829175"/>
                <a:gd name="connsiteY1126" fmla="*/ 1840642 h 6515100"/>
                <a:gd name="connsiteX1127" fmla="*/ 2623065 w 4829175"/>
                <a:gd name="connsiteY1127" fmla="*/ 1840642 h 6515100"/>
                <a:gd name="connsiteX1128" fmla="*/ 2893477 w 4829175"/>
                <a:gd name="connsiteY1128" fmla="*/ 1569531 h 6515100"/>
                <a:gd name="connsiteX1129" fmla="*/ 2759320 w 4829175"/>
                <a:gd name="connsiteY1129" fmla="*/ 1436072 h 6515100"/>
                <a:gd name="connsiteX1130" fmla="*/ 2622367 w 4829175"/>
                <a:gd name="connsiteY1130" fmla="*/ 1299119 h 6515100"/>
                <a:gd name="connsiteX1131" fmla="*/ 2906754 w 4829175"/>
                <a:gd name="connsiteY1131" fmla="*/ 1298421 h 6515100"/>
                <a:gd name="connsiteX1132" fmla="*/ 2908151 w 4829175"/>
                <a:gd name="connsiteY1132" fmla="*/ 1299818 h 6515100"/>
                <a:gd name="connsiteX1133" fmla="*/ 3177864 w 4829175"/>
                <a:gd name="connsiteY1133" fmla="*/ 1568832 h 6515100"/>
                <a:gd name="connsiteX1134" fmla="*/ 2907452 w 4829175"/>
                <a:gd name="connsiteY1134" fmla="*/ 1839244 h 6515100"/>
                <a:gd name="connsiteX1135" fmla="*/ 3171576 w 4829175"/>
                <a:gd name="connsiteY1135" fmla="*/ 1839244 h 6515100"/>
                <a:gd name="connsiteX1136" fmla="*/ 3441988 w 4829175"/>
                <a:gd name="connsiteY1136" fmla="*/ 1568832 h 6515100"/>
                <a:gd name="connsiteX1137" fmla="*/ 3436398 w 4829175"/>
                <a:gd name="connsiteY1137" fmla="*/ 1563941 h 6515100"/>
                <a:gd name="connsiteX1138" fmla="*/ 3170877 w 4829175"/>
                <a:gd name="connsiteY1138" fmla="*/ 1298421 h 6515100"/>
                <a:gd name="connsiteX1139" fmla="*/ 1525347 w 4829175"/>
                <a:gd name="connsiteY1139" fmla="*/ 1298421 h 6515100"/>
                <a:gd name="connsiteX1140" fmla="*/ 1523949 w 4829175"/>
                <a:gd name="connsiteY1140" fmla="*/ 1299119 h 6515100"/>
                <a:gd name="connsiteX1141" fmla="*/ 1259826 w 4829175"/>
                <a:gd name="connsiteY1141" fmla="*/ 1299119 h 6515100"/>
                <a:gd name="connsiteX1142" fmla="*/ 1530937 w 4829175"/>
                <a:gd name="connsiteY1142" fmla="*/ 1569531 h 6515100"/>
                <a:gd name="connsiteX1143" fmla="*/ 1526744 w 4829175"/>
                <a:gd name="connsiteY1143" fmla="*/ 1573723 h 6515100"/>
                <a:gd name="connsiteX1144" fmla="*/ 1532333 w 4829175"/>
                <a:gd name="connsiteY1144" fmla="*/ 1570929 h 6515100"/>
                <a:gd name="connsiteX1145" fmla="*/ 1261921 w 4829175"/>
                <a:gd name="connsiteY1145" fmla="*/ 1842040 h 6515100"/>
                <a:gd name="connsiteX1146" fmla="*/ 1526046 w 4829175"/>
                <a:gd name="connsiteY1146" fmla="*/ 1842040 h 6515100"/>
                <a:gd name="connsiteX1147" fmla="*/ 1796458 w 4829175"/>
                <a:gd name="connsiteY1147" fmla="*/ 1570929 h 6515100"/>
                <a:gd name="connsiteX1148" fmla="*/ 1525347 w 4829175"/>
                <a:gd name="connsiteY1148" fmla="*/ 1300517 h 6515100"/>
                <a:gd name="connsiteX1149" fmla="*/ 3454565 w 4829175"/>
                <a:gd name="connsiteY1149" fmla="*/ 1297722 h 6515100"/>
                <a:gd name="connsiteX1150" fmla="*/ 3725676 w 4829175"/>
                <a:gd name="connsiteY1150" fmla="*/ 1568134 h 6515100"/>
                <a:gd name="connsiteX1151" fmla="*/ 3722882 w 4829175"/>
                <a:gd name="connsiteY1151" fmla="*/ 1570929 h 6515100"/>
                <a:gd name="connsiteX1152" fmla="*/ 3632744 w 4829175"/>
                <a:gd name="connsiteY1152" fmla="*/ 1661764 h 6515100"/>
                <a:gd name="connsiteX1153" fmla="*/ 3455264 w 4829175"/>
                <a:gd name="connsiteY1153" fmla="*/ 1838545 h 6515100"/>
                <a:gd name="connsiteX1154" fmla="*/ 3719387 w 4829175"/>
                <a:gd name="connsiteY1154" fmla="*/ 1838545 h 6515100"/>
                <a:gd name="connsiteX1155" fmla="*/ 3808826 w 4829175"/>
                <a:gd name="connsiteY1155" fmla="*/ 1749107 h 6515100"/>
                <a:gd name="connsiteX1156" fmla="*/ 3989799 w 4829175"/>
                <a:gd name="connsiteY1156" fmla="*/ 1568134 h 6515100"/>
                <a:gd name="connsiteX1157" fmla="*/ 3718688 w 4829175"/>
                <a:gd name="connsiteY1157" fmla="*/ 1297722 h 6515100"/>
                <a:gd name="connsiteX1158" fmla="*/ 1802048 w 4829175"/>
                <a:gd name="connsiteY1158" fmla="*/ 1025213 h 6515100"/>
                <a:gd name="connsiteX1159" fmla="*/ 1531636 w 4829175"/>
                <a:gd name="connsiteY1159" fmla="*/ 1296324 h 6515100"/>
                <a:gd name="connsiteX1160" fmla="*/ 1802746 w 4829175"/>
                <a:gd name="connsiteY1160" fmla="*/ 1566736 h 6515100"/>
                <a:gd name="connsiteX1161" fmla="*/ 2066870 w 4829175"/>
                <a:gd name="connsiteY1161" fmla="*/ 1566736 h 6515100"/>
                <a:gd name="connsiteX1162" fmla="*/ 1795759 w 4829175"/>
                <a:gd name="connsiteY1162" fmla="*/ 1296324 h 6515100"/>
                <a:gd name="connsiteX1163" fmla="*/ 2066171 w 4829175"/>
                <a:gd name="connsiteY1163" fmla="*/ 1025213 h 6515100"/>
                <a:gd name="connsiteX1164" fmla="*/ 704328 w 4829175"/>
                <a:gd name="connsiteY1164" fmla="*/ 1025213 h 6515100"/>
                <a:gd name="connsiteX1165" fmla="*/ 433916 w 4829175"/>
                <a:gd name="connsiteY1165" fmla="*/ 1296324 h 6515100"/>
                <a:gd name="connsiteX1166" fmla="*/ 705027 w 4829175"/>
                <a:gd name="connsiteY1166" fmla="*/ 1566736 h 6515100"/>
                <a:gd name="connsiteX1167" fmla="*/ 969150 w 4829175"/>
                <a:gd name="connsiteY1167" fmla="*/ 1566736 h 6515100"/>
                <a:gd name="connsiteX1168" fmla="*/ 698039 w 4829175"/>
                <a:gd name="connsiteY1168" fmla="*/ 1296324 h 6515100"/>
                <a:gd name="connsiteX1169" fmla="*/ 967752 w 4829175"/>
                <a:gd name="connsiteY1169" fmla="*/ 1025213 h 6515100"/>
                <a:gd name="connsiteX1170" fmla="*/ 2899067 w 4829175"/>
                <a:gd name="connsiteY1170" fmla="*/ 1024514 h 6515100"/>
                <a:gd name="connsiteX1171" fmla="*/ 2718793 w 4829175"/>
                <a:gd name="connsiteY1171" fmla="*/ 1204790 h 6515100"/>
                <a:gd name="connsiteX1172" fmla="*/ 2629354 w 4829175"/>
                <a:gd name="connsiteY1172" fmla="*/ 1294927 h 6515100"/>
                <a:gd name="connsiteX1173" fmla="*/ 2763512 w 4829175"/>
                <a:gd name="connsiteY1173" fmla="*/ 1428386 h 6515100"/>
                <a:gd name="connsiteX1174" fmla="*/ 2900465 w 4829175"/>
                <a:gd name="connsiteY1174" fmla="*/ 1565338 h 6515100"/>
                <a:gd name="connsiteX1175" fmla="*/ 3164588 w 4829175"/>
                <a:gd name="connsiteY1175" fmla="*/ 1565338 h 6515100"/>
                <a:gd name="connsiteX1176" fmla="*/ 2893477 w 4829175"/>
                <a:gd name="connsiteY1176" fmla="*/ 1294927 h 6515100"/>
                <a:gd name="connsiteX1177" fmla="*/ 2894875 w 4829175"/>
                <a:gd name="connsiteY1177" fmla="*/ 1293530 h 6515100"/>
                <a:gd name="connsiteX1178" fmla="*/ 3163191 w 4829175"/>
                <a:gd name="connsiteY1178" fmla="*/ 1024514 h 6515100"/>
                <a:gd name="connsiteX1179" fmla="*/ 2350558 w 4829175"/>
                <a:gd name="connsiteY1179" fmla="*/ 1024514 h 6515100"/>
                <a:gd name="connsiteX1180" fmla="*/ 2080145 w 4829175"/>
                <a:gd name="connsiteY1180" fmla="*/ 1295625 h 6515100"/>
                <a:gd name="connsiteX1181" fmla="*/ 2351257 w 4829175"/>
                <a:gd name="connsiteY1181" fmla="*/ 1566037 h 6515100"/>
                <a:gd name="connsiteX1182" fmla="*/ 2615379 w 4829175"/>
                <a:gd name="connsiteY1182" fmla="*/ 1566037 h 6515100"/>
                <a:gd name="connsiteX1183" fmla="*/ 2344269 w 4829175"/>
                <a:gd name="connsiteY1183" fmla="*/ 1295625 h 6515100"/>
                <a:gd name="connsiteX1184" fmla="*/ 2528736 w 4829175"/>
                <a:gd name="connsiteY1184" fmla="*/ 1111159 h 6515100"/>
                <a:gd name="connsiteX1185" fmla="*/ 2614681 w 4829175"/>
                <a:gd name="connsiteY1185" fmla="*/ 1025213 h 6515100"/>
                <a:gd name="connsiteX1186" fmla="*/ 2356148 w 4829175"/>
                <a:gd name="connsiteY1186" fmla="*/ 1025213 h 6515100"/>
                <a:gd name="connsiteX1187" fmla="*/ 1252838 w 4829175"/>
                <a:gd name="connsiteY1187" fmla="*/ 1024514 h 6515100"/>
                <a:gd name="connsiteX1188" fmla="*/ 982426 w 4829175"/>
                <a:gd name="connsiteY1188" fmla="*/ 1295625 h 6515100"/>
                <a:gd name="connsiteX1189" fmla="*/ 1253537 w 4829175"/>
                <a:gd name="connsiteY1189" fmla="*/ 1566037 h 6515100"/>
                <a:gd name="connsiteX1190" fmla="*/ 1517660 w 4829175"/>
                <a:gd name="connsiteY1190" fmla="*/ 1566037 h 6515100"/>
                <a:gd name="connsiteX1191" fmla="*/ 1246550 w 4829175"/>
                <a:gd name="connsiteY1191" fmla="*/ 1295625 h 6515100"/>
                <a:gd name="connsiteX1192" fmla="*/ 1431017 w 4829175"/>
                <a:gd name="connsiteY1192" fmla="*/ 1111159 h 6515100"/>
                <a:gd name="connsiteX1193" fmla="*/ 1516962 w 4829175"/>
                <a:gd name="connsiteY1193" fmla="*/ 1024514 h 6515100"/>
                <a:gd name="connsiteX1194" fmla="*/ 3447578 w 4829175"/>
                <a:gd name="connsiteY1194" fmla="*/ 1023816 h 6515100"/>
                <a:gd name="connsiteX1195" fmla="*/ 3177166 w 4829175"/>
                <a:gd name="connsiteY1195" fmla="*/ 1294927 h 6515100"/>
                <a:gd name="connsiteX1196" fmla="*/ 3448276 w 4829175"/>
                <a:gd name="connsiteY1196" fmla="*/ 1565338 h 6515100"/>
                <a:gd name="connsiteX1197" fmla="*/ 3712400 w 4829175"/>
                <a:gd name="connsiteY1197" fmla="*/ 1565338 h 6515100"/>
                <a:gd name="connsiteX1198" fmla="*/ 3441289 w 4829175"/>
                <a:gd name="connsiteY1198" fmla="*/ 1294927 h 6515100"/>
                <a:gd name="connsiteX1199" fmla="*/ 3711701 w 4829175"/>
                <a:gd name="connsiteY1199" fmla="*/ 1023816 h 6515100"/>
                <a:gd name="connsiteX1200" fmla="*/ 4544598 w 4829175"/>
                <a:gd name="connsiteY1200" fmla="*/ 1022419 h 6515100"/>
                <a:gd name="connsiteX1201" fmla="*/ 4274186 w 4829175"/>
                <a:gd name="connsiteY1201" fmla="*/ 1293530 h 6515100"/>
                <a:gd name="connsiteX1202" fmla="*/ 4545297 w 4829175"/>
                <a:gd name="connsiteY1202" fmla="*/ 1563941 h 6515100"/>
                <a:gd name="connsiteX1203" fmla="*/ 4809421 w 4829175"/>
                <a:gd name="connsiteY1203" fmla="*/ 1563941 h 6515100"/>
                <a:gd name="connsiteX1204" fmla="*/ 4538310 w 4829175"/>
                <a:gd name="connsiteY1204" fmla="*/ 1293530 h 6515100"/>
                <a:gd name="connsiteX1205" fmla="*/ 4722777 w 4829175"/>
                <a:gd name="connsiteY1205" fmla="*/ 1108363 h 6515100"/>
                <a:gd name="connsiteX1206" fmla="*/ 4722078 w 4829175"/>
                <a:gd name="connsiteY1206" fmla="*/ 1107664 h 6515100"/>
                <a:gd name="connsiteX1207" fmla="*/ 4807324 w 4829175"/>
                <a:gd name="connsiteY1207" fmla="*/ 1022419 h 6515100"/>
                <a:gd name="connsiteX1208" fmla="*/ 3995389 w 4829175"/>
                <a:gd name="connsiteY1208" fmla="*/ 1022419 h 6515100"/>
                <a:gd name="connsiteX1209" fmla="*/ 3724977 w 4829175"/>
                <a:gd name="connsiteY1209" fmla="*/ 1293530 h 6515100"/>
                <a:gd name="connsiteX1210" fmla="*/ 3996088 w 4829175"/>
                <a:gd name="connsiteY1210" fmla="*/ 1563941 h 6515100"/>
                <a:gd name="connsiteX1211" fmla="*/ 4064564 w 4829175"/>
                <a:gd name="connsiteY1211" fmla="*/ 1563941 h 6515100"/>
                <a:gd name="connsiteX1212" fmla="*/ 4061071 w 4829175"/>
                <a:gd name="connsiteY1212" fmla="*/ 1570929 h 6515100"/>
                <a:gd name="connsiteX1213" fmla="*/ 3996088 w 4829175"/>
                <a:gd name="connsiteY1213" fmla="*/ 1570929 h 6515100"/>
                <a:gd name="connsiteX1214" fmla="*/ 3815814 w 4829175"/>
                <a:gd name="connsiteY1214" fmla="*/ 1751902 h 6515100"/>
                <a:gd name="connsiteX1215" fmla="*/ 3726375 w 4829175"/>
                <a:gd name="connsiteY1215" fmla="*/ 1842040 h 6515100"/>
                <a:gd name="connsiteX1216" fmla="*/ 3859834 w 4829175"/>
                <a:gd name="connsiteY1216" fmla="*/ 1975498 h 6515100"/>
                <a:gd name="connsiteX1217" fmla="*/ 3857039 w 4829175"/>
                <a:gd name="connsiteY1217" fmla="*/ 1981088 h 6515100"/>
                <a:gd name="connsiteX1218" fmla="*/ 3857739 w 4829175"/>
                <a:gd name="connsiteY1218" fmla="*/ 1981785 h 6515100"/>
                <a:gd name="connsiteX1219" fmla="*/ 3857039 w 4829175"/>
                <a:gd name="connsiteY1219" fmla="*/ 1983185 h 6515100"/>
                <a:gd name="connsiteX1220" fmla="*/ 3720086 w 4829175"/>
                <a:gd name="connsiteY1220" fmla="*/ 1846232 h 6515100"/>
                <a:gd name="connsiteX1221" fmla="*/ 3455963 w 4829175"/>
                <a:gd name="connsiteY1221" fmla="*/ 1846232 h 6515100"/>
                <a:gd name="connsiteX1222" fmla="*/ 3727074 w 4829175"/>
                <a:gd name="connsiteY1222" fmla="*/ 2116644 h 6515100"/>
                <a:gd name="connsiteX1223" fmla="*/ 3456662 w 4829175"/>
                <a:gd name="connsiteY1223" fmla="*/ 2387755 h 6515100"/>
                <a:gd name="connsiteX1224" fmla="*/ 3654754 w 4829175"/>
                <a:gd name="connsiteY1224" fmla="*/ 2387755 h 6515100"/>
                <a:gd name="connsiteX1225" fmla="*/ 3652309 w 4829175"/>
                <a:gd name="connsiteY1225" fmla="*/ 2392646 h 6515100"/>
                <a:gd name="connsiteX1226" fmla="*/ 3652658 w 4829175"/>
                <a:gd name="connsiteY1226" fmla="*/ 2392646 h 6515100"/>
                <a:gd name="connsiteX1227" fmla="*/ 3651610 w 4829175"/>
                <a:gd name="connsiteY1227" fmla="*/ 2394742 h 6515100"/>
                <a:gd name="connsiteX1228" fmla="*/ 3456662 w 4829175"/>
                <a:gd name="connsiteY1228" fmla="*/ 2394742 h 6515100"/>
                <a:gd name="connsiteX1229" fmla="*/ 3586394 w 4829175"/>
                <a:gd name="connsiteY1229" fmla="*/ 2524475 h 6515100"/>
                <a:gd name="connsiteX1230" fmla="*/ 3583832 w 4829175"/>
                <a:gd name="connsiteY1230" fmla="*/ 2529598 h 6515100"/>
                <a:gd name="connsiteX1231" fmla="*/ 3584065 w 4829175"/>
                <a:gd name="connsiteY1231" fmla="*/ 2529831 h 6515100"/>
                <a:gd name="connsiteX1232" fmla="*/ 3583133 w 4829175"/>
                <a:gd name="connsiteY1232" fmla="*/ 2531695 h 6515100"/>
                <a:gd name="connsiteX1233" fmla="*/ 3442687 w 4829175"/>
                <a:gd name="connsiteY1233" fmla="*/ 2391248 h 6515100"/>
                <a:gd name="connsiteX1234" fmla="*/ 3713099 w 4829175"/>
                <a:gd name="connsiteY1234" fmla="*/ 2120137 h 6515100"/>
                <a:gd name="connsiteX1235" fmla="*/ 3448975 w 4829175"/>
                <a:gd name="connsiteY1235" fmla="*/ 2120137 h 6515100"/>
                <a:gd name="connsiteX1236" fmla="*/ 3178563 w 4829175"/>
                <a:gd name="connsiteY1236" fmla="*/ 2391248 h 6515100"/>
                <a:gd name="connsiteX1237" fmla="*/ 3448975 w 4829175"/>
                <a:gd name="connsiteY1237" fmla="*/ 2662359 h 6515100"/>
                <a:gd name="connsiteX1238" fmla="*/ 3517452 w 4829175"/>
                <a:gd name="connsiteY1238" fmla="*/ 2662359 h 6515100"/>
                <a:gd name="connsiteX1239" fmla="*/ 3513958 w 4829175"/>
                <a:gd name="connsiteY1239" fmla="*/ 2669346 h 6515100"/>
                <a:gd name="connsiteX1240" fmla="*/ 3448975 w 4829175"/>
                <a:gd name="connsiteY1240" fmla="*/ 2669346 h 6515100"/>
                <a:gd name="connsiteX1241" fmla="*/ 3268701 w 4829175"/>
                <a:gd name="connsiteY1241" fmla="*/ 2850320 h 6515100"/>
                <a:gd name="connsiteX1242" fmla="*/ 3179262 w 4829175"/>
                <a:gd name="connsiteY1242" fmla="*/ 2939758 h 6515100"/>
                <a:gd name="connsiteX1243" fmla="*/ 3312721 w 4829175"/>
                <a:gd name="connsiteY1243" fmla="*/ 3073916 h 6515100"/>
                <a:gd name="connsiteX1244" fmla="*/ 3451072 w 4829175"/>
                <a:gd name="connsiteY1244" fmla="*/ 3207376 h 6515100"/>
                <a:gd name="connsiteX1245" fmla="*/ 3715195 w 4829175"/>
                <a:gd name="connsiteY1245" fmla="*/ 3207376 h 6515100"/>
                <a:gd name="connsiteX1246" fmla="*/ 3444084 w 4829175"/>
                <a:gd name="connsiteY1246" fmla="*/ 2936964 h 6515100"/>
                <a:gd name="connsiteX1247" fmla="*/ 3445482 w 4829175"/>
                <a:gd name="connsiteY1247" fmla="*/ 2935566 h 6515100"/>
                <a:gd name="connsiteX1248" fmla="*/ 3713797 w 4829175"/>
                <a:gd name="connsiteY1248" fmla="*/ 2666552 h 6515100"/>
                <a:gd name="connsiteX1249" fmla="*/ 3515356 w 4829175"/>
                <a:gd name="connsiteY1249" fmla="*/ 2666552 h 6515100"/>
                <a:gd name="connsiteX1250" fmla="*/ 3518849 w 4829175"/>
                <a:gd name="connsiteY1250" fmla="*/ 2659564 h 6515100"/>
                <a:gd name="connsiteX1251" fmla="*/ 3713797 w 4829175"/>
                <a:gd name="connsiteY1251" fmla="*/ 2659564 h 6515100"/>
                <a:gd name="connsiteX1252" fmla="*/ 3584065 w 4829175"/>
                <a:gd name="connsiteY1252" fmla="*/ 2529831 h 6515100"/>
                <a:gd name="connsiteX1253" fmla="*/ 3586627 w 4829175"/>
                <a:gd name="connsiteY1253" fmla="*/ 2524708 h 6515100"/>
                <a:gd name="connsiteX1254" fmla="*/ 3586394 w 4829175"/>
                <a:gd name="connsiteY1254" fmla="*/ 2524475 h 6515100"/>
                <a:gd name="connsiteX1255" fmla="*/ 3587326 w 4829175"/>
                <a:gd name="connsiteY1255" fmla="*/ 2522611 h 6515100"/>
                <a:gd name="connsiteX1256" fmla="*/ 3727772 w 4829175"/>
                <a:gd name="connsiteY1256" fmla="*/ 2663058 h 6515100"/>
                <a:gd name="connsiteX1257" fmla="*/ 3457360 w 4829175"/>
                <a:gd name="connsiteY1257" fmla="*/ 2934169 h 6515100"/>
                <a:gd name="connsiteX1258" fmla="*/ 3721484 w 4829175"/>
                <a:gd name="connsiteY1258" fmla="*/ 2934169 h 6515100"/>
                <a:gd name="connsiteX1259" fmla="*/ 3991896 w 4829175"/>
                <a:gd name="connsiteY1259" fmla="*/ 2663058 h 6515100"/>
                <a:gd name="connsiteX1260" fmla="*/ 3720785 w 4829175"/>
                <a:gd name="connsiteY1260" fmla="*/ 2392646 h 6515100"/>
                <a:gd name="connsiteX1261" fmla="*/ 3652658 w 4829175"/>
                <a:gd name="connsiteY1261" fmla="*/ 2392646 h 6515100"/>
                <a:gd name="connsiteX1262" fmla="*/ 3655103 w 4829175"/>
                <a:gd name="connsiteY1262" fmla="*/ 2387755 h 6515100"/>
                <a:gd name="connsiteX1263" fmla="*/ 3654754 w 4829175"/>
                <a:gd name="connsiteY1263" fmla="*/ 2387755 h 6515100"/>
                <a:gd name="connsiteX1264" fmla="*/ 3655802 w 4829175"/>
                <a:gd name="connsiteY1264" fmla="*/ 2385658 h 6515100"/>
                <a:gd name="connsiteX1265" fmla="*/ 3720785 w 4829175"/>
                <a:gd name="connsiteY1265" fmla="*/ 2385658 h 6515100"/>
                <a:gd name="connsiteX1266" fmla="*/ 3991197 w 4829175"/>
                <a:gd name="connsiteY1266" fmla="*/ 2114547 h 6515100"/>
                <a:gd name="connsiteX1267" fmla="*/ 3857739 w 4829175"/>
                <a:gd name="connsiteY1267" fmla="*/ 1981785 h 6515100"/>
                <a:gd name="connsiteX1268" fmla="*/ 3860533 w 4829175"/>
                <a:gd name="connsiteY1268" fmla="*/ 1976197 h 6515100"/>
                <a:gd name="connsiteX1269" fmla="*/ 3859834 w 4829175"/>
                <a:gd name="connsiteY1269" fmla="*/ 1975498 h 6515100"/>
                <a:gd name="connsiteX1270" fmla="*/ 3860533 w 4829175"/>
                <a:gd name="connsiteY1270" fmla="*/ 1974101 h 6515100"/>
                <a:gd name="connsiteX1271" fmla="*/ 3997486 w 4829175"/>
                <a:gd name="connsiteY1271" fmla="*/ 2111054 h 6515100"/>
                <a:gd name="connsiteX1272" fmla="*/ 4261609 w 4829175"/>
                <a:gd name="connsiteY1272" fmla="*/ 2111054 h 6515100"/>
                <a:gd name="connsiteX1273" fmla="*/ 3990498 w 4829175"/>
                <a:gd name="connsiteY1273" fmla="*/ 1840642 h 6515100"/>
                <a:gd name="connsiteX1274" fmla="*/ 3991896 w 4829175"/>
                <a:gd name="connsiteY1274" fmla="*/ 1839244 h 6515100"/>
                <a:gd name="connsiteX1275" fmla="*/ 4260211 w 4829175"/>
                <a:gd name="connsiteY1275" fmla="*/ 1570230 h 6515100"/>
                <a:gd name="connsiteX1276" fmla="*/ 4061770 w 4829175"/>
                <a:gd name="connsiteY1276" fmla="*/ 1570230 h 6515100"/>
                <a:gd name="connsiteX1277" fmla="*/ 4065263 w 4829175"/>
                <a:gd name="connsiteY1277" fmla="*/ 1563243 h 6515100"/>
                <a:gd name="connsiteX1278" fmla="*/ 4260211 w 4829175"/>
                <a:gd name="connsiteY1278" fmla="*/ 1563243 h 6515100"/>
                <a:gd name="connsiteX1279" fmla="*/ 4130246 w 4829175"/>
                <a:gd name="connsiteY1279" fmla="*/ 1433278 h 6515100"/>
                <a:gd name="connsiteX1280" fmla="*/ 4133739 w 4829175"/>
                <a:gd name="connsiteY1280" fmla="*/ 1426290 h 6515100"/>
                <a:gd name="connsiteX1281" fmla="*/ 4274186 w 4829175"/>
                <a:gd name="connsiteY1281" fmla="*/ 1566736 h 6515100"/>
                <a:gd name="connsiteX1282" fmla="*/ 4003774 w 4829175"/>
                <a:gd name="connsiteY1282" fmla="*/ 1837847 h 6515100"/>
                <a:gd name="connsiteX1283" fmla="*/ 4267898 w 4829175"/>
                <a:gd name="connsiteY1283" fmla="*/ 1837847 h 6515100"/>
                <a:gd name="connsiteX1284" fmla="*/ 4538310 w 4829175"/>
                <a:gd name="connsiteY1284" fmla="*/ 1566736 h 6515100"/>
                <a:gd name="connsiteX1285" fmla="*/ 4267199 w 4829175"/>
                <a:gd name="connsiteY1285" fmla="*/ 1297023 h 6515100"/>
                <a:gd name="connsiteX1286" fmla="*/ 4198723 w 4829175"/>
                <a:gd name="connsiteY1286" fmla="*/ 1297023 h 6515100"/>
                <a:gd name="connsiteX1287" fmla="*/ 4003774 w 4829175"/>
                <a:gd name="connsiteY1287" fmla="*/ 1297023 h 6515100"/>
                <a:gd name="connsiteX1288" fmla="*/ 4133040 w 4829175"/>
                <a:gd name="connsiteY1288" fmla="*/ 1426989 h 6515100"/>
                <a:gd name="connsiteX1289" fmla="*/ 4129547 w 4829175"/>
                <a:gd name="connsiteY1289" fmla="*/ 1433975 h 6515100"/>
                <a:gd name="connsiteX1290" fmla="*/ 3989100 w 4829175"/>
                <a:gd name="connsiteY1290" fmla="*/ 1293530 h 6515100"/>
                <a:gd name="connsiteX1291" fmla="*/ 4259512 w 4829175"/>
                <a:gd name="connsiteY1291" fmla="*/ 1022419 h 6515100"/>
                <a:gd name="connsiteX1292" fmla="*/ 162805 w 4829175"/>
                <a:gd name="connsiteY1292" fmla="*/ 752007 h 6515100"/>
                <a:gd name="connsiteX1293" fmla="*/ 433916 w 4829175"/>
                <a:gd name="connsiteY1293" fmla="*/ 1022419 h 6515100"/>
                <a:gd name="connsiteX1294" fmla="*/ 164203 w 4829175"/>
                <a:gd name="connsiteY1294" fmla="*/ 1293530 h 6515100"/>
                <a:gd name="connsiteX1295" fmla="*/ 427627 w 4829175"/>
                <a:gd name="connsiteY1295" fmla="*/ 1293530 h 6515100"/>
                <a:gd name="connsiteX1296" fmla="*/ 698039 w 4829175"/>
                <a:gd name="connsiteY1296" fmla="*/ 1022419 h 6515100"/>
                <a:gd name="connsiteX1297" fmla="*/ 563881 w 4829175"/>
                <a:gd name="connsiteY1297" fmla="*/ 888959 h 6515100"/>
                <a:gd name="connsiteX1298" fmla="*/ 426928 w 4829175"/>
                <a:gd name="connsiteY1298" fmla="*/ 752007 h 6515100"/>
                <a:gd name="connsiteX1299" fmla="*/ 1809035 w 4829175"/>
                <a:gd name="connsiteY1299" fmla="*/ 751308 h 6515100"/>
                <a:gd name="connsiteX1300" fmla="*/ 1937603 w 4829175"/>
                <a:gd name="connsiteY1300" fmla="*/ 879876 h 6515100"/>
                <a:gd name="connsiteX1301" fmla="*/ 2079447 w 4829175"/>
                <a:gd name="connsiteY1301" fmla="*/ 1021720 h 6515100"/>
                <a:gd name="connsiteX1302" fmla="*/ 1809035 w 4829175"/>
                <a:gd name="connsiteY1302" fmla="*/ 1292831 h 6515100"/>
                <a:gd name="connsiteX1303" fmla="*/ 2073158 w 4829175"/>
                <a:gd name="connsiteY1303" fmla="*/ 1292831 h 6515100"/>
                <a:gd name="connsiteX1304" fmla="*/ 2343570 w 4829175"/>
                <a:gd name="connsiteY1304" fmla="*/ 1021720 h 6515100"/>
                <a:gd name="connsiteX1305" fmla="*/ 2338678 w 4829175"/>
                <a:gd name="connsiteY1305" fmla="*/ 1016829 h 6515100"/>
                <a:gd name="connsiteX1306" fmla="*/ 2073158 w 4829175"/>
                <a:gd name="connsiteY1306" fmla="*/ 751308 h 6515100"/>
                <a:gd name="connsiteX1307" fmla="*/ 2357544 w 4829175"/>
                <a:gd name="connsiteY1307" fmla="*/ 750609 h 6515100"/>
                <a:gd name="connsiteX1308" fmla="*/ 2628655 w 4829175"/>
                <a:gd name="connsiteY1308" fmla="*/ 1020322 h 6515100"/>
                <a:gd name="connsiteX1309" fmla="*/ 2625861 w 4829175"/>
                <a:gd name="connsiteY1309" fmla="*/ 1023118 h 6515100"/>
                <a:gd name="connsiteX1310" fmla="*/ 2535723 w 4829175"/>
                <a:gd name="connsiteY1310" fmla="*/ 1113953 h 6515100"/>
                <a:gd name="connsiteX1311" fmla="*/ 2358243 w 4829175"/>
                <a:gd name="connsiteY1311" fmla="*/ 1291433 h 6515100"/>
                <a:gd name="connsiteX1312" fmla="*/ 2622367 w 4829175"/>
                <a:gd name="connsiteY1312" fmla="*/ 1291433 h 6515100"/>
                <a:gd name="connsiteX1313" fmla="*/ 2711805 w 4829175"/>
                <a:gd name="connsiteY1313" fmla="*/ 1201994 h 6515100"/>
                <a:gd name="connsiteX1314" fmla="*/ 2892779 w 4829175"/>
                <a:gd name="connsiteY1314" fmla="*/ 1021021 h 6515100"/>
                <a:gd name="connsiteX1315" fmla="*/ 2621668 w 4829175"/>
                <a:gd name="connsiteY1315" fmla="*/ 750609 h 6515100"/>
                <a:gd name="connsiteX1316" fmla="*/ 1259127 w 4829175"/>
                <a:gd name="connsiteY1316" fmla="*/ 750609 h 6515100"/>
                <a:gd name="connsiteX1317" fmla="*/ 1530238 w 4829175"/>
                <a:gd name="connsiteY1317" fmla="*/ 1020322 h 6515100"/>
                <a:gd name="connsiteX1318" fmla="*/ 1527442 w 4829175"/>
                <a:gd name="connsiteY1318" fmla="*/ 1023118 h 6515100"/>
                <a:gd name="connsiteX1319" fmla="*/ 1437306 w 4829175"/>
                <a:gd name="connsiteY1319" fmla="*/ 1113953 h 6515100"/>
                <a:gd name="connsiteX1320" fmla="*/ 1259826 w 4829175"/>
                <a:gd name="connsiteY1320" fmla="*/ 1291433 h 6515100"/>
                <a:gd name="connsiteX1321" fmla="*/ 1523949 w 4829175"/>
                <a:gd name="connsiteY1321" fmla="*/ 1291433 h 6515100"/>
                <a:gd name="connsiteX1322" fmla="*/ 1613388 w 4829175"/>
                <a:gd name="connsiteY1322" fmla="*/ 1201994 h 6515100"/>
                <a:gd name="connsiteX1323" fmla="*/ 1794361 w 4829175"/>
                <a:gd name="connsiteY1323" fmla="*/ 1021021 h 6515100"/>
                <a:gd name="connsiteX1324" fmla="*/ 1523250 w 4829175"/>
                <a:gd name="connsiteY1324" fmla="*/ 750609 h 6515100"/>
                <a:gd name="connsiteX1325" fmla="*/ 710617 w 4829175"/>
                <a:gd name="connsiteY1325" fmla="*/ 750609 h 6515100"/>
                <a:gd name="connsiteX1326" fmla="*/ 712014 w 4829175"/>
                <a:gd name="connsiteY1326" fmla="*/ 752007 h 6515100"/>
                <a:gd name="connsiteX1327" fmla="*/ 981727 w 4829175"/>
                <a:gd name="connsiteY1327" fmla="*/ 1021021 h 6515100"/>
                <a:gd name="connsiteX1328" fmla="*/ 711316 w 4829175"/>
                <a:gd name="connsiteY1328" fmla="*/ 1292132 h 6515100"/>
                <a:gd name="connsiteX1329" fmla="*/ 975439 w 4829175"/>
                <a:gd name="connsiteY1329" fmla="*/ 1292132 h 6515100"/>
                <a:gd name="connsiteX1330" fmla="*/ 1245851 w 4829175"/>
                <a:gd name="connsiteY1330" fmla="*/ 1021021 h 6515100"/>
                <a:gd name="connsiteX1331" fmla="*/ 1240261 w 4829175"/>
                <a:gd name="connsiteY1331" fmla="*/ 1016130 h 6515100"/>
                <a:gd name="connsiteX1332" fmla="*/ 974740 w 4829175"/>
                <a:gd name="connsiteY1332" fmla="*/ 750609 h 6515100"/>
                <a:gd name="connsiteX1333" fmla="*/ 2906055 w 4829175"/>
                <a:gd name="connsiteY1333" fmla="*/ 749910 h 6515100"/>
                <a:gd name="connsiteX1334" fmla="*/ 3036720 w 4829175"/>
                <a:gd name="connsiteY1334" fmla="*/ 879177 h 6515100"/>
                <a:gd name="connsiteX1335" fmla="*/ 3177166 w 4829175"/>
                <a:gd name="connsiteY1335" fmla="*/ 1019623 h 6515100"/>
                <a:gd name="connsiteX1336" fmla="*/ 2906754 w 4829175"/>
                <a:gd name="connsiteY1336" fmla="*/ 1290734 h 6515100"/>
                <a:gd name="connsiteX1337" fmla="*/ 3170877 w 4829175"/>
                <a:gd name="connsiteY1337" fmla="*/ 1290734 h 6515100"/>
                <a:gd name="connsiteX1338" fmla="*/ 3441289 w 4829175"/>
                <a:gd name="connsiteY1338" fmla="*/ 1020322 h 6515100"/>
                <a:gd name="connsiteX1339" fmla="*/ 3170178 w 4829175"/>
                <a:gd name="connsiteY1339" fmla="*/ 749910 h 6515100"/>
                <a:gd name="connsiteX1340" fmla="*/ 3454565 w 4829175"/>
                <a:gd name="connsiteY1340" fmla="*/ 749211 h 6515100"/>
                <a:gd name="connsiteX1341" fmla="*/ 3725676 w 4829175"/>
                <a:gd name="connsiteY1341" fmla="*/ 1019623 h 6515100"/>
                <a:gd name="connsiteX1342" fmla="*/ 3455264 w 4829175"/>
                <a:gd name="connsiteY1342" fmla="*/ 1290734 h 6515100"/>
                <a:gd name="connsiteX1343" fmla="*/ 3719387 w 4829175"/>
                <a:gd name="connsiteY1343" fmla="*/ 1290734 h 6515100"/>
                <a:gd name="connsiteX1344" fmla="*/ 3989799 w 4829175"/>
                <a:gd name="connsiteY1344" fmla="*/ 1019623 h 6515100"/>
                <a:gd name="connsiteX1345" fmla="*/ 3718688 w 4829175"/>
                <a:gd name="connsiteY1345" fmla="*/ 749211 h 6515100"/>
                <a:gd name="connsiteX1346" fmla="*/ 4003075 w 4829175"/>
                <a:gd name="connsiteY1346" fmla="*/ 748512 h 6515100"/>
                <a:gd name="connsiteX1347" fmla="*/ 4274186 w 4829175"/>
                <a:gd name="connsiteY1347" fmla="*/ 1018924 h 6515100"/>
                <a:gd name="connsiteX1348" fmla="*/ 4003774 w 4829175"/>
                <a:gd name="connsiteY1348" fmla="*/ 1290035 h 6515100"/>
                <a:gd name="connsiteX1349" fmla="*/ 4202216 w 4829175"/>
                <a:gd name="connsiteY1349" fmla="*/ 1290035 h 6515100"/>
                <a:gd name="connsiteX1350" fmla="*/ 4267199 w 4829175"/>
                <a:gd name="connsiteY1350" fmla="*/ 1290035 h 6515100"/>
                <a:gd name="connsiteX1351" fmla="*/ 4538310 w 4829175"/>
                <a:gd name="connsiteY1351" fmla="*/ 1018924 h 6515100"/>
                <a:gd name="connsiteX1352" fmla="*/ 4404151 w 4829175"/>
                <a:gd name="connsiteY1352" fmla="*/ 885466 h 6515100"/>
                <a:gd name="connsiteX1353" fmla="*/ 4267199 w 4829175"/>
                <a:gd name="connsiteY1353" fmla="*/ 748512 h 6515100"/>
                <a:gd name="connsiteX1354" fmla="*/ 702930 w 4829175"/>
                <a:gd name="connsiteY1354" fmla="*/ 476704 h 6515100"/>
                <a:gd name="connsiteX1355" fmla="*/ 522656 w 4829175"/>
                <a:gd name="connsiteY1355" fmla="*/ 657677 h 6515100"/>
                <a:gd name="connsiteX1356" fmla="*/ 433217 w 4829175"/>
                <a:gd name="connsiteY1356" fmla="*/ 747814 h 6515100"/>
                <a:gd name="connsiteX1357" fmla="*/ 567375 w 4829175"/>
                <a:gd name="connsiteY1357" fmla="*/ 881273 h 6515100"/>
                <a:gd name="connsiteX1358" fmla="*/ 704328 w 4829175"/>
                <a:gd name="connsiteY1358" fmla="*/ 1018227 h 6515100"/>
                <a:gd name="connsiteX1359" fmla="*/ 968451 w 4829175"/>
                <a:gd name="connsiteY1359" fmla="*/ 1018227 h 6515100"/>
                <a:gd name="connsiteX1360" fmla="*/ 697340 w 4829175"/>
                <a:gd name="connsiteY1360" fmla="*/ 747814 h 6515100"/>
                <a:gd name="connsiteX1361" fmla="*/ 698738 w 4829175"/>
                <a:gd name="connsiteY1361" fmla="*/ 746417 h 6515100"/>
                <a:gd name="connsiteX1362" fmla="*/ 967054 w 4829175"/>
                <a:gd name="connsiteY1362" fmla="*/ 476704 h 6515100"/>
                <a:gd name="connsiteX1363" fmla="*/ 1252140 w 4829175"/>
                <a:gd name="connsiteY1363" fmla="*/ 476005 h 6515100"/>
                <a:gd name="connsiteX1364" fmla="*/ 981727 w 4829175"/>
                <a:gd name="connsiteY1364" fmla="*/ 747116 h 6515100"/>
                <a:gd name="connsiteX1365" fmla="*/ 1252838 w 4829175"/>
                <a:gd name="connsiteY1365" fmla="*/ 1017528 h 6515100"/>
                <a:gd name="connsiteX1366" fmla="*/ 1516962 w 4829175"/>
                <a:gd name="connsiteY1366" fmla="*/ 1017528 h 6515100"/>
                <a:gd name="connsiteX1367" fmla="*/ 1245851 w 4829175"/>
                <a:gd name="connsiteY1367" fmla="*/ 747116 h 6515100"/>
                <a:gd name="connsiteX1368" fmla="*/ 1516263 w 4829175"/>
                <a:gd name="connsiteY1368" fmla="*/ 476005 h 6515100"/>
                <a:gd name="connsiteX1369" fmla="*/ 2899067 w 4829175"/>
                <a:gd name="connsiteY1369" fmla="*/ 475306 h 6515100"/>
                <a:gd name="connsiteX1370" fmla="*/ 2628655 w 4829175"/>
                <a:gd name="connsiteY1370" fmla="*/ 746417 h 6515100"/>
                <a:gd name="connsiteX1371" fmla="*/ 2899766 w 4829175"/>
                <a:gd name="connsiteY1371" fmla="*/ 1016829 h 6515100"/>
                <a:gd name="connsiteX1372" fmla="*/ 3163191 w 4829175"/>
                <a:gd name="connsiteY1372" fmla="*/ 1016829 h 6515100"/>
                <a:gd name="connsiteX1373" fmla="*/ 3032527 w 4829175"/>
                <a:gd name="connsiteY1373" fmla="*/ 886863 h 6515100"/>
                <a:gd name="connsiteX1374" fmla="*/ 2892081 w 4829175"/>
                <a:gd name="connsiteY1374" fmla="*/ 746417 h 6515100"/>
                <a:gd name="connsiteX1375" fmla="*/ 3163191 w 4829175"/>
                <a:gd name="connsiteY1375" fmla="*/ 475306 h 6515100"/>
                <a:gd name="connsiteX1376" fmla="*/ 1799951 w 4829175"/>
                <a:gd name="connsiteY1376" fmla="*/ 475306 h 6515100"/>
                <a:gd name="connsiteX1377" fmla="*/ 1529539 w 4829175"/>
                <a:gd name="connsiteY1377" fmla="*/ 746417 h 6515100"/>
                <a:gd name="connsiteX1378" fmla="*/ 1800650 w 4829175"/>
                <a:gd name="connsiteY1378" fmla="*/ 1016829 h 6515100"/>
                <a:gd name="connsiteX1379" fmla="*/ 1802048 w 4829175"/>
                <a:gd name="connsiteY1379" fmla="*/ 1018227 h 6515100"/>
                <a:gd name="connsiteX1380" fmla="*/ 2066171 w 4829175"/>
                <a:gd name="connsiteY1380" fmla="*/ 1018227 h 6515100"/>
                <a:gd name="connsiteX1381" fmla="*/ 1934808 w 4829175"/>
                <a:gd name="connsiteY1381" fmla="*/ 886863 h 6515100"/>
                <a:gd name="connsiteX1382" fmla="*/ 1797155 w 4829175"/>
                <a:gd name="connsiteY1382" fmla="*/ 749211 h 6515100"/>
                <a:gd name="connsiteX1383" fmla="*/ 2066171 w 4829175"/>
                <a:gd name="connsiteY1383" fmla="*/ 475306 h 6515100"/>
                <a:gd name="connsiteX1384" fmla="*/ 3446879 w 4829175"/>
                <a:gd name="connsiteY1384" fmla="*/ 474607 h 6515100"/>
                <a:gd name="connsiteX1385" fmla="*/ 3176467 w 4829175"/>
                <a:gd name="connsiteY1385" fmla="*/ 745718 h 6515100"/>
                <a:gd name="connsiteX1386" fmla="*/ 3447578 w 4829175"/>
                <a:gd name="connsiteY1386" fmla="*/ 1016130 h 6515100"/>
                <a:gd name="connsiteX1387" fmla="*/ 3711701 w 4829175"/>
                <a:gd name="connsiteY1387" fmla="*/ 1016130 h 6515100"/>
                <a:gd name="connsiteX1388" fmla="*/ 3440590 w 4829175"/>
                <a:gd name="connsiteY1388" fmla="*/ 745718 h 6515100"/>
                <a:gd name="connsiteX1389" fmla="*/ 3625057 w 4829175"/>
                <a:gd name="connsiteY1389" fmla="*/ 561251 h 6515100"/>
                <a:gd name="connsiteX1390" fmla="*/ 3709605 w 4829175"/>
                <a:gd name="connsiteY1390" fmla="*/ 474607 h 6515100"/>
                <a:gd name="connsiteX1391" fmla="*/ 3995389 w 4829175"/>
                <a:gd name="connsiteY1391" fmla="*/ 473908 h 6515100"/>
                <a:gd name="connsiteX1392" fmla="*/ 3724977 w 4829175"/>
                <a:gd name="connsiteY1392" fmla="*/ 745019 h 6515100"/>
                <a:gd name="connsiteX1393" fmla="*/ 3996088 w 4829175"/>
                <a:gd name="connsiteY1393" fmla="*/ 1015431 h 6515100"/>
                <a:gd name="connsiteX1394" fmla="*/ 4260211 w 4829175"/>
                <a:gd name="connsiteY1394" fmla="*/ 1015431 h 6515100"/>
                <a:gd name="connsiteX1395" fmla="*/ 3989100 w 4829175"/>
                <a:gd name="connsiteY1395" fmla="*/ 745019 h 6515100"/>
                <a:gd name="connsiteX1396" fmla="*/ 3990498 w 4829175"/>
                <a:gd name="connsiteY1396" fmla="*/ 743621 h 6515100"/>
                <a:gd name="connsiteX1397" fmla="*/ 3989799 w 4829175"/>
                <a:gd name="connsiteY1397" fmla="*/ 743621 h 6515100"/>
                <a:gd name="connsiteX1398" fmla="*/ 4258116 w 4829175"/>
                <a:gd name="connsiteY1398" fmla="*/ 474607 h 6515100"/>
                <a:gd name="connsiteX1399" fmla="*/ 3999582 w 4829175"/>
                <a:gd name="connsiteY1399" fmla="*/ 474607 h 6515100"/>
                <a:gd name="connsiteX1400" fmla="*/ 4000979 w 4829175"/>
                <a:gd name="connsiteY1400" fmla="*/ 473908 h 6515100"/>
                <a:gd name="connsiteX1401" fmla="*/ 4543201 w 4829175"/>
                <a:gd name="connsiteY1401" fmla="*/ 473209 h 6515100"/>
                <a:gd name="connsiteX1402" fmla="*/ 4362227 w 4829175"/>
                <a:gd name="connsiteY1402" fmla="*/ 654183 h 6515100"/>
                <a:gd name="connsiteX1403" fmla="*/ 4362926 w 4829175"/>
                <a:gd name="connsiteY1403" fmla="*/ 654882 h 6515100"/>
                <a:gd name="connsiteX1404" fmla="*/ 4273487 w 4829175"/>
                <a:gd name="connsiteY1404" fmla="*/ 745019 h 6515100"/>
                <a:gd name="connsiteX1405" fmla="*/ 4407646 w 4829175"/>
                <a:gd name="connsiteY1405" fmla="*/ 878479 h 6515100"/>
                <a:gd name="connsiteX1406" fmla="*/ 4543899 w 4829175"/>
                <a:gd name="connsiteY1406" fmla="*/ 1014732 h 6515100"/>
                <a:gd name="connsiteX1407" fmla="*/ 4808023 w 4829175"/>
                <a:gd name="connsiteY1407" fmla="*/ 1014732 h 6515100"/>
                <a:gd name="connsiteX1408" fmla="*/ 4536912 w 4829175"/>
                <a:gd name="connsiteY1408" fmla="*/ 744320 h 6515100"/>
                <a:gd name="connsiteX1409" fmla="*/ 4807324 w 4829175"/>
                <a:gd name="connsiteY1409" fmla="*/ 473209 h 6515100"/>
                <a:gd name="connsiteX1410" fmla="*/ 2616078 w 4829175"/>
                <a:gd name="connsiteY1410" fmla="*/ 473209 h 6515100"/>
                <a:gd name="connsiteX1411" fmla="*/ 2349859 w 4829175"/>
                <a:gd name="connsiteY1411" fmla="*/ 476005 h 6515100"/>
                <a:gd name="connsiteX1412" fmla="*/ 2079447 w 4829175"/>
                <a:gd name="connsiteY1412" fmla="*/ 747116 h 6515100"/>
                <a:gd name="connsiteX1413" fmla="*/ 2350558 w 4829175"/>
                <a:gd name="connsiteY1413" fmla="*/ 1017528 h 6515100"/>
                <a:gd name="connsiteX1414" fmla="*/ 2614681 w 4829175"/>
                <a:gd name="connsiteY1414" fmla="*/ 1017528 h 6515100"/>
                <a:gd name="connsiteX1415" fmla="*/ 2343570 w 4829175"/>
                <a:gd name="connsiteY1415" fmla="*/ 747116 h 6515100"/>
                <a:gd name="connsiteX1416" fmla="*/ 161407 w 4829175"/>
                <a:gd name="connsiteY1416" fmla="*/ 203496 h 6515100"/>
                <a:gd name="connsiteX1417" fmla="*/ 432518 w 4829175"/>
                <a:gd name="connsiteY1417" fmla="*/ 473908 h 6515100"/>
                <a:gd name="connsiteX1418" fmla="*/ 429724 w 4829175"/>
                <a:gd name="connsiteY1418" fmla="*/ 476704 h 6515100"/>
                <a:gd name="connsiteX1419" fmla="*/ 339586 w 4829175"/>
                <a:gd name="connsiteY1419" fmla="*/ 567539 h 6515100"/>
                <a:gd name="connsiteX1420" fmla="*/ 162106 w 4829175"/>
                <a:gd name="connsiteY1420" fmla="*/ 744320 h 6515100"/>
                <a:gd name="connsiteX1421" fmla="*/ 426230 w 4829175"/>
                <a:gd name="connsiteY1421" fmla="*/ 744320 h 6515100"/>
                <a:gd name="connsiteX1422" fmla="*/ 515668 w 4829175"/>
                <a:gd name="connsiteY1422" fmla="*/ 654882 h 6515100"/>
                <a:gd name="connsiteX1423" fmla="*/ 696642 w 4829175"/>
                <a:gd name="connsiteY1423" fmla="*/ 473908 h 6515100"/>
                <a:gd name="connsiteX1424" fmla="*/ 425531 w 4829175"/>
                <a:gd name="connsiteY1424" fmla="*/ 203496 h 6515100"/>
                <a:gd name="connsiteX1425" fmla="*/ 710617 w 4829175"/>
                <a:gd name="connsiteY1425" fmla="*/ 202798 h 6515100"/>
                <a:gd name="connsiteX1426" fmla="*/ 840582 w 4829175"/>
                <a:gd name="connsiteY1426" fmla="*/ 332763 h 6515100"/>
                <a:gd name="connsiteX1427" fmla="*/ 981029 w 4829175"/>
                <a:gd name="connsiteY1427" fmla="*/ 472511 h 6515100"/>
                <a:gd name="connsiteX1428" fmla="*/ 710617 w 4829175"/>
                <a:gd name="connsiteY1428" fmla="*/ 743621 h 6515100"/>
                <a:gd name="connsiteX1429" fmla="*/ 974740 w 4829175"/>
                <a:gd name="connsiteY1429" fmla="*/ 743621 h 6515100"/>
                <a:gd name="connsiteX1430" fmla="*/ 1245851 w 4829175"/>
                <a:gd name="connsiteY1430" fmla="*/ 473209 h 6515100"/>
                <a:gd name="connsiteX1431" fmla="*/ 974740 w 4829175"/>
                <a:gd name="connsiteY1431" fmla="*/ 202798 h 6515100"/>
                <a:gd name="connsiteX1432" fmla="*/ 2906055 w 4829175"/>
                <a:gd name="connsiteY1432" fmla="*/ 202099 h 6515100"/>
                <a:gd name="connsiteX1433" fmla="*/ 3035322 w 4829175"/>
                <a:gd name="connsiteY1433" fmla="*/ 329968 h 6515100"/>
                <a:gd name="connsiteX1434" fmla="*/ 3035322 w 4829175"/>
                <a:gd name="connsiteY1434" fmla="*/ 330667 h 6515100"/>
                <a:gd name="connsiteX1435" fmla="*/ 3177166 w 4829175"/>
                <a:gd name="connsiteY1435" fmla="*/ 472511 h 6515100"/>
                <a:gd name="connsiteX1436" fmla="*/ 2906754 w 4829175"/>
                <a:gd name="connsiteY1436" fmla="*/ 743621 h 6515100"/>
                <a:gd name="connsiteX1437" fmla="*/ 3170178 w 4829175"/>
                <a:gd name="connsiteY1437" fmla="*/ 743621 h 6515100"/>
                <a:gd name="connsiteX1438" fmla="*/ 3440590 w 4829175"/>
                <a:gd name="connsiteY1438" fmla="*/ 472511 h 6515100"/>
                <a:gd name="connsiteX1439" fmla="*/ 3435000 w 4829175"/>
                <a:gd name="connsiteY1439" fmla="*/ 466921 h 6515100"/>
                <a:gd name="connsiteX1440" fmla="*/ 3434301 w 4829175"/>
                <a:gd name="connsiteY1440" fmla="*/ 466921 h 6515100"/>
                <a:gd name="connsiteX1441" fmla="*/ 3168781 w 4829175"/>
                <a:gd name="connsiteY1441" fmla="*/ 202099 h 6515100"/>
                <a:gd name="connsiteX1442" fmla="*/ 1808336 w 4829175"/>
                <a:gd name="connsiteY1442" fmla="*/ 202099 h 6515100"/>
                <a:gd name="connsiteX1443" fmla="*/ 1810426 w 4829175"/>
                <a:gd name="connsiteY1443" fmla="*/ 204887 h 6515100"/>
                <a:gd name="connsiteX1444" fmla="*/ 1809733 w 4829175"/>
                <a:gd name="connsiteY1444" fmla="*/ 204195 h 6515100"/>
                <a:gd name="connsiteX1445" fmla="*/ 1810432 w 4829175"/>
                <a:gd name="connsiteY1445" fmla="*/ 204894 h 6515100"/>
                <a:gd name="connsiteX1446" fmla="*/ 1810426 w 4829175"/>
                <a:gd name="connsiteY1446" fmla="*/ 204887 h 6515100"/>
                <a:gd name="connsiteX1447" fmla="*/ 2068965 w 4829175"/>
                <a:gd name="connsiteY1447" fmla="*/ 462729 h 6515100"/>
                <a:gd name="connsiteX1448" fmla="*/ 2078748 w 4829175"/>
                <a:gd name="connsiteY1448" fmla="*/ 471812 h 6515100"/>
                <a:gd name="connsiteX1449" fmla="*/ 2080844 w 4829175"/>
                <a:gd name="connsiteY1449" fmla="*/ 473908 h 6515100"/>
                <a:gd name="connsiteX1450" fmla="*/ 1816022 w 4829175"/>
                <a:gd name="connsiteY1450" fmla="*/ 743621 h 6515100"/>
                <a:gd name="connsiteX1451" fmla="*/ 2075254 w 4829175"/>
                <a:gd name="connsiteY1451" fmla="*/ 744320 h 6515100"/>
                <a:gd name="connsiteX1452" fmla="*/ 2344968 w 4829175"/>
                <a:gd name="connsiteY1452" fmla="*/ 473908 h 6515100"/>
                <a:gd name="connsiteX1453" fmla="*/ 2209412 w 4829175"/>
                <a:gd name="connsiteY1453" fmla="*/ 339051 h 6515100"/>
                <a:gd name="connsiteX1454" fmla="*/ 2192643 w 4829175"/>
                <a:gd name="connsiteY1454" fmla="*/ 322282 h 6515100"/>
                <a:gd name="connsiteX1455" fmla="*/ 2073158 w 4829175"/>
                <a:gd name="connsiteY1455" fmla="*/ 203496 h 6515100"/>
                <a:gd name="connsiteX1456" fmla="*/ 2068965 w 4829175"/>
                <a:gd name="connsiteY1456" fmla="*/ 202099 h 6515100"/>
                <a:gd name="connsiteX1457" fmla="*/ 1258428 w 4829175"/>
                <a:gd name="connsiteY1457" fmla="*/ 202099 h 6515100"/>
                <a:gd name="connsiteX1458" fmla="*/ 1529539 w 4829175"/>
                <a:gd name="connsiteY1458" fmla="*/ 472511 h 6515100"/>
                <a:gd name="connsiteX1459" fmla="*/ 1259127 w 4829175"/>
                <a:gd name="connsiteY1459" fmla="*/ 743621 h 6515100"/>
                <a:gd name="connsiteX1460" fmla="*/ 1523250 w 4829175"/>
                <a:gd name="connsiteY1460" fmla="*/ 743621 h 6515100"/>
                <a:gd name="connsiteX1461" fmla="*/ 1793662 w 4829175"/>
                <a:gd name="connsiteY1461" fmla="*/ 472511 h 6515100"/>
                <a:gd name="connsiteX1462" fmla="*/ 1522551 w 4829175"/>
                <a:gd name="connsiteY1462" fmla="*/ 202099 h 6515100"/>
                <a:gd name="connsiteX1463" fmla="*/ 2621668 w 4829175"/>
                <a:gd name="connsiteY1463" fmla="*/ 200701 h 6515100"/>
                <a:gd name="connsiteX1464" fmla="*/ 2358243 w 4829175"/>
                <a:gd name="connsiteY1464" fmla="*/ 201400 h 6515100"/>
                <a:gd name="connsiteX1465" fmla="*/ 2627259 w 4829175"/>
                <a:gd name="connsiteY1465" fmla="*/ 469716 h 6515100"/>
                <a:gd name="connsiteX1466" fmla="*/ 2626560 w 4829175"/>
                <a:gd name="connsiteY1466" fmla="*/ 470415 h 6515100"/>
                <a:gd name="connsiteX1467" fmla="*/ 2627957 w 4829175"/>
                <a:gd name="connsiteY1467" fmla="*/ 471812 h 6515100"/>
                <a:gd name="connsiteX1468" fmla="*/ 2357544 w 4829175"/>
                <a:gd name="connsiteY1468" fmla="*/ 742923 h 6515100"/>
                <a:gd name="connsiteX1469" fmla="*/ 2621668 w 4829175"/>
                <a:gd name="connsiteY1469" fmla="*/ 742923 h 6515100"/>
                <a:gd name="connsiteX1470" fmla="*/ 2711805 w 4829175"/>
                <a:gd name="connsiteY1470" fmla="*/ 652786 h 6515100"/>
                <a:gd name="connsiteX1471" fmla="*/ 2891382 w 4829175"/>
                <a:gd name="connsiteY1471" fmla="*/ 469716 h 6515100"/>
                <a:gd name="connsiteX1472" fmla="*/ 4001678 w 4829175"/>
                <a:gd name="connsiteY1472" fmla="*/ 200003 h 6515100"/>
                <a:gd name="connsiteX1473" fmla="*/ 4131644 w 4829175"/>
                <a:gd name="connsiteY1473" fmla="*/ 329269 h 6515100"/>
                <a:gd name="connsiteX1474" fmla="*/ 4272090 w 4829175"/>
                <a:gd name="connsiteY1474" fmla="*/ 469716 h 6515100"/>
                <a:gd name="connsiteX1475" fmla="*/ 4179158 w 4829175"/>
                <a:gd name="connsiteY1475" fmla="*/ 563347 h 6515100"/>
                <a:gd name="connsiteX1476" fmla="*/ 4179856 w 4829175"/>
                <a:gd name="connsiteY1476" fmla="*/ 564046 h 6515100"/>
                <a:gd name="connsiteX1477" fmla="*/ 4003075 w 4829175"/>
                <a:gd name="connsiteY1477" fmla="*/ 741525 h 6515100"/>
                <a:gd name="connsiteX1478" fmla="*/ 4265801 w 4829175"/>
                <a:gd name="connsiteY1478" fmla="*/ 741525 h 6515100"/>
                <a:gd name="connsiteX1479" fmla="*/ 4536213 w 4829175"/>
                <a:gd name="connsiteY1479" fmla="*/ 470415 h 6515100"/>
                <a:gd name="connsiteX1480" fmla="*/ 4265102 w 4829175"/>
                <a:gd name="connsiteY1480" fmla="*/ 200003 h 6515100"/>
                <a:gd name="connsiteX1481" fmla="*/ 3453167 w 4829175"/>
                <a:gd name="connsiteY1481" fmla="*/ 200003 h 6515100"/>
                <a:gd name="connsiteX1482" fmla="*/ 3724278 w 4829175"/>
                <a:gd name="connsiteY1482" fmla="*/ 470415 h 6515100"/>
                <a:gd name="connsiteX1483" fmla="*/ 3724977 w 4829175"/>
                <a:gd name="connsiteY1483" fmla="*/ 471113 h 6515100"/>
                <a:gd name="connsiteX1484" fmla="*/ 3454565 w 4829175"/>
                <a:gd name="connsiteY1484" fmla="*/ 742224 h 6515100"/>
                <a:gd name="connsiteX1485" fmla="*/ 3718688 w 4829175"/>
                <a:gd name="connsiteY1485" fmla="*/ 742224 h 6515100"/>
                <a:gd name="connsiteX1486" fmla="*/ 3808127 w 4829175"/>
                <a:gd name="connsiteY1486" fmla="*/ 652087 h 6515100"/>
                <a:gd name="connsiteX1487" fmla="*/ 3807428 w 4829175"/>
                <a:gd name="connsiteY1487" fmla="*/ 652087 h 6515100"/>
                <a:gd name="connsiteX1488" fmla="*/ 3988403 w 4829175"/>
                <a:gd name="connsiteY1488" fmla="*/ 471113 h 6515100"/>
                <a:gd name="connsiteX1489" fmla="*/ 3983511 w 4829175"/>
                <a:gd name="connsiteY1489" fmla="*/ 465523 h 6515100"/>
                <a:gd name="connsiteX1490" fmla="*/ 3717291 w 4829175"/>
                <a:gd name="connsiteY1490" fmla="*/ 200003 h 6515100"/>
                <a:gd name="connsiteX1491" fmla="*/ 348134 w 4829175"/>
                <a:gd name="connsiteY1491" fmla="*/ 0 h 6515100"/>
                <a:gd name="connsiteX1492" fmla="*/ 358615 w 4829175"/>
                <a:gd name="connsiteY1492" fmla="*/ 0 h 6515100"/>
                <a:gd name="connsiteX1493" fmla="*/ 162106 w 4829175"/>
                <a:gd name="connsiteY1493" fmla="*/ 196509 h 6515100"/>
                <a:gd name="connsiteX1494" fmla="*/ 426230 w 4829175"/>
                <a:gd name="connsiteY1494" fmla="*/ 196509 h 6515100"/>
                <a:gd name="connsiteX1495" fmla="*/ 622232 w 4829175"/>
                <a:gd name="connsiteY1495" fmla="*/ 0 h 6515100"/>
                <a:gd name="connsiteX1496" fmla="*/ 632006 w 4829175"/>
                <a:gd name="connsiteY1496" fmla="*/ 0 h 6515100"/>
                <a:gd name="connsiteX1497" fmla="*/ 432518 w 4829175"/>
                <a:gd name="connsiteY1497" fmla="*/ 200003 h 6515100"/>
                <a:gd name="connsiteX1498" fmla="*/ 704328 w 4829175"/>
                <a:gd name="connsiteY1498" fmla="*/ 470415 h 6515100"/>
                <a:gd name="connsiteX1499" fmla="*/ 967752 w 4829175"/>
                <a:gd name="connsiteY1499" fmla="*/ 470415 h 6515100"/>
                <a:gd name="connsiteX1500" fmla="*/ 837089 w 4829175"/>
                <a:gd name="connsiteY1500" fmla="*/ 340449 h 6515100"/>
                <a:gd name="connsiteX1501" fmla="*/ 696642 w 4829175"/>
                <a:gd name="connsiteY1501" fmla="*/ 200003 h 6515100"/>
                <a:gd name="connsiteX1502" fmla="*/ 896129 w 4829175"/>
                <a:gd name="connsiteY1502" fmla="*/ 0 h 6515100"/>
                <a:gd name="connsiteX1503" fmla="*/ 907318 w 4829175"/>
                <a:gd name="connsiteY1503" fmla="*/ 0 h 6515100"/>
                <a:gd name="connsiteX1504" fmla="*/ 711316 w 4829175"/>
                <a:gd name="connsiteY1504" fmla="*/ 196509 h 6515100"/>
                <a:gd name="connsiteX1505" fmla="*/ 974740 w 4829175"/>
                <a:gd name="connsiteY1505" fmla="*/ 196509 h 6515100"/>
                <a:gd name="connsiteX1506" fmla="*/ 1170742 w 4829175"/>
                <a:gd name="connsiteY1506" fmla="*/ 0 h 6515100"/>
                <a:gd name="connsiteX1507" fmla="*/ 1179819 w 4829175"/>
                <a:gd name="connsiteY1507" fmla="*/ 0 h 6515100"/>
                <a:gd name="connsiteX1508" fmla="*/ 981029 w 4829175"/>
                <a:gd name="connsiteY1508" fmla="*/ 199304 h 6515100"/>
                <a:gd name="connsiteX1509" fmla="*/ 1252140 w 4829175"/>
                <a:gd name="connsiteY1509" fmla="*/ 469716 h 6515100"/>
                <a:gd name="connsiteX1510" fmla="*/ 1516263 w 4829175"/>
                <a:gd name="connsiteY1510" fmla="*/ 469716 h 6515100"/>
                <a:gd name="connsiteX1511" fmla="*/ 1245152 w 4829175"/>
                <a:gd name="connsiteY1511" fmla="*/ 199304 h 6515100"/>
                <a:gd name="connsiteX1512" fmla="*/ 1443942 w 4829175"/>
                <a:gd name="connsiteY1512" fmla="*/ 0 h 6515100"/>
                <a:gd name="connsiteX1513" fmla="*/ 1453410 w 4829175"/>
                <a:gd name="connsiteY1513" fmla="*/ 0 h 6515100"/>
                <a:gd name="connsiteX1514" fmla="*/ 1436607 w 4829175"/>
                <a:gd name="connsiteY1514" fmla="*/ 16933 h 6515100"/>
                <a:gd name="connsiteX1515" fmla="*/ 1435908 w 4829175"/>
                <a:gd name="connsiteY1515" fmla="*/ 16933 h 6515100"/>
                <a:gd name="connsiteX1516" fmla="*/ 1258428 w 4829175"/>
                <a:gd name="connsiteY1516" fmla="*/ 195111 h 6515100"/>
                <a:gd name="connsiteX1517" fmla="*/ 1522551 w 4829175"/>
                <a:gd name="connsiteY1517" fmla="*/ 195111 h 6515100"/>
                <a:gd name="connsiteX1518" fmla="*/ 1717663 w 4829175"/>
                <a:gd name="connsiteY1518" fmla="*/ 0 h 6515100"/>
                <a:gd name="connsiteX1519" fmla="*/ 1728424 w 4829175"/>
                <a:gd name="connsiteY1519" fmla="*/ 0 h 6515100"/>
                <a:gd name="connsiteX1520" fmla="*/ 1620376 w 4829175"/>
                <a:gd name="connsiteY1520" fmla="*/ 108468 h 6515100"/>
                <a:gd name="connsiteX1521" fmla="*/ 1619677 w 4829175"/>
                <a:gd name="connsiteY1521" fmla="*/ 108468 h 6515100"/>
                <a:gd name="connsiteX1522" fmla="*/ 1529539 w 4829175"/>
                <a:gd name="connsiteY1522" fmla="*/ 198605 h 6515100"/>
                <a:gd name="connsiteX1523" fmla="*/ 1799951 w 4829175"/>
                <a:gd name="connsiteY1523" fmla="*/ 469716 h 6515100"/>
                <a:gd name="connsiteX1524" fmla="*/ 2064074 w 4829175"/>
                <a:gd name="connsiteY1524" fmla="*/ 469716 h 6515100"/>
                <a:gd name="connsiteX1525" fmla="*/ 1792964 w 4829175"/>
                <a:gd name="connsiteY1525" fmla="*/ 199304 h 6515100"/>
                <a:gd name="connsiteX1526" fmla="*/ 1977431 w 4829175"/>
                <a:gd name="connsiteY1526" fmla="*/ 14837 h 6515100"/>
                <a:gd name="connsiteX1527" fmla="*/ 1978130 w 4829175"/>
                <a:gd name="connsiteY1527" fmla="*/ 14837 h 6515100"/>
                <a:gd name="connsiteX1528" fmla="*/ 1992847 w 4829175"/>
                <a:gd name="connsiteY1528" fmla="*/ 0 h 6515100"/>
                <a:gd name="connsiteX1529" fmla="*/ 2002247 w 4829175"/>
                <a:gd name="connsiteY1529" fmla="*/ 0 h 6515100"/>
                <a:gd name="connsiteX1530" fmla="*/ 1808336 w 4829175"/>
                <a:gd name="connsiteY1530" fmla="*/ 194412 h 6515100"/>
                <a:gd name="connsiteX1531" fmla="*/ 2071761 w 4829175"/>
                <a:gd name="connsiteY1531" fmla="*/ 194412 h 6515100"/>
                <a:gd name="connsiteX1532" fmla="*/ 2266173 w 4829175"/>
                <a:gd name="connsiteY1532" fmla="*/ 0 h 6515100"/>
                <a:gd name="connsiteX1533" fmla="*/ 2277539 w 4829175"/>
                <a:gd name="connsiteY1533" fmla="*/ 0 h 6515100"/>
                <a:gd name="connsiteX1534" fmla="*/ 2078748 w 4829175"/>
                <a:gd name="connsiteY1534" fmla="*/ 199304 h 6515100"/>
                <a:gd name="connsiteX1535" fmla="*/ 2348461 w 4829175"/>
                <a:gd name="connsiteY1535" fmla="*/ 468319 h 6515100"/>
                <a:gd name="connsiteX1536" fmla="*/ 2611886 w 4829175"/>
                <a:gd name="connsiteY1536" fmla="*/ 468319 h 6515100"/>
                <a:gd name="connsiteX1537" fmla="*/ 2342872 w 4829175"/>
                <a:gd name="connsiteY1537" fmla="*/ 199304 h 6515100"/>
                <a:gd name="connsiteX1538" fmla="*/ 2343570 w 4829175"/>
                <a:gd name="connsiteY1538" fmla="*/ 198605 h 6515100"/>
                <a:gd name="connsiteX1539" fmla="*/ 2342173 w 4829175"/>
                <a:gd name="connsiteY1539" fmla="*/ 197208 h 6515100"/>
                <a:gd name="connsiteX1540" fmla="*/ 2538868 w 4829175"/>
                <a:gd name="connsiteY1540" fmla="*/ 0 h 6515100"/>
                <a:gd name="connsiteX1541" fmla="*/ 2552152 w 4829175"/>
                <a:gd name="connsiteY1541" fmla="*/ 0 h 6515100"/>
                <a:gd name="connsiteX1542" fmla="*/ 2358243 w 4829175"/>
                <a:gd name="connsiteY1542" fmla="*/ 194412 h 6515100"/>
                <a:gd name="connsiteX1543" fmla="*/ 2620271 w 4829175"/>
                <a:gd name="connsiteY1543" fmla="*/ 194412 h 6515100"/>
                <a:gd name="connsiteX1544" fmla="*/ 2814181 w 4829175"/>
                <a:gd name="connsiteY1544" fmla="*/ 0 h 6515100"/>
                <a:gd name="connsiteX1545" fmla="*/ 2825540 w 4829175"/>
                <a:gd name="connsiteY1545" fmla="*/ 0 h 6515100"/>
                <a:gd name="connsiteX1546" fmla="*/ 2628655 w 4829175"/>
                <a:gd name="connsiteY1546" fmla="*/ 197906 h 6515100"/>
                <a:gd name="connsiteX1547" fmla="*/ 2898368 w 4829175"/>
                <a:gd name="connsiteY1547" fmla="*/ 466921 h 6515100"/>
                <a:gd name="connsiteX1548" fmla="*/ 3163191 w 4829175"/>
                <a:gd name="connsiteY1548" fmla="*/ 468319 h 6515100"/>
                <a:gd name="connsiteX1549" fmla="*/ 2892081 w 4829175"/>
                <a:gd name="connsiteY1549" fmla="*/ 197906 h 6515100"/>
                <a:gd name="connsiteX1550" fmla="*/ 2890683 w 4829175"/>
                <a:gd name="connsiteY1550" fmla="*/ 196509 h 6515100"/>
                <a:gd name="connsiteX1551" fmla="*/ 3086683 w 4829175"/>
                <a:gd name="connsiteY1551" fmla="*/ 0 h 6515100"/>
                <a:gd name="connsiteX1552" fmla="*/ 3097556 w 4829175"/>
                <a:gd name="connsiteY1552" fmla="*/ 0 h 6515100"/>
                <a:gd name="connsiteX1553" fmla="*/ 3082137 w 4829175"/>
                <a:gd name="connsiteY1553" fmla="*/ 15536 h 6515100"/>
                <a:gd name="connsiteX1554" fmla="*/ 3082836 w 4829175"/>
                <a:gd name="connsiteY1554" fmla="*/ 16235 h 6515100"/>
                <a:gd name="connsiteX1555" fmla="*/ 2906754 w 4829175"/>
                <a:gd name="connsiteY1555" fmla="*/ 192317 h 6515100"/>
                <a:gd name="connsiteX1556" fmla="*/ 3103099 w 4829175"/>
                <a:gd name="connsiteY1556" fmla="*/ 192317 h 6515100"/>
                <a:gd name="connsiteX1557" fmla="*/ 3102401 w 4829175"/>
                <a:gd name="connsiteY1557" fmla="*/ 193714 h 6515100"/>
                <a:gd name="connsiteX1558" fmla="*/ 3168083 w 4829175"/>
                <a:gd name="connsiteY1558" fmla="*/ 193714 h 6515100"/>
                <a:gd name="connsiteX1559" fmla="*/ 3361298 w 4829175"/>
                <a:gd name="connsiteY1559" fmla="*/ 0 h 6515100"/>
                <a:gd name="connsiteX1560" fmla="*/ 3371863 w 4829175"/>
                <a:gd name="connsiteY1560" fmla="*/ 0 h 6515100"/>
                <a:gd name="connsiteX1561" fmla="*/ 3264508 w 4829175"/>
                <a:gd name="connsiteY1561" fmla="*/ 107769 h 6515100"/>
                <a:gd name="connsiteX1562" fmla="*/ 3265906 w 4829175"/>
                <a:gd name="connsiteY1562" fmla="*/ 108468 h 6515100"/>
                <a:gd name="connsiteX1563" fmla="*/ 3176467 w 4829175"/>
                <a:gd name="connsiteY1563" fmla="*/ 197906 h 6515100"/>
                <a:gd name="connsiteX1564" fmla="*/ 3446879 w 4829175"/>
                <a:gd name="connsiteY1564" fmla="*/ 467620 h 6515100"/>
                <a:gd name="connsiteX1565" fmla="*/ 3710303 w 4829175"/>
                <a:gd name="connsiteY1565" fmla="*/ 467620 h 6515100"/>
                <a:gd name="connsiteX1566" fmla="*/ 3439891 w 4829175"/>
                <a:gd name="connsiteY1566" fmla="*/ 197906 h 6515100"/>
                <a:gd name="connsiteX1567" fmla="*/ 3439193 w 4829175"/>
                <a:gd name="connsiteY1567" fmla="*/ 197208 h 6515100"/>
                <a:gd name="connsiteX1568" fmla="*/ 3635893 w 4829175"/>
                <a:gd name="connsiteY1568" fmla="*/ 0 h 6515100"/>
                <a:gd name="connsiteX1569" fmla="*/ 3646183 w 4829175"/>
                <a:gd name="connsiteY1569" fmla="*/ 0 h 6515100"/>
                <a:gd name="connsiteX1570" fmla="*/ 3453167 w 4829175"/>
                <a:gd name="connsiteY1570" fmla="*/ 193016 h 6515100"/>
                <a:gd name="connsiteX1571" fmla="*/ 3717291 w 4829175"/>
                <a:gd name="connsiteY1571" fmla="*/ 193016 h 6515100"/>
                <a:gd name="connsiteX1572" fmla="*/ 3910306 w 4829175"/>
                <a:gd name="connsiteY1572" fmla="*/ 0 h 6515100"/>
                <a:gd name="connsiteX1573" fmla="*/ 3919582 w 4829175"/>
                <a:gd name="connsiteY1573" fmla="*/ 0 h 6515100"/>
                <a:gd name="connsiteX1574" fmla="*/ 3723579 w 4829175"/>
                <a:gd name="connsiteY1574" fmla="*/ 196509 h 6515100"/>
                <a:gd name="connsiteX1575" fmla="*/ 3994690 w 4829175"/>
                <a:gd name="connsiteY1575" fmla="*/ 466921 h 6515100"/>
                <a:gd name="connsiteX1576" fmla="*/ 4258116 w 4829175"/>
                <a:gd name="connsiteY1576" fmla="*/ 466921 h 6515100"/>
                <a:gd name="connsiteX1577" fmla="*/ 4128150 w 4829175"/>
                <a:gd name="connsiteY1577" fmla="*/ 336956 h 6515100"/>
                <a:gd name="connsiteX1578" fmla="*/ 3987703 w 4829175"/>
                <a:gd name="connsiteY1578" fmla="*/ 196509 h 6515100"/>
                <a:gd name="connsiteX1579" fmla="*/ 4183705 w 4829175"/>
                <a:gd name="connsiteY1579" fmla="*/ 0 h 6515100"/>
                <a:gd name="connsiteX1580" fmla="*/ 4194197 w 4829175"/>
                <a:gd name="connsiteY1580" fmla="*/ 0 h 6515100"/>
                <a:gd name="connsiteX1581" fmla="*/ 4002377 w 4829175"/>
                <a:gd name="connsiteY1581" fmla="*/ 192317 h 6515100"/>
                <a:gd name="connsiteX1582" fmla="*/ 4265801 w 4829175"/>
                <a:gd name="connsiteY1582" fmla="*/ 192317 h 6515100"/>
                <a:gd name="connsiteX1583" fmla="*/ 4457622 w 4829175"/>
                <a:gd name="connsiteY1583" fmla="*/ 0 h 6515100"/>
                <a:gd name="connsiteX1584" fmla="*/ 4467396 w 4829175"/>
                <a:gd name="connsiteY1584" fmla="*/ 0 h 6515100"/>
                <a:gd name="connsiteX1585" fmla="*/ 4272090 w 4829175"/>
                <a:gd name="connsiteY1585" fmla="*/ 195810 h 6515100"/>
                <a:gd name="connsiteX1586" fmla="*/ 4543201 w 4829175"/>
                <a:gd name="connsiteY1586" fmla="*/ 466222 h 6515100"/>
                <a:gd name="connsiteX1587" fmla="*/ 4807324 w 4829175"/>
                <a:gd name="connsiteY1587" fmla="*/ 466222 h 6515100"/>
                <a:gd name="connsiteX1588" fmla="*/ 4536213 w 4829175"/>
                <a:gd name="connsiteY1588" fmla="*/ 195810 h 6515100"/>
                <a:gd name="connsiteX1589" fmla="*/ 4731518 w 4829175"/>
                <a:gd name="connsiteY1589" fmla="*/ 0 h 6515100"/>
                <a:gd name="connsiteX1590" fmla="*/ 4741806 w 4829175"/>
                <a:gd name="connsiteY1590" fmla="*/ 0 h 6515100"/>
                <a:gd name="connsiteX1591" fmla="*/ 4549489 w 4829175"/>
                <a:gd name="connsiteY1591" fmla="*/ 192317 h 6515100"/>
                <a:gd name="connsiteX1592" fmla="*/ 4813613 w 4829175"/>
                <a:gd name="connsiteY1592" fmla="*/ 192317 h 6515100"/>
                <a:gd name="connsiteX1593" fmla="*/ 4823396 w 4829175"/>
                <a:gd name="connsiteY1593" fmla="*/ 182534 h 6515100"/>
                <a:gd name="connsiteX1594" fmla="*/ 4823396 w 4829175"/>
                <a:gd name="connsiteY1594" fmla="*/ 193016 h 6515100"/>
                <a:gd name="connsiteX1595" fmla="*/ 4820600 w 4829175"/>
                <a:gd name="connsiteY1595" fmla="*/ 195810 h 6515100"/>
                <a:gd name="connsiteX1596" fmla="*/ 4823396 w 4829175"/>
                <a:gd name="connsiteY1596" fmla="*/ 198605 h 6515100"/>
                <a:gd name="connsiteX1597" fmla="*/ 4823396 w 4829175"/>
                <a:gd name="connsiteY1597" fmla="*/ 209086 h 6515100"/>
                <a:gd name="connsiteX1598" fmla="*/ 4814311 w 4829175"/>
                <a:gd name="connsiteY1598" fmla="*/ 200003 h 6515100"/>
                <a:gd name="connsiteX1599" fmla="*/ 4550188 w 4829175"/>
                <a:gd name="connsiteY1599" fmla="*/ 200003 h 6515100"/>
                <a:gd name="connsiteX1600" fmla="*/ 4821299 w 4829175"/>
                <a:gd name="connsiteY1600" fmla="*/ 470415 h 6515100"/>
                <a:gd name="connsiteX1601" fmla="*/ 4550887 w 4829175"/>
                <a:gd name="connsiteY1601" fmla="*/ 741525 h 6515100"/>
                <a:gd name="connsiteX1602" fmla="*/ 4815010 w 4829175"/>
                <a:gd name="connsiteY1602" fmla="*/ 741525 h 6515100"/>
                <a:gd name="connsiteX1603" fmla="*/ 4823396 w 4829175"/>
                <a:gd name="connsiteY1603" fmla="*/ 732442 h 6515100"/>
                <a:gd name="connsiteX1604" fmla="*/ 4823396 w 4829175"/>
                <a:gd name="connsiteY1604" fmla="*/ 742224 h 6515100"/>
                <a:gd name="connsiteX1605" fmla="*/ 4821299 w 4829175"/>
                <a:gd name="connsiteY1605" fmla="*/ 744320 h 6515100"/>
                <a:gd name="connsiteX1606" fmla="*/ 4823396 w 4829175"/>
                <a:gd name="connsiteY1606" fmla="*/ 746417 h 6515100"/>
                <a:gd name="connsiteX1607" fmla="*/ 4823396 w 4829175"/>
                <a:gd name="connsiteY1607" fmla="*/ 756898 h 6515100"/>
                <a:gd name="connsiteX1608" fmla="*/ 4814311 w 4829175"/>
                <a:gd name="connsiteY1608" fmla="*/ 747814 h 6515100"/>
                <a:gd name="connsiteX1609" fmla="*/ 4550188 w 4829175"/>
                <a:gd name="connsiteY1609" fmla="*/ 747814 h 6515100"/>
                <a:gd name="connsiteX1610" fmla="*/ 4821299 w 4829175"/>
                <a:gd name="connsiteY1610" fmla="*/ 1018227 h 6515100"/>
                <a:gd name="connsiteX1611" fmla="*/ 4821998 w 4829175"/>
                <a:gd name="connsiteY1611" fmla="*/ 1018924 h 6515100"/>
                <a:gd name="connsiteX1612" fmla="*/ 4551586 w 4829175"/>
                <a:gd name="connsiteY1612" fmla="*/ 1290035 h 6515100"/>
                <a:gd name="connsiteX1613" fmla="*/ 4815709 w 4829175"/>
                <a:gd name="connsiteY1613" fmla="*/ 1290035 h 6515100"/>
                <a:gd name="connsiteX1614" fmla="*/ 4823396 w 4829175"/>
                <a:gd name="connsiteY1614" fmla="*/ 1282349 h 6515100"/>
                <a:gd name="connsiteX1615" fmla="*/ 4823396 w 4829175"/>
                <a:gd name="connsiteY1615" fmla="*/ 1292831 h 6515100"/>
                <a:gd name="connsiteX1616" fmla="*/ 4822697 w 4829175"/>
                <a:gd name="connsiteY1616" fmla="*/ 1293530 h 6515100"/>
                <a:gd name="connsiteX1617" fmla="*/ 4823396 w 4829175"/>
                <a:gd name="connsiteY1617" fmla="*/ 1294228 h 6515100"/>
                <a:gd name="connsiteX1618" fmla="*/ 4823396 w 4829175"/>
                <a:gd name="connsiteY1618" fmla="*/ 1304010 h 6515100"/>
                <a:gd name="connsiteX1619" fmla="*/ 4815709 w 4829175"/>
                <a:gd name="connsiteY1619" fmla="*/ 1296324 h 6515100"/>
                <a:gd name="connsiteX1620" fmla="*/ 4551586 w 4829175"/>
                <a:gd name="connsiteY1620" fmla="*/ 1297023 h 6515100"/>
                <a:gd name="connsiteX1621" fmla="*/ 4823396 w 4829175"/>
                <a:gd name="connsiteY1621" fmla="*/ 1566736 h 6515100"/>
                <a:gd name="connsiteX1622" fmla="*/ 4552984 w 4829175"/>
                <a:gd name="connsiteY1622" fmla="*/ 1837847 h 6515100"/>
                <a:gd name="connsiteX1623" fmla="*/ 4817107 w 4829175"/>
                <a:gd name="connsiteY1623" fmla="*/ 1837847 h 6515100"/>
                <a:gd name="connsiteX1624" fmla="*/ 4824094 w 4829175"/>
                <a:gd name="connsiteY1624" fmla="*/ 1830859 h 6515100"/>
                <a:gd name="connsiteX1625" fmla="*/ 4824094 w 4829175"/>
                <a:gd name="connsiteY1625" fmla="*/ 1841341 h 6515100"/>
                <a:gd name="connsiteX1626" fmla="*/ 4824094 w 4829175"/>
                <a:gd name="connsiteY1626" fmla="*/ 1851822 h 6515100"/>
                <a:gd name="connsiteX1627" fmla="*/ 4817107 w 4829175"/>
                <a:gd name="connsiteY1627" fmla="*/ 1844834 h 6515100"/>
                <a:gd name="connsiteX1628" fmla="*/ 4552984 w 4829175"/>
                <a:gd name="connsiteY1628" fmla="*/ 1844834 h 6515100"/>
                <a:gd name="connsiteX1629" fmla="*/ 4824094 w 4829175"/>
                <a:gd name="connsiteY1629" fmla="*/ 2115246 h 6515100"/>
                <a:gd name="connsiteX1630" fmla="*/ 4821299 w 4829175"/>
                <a:gd name="connsiteY1630" fmla="*/ 2118042 h 6515100"/>
                <a:gd name="connsiteX1631" fmla="*/ 4731162 w 4829175"/>
                <a:gd name="connsiteY1631" fmla="*/ 2208877 h 6515100"/>
                <a:gd name="connsiteX1632" fmla="*/ 4553682 w 4829175"/>
                <a:gd name="connsiteY1632" fmla="*/ 2386357 h 6515100"/>
                <a:gd name="connsiteX1633" fmla="*/ 4817806 w 4829175"/>
                <a:gd name="connsiteY1633" fmla="*/ 2386357 h 6515100"/>
                <a:gd name="connsiteX1634" fmla="*/ 4824094 w 4829175"/>
                <a:gd name="connsiteY1634" fmla="*/ 2380068 h 6515100"/>
                <a:gd name="connsiteX1635" fmla="*/ 4824094 w 4829175"/>
                <a:gd name="connsiteY1635" fmla="*/ 2398934 h 6515100"/>
                <a:gd name="connsiteX1636" fmla="*/ 4817806 w 4829175"/>
                <a:gd name="connsiteY1636" fmla="*/ 2392646 h 6515100"/>
                <a:gd name="connsiteX1637" fmla="*/ 4553682 w 4829175"/>
                <a:gd name="connsiteY1637" fmla="*/ 2392646 h 6515100"/>
                <a:gd name="connsiteX1638" fmla="*/ 4824094 w 4829175"/>
                <a:gd name="connsiteY1638" fmla="*/ 2662359 h 6515100"/>
                <a:gd name="connsiteX1639" fmla="*/ 4824094 w 4829175"/>
                <a:gd name="connsiteY1639" fmla="*/ 2663757 h 6515100"/>
                <a:gd name="connsiteX1640" fmla="*/ 4554381 w 4829175"/>
                <a:gd name="connsiteY1640" fmla="*/ 2934169 h 6515100"/>
                <a:gd name="connsiteX1641" fmla="*/ 4817806 w 4829175"/>
                <a:gd name="connsiteY1641" fmla="*/ 2934169 h 6515100"/>
                <a:gd name="connsiteX1642" fmla="*/ 4823396 w 4829175"/>
                <a:gd name="connsiteY1642" fmla="*/ 2928579 h 6515100"/>
                <a:gd name="connsiteX1643" fmla="*/ 4823396 w 4829175"/>
                <a:gd name="connsiteY1643" fmla="*/ 2947445 h 6515100"/>
                <a:gd name="connsiteX1644" fmla="*/ 4817806 w 4829175"/>
                <a:gd name="connsiteY1644" fmla="*/ 2941855 h 6515100"/>
                <a:gd name="connsiteX1645" fmla="*/ 4554381 w 4829175"/>
                <a:gd name="connsiteY1645" fmla="*/ 2941855 h 6515100"/>
                <a:gd name="connsiteX1646" fmla="*/ 4684346 w 4829175"/>
                <a:gd name="connsiteY1646" fmla="*/ 3071820 h 6515100"/>
                <a:gd name="connsiteX1647" fmla="*/ 4823396 w 4829175"/>
                <a:gd name="connsiteY1647" fmla="*/ 3210869 h 6515100"/>
                <a:gd name="connsiteX1648" fmla="*/ 4823396 w 4829175"/>
                <a:gd name="connsiteY1648" fmla="*/ 3213665 h 6515100"/>
                <a:gd name="connsiteX1649" fmla="*/ 4554381 w 4829175"/>
                <a:gd name="connsiteY1649" fmla="*/ 3483378 h 6515100"/>
                <a:gd name="connsiteX1650" fmla="*/ 4818505 w 4829175"/>
                <a:gd name="connsiteY1650" fmla="*/ 3483378 h 6515100"/>
                <a:gd name="connsiteX1651" fmla="*/ 4823396 w 4829175"/>
                <a:gd name="connsiteY1651" fmla="*/ 3478487 h 6515100"/>
                <a:gd name="connsiteX1652" fmla="*/ 4823396 w 4829175"/>
                <a:gd name="connsiteY1652" fmla="*/ 3495256 h 6515100"/>
                <a:gd name="connsiteX1653" fmla="*/ 4818505 w 4829175"/>
                <a:gd name="connsiteY1653" fmla="*/ 3490365 h 6515100"/>
                <a:gd name="connsiteX1654" fmla="*/ 4554381 w 4829175"/>
                <a:gd name="connsiteY1654" fmla="*/ 3490365 h 6515100"/>
                <a:gd name="connsiteX1655" fmla="*/ 4555778 w 4829175"/>
                <a:gd name="connsiteY1655" fmla="*/ 3491762 h 6515100"/>
                <a:gd name="connsiteX1656" fmla="*/ 4823396 w 4829175"/>
                <a:gd name="connsiteY1656" fmla="*/ 3758681 h 6515100"/>
                <a:gd name="connsiteX1657" fmla="*/ 4823396 w 4829175"/>
                <a:gd name="connsiteY1657" fmla="*/ 3762174 h 6515100"/>
                <a:gd name="connsiteX1658" fmla="*/ 4555828 w 4829175"/>
                <a:gd name="connsiteY1658" fmla="*/ 4030438 h 6515100"/>
                <a:gd name="connsiteX1659" fmla="*/ 4817996 w 4829175"/>
                <a:gd name="connsiteY1659" fmla="*/ 4030438 h 6515100"/>
                <a:gd name="connsiteX1660" fmla="*/ 4828476 w 4829175"/>
                <a:gd name="connsiteY1660" fmla="*/ 4019957 h 6515100"/>
                <a:gd name="connsiteX1661" fmla="*/ 4828476 w 4829175"/>
                <a:gd name="connsiteY1661" fmla="*/ 4030438 h 6515100"/>
                <a:gd name="connsiteX1662" fmla="*/ 4824983 w 4829175"/>
                <a:gd name="connsiteY1662" fmla="*/ 4033931 h 6515100"/>
                <a:gd name="connsiteX1663" fmla="*/ 4828476 w 4829175"/>
                <a:gd name="connsiteY1663" fmla="*/ 4037426 h 6515100"/>
                <a:gd name="connsiteX1664" fmla="*/ 4828476 w 4829175"/>
                <a:gd name="connsiteY1664" fmla="*/ 4047906 h 6515100"/>
                <a:gd name="connsiteX1665" fmla="*/ 4823396 w 4829175"/>
                <a:gd name="connsiteY1665" fmla="*/ 4042826 h 6515100"/>
                <a:gd name="connsiteX1666" fmla="*/ 4823396 w 4829175"/>
                <a:gd name="connsiteY1666" fmla="*/ 4043068 h 6515100"/>
                <a:gd name="connsiteX1667" fmla="*/ 4819202 w 4829175"/>
                <a:gd name="connsiteY1667" fmla="*/ 4038876 h 6515100"/>
                <a:gd name="connsiteX1668" fmla="*/ 4555321 w 4829175"/>
                <a:gd name="connsiteY1668" fmla="*/ 4038876 h 6515100"/>
                <a:gd name="connsiteX1669" fmla="*/ 4555968 w 4829175"/>
                <a:gd name="connsiteY1669" fmla="*/ 4039522 h 6515100"/>
                <a:gd name="connsiteX1670" fmla="*/ 4825681 w 4829175"/>
                <a:gd name="connsiteY1670" fmla="*/ 4308536 h 6515100"/>
                <a:gd name="connsiteX1671" fmla="*/ 4554570 w 4829175"/>
                <a:gd name="connsiteY1671" fmla="*/ 4579647 h 6515100"/>
                <a:gd name="connsiteX1672" fmla="*/ 4818693 w 4829175"/>
                <a:gd name="connsiteY1672" fmla="*/ 4579647 h 6515100"/>
                <a:gd name="connsiteX1673" fmla="*/ 4828476 w 4829175"/>
                <a:gd name="connsiteY1673" fmla="*/ 4569864 h 6515100"/>
                <a:gd name="connsiteX1674" fmla="*/ 4828476 w 4829175"/>
                <a:gd name="connsiteY1674" fmla="*/ 4580346 h 6515100"/>
                <a:gd name="connsiteX1675" fmla="*/ 4825681 w 4829175"/>
                <a:gd name="connsiteY1675" fmla="*/ 4583140 h 6515100"/>
                <a:gd name="connsiteX1676" fmla="*/ 4828476 w 4829175"/>
                <a:gd name="connsiteY1676" fmla="*/ 4585936 h 6515100"/>
                <a:gd name="connsiteX1677" fmla="*/ 4828476 w 4829175"/>
                <a:gd name="connsiteY1677" fmla="*/ 4596417 h 6515100"/>
                <a:gd name="connsiteX1678" fmla="*/ 4819392 w 4829175"/>
                <a:gd name="connsiteY1678" fmla="*/ 4587334 h 6515100"/>
                <a:gd name="connsiteX1679" fmla="*/ 4555269 w 4829175"/>
                <a:gd name="connsiteY1679" fmla="*/ 4587334 h 6515100"/>
                <a:gd name="connsiteX1680" fmla="*/ 4826380 w 4829175"/>
                <a:gd name="connsiteY1680" fmla="*/ 4857746 h 6515100"/>
                <a:gd name="connsiteX1681" fmla="*/ 4555968 w 4829175"/>
                <a:gd name="connsiteY1681" fmla="*/ 5128855 h 6515100"/>
                <a:gd name="connsiteX1682" fmla="*/ 4820091 w 4829175"/>
                <a:gd name="connsiteY1682" fmla="*/ 5128855 h 6515100"/>
                <a:gd name="connsiteX1683" fmla="*/ 4828476 w 4829175"/>
                <a:gd name="connsiteY1683" fmla="*/ 5119772 h 6515100"/>
                <a:gd name="connsiteX1684" fmla="*/ 4828476 w 4829175"/>
                <a:gd name="connsiteY1684" fmla="*/ 5129554 h 6515100"/>
                <a:gd name="connsiteX1685" fmla="*/ 4826380 w 4829175"/>
                <a:gd name="connsiteY1685" fmla="*/ 5131651 h 6515100"/>
                <a:gd name="connsiteX1686" fmla="*/ 4828476 w 4829175"/>
                <a:gd name="connsiteY1686" fmla="*/ 5133747 h 6515100"/>
                <a:gd name="connsiteX1687" fmla="*/ 4828476 w 4829175"/>
                <a:gd name="connsiteY1687" fmla="*/ 5144228 h 6515100"/>
                <a:gd name="connsiteX1688" fmla="*/ 4819392 w 4829175"/>
                <a:gd name="connsiteY1688" fmla="*/ 5135144 h 6515100"/>
                <a:gd name="connsiteX1689" fmla="*/ 4555269 w 4829175"/>
                <a:gd name="connsiteY1689" fmla="*/ 5135144 h 6515100"/>
                <a:gd name="connsiteX1690" fmla="*/ 4826380 w 4829175"/>
                <a:gd name="connsiteY1690" fmla="*/ 5405557 h 6515100"/>
                <a:gd name="connsiteX1691" fmla="*/ 4827079 w 4829175"/>
                <a:gd name="connsiteY1691" fmla="*/ 5406255 h 6515100"/>
                <a:gd name="connsiteX1692" fmla="*/ 4556667 w 4829175"/>
                <a:gd name="connsiteY1692" fmla="*/ 5677366 h 6515100"/>
                <a:gd name="connsiteX1693" fmla="*/ 4820790 w 4829175"/>
                <a:gd name="connsiteY1693" fmla="*/ 5677366 h 6515100"/>
                <a:gd name="connsiteX1694" fmla="*/ 4828476 w 4829175"/>
                <a:gd name="connsiteY1694" fmla="*/ 5669679 h 6515100"/>
                <a:gd name="connsiteX1695" fmla="*/ 4828476 w 4829175"/>
                <a:gd name="connsiteY1695" fmla="*/ 5680161 h 6515100"/>
                <a:gd name="connsiteX1696" fmla="*/ 4827778 w 4829175"/>
                <a:gd name="connsiteY1696" fmla="*/ 5680860 h 6515100"/>
                <a:gd name="connsiteX1697" fmla="*/ 4828476 w 4829175"/>
                <a:gd name="connsiteY1697" fmla="*/ 5681559 h 6515100"/>
                <a:gd name="connsiteX1698" fmla="*/ 4828476 w 4829175"/>
                <a:gd name="connsiteY1698" fmla="*/ 5691341 h 6515100"/>
                <a:gd name="connsiteX1699" fmla="*/ 4820790 w 4829175"/>
                <a:gd name="connsiteY1699" fmla="*/ 5683654 h 6515100"/>
                <a:gd name="connsiteX1700" fmla="*/ 4556667 w 4829175"/>
                <a:gd name="connsiteY1700" fmla="*/ 5684353 h 6515100"/>
                <a:gd name="connsiteX1701" fmla="*/ 4828476 w 4829175"/>
                <a:gd name="connsiteY1701" fmla="*/ 5954066 h 6515100"/>
                <a:gd name="connsiteX1702" fmla="*/ 4558064 w 4829175"/>
                <a:gd name="connsiteY1702" fmla="*/ 6225177 h 6515100"/>
                <a:gd name="connsiteX1703" fmla="*/ 4822188 w 4829175"/>
                <a:gd name="connsiteY1703" fmla="*/ 6225177 h 6515100"/>
                <a:gd name="connsiteX1704" fmla="*/ 4829175 w 4829175"/>
                <a:gd name="connsiteY1704" fmla="*/ 6218190 h 6515100"/>
                <a:gd name="connsiteX1705" fmla="*/ 4829175 w 4829175"/>
                <a:gd name="connsiteY1705" fmla="*/ 6228671 h 6515100"/>
                <a:gd name="connsiteX1706" fmla="*/ 4829175 w 4829175"/>
                <a:gd name="connsiteY1706" fmla="*/ 6239152 h 6515100"/>
                <a:gd name="connsiteX1707" fmla="*/ 4822188 w 4829175"/>
                <a:gd name="connsiteY1707" fmla="*/ 6232165 h 6515100"/>
                <a:gd name="connsiteX1708" fmla="*/ 4558064 w 4829175"/>
                <a:gd name="connsiteY1708" fmla="*/ 6232165 h 6515100"/>
                <a:gd name="connsiteX1709" fmla="*/ 4829175 w 4829175"/>
                <a:gd name="connsiteY1709" fmla="*/ 6502577 h 6515100"/>
                <a:gd name="connsiteX1710" fmla="*/ 4826380 w 4829175"/>
                <a:gd name="connsiteY1710" fmla="*/ 6505372 h 6515100"/>
                <a:gd name="connsiteX1711" fmla="*/ 4816727 w 4829175"/>
                <a:gd name="connsiteY1711" fmla="*/ 6515100 h 6515100"/>
                <a:gd name="connsiteX1712" fmla="*/ 4806802 w 4829175"/>
                <a:gd name="connsiteY1712" fmla="*/ 6515100 h 6515100"/>
                <a:gd name="connsiteX1713" fmla="*/ 4815200 w 4829175"/>
                <a:gd name="connsiteY1713" fmla="*/ 6506770 h 6515100"/>
                <a:gd name="connsiteX1714" fmla="*/ 4551077 w 4829175"/>
                <a:gd name="connsiteY1714" fmla="*/ 6506770 h 6515100"/>
                <a:gd name="connsiteX1715" fmla="*/ 4542768 w 4829175"/>
                <a:gd name="connsiteY1715" fmla="*/ 6515100 h 6515100"/>
                <a:gd name="connsiteX1716" fmla="*/ 4531598 w 4829175"/>
                <a:gd name="connsiteY1716" fmla="*/ 6515100 h 6515100"/>
                <a:gd name="connsiteX1717" fmla="*/ 4544089 w 4829175"/>
                <a:gd name="connsiteY1717" fmla="*/ 6502577 h 6515100"/>
                <a:gd name="connsiteX1718" fmla="*/ 4539198 w 4829175"/>
                <a:gd name="connsiteY1718" fmla="*/ 6497686 h 6515100"/>
                <a:gd name="connsiteX1719" fmla="*/ 4273677 w 4829175"/>
                <a:gd name="connsiteY1719" fmla="*/ 6232165 h 6515100"/>
                <a:gd name="connsiteX1720" fmla="*/ 4009554 w 4829175"/>
                <a:gd name="connsiteY1720" fmla="*/ 6232165 h 6515100"/>
                <a:gd name="connsiteX1721" fmla="*/ 4010952 w 4829175"/>
                <a:gd name="connsiteY1721" fmla="*/ 6233562 h 6515100"/>
                <a:gd name="connsiteX1722" fmla="*/ 4279966 w 4829175"/>
                <a:gd name="connsiteY1722" fmla="*/ 6502577 h 6515100"/>
                <a:gd name="connsiteX1723" fmla="*/ 4267475 w 4829175"/>
                <a:gd name="connsiteY1723" fmla="*/ 6515100 h 6515100"/>
                <a:gd name="connsiteX1724" fmla="*/ 4259077 w 4829175"/>
                <a:gd name="connsiteY1724" fmla="*/ 6515100 h 6515100"/>
                <a:gd name="connsiteX1725" fmla="*/ 4266690 w 4829175"/>
                <a:gd name="connsiteY1725" fmla="*/ 6507468 h 6515100"/>
                <a:gd name="connsiteX1726" fmla="*/ 4002566 w 4829175"/>
                <a:gd name="connsiteY1726" fmla="*/ 6507468 h 6515100"/>
                <a:gd name="connsiteX1727" fmla="*/ 3994954 w 4829175"/>
                <a:gd name="connsiteY1727" fmla="*/ 6515100 h 6515100"/>
                <a:gd name="connsiteX1728" fmla="*/ 3983089 w 4829175"/>
                <a:gd name="connsiteY1728" fmla="*/ 6515100 h 6515100"/>
                <a:gd name="connsiteX1729" fmla="*/ 3996278 w 4829175"/>
                <a:gd name="connsiteY1729" fmla="*/ 6501878 h 6515100"/>
                <a:gd name="connsiteX1730" fmla="*/ 3862819 w 4829175"/>
                <a:gd name="connsiteY1730" fmla="*/ 6369115 h 6515100"/>
                <a:gd name="connsiteX1731" fmla="*/ 3865614 w 4829175"/>
                <a:gd name="connsiteY1731" fmla="*/ 6363527 h 6515100"/>
                <a:gd name="connsiteX1732" fmla="*/ 3864915 w 4829175"/>
                <a:gd name="connsiteY1732" fmla="*/ 6362829 h 6515100"/>
                <a:gd name="connsiteX1733" fmla="*/ 3865614 w 4829175"/>
                <a:gd name="connsiteY1733" fmla="*/ 6361432 h 6515100"/>
                <a:gd name="connsiteX1734" fmla="*/ 4002566 w 4829175"/>
                <a:gd name="connsiteY1734" fmla="*/ 6498385 h 6515100"/>
                <a:gd name="connsiteX1735" fmla="*/ 4266690 w 4829175"/>
                <a:gd name="connsiteY1735" fmla="*/ 6498385 h 6515100"/>
                <a:gd name="connsiteX1736" fmla="*/ 3995579 w 4829175"/>
                <a:gd name="connsiteY1736" fmla="*/ 6227973 h 6515100"/>
                <a:gd name="connsiteX1737" fmla="*/ 3996977 w 4829175"/>
                <a:gd name="connsiteY1737" fmla="*/ 6226575 h 6515100"/>
                <a:gd name="connsiteX1738" fmla="*/ 4265292 w 4829175"/>
                <a:gd name="connsiteY1738" fmla="*/ 5957561 h 6515100"/>
                <a:gd name="connsiteX1739" fmla="*/ 4066851 w 4829175"/>
                <a:gd name="connsiteY1739" fmla="*/ 5957561 h 6515100"/>
                <a:gd name="connsiteX1740" fmla="*/ 4070344 w 4829175"/>
                <a:gd name="connsiteY1740" fmla="*/ 5950573 h 6515100"/>
                <a:gd name="connsiteX1741" fmla="*/ 4265292 w 4829175"/>
                <a:gd name="connsiteY1741" fmla="*/ 5950573 h 6515100"/>
                <a:gd name="connsiteX1742" fmla="*/ 4135327 w 4829175"/>
                <a:gd name="connsiteY1742" fmla="*/ 5820608 h 6515100"/>
                <a:gd name="connsiteX1743" fmla="*/ 4138820 w 4829175"/>
                <a:gd name="connsiteY1743" fmla="*/ 5813620 h 6515100"/>
                <a:gd name="connsiteX1744" fmla="*/ 4279267 w 4829175"/>
                <a:gd name="connsiteY1744" fmla="*/ 5954066 h 6515100"/>
                <a:gd name="connsiteX1745" fmla="*/ 4008855 w 4829175"/>
                <a:gd name="connsiteY1745" fmla="*/ 6225177 h 6515100"/>
                <a:gd name="connsiteX1746" fmla="*/ 4272979 w 4829175"/>
                <a:gd name="connsiteY1746" fmla="*/ 6225177 h 6515100"/>
                <a:gd name="connsiteX1747" fmla="*/ 4543391 w 4829175"/>
                <a:gd name="connsiteY1747" fmla="*/ 5954066 h 6515100"/>
                <a:gd name="connsiteX1748" fmla="*/ 4272280 w 4829175"/>
                <a:gd name="connsiteY1748" fmla="*/ 5684353 h 6515100"/>
                <a:gd name="connsiteX1749" fmla="*/ 4203803 w 4829175"/>
                <a:gd name="connsiteY1749" fmla="*/ 5684353 h 6515100"/>
                <a:gd name="connsiteX1750" fmla="*/ 4008855 w 4829175"/>
                <a:gd name="connsiteY1750" fmla="*/ 5684353 h 6515100"/>
                <a:gd name="connsiteX1751" fmla="*/ 4138121 w 4829175"/>
                <a:gd name="connsiteY1751" fmla="*/ 5814319 h 6515100"/>
                <a:gd name="connsiteX1752" fmla="*/ 4134628 w 4829175"/>
                <a:gd name="connsiteY1752" fmla="*/ 5821306 h 6515100"/>
                <a:gd name="connsiteX1753" fmla="*/ 3994181 w 4829175"/>
                <a:gd name="connsiteY1753" fmla="*/ 5680860 h 6515100"/>
                <a:gd name="connsiteX1754" fmla="*/ 4264593 w 4829175"/>
                <a:gd name="connsiteY1754" fmla="*/ 5409749 h 6515100"/>
                <a:gd name="connsiteX1755" fmla="*/ 4000470 w 4829175"/>
                <a:gd name="connsiteY1755" fmla="*/ 5409749 h 6515100"/>
                <a:gd name="connsiteX1756" fmla="*/ 3730058 w 4829175"/>
                <a:gd name="connsiteY1756" fmla="*/ 5680860 h 6515100"/>
                <a:gd name="connsiteX1757" fmla="*/ 4001169 w 4829175"/>
                <a:gd name="connsiteY1757" fmla="*/ 5951272 h 6515100"/>
                <a:gd name="connsiteX1758" fmla="*/ 4069645 w 4829175"/>
                <a:gd name="connsiteY1758" fmla="*/ 5951272 h 6515100"/>
                <a:gd name="connsiteX1759" fmla="*/ 4066152 w 4829175"/>
                <a:gd name="connsiteY1759" fmla="*/ 5958259 h 6515100"/>
                <a:gd name="connsiteX1760" fmla="*/ 4001169 w 4829175"/>
                <a:gd name="connsiteY1760" fmla="*/ 5958259 h 6515100"/>
                <a:gd name="connsiteX1761" fmla="*/ 3820894 w 4829175"/>
                <a:gd name="connsiteY1761" fmla="*/ 6139233 h 6515100"/>
                <a:gd name="connsiteX1762" fmla="*/ 3731456 w 4829175"/>
                <a:gd name="connsiteY1762" fmla="*/ 6229370 h 6515100"/>
                <a:gd name="connsiteX1763" fmla="*/ 3864915 w 4829175"/>
                <a:gd name="connsiteY1763" fmla="*/ 6362829 h 6515100"/>
                <a:gd name="connsiteX1764" fmla="*/ 3862120 w 4829175"/>
                <a:gd name="connsiteY1764" fmla="*/ 6368418 h 6515100"/>
                <a:gd name="connsiteX1765" fmla="*/ 3862819 w 4829175"/>
                <a:gd name="connsiteY1765" fmla="*/ 6369115 h 6515100"/>
                <a:gd name="connsiteX1766" fmla="*/ 3862120 w 4829175"/>
                <a:gd name="connsiteY1766" fmla="*/ 6370515 h 6515100"/>
                <a:gd name="connsiteX1767" fmla="*/ 3725167 w 4829175"/>
                <a:gd name="connsiteY1767" fmla="*/ 6233562 h 6515100"/>
                <a:gd name="connsiteX1768" fmla="*/ 3461044 w 4829175"/>
                <a:gd name="connsiteY1768" fmla="*/ 6233562 h 6515100"/>
                <a:gd name="connsiteX1769" fmla="*/ 3732154 w 4829175"/>
                <a:gd name="connsiteY1769" fmla="*/ 6503974 h 6515100"/>
                <a:gd name="connsiteX1770" fmla="*/ 3721057 w 4829175"/>
                <a:gd name="connsiteY1770" fmla="*/ 6515100 h 6515100"/>
                <a:gd name="connsiteX1771" fmla="*/ 3710566 w 4829175"/>
                <a:gd name="connsiteY1771" fmla="*/ 6515100 h 6515100"/>
                <a:gd name="connsiteX1772" fmla="*/ 3718179 w 4829175"/>
                <a:gd name="connsiteY1772" fmla="*/ 6507468 h 6515100"/>
                <a:gd name="connsiteX1773" fmla="*/ 3454056 w 4829175"/>
                <a:gd name="connsiteY1773" fmla="*/ 6507468 h 6515100"/>
                <a:gd name="connsiteX1774" fmla="*/ 3446443 w 4829175"/>
                <a:gd name="connsiteY1774" fmla="*/ 6515100 h 6515100"/>
                <a:gd name="connsiteX1775" fmla="*/ 3437367 w 4829175"/>
                <a:gd name="connsiteY1775" fmla="*/ 6515100 h 6515100"/>
                <a:gd name="connsiteX1776" fmla="*/ 3447767 w 4829175"/>
                <a:gd name="connsiteY1776" fmla="*/ 6504673 h 6515100"/>
                <a:gd name="connsiteX1777" fmla="*/ 3176657 w 4829175"/>
                <a:gd name="connsiteY1777" fmla="*/ 6234261 h 6515100"/>
                <a:gd name="connsiteX1778" fmla="*/ 2912533 w 4829175"/>
                <a:gd name="connsiteY1778" fmla="*/ 6234261 h 6515100"/>
                <a:gd name="connsiteX1779" fmla="*/ 3183644 w 4829175"/>
                <a:gd name="connsiteY1779" fmla="*/ 6504673 h 6515100"/>
                <a:gd name="connsiteX1780" fmla="*/ 3173244 w 4829175"/>
                <a:gd name="connsiteY1780" fmla="*/ 6515100 h 6515100"/>
                <a:gd name="connsiteX1781" fmla="*/ 3163450 w 4829175"/>
                <a:gd name="connsiteY1781" fmla="*/ 6515100 h 6515100"/>
                <a:gd name="connsiteX1782" fmla="*/ 3169669 w 4829175"/>
                <a:gd name="connsiteY1782" fmla="*/ 6508865 h 6515100"/>
                <a:gd name="connsiteX1783" fmla="*/ 2905546 w 4829175"/>
                <a:gd name="connsiteY1783" fmla="*/ 6508865 h 6515100"/>
                <a:gd name="connsiteX1784" fmla="*/ 2899327 w 4829175"/>
                <a:gd name="connsiteY1784" fmla="*/ 6515100 h 6515100"/>
                <a:gd name="connsiteX1785" fmla="*/ 2889554 w 4829175"/>
                <a:gd name="connsiteY1785" fmla="*/ 6515100 h 6515100"/>
                <a:gd name="connsiteX1786" fmla="*/ 2899257 w 4829175"/>
                <a:gd name="connsiteY1786" fmla="*/ 6505372 h 6515100"/>
                <a:gd name="connsiteX1787" fmla="*/ 2628146 w 4829175"/>
                <a:gd name="connsiteY1787" fmla="*/ 6234960 h 6515100"/>
                <a:gd name="connsiteX1788" fmla="*/ 2364722 w 4829175"/>
                <a:gd name="connsiteY1788" fmla="*/ 6234960 h 6515100"/>
                <a:gd name="connsiteX1789" fmla="*/ 2494687 w 4829175"/>
                <a:gd name="connsiteY1789" fmla="*/ 6364925 h 6515100"/>
                <a:gd name="connsiteX1790" fmla="*/ 2635134 w 4829175"/>
                <a:gd name="connsiteY1790" fmla="*/ 6505372 h 6515100"/>
                <a:gd name="connsiteX1791" fmla="*/ 2625431 w 4829175"/>
                <a:gd name="connsiteY1791" fmla="*/ 6515100 h 6515100"/>
                <a:gd name="connsiteX1792" fmla="*/ 2614938 w 4829175"/>
                <a:gd name="connsiteY1792" fmla="*/ 6515100 h 6515100"/>
                <a:gd name="connsiteX1793" fmla="*/ 2620460 w 4829175"/>
                <a:gd name="connsiteY1793" fmla="*/ 6509564 h 6515100"/>
                <a:gd name="connsiteX1794" fmla="*/ 2357035 w 4829175"/>
                <a:gd name="connsiteY1794" fmla="*/ 6509564 h 6515100"/>
                <a:gd name="connsiteX1795" fmla="*/ 2351521 w 4829175"/>
                <a:gd name="connsiteY1795" fmla="*/ 6515100 h 6515100"/>
                <a:gd name="connsiteX1796" fmla="*/ 2341019 w 4829175"/>
                <a:gd name="connsiteY1796" fmla="*/ 6515100 h 6515100"/>
                <a:gd name="connsiteX1797" fmla="*/ 2350747 w 4829175"/>
                <a:gd name="connsiteY1797" fmla="*/ 6505372 h 6515100"/>
                <a:gd name="connsiteX1798" fmla="*/ 2079636 w 4829175"/>
                <a:gd name="connsiteY1798" fmla="*/ 6234960 h 6515100"/>
                <a:gd name="connsiteX1799" fmla="*/ 1815513 w 4829175"/>
                <a:gd name="connsiteY1799" fmla="*/ 6234960 h 6515100"/>
                <a:gd name="connsiteX1800" fmla="*/ 2086623 w 4829175"/>
                <a:gd name="connsiteY1800" fmla="*/ 6505372 h 6515100"/>
                <a:gd name="connsiteX1801" fmla="*/ 2083829 w 4829175"/>
                <a:gd name="connsiteY1801" fmla="*/ 6508166 h 6515100"/>
                <a:gd name="connsiteX1802" fmla="*/ 2076948 w 4829175"/>
                <a:gd name="connsiteY1802" fmla="*/ 6515100 h 6515100"/>
                <a:gd name="connsiteX1803" fmla="*/ 2067112 w 4829175"/>
                <a:gd name="connsiteY1803" fmla="*/ 6515100 h 6515100"/>
                <a:gd name="connsiteX1804" fmla="*/ 2072648 w 4829175"/>
                <a:gd name="connsiteY1804" fmla="*/ 6509564 h 6515100"/>
                <a:gd name="connsiteX1805" fmla="*/ 1808526 w 4829175"/>
                <a:gd name="connsiteY1805" fmla="*/ 6509564 h 6515100"/>
                <a:gd name="connsiteX1806" fmla="*/ 1803004 w 4829175"/>
                <a:gd name="connsiteY1806" fmla="*/ 6515100 h 6515100"/>
                <a:gd name="connsiteX1807" fmla="*/ 1792532 w 4829175"/>
                <a:gd name="connsiteY1807" fmla="*/ 6515100 h 6515100"/>
                <a:gd name="connsiteX1808" fmla="*/ 1801539 w 4829175"/>
                <a:gd name="connsiteY1808" fmla="*/ 6506071 h 6515100"/>
                <a:gd name="connsiteX1809" fmla="*/ 1796647 w 4829175"/>
                <a:gd name="connsiteY1809" fmla="*/ 6501179 h 6515100"/>
                <a:gd name="connsiteX1810" fmla="*/ 1531127 w 4829175"/>
                <a:gd name="connsiteY1810" fmla="*/ 6236358 h 6515100"/>
                <a:gd name="connsiteX1811" fmla="*/ 1267002 w 4829175"/>
                <a:gd name="connsiteY1811" fmla="*/ 6236358 h 6515100"/>
                <a:gd name="connsiteX1812" fmla="*/ 1267701 w 4829175"/>
                <a:gd name="connsiteY1812" fmla="*/ 6237056 h 6515100"/>
                <a:gd name="connsiteX1813" fmla="*/ 1268400 w 4829175"/>
                <a:gd name="connsiteY1813" fmla="*/ 6237056 h 6515100"/>
                <a:gd name="connsiteX1814" fmla="*/ 1537414 w 4829175"/>
                <a:gd name="connsiteY1814" fmla="*/ 6506071 h 6515100"/>
                <a:gd name="connsiteX1815" fmla="*/ 1528408 w 4829175"/>
                <a:gd name="connsiteY1815" fmla="*/ 6515100 h 6515100"/>
                <a:gd name="connsiteX1816" fmla="*/ 1520000 w 4829175"/>
                <a:gd name="connsiteY1816" fmla="*/ 6515100 h 6515100"/>
                <a:gd name="connsiteX1817" fmla="*/ 1524838 w 4829175"/>
                <a:gd name="connsiteY1817" fmla="*/ 6510263 h 6515100"/>
                <a:gd name="connsiteX1818" fmla="*/ 1260714 w 4829175"/>
                <a:gd name="connsiteY1818" fmla="*/ 6510263 h 6515100"/>
                <a:gd name="connsiteX1819" fmla="*/ 1255889 w 4829175"/>
                <a:gd name="connsiteY1819" fmla="*/ 6515100 h 6515100"/>
                <a:gd name="connsiteX1820" fmla="*/ 1243300 w 4829175"/>
                <a:gd name="connsiteY1820" fmla="*/ 6515100 h 6515100"/>
                <a:gd name="connsiteX1821" fmla="*/ 1252329 w 4829175"/>
                <a:gd name="connsiteY1821" fmla="*/ 6506071 h 6515100"/>
                <a:gd name="connsiteX1822" fmla="*/ 1119569 w 4829175"/>
                <a:gd name="connsiteY1822" fmla="*/ 6374009 h 6515100"/>
                <a:gd name="connsiteX1823" fmla="*/ 981219 w 4829175"/>
                <a:gd name="connsiteY1823" fmla="*/ 6235659 h 6515100"/>
                <a:gd name="connsiteX1824" fmla="*/ 717095 w 4829175"/>
                <a:gd name="connsiteY1824" fmla="*/ 6235659 h 6515100"/>
                <a:gd name="connsiteX1825" fmla="*/ 988206 w 4829175"/>
                <a:gd name="connsiteY1825" fmla="*/ 6505372 h 6515100"/>
                <a:gd name="connsiteX1826" fmla="*/ 985411 w 4829175"/>
                <a:gd name="connsiteY1826" fmla="*/ 6508166 h 6515100"/>
                <a:gd name="connsiteX1827" fmla="*/ 978530 w 4829175"/>
                <a:gd name="connsiteY1827" fmla="*/ 6515100 h 6515100"/>
                <a:gd name="connsiteX1828" fmla="*/ 969394 w 4829175"/>
                <a:gd name="connsiteY1828" fmla="*/ 6515100 h 6515100"/>
                <a:gd name="connsiteX1829" fmla="*/ 974930 w 4829175"/>
                <a:gd name="connsiteY1829" fmla="*/ 6509564 h 6515100"/>
                <a:gd name="connsiteX1830" fmla="*/ 716396 w 4829175"/>
                <a:gd name="connsiteY1830" fmla="*/ 6509564 h 6515100"/>
                <a:gd name="connsiteX1831" fmla="*/ 714941 w 4829175"/>
                <a:gd name="connsiteY1831" fmla="*/ 6508865 h 6515100"/>
                <a:gd name="connsiteX1832" fmla="*/ 716396 w 4829175"/>
                <a:gd name="connsiteY1832" fmla="*/ 6508865 h 6515100"/>
                <a:gd name="connsiteX1833" fmla="*/ 698928 w 4829175"/>
                <a:gd name="connsiteY1833" fmla="*/ 6500480 h 6515100"/>
                <a:gd name="connsiteX1834" fmla="*/ 700271 w 4829175"/>
                <a:gd name="connsiteY1834" fmla="*/ 6501824 h 6515100"/>
                <a:gd name="connsiteX1835" fmla="*/ 698928 w 4829175"/>
                <a:gd name="connsiteY1835" fmla="*/ 6501179 h 6515100"/>
                <a:gd name="connsiteX1836" fmla="*/ 433407 w 4829175"/>
                <a:gd name="connsiteY1836" fmla="*/ 6236358 h 6515100"/>
                <a:gd name="connsiteX1837" fmla="*/ 169284 w 4829175"/>
                <a:gd name="connsiteY1837" fmla="*/ 6236358 h 6515100"/>
                <a:gd name="connsiteX1838" fmla="*/ 170681 w 4829175"/>
                <a:gd name="connsiteY1838" fmla="*/ 6237754 h 6515100"/>
                <a:gd name="connsiteX1839" fmla="*/ 439696 w 4829175"/>
                <a:gd name="connsiteY1839" fmla="*/ 6506770 h 6515100"/>
                <a:gd name="connsiteX1840" fmla="*/ 431344 w 4829175"/>
                <a:gd name="connsiteY1840" fmla="*/ 6515100 h 6515100"/>
                <a:gd name="connsiteX1841" fmla="*/ 420908 w 4829175"/>
                <a:gd name="connsiteY1841" fmla="*/ 6515100 h 6515100"/>
                <a:gd name="connsiteX1842" fmla="*/ 425721 w 4829175"/>
                <a:gd name="connsiteY1842" fmla="*/ 6510263 h 6515100"/>
                <a:gd name="connsiteX1843" fmla="*/ 161597 w 4829175"/>
                <a:gd name="connsiteY1843" fmla="*/ 6510263 h 6515100"/>
                <a:gd name="connsiteX1844" fmla="*/ 156781 w 4829175"/>
                <a:gd name="connsiteY1844" fmla="*/ 6515100 h 6515100"/>
                <a:gd name="connsiteX1845" fmla="*/ 146978 w 4829175"/>
                <a:gd name="connsiteY1845" fmla="*/ 6515100 h 6515100"/>
                <a:gd name="connsiteX1846" fmla="*/ 155309 w 4829175"/>
                <a:gd name="connsiteY1846" fmla="*/ 6506770 h 6515100"/>
                <a:gd name="connsiteX1847" fmla="*/ 21150 w 4829175"/>
                <a:gd name="connsiteY1847" fmla="*/ 6373310 h 6515100"/>
                <a:gd name="connsiteX1848" fmla="*/ 5080 w 4829175"/>
                <a:gd name="connsiteY1848" fmla="*/ 6357239 h 6515100"/>
                <a:gd name="connsiteX1849" fmla="*/ 5080 w 4829175"/>
                <a:gd name="connsiteY1849" fmla="*/ 6347457 h 6515100"/>
                <a:gd name="connsiteX1850" fmla="*/ 24645 w 4829175"/>
                <a:gd name="connsiteY1850" fmla="*/ 6367022 h 6515100"/>
                <a:gd name="connsiteX1851" fmla="*/ 161597 w 4829175"/>
                <a:gd name="connsiteY1851" fmla="*/ 6503275 h 6515100"/>
                <a:gd name="connsiteX1852" fmla="*/ 425721 w 4829175"/>
                <a:gd name="connsiteY1852" fmla="*/ 6503275 h 6515100"/>
                <a:gd name="connsiteX1853" fmla="*/ 154610 w 4829175"/>
                <a:gd name="connsiteY1853" fmla="*/ 6232863 h 6515100"/>
                <a:gd name="connsiteX1854" fmla="*/ 156008 w 4829175"/>
                <a:gd name="connsiteY1854" fmla="*/ 6231466 h 6515100"/>
                <a:gd name="connsiteX1855" fmla="*/ 156706 w 4829175"/>
                <a:gd name="connsiteY1855" fmla="*/ 6231466 h 6515100"/>
                <a:gd name="connsiteX1856" fmla="*/ 425022 w 4829175"/>
                <a:gd name="connsiteY1856" fmla="*/ 5962452 h 6515100"/>
                <a:gd name="connsiteX1857" fmla="*/ 161597 w 4829175"/>
                <a:gd name="connsiteY1857" fmla="*/ 5962452 h 6515100"/>
                <a:gd name="connsiteX1858" fmla="*/ 5080 w 4829175"/>
                <a:gd name="connsiteY1858" fmla="*/ 6118969 h 6515100"/>
                <a:gd name="connsiteX1859" fmla="*/ 5080 w 4829175"/>
                <a:gd name="connsiteY1859" fmla="*/ 6108488 h 6515100"/>
                <a:gd name="connsiteX1860" fmla="*/ 154610 w 4829175"/>
                <a:gd name="connsiteY1860" fmla="*/ 5958957 h 6515100"/>
                <a:gd name="connsiteX1861" fmla="*/ 5080 w 4829175"/>
                <a:gd name="connsiteY1861" fmla="*/ 5809427 h 6515100"/>
                <a:gd name="connsiteX1862" fmla="*/ 5080 w 4829175"/>
                <a:gd name="connsiteY1862" fmla="*/ 5798947 h 6515100"/>
                <a:gd name="connsiteX1863" fmla="*/ 161597 w 4829175"/>
                <a:gd name="connsiteY1863" fmla="*/ 5954765 h 6515100"/>
                <a:gd name="connsiteX1864" fmla="*/ 425022 w 4829175"/>
                <a:gd name="connsiteY1864" fmla="*/ 5954765 h 6515100"/>
                <a:gd name="connsiteX1865" fmla="*/ 295057 w 4829175"/>
                <a:gd name="connsiteY1865" fmla="*/ 5824800 h 6515100"/>
                <a:gd name="connsiteX1866" fmla="*/ 154610 w 4829175"/>
                <a:gd name="connsiteY1866" fmla="*/ 5684353 h 6515100"/>
                <a:gd name="connsiteX1867" fmla="*/ 425022 w 4829175"/>
                <a:gd name="connsiteY1867" fmla="*/ 5413941 h 6515100"/>
                <a:gd name="connsiteX1868" fmla="*/ 160898 w 4829175"/>
                <a:gd name="connsiteY1868" fmla="*/ 5413941 h 6515100"/>
                <a:gd name="connsiteX1869" fmla="*/ 5080 w 4829175"/>
                <a:gd name="connsiteY1869" fmla="*/ 5569760 h 6515100"/>
                <a:gd name="connsiteX1870" fmla="*/ 5080 w 4829175"/>
                <a:gd name="connsiteY1870" fmla="*/ 5559279 h 6515100"/>
                <a:gd name="connsiteX1871" fmla="*/ 153911 w 4829175"/>
                <a:gd name="connsiteY1871" fmla="*/ 5410448 h 6515100"/>
                <a:gd name="connsiteX1872" fmla="*/ 5080 w 4829175"/>
                <a:gd name="connsiteY1872" fmla="*/ 5261616 h 6515100"/>
                <a:gd name="connsiteX1873" fmla="*/ 5080 w 4829175"/>
                <a:gd name="connsiteY1873" fmla="*/ 5251135 h 6515100"/>
                <a:gd name="connsiteX1874" fmla="*/ 160898 w 4829175"/>
                <a:gd name="connsiteY1874" fmla="*/ 5406255 h 6515100"/>
                <a:gd name="connsiteX1875" fmla="*/ 425022 w 4829175"/>
                <a:gd name="connsiteY1875" fmla="*/ 5406255 h 6515100"/>
                <a:gd name="connsiteX1876" fmla="*/ 153911 w 4829175"/>
                <a:gd name="connsiteY1876" fmla="*/ 5135843 h 6515100"/>
                <a:gd name="connsiteX1877" fmla="*/ 338378 w 4829175"/>
                <a:gd name="connsiteY1877" fmla="*/ 4951376 h 6515100"/>
                <a:gd name="connsiteX1878" fmla="*/ 424323 w 4829175"/>
                <a:gd name="connsiteY1878" fmla="*/ 4865431 h 6515100"/>
                <a:gd name="connsiteX1879" fmla="*/ 160200 w 4829175"/>
                <a:gd name="connsiteY1879" fmla="*/ 4865431 h 6515100"/>
                <a:gd name="connsiteX1880" fmla="*/ 5080 w 4829175"/>
                <a:gd name="connsiteY1880" fmla="*/ 5020552 h 6515100"/>
                <a:gd name="connsiteX1881" fmla="*/ 5080 w 4829175"/>
                <a:gd name="connsiteY1881" fmla="*/ 5010070 h 6515100"/>
                <a:gd name="connsiteX1882" fmla="*/ 153212 w 4829175"/>
                <a:gd name="connsiteY1882" fmla="*/ 4861239 h 6515100"/>
                <a:gd name="connsiteX1883" fmla="*/ 148321 w 4829175"/>
                <a:gd name="connsiteY1883" fmla="*/ 4856348 h 6515100"/>
                <a:gd name="connsiteX1884" fmla="*/ 5080 w 4829175"/>
                <a:gd name="connsiteY1884" fmla="*/ 4713804 h 6515100"/>
                <a:gd name="connsiteX1885" fmla="*/ 5080 w 4829175"/>
                <a:gd name="connsiteY1885" fmla="*/ 4704023 h 6515100"/>
                <a:gd name="connsiteX1886" fmla="*/ 160200 w 4829175"/>
                <a:gd name="connsiteY1886" fmla="*/ 4858443 h 6515100"/>
                <a:gd name="connsiteX1887" fmla="*/ 424323 w 4829175"/>
                <a:gd name="connsiteY1887" fmla="*/ 4857746 h 6515100"/>
                <a:gd name="connsiteX1888" fmla="*/ 153212 w 4829175"/>
                <a:gd name="connsiteY1888" fmla="*/ 4587334 h 6515100"/>
                <a:gd name="connsiteX1889" fmla="*/ 423624 w 4829175"/>
                <a:gd name="connsiteY1889" fmla="*/ 4316922 h 6515100"/>
                <a:gd name="connsiteX1890" fmla="*/ 159501 w 4829175"/>
                <a:gd name="connsiteY1890" fmla="*/ 4316922 h 6515100"/>
                <a:gd name="connsiteX1891" fmla="*/ 5080 w 4829175"/>
                <a:gd name="connsiteY1891" fmla="*/ 4471342 h 6515100"/>
                <a:gd name="connsiteX1892" fmla="*/ 5080 w 4829175"/>
                <a:gd name="connsiteY1892" fmla="*/ 4460862 h 6515100"/>
                <a:gd name="connsiteX1893" fmla="*/ 152513 w 4829175"/>
                <a:gd name="connsiteY1893" fmla="*/ 4312728 h 6515100"/>
                <a:gd name="connsiteX1894" fmla="*/ 5080 w 4829175"/>
                <a:gd name="connsiteY1894" fmla="*/ 4165993 h 6515100"/>
                <a:gd name="connsiteX1895" fmla="*/ 5080 w 4829175"/>
                <a:gd name="connsiteY1895" fmla="*/ 4155512 h 6515100"/>
                <a:gd name="connsiteX1896" fmla="*/ 159501 w 4829175"/>
                <a:gd name="connsiteY1896" fmla="*/ 4309235 h 6515100"/>
                <a:gd name="connsiteX1897" fmla="*/ 423624 w 4829175"/>
                <a:gd name="connsiteY1897" fmla="*/ 4309235 h 6515100"/>
                <a:gd name="connsiteX1898" fmla="*/ 152513 w 4829175"/>
                <a:gd name="connsiteY1898" fmla="*/ 4039522 h 6515100"/>
                <a:gd name="connsiteX1899" fmla="*/ 331391 w 4829175"/>
                <a:gd name="connsiteY1899" fmla="*/ 3860644 h 6515100"/>
                <a:gd name="connsiteX1900" fmla="*/ 331489 w 4829175"/>
                <a:gd name="connsiteY1900" fmla="*/ 3860644 h 6515100"/>
                <a:gd name="connsiteX1901" fmla="*/ 422038 w 4829175"/>
                <a:gd name="connsiteY1901" fmla="*/ 3769860 h 6515100"/>
                <a:gd name="connsiteX1902" fmla="*/ 225692 w 4829175"/>
                <a:gd name="connsiteY1902" fmla="*/ 3769860 h 6515100"/>
                <a:gd name="connsiteX1903" fmla="*/ 226391 w 4829175"/>
                <a:gd name="connsiteY1903" fmla="*/ 3768464 h 6515100"/>
                <a:gd name="connsiteX1904" fmla="*/ 158613 w 4829175"/>
                <a:gd name="connsiteY1904" fmla="*/ 3768464 h 6515100"/>
                <a:gd name="connsiteX1905" fmla="*/ 0 w 4829175"/>
                <a:gd name="connsiteY1905" fmla="*/ 3927075 h 6515100"/>
                <a:gd name="connsiteX1906" fmla="*/ 0 w 4829175"/>
                <a:gd name="connsiteY1906" fmla="*/ 3917294 h 6515100"/>
                <a:gd name="connsiteX1907" fmla="*/ 152324 w 4829175"/>
                <a:gd name="connsiteY1907" fmla="*/ 3764969 h 6515100"/>
                <a:gd name="connsiteX1908" fmla="*/ 0 w 4829175"/>
                <a:gd name="connsiteY1908" fmla="*/ 3613344 h 6515100"/>
                <a:gd name="connsiteX1909" fmla="*/ 0 w 4829175"/>
                <a:gd name="connsiteY1909" fmla="*/ 3602863 h 6515100"/>
                <a:gd name="connsiteX1910" fmla="*/ 159312 w 4829175"/>
                <a:gd name="connsiteY1910" fmla="*/ 3760776 h 6515100"/>
                <a:gd name="connsiteX1911" fmla="*/ 423435 w 4829175"/>
                <a:gd name="connsiteY1911" fmla="*/ 3760776 h 6515100"/>
                <a:gd name="connsiteX1912" fmla="*/ 294168 w 4829175"/>
                <a:gd name="connsiteY1912" fmla="*/ 3632209 h 6515100"/>
                <a:gd name="connsiteX1913" fmla="*/ 152324 w 4829175"/>
                <a:gd name="connsiteY1913" fmla="*/ 3491064 h 6515100"/>
                <a:gd name="connsiteX1914" fmla="*/ 336093 w 4829175"/>
                <a:gd name="connsiteY1914" fmla="*/ 3305898 h 6515100"/>
                <a:gd name="connsiteX1915" fmla="*/ 422038 w 4829175"/>
                <a:gd name="connsiteY1915" fmla="*/ 3219953 h 6515100"/>
                <a:gd name="connsiteX1916" fmla="*/ 157914 w 4829175"/>
                <a:gd name="connsiteY1916" fmla="*/ 3219953 h 6515100"/>
                <a:gd name="connsiteX1917" fmla="*/ 0 w 4829175"/>
                <a:gd name="connsiteY1917" fmla="*/ 3378566 h 6515100"/>
                <a:gd name="connsiteX1918" fmla="*/ 0 w 4829175"/>
                <a:gd name="connsiteY1918" fmla="*/ 3368084 h 6515100"/>
                <a:gd name="connsiteX1919" fmla="*/ 152324 w 4829175"/>
                <a:gd name="connsiteY1919" fmla="*/ 3216459 h 6515100"/>
                <a:gd name="connsiteX1920" fmla="*/ 146735 w 4829175"/>
                <a:gd name="connsiteY1920" fmla="*/ 3211568 h 6515100"/>
                <a:gd name="connsiteX1921" fmla="*/ 0 w 4829175"/>
                <a:gd name="connsiteY1921" fmla="*/ 3065532 h 6515100"/>
                <a:gd name="connsiteX1922" fmla="*/ 0 w 4829175"/>
                <a:gd name="connsiteY1922" fmla="*/ 3055052 h 6515100"/>
                <a:gd name="connsiteX1923" fmla="*/ 157914 w 4829175"/>
                <a:gd name="connsiteY1923" fmla="*/ 3212966 h 6515100"/>
                <a:gd name="connsiteX1924" fmla="*/ 422038 w 4829175"/>
                <a:gd name="connsiteY1924" fmla="*/ 3212966 h 6515100"/>
                <a:gd name="connsiteX1925" fmla="*/ 150927 w 4829175"/>
                <a:gd name="connsiteY1925" fmla="*/ 2942554 h 6515100"/>
                <a:gd name="connsiteX1926" fmla="*/ 421339 w 4829175"/>
                <a:gd name="connsiteY1926" fmla="*/ 2671443 h 6515100"/>
                <a:gd name="connsiteX1927" fmla="*/ 157215 w 4829175"/>
                <a:gd name="connsiteY1927" fmla="*/ 2671443 h 6515100"/>
                <a:gd name="connsiteX1928" fmla="*/ 0 w 4829175"/>
                <a:gd name="connsiteY1928" fmla="*/ 2829357 h 6515100"/>
                <a:gd name="connsiteX1929" fmla="*/ 0 w 4829175"/>
                <a:gd name="connsiteY1929" fmla="*/ 2818875 h 6515100"/>
                <a:gd name="connsiteX1930" fmla="*/ 150927 w 4829175"/>
                <a:gd name="connsiteY1930" fmla="*/ 2667949 h 6515100"/>
                <a:gd name="connsiteX1931" fmla="*/ 0 w 4829175"/>
                <a:gd name="connsiteY1931" fmla="*/ 2517721 h 6515100"/>
                <a:gd name="connsiteX1932" fmla="*/ 0 w 4829175"/>
                <a:gd name="connsiteY1932" fmla="*/ 2507939 h 6515100"/>
                <a:gd name="connsiteX1933" fmla="*/ 157914 w 4829175"/>
                <a:gd name="connsiteY1933" fmla="*/ 2664456 h 6515100"/>
                <a:gd name="connsiteX1934" fmla="*/ 422038 w 4829175"/>
                <a:gd name="connsiteY1934" fmla="*/ 2664456 h 6515100"/>
                <a:gd name="connsiteX1935" fmla="*/ 150927 w 4829175"/>
                <a:gd name="connsiteY1935" fmla="*/ 2394044 h 6515100"/>
                <a:gd name="connsiteX1936" fmla="*/ 420640 w 4829175"/>
                <a:gd name="connsiteY1936" fmla="*/ 2122933 h 6515100"/>
                <a:gd name="connsiteX1937" fmla="*/ 156517 w 4829175"/>
                <a:gd name="connsiteY1937" fmla="*/ 2122933 h 6515100"/>
                <a:gd name="connsiteX1938" fmla="*/ 0 w 4829175"/>
                <a:gd name="connsiteY1938" fmla="*/ 2280148 h 6515100"/>
                <a:gd name="connsiteX1939" fmla="*/ 0 w 4829175"/>
                <a:gd name="connsiteY1939" fmla="*/ 2269667 h 6515100"/>
                <a:gd name="connsiteX1940" fmla="*/ 150228 w 4829175"/>
                <a:gd name="connsiteY1940" fmla="*/ 2119439 h 6515100"/>
                <a:gd name="connsiteX1941" fmla="*/ 16070 w 4829175"/>
                <a:gd name="connsiteY1941" fmla="*/ 1985980 h 6515100"/>
                <a:gd name="connsiteX1942" fmla="*/ 0 w 4829175"/>
                <a:gd name="connsiteY1942" fmla="*/ 1969909 h 6515100"/>
                <a:gd name="connsiteX1943" fmla="*/ 0 w 4829175"/>
                <a:gd name="connsiteY1943" fmla="*/ 1960127 h 6515100"/>
                <a:gd name="connsiteX1944" fmla="*/ 19564 w 4829175"/>
                <a:gd name="connsiteY1944" fmla="*/ 1979691 h 6515100"/>
                <a:gd name="connsiteX1945" fmla="*/ 156517 w 4829175"/>
                <a:gd name="connsiteY1945" fmla="*/ 2115945 h 6515100"/>
                <a:gd name="connsiteX1946" fmla="*/ 420640 w 4829175"/>
                <a:gd name="connsiteY1946" fmla="*/ 2115945 h 6515100"/>
                <a:gd name="connsiteX1947" fmla="*/ 149529 w 4829175"/>
                <a:gd name="connsiteY1947" fmla="*/ 1845533 h 6515100"/>
                <a:gd name="connsiteX1948" fmla="*/ 150927 w 4829175"/>
                <a:gd name="connsiteY1948" fmla="*/ 1844135 h 6515100"/>
                <a:gd name="connsiteX1949" fmla="*/ 151626 w 4829175"/>
                <a:gd name="connsiteY1949" fmla="*/ 1844135 h 6515100"/>
                <a:gd name="connsiteX1950" fmla="*/ 419941 w 4829175"/>
                <a:gd name="connsiteY1950" fmla="*/ 1575121 h 6515100"/>
                <a:gd name="connsiteX1951" fmla="*/ 156517 w 4829175"/>
                <a:gd name="connsiteY1951" fmla="*/ 1575121 h 6515100"/>
                <a:gd name="connsiteX1952" fmla="*/ 0 w 4829175"/>
                <a:gd name="connsiteY1952" fmla="*/ 1731637 h 6515100"/>
                <a:gd name="connsiteX1953" fmla="*/ 0 w 4829175"/>
                <a:gd name="connsiteY1953" fmla="*/ 1721157 h 6515100"/>
                <a:gd name="connsiteX1954" fmla="*/ 149529 w 4829175"/>
                <a:gd name="connsiteY1954" fmla="*/ 1571627 h 6515100"/>
                <a:gd name="connsiteX1955" fmla="*/ 0 w 4829175"/>
                <a:gd name="connsiteY1955" fmla="*/ 1422098 h 6515100"/>
                <a:gd name="connsiteX1956" fmla="*/ 0 w 4829175"/>
                <a:gd name="connsiteY1956" fmla="*/ 1411617 h 6515100"/>
                <a:gd name="connsiteX1957" fmla="*/ 156517 w 4829175"/>
                <a:gd name="connsiteY1957" fmla="*/ 1567435 h 6515100"/>
                <a:gd name="connsiteX1958" fmla="*/ 419941 w 4829175"/>
                <a:gd name="connsiteY1958" fmla="*/ 1567435 h 6515100"/>
                <a:gd name="connsiteX1959" fmla="*/ 289976 w 4829175"/>
                <a:gd name="connsiteY1959" fmla="*/ 1437470 h 6515100"/>
                <a:gd name="connsiteX1960" fmla="*/ 149529 w 4829175"/>
                <a:gd name="connsiteY1960" fmla="*/ 1297023 h 6515100"/>
                <a:gd name="connsiteX1961" fmla="*/ 419941 w 4829175"/>
                <a:gd name="connsiteY1961" fmla="*/ 1026611 h 6515100"/>
                <a:gd name="connsiteX1962" fmla="*/ 155818 w 4829175"/>
                <a:gd name="connsiteY1962" fmla="*/ 1026611 h 6515100"/>
                <a:gd name="connsiteX1963" fmla="*/ 0 w 4829175"/>
                <a:gd name="connsiteY1963" fmla="*/ 1182428 h 6515100"/>
                <a:gd name="connsiteX1964" fmla="*/ 0 w 4829175"/>
                <a:gd name="connsiteY1964" fmla="*/ 1171948 h 6515100"/>
                <a:gd name="connsiteX1965" fmla="*/ 148830 w 4829175"/>
                <a:gd name="connsiteY1965" fmla="*/ 1023118 h 6515100"/>
                <a:gd name="connsiteX1966" fmla="*/ 0 w 4829175"/>
                <a:gd name="connsiteY1966" fmla="*/ 874286 h 6515100"/>
                <a:gd name="connsiteX1967" fmla="*/ 0 w 4829175"/>
                <a:gd name="connsiteY1967" fmla="*/ 863806 h 6515100"/>
                <a:gd name="connsiteX1968" fmla="*/ 155818 w 4829175"/>
                <a:gd name="connsiteY1968" fmla="*/ 1018924 h 6515100"/>
                <a:gd name="connsiteX1969" fmla="*/ 419941 w 4829175"/>
                <a:gd name="connsiteY1969" fmla="*/ 1018924 h 6515100"/>
                <a:gd name="connsiteX1970" fmla="*/ 148830 w 4829175"/>
                <a:gd name="connsiteY1970" fmla="*/ 748512 h 6515100"/>
                <a:gd name="connsiteX1971" fmla="*/ 333298 w 4829175"/>
                <a:gd name="connsiteY1971" fmla="*/ 564046 h 6515100"/>
                <a:gd name="connsiteX1972" fmla="*/ 419242 w 4829175"/>
                <a:gd name="connsiteY1972" fmla="*/ 478100 h 6515100"/>
                <a:gd name="connsiteX1973" fmla="*/ 155119 w 4829175"/>
                <a:gd name="connsiteY1973" fmla="*/ 478100 h 6515100"/>
                <a:gd name="connsiteX1974" fmla="*/ 0 w 4829175"/>
                <a:gd name="connsiteY1974" fmla="*/ 633220 h 6515100"/>
                <a:gd name="connsiteX1975" fmla="*/ 0 w 4829175"/>
                <a:gd name="connsiteY1975" fmla="*/ 622738 h 6515100"/>
                <a:gd name="connsiteX1976" fmla="*/ 148131 w 4829175"/>
                <a:gd name="connsiteY1976" fmla="*/ 473908 h 6515100"/>
                <a:gd name="connsiteX1977" fmla="*/ 143240 w 4829175"/>
                <a:gd name="connsiteY1977" fmla="*/ 469017 h 6515100"/>
                <a:gd name="connsiteX1978" fmla="*/ 0 w 4829175"/>
                <a:gd name="connsiteY1978" fmla="*/ 326475 h 6515100"/>
                <a:gd name="connsiteX1979" fmla="*/ 0 w 4829175"/>
                <a:gd name="connsiteY1979" fmla="*/ 316693 h 6515100"/>
                <a:gd name="connsiteX1980" fmla="*/ 155119 w 4829175"/>
                <a:gd name="connsiteY1980" fmla="*/ 471113 h 6515100"/>
                <a:gd name="connsiteX1981" fmla="*/ 419242 w 4829175"/>
                <a:gd name="connsiteY1981" fmla="*/ 470415 h 6515100"/>
                <a:gd name="connsiteX1982" fmla="*/ 148131 w 4829175"/>
                <a:gd name="connsiteY1982" fmla="*/ 200003 h 6515100"/>
                <a:gd name="connsiteX1983" fmla="*/ 73183 w 4829175"/>
                <a:gd name="connsiteY1983" fmla="*/ 0 h 6515100"/>
                <a:gd name="connsiteX1984" fmla="*/ 84011 w 4829175"/>
                <a:gd name="connsiteY1984" fmla="*/ 0 h 6515100"/>
                <a:gd name="connsiteX1985" fmla="*/ 0 w 4829175"/>
                <a:gd name="connsiteY1985" fmla="*/ 84011 h 6515100"/>
                <a:gd name="connsiteX1986" fmla="*/ 0 w 4829175"/>
                <a:gd name="connsiteY1986" fmla="*/ 73530 h 6515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Lst>
              <a:rect l="l" t="t" r="r" b="b"/>
              <a:pathLst>
                <a:path w="4829175" h="6515100">
                  <a:moveTo>
                    <a:pt x="700271" y="6501824"/>
                  </a:moveTo>
                  <a:lnTo>
                    <a:pt x="714941" y="6508865"/>
                  </a:lnTo>
                  <a:lnTo>
                    <a:pt x="710807" y="6508865"/>
                  </a:lnTo>
                  <a:lnTo>
                    <a:pt x="704588" y="6515100"/>
                  </a:lnTo>
                  <a:lnTo>
                    <a:pt x="694116" y="6515100"/>
                  </a:lnTo>
                  <a:lnTo>
                    <a:pt x="703819" y="6505372"/>
                  </a:lnTo>
                  <a:close/>
                  <a:moveTo>
                    <a:pt x="710108" y="5961753"/>
                  </a:moveTo>
                  <a:lnTo>
                    <a:pt x="439696" y="6232863"/>
                  </a:lnTo>
                  <a:lnTo>
                    <a:pt x="710807" y="6503275"/>
                  </a:lnTo>
                  <a:lnTo>
                    <a:pt x="974930" y="6503275"/>
                  </a:lnTo>
                  <a:lnTo>
                    <a:pt x="703819" y="6232863"/>
                  </a:lnTo>
                  <a:lnTo>
                    <a:pt x="974231" y="5961753"/>
                  </a:lnTo>
                  <a:close/>
                  <a:moveTo>
                    <a:pt x="1807827" y="5961054"/>
                  </a:moveTo>
                  <a:lnTo>
                    <a:pt x="1537414" y="6232165"/>
                  </a:lnTo>
                  <a:lnTo>
                    <a:pt x="1808526" y="6502577"/>
                  </a:lnTo>
                  <a:lnTo>
                    <a:pt x="2072648" y="6502577"/>
                  </a:lnTo>
                  <a:lnTo>
                    <a:pt x="1801539" y="6232165"/>
                  </a:lnTo>
                  <a:lnTo>
                    <a:pt x="2071951" y="5961054"/>
                  </a:lnTo>
                  <a:close/>
                  <a:moveTo>
                    <a:pt x="1257919" y="5961054"/>
                  </a:moveTo>
                  <a:lnTo>
                    <a:pt x="988206" y="6232165"/>
                  </a:lnTo>
                  <a:lnTo>
                    <a:pt x="1188744" y="6432703"/>
                  </a:lnTo>
                  <a:lnTo>
                    <a:pt x="1259317" y="6502577"/>
                  </a:lnTo>
                  <a:lnTo>
                    <a:pt x="1327793" y="6502577"/>
                  </a:lnTo>
                  <a:lnTo>
                    <a:pt x="1327094" y="6503974"/>
                  </a:lnTo>
                  <a:lnTo>
                    <a:pt x="1524139" y="6503974"/>
                  </a:lnTo>
                  <a:lnTo>
                    <a:pt x="1253028" y="6233562"/>
                  </a:lnTo>
                  <a:lnTo>
                    <a:pt x="1253727" y="6232863"/>
                  </a:lnTo>
                  <a:lnTo>
                    <a:pt x="1251631" y="6232165"/>
                  </a:lnTo>
                  <a:lnTo>
                    <a:pt x="1522043" y="5961054"/>
                  </a:lnTo>
                  <a:close/>
                  <a:moveTo>
                    <a:pt x="2904847" y="5960355"/>
                  </a:moveTo>
                  <a:lnTo>
                    <a:pt x="2634435" y="6231466"/>
                  </a:lnTo>
                  <a:lnTo>
                    <a:pt x="2905546" y="6501878"/>
                  </a:lnTo>
                  <a:lnTo>
                    <a:pt x="3169669" y="6501878"/>
                  </a:lnTo>
                  <a:lnTo>
                    <a:pt x="2898558" y="6231466"/>
                  </a:lnTo>
                  <a:lnTo>
                    <a:pt x="3168970" y="5960355"/>
                  </a:lnTo>
                  <a:close/>
                  <a:moveTo>
                    <a:pt x="2356338" y="5960355"/>
                  </a:moveTo>
                  <a:lnTo>
                    <a:pt x="2085925" y="6231466"/>
                  </a:lnTo>
                  <a:lnTo>
                    <a:pt x="2357035" y="6501878"/>
                  </a:lnTo>
                  <a:lnTo>
                    <a:pt x="2620460" y="6501878"/>
                  </a:lnTo>
                  <a:lnTo>
                    <a:pt x="2490495" y="6371913"/>
                  </a:lnTo>
                  <a:lnTo>
                    <a:pt x="2350049" y="6231466"/>
                  </a:lnTo>
                  <a:lnTo>
                    <a:pt x="2620460" y="5960355"/>
                  </a:lnTo>
                  <a:close/>
                  <a:moveTo>
                    <a:pt x="3453357" y="5959656"/>
                  </a:moveTo>
                  <a:lnTo>
                    <a:pt x="3182945" y="6230767"/>
                  </a:lnTo>
                  <a:lnTo>
                    <a:pt x="3454056" y="6500480"/>
                  </a:lnTo>
                  <a:lnTo>
                    <a:pt x="3718179" y="6500480"/>
                  </a:lnTo>
                  <a:lnTo>
                    <a:pt x="3447069" y="6230069"/>
                  </a:lnTo>
                  <a:lnTo>
                    <a:pt x="3631536" y="6045602"/>
                  </a:lnTo>
                  <a:lnTo>
                    <a:pt x="3717481" y="5959656"/>
                  </a:lnTo>
                  <a:close/>
                  <a:moveTo>
                    <a:pt x="4550378" y="5958259"/>
                  </a:moveTo>
                  <a:lnTo>
                    <a:pt x="4279966" y="6229370"/>
                  </a:lnTo>
                  <a:lnTo>
                    <a:pt x="4551077" y="6499083"/>
                  </a:lnTo>
                  <a:lnTo>
                    <a:pt x="4815200" y="6499083"/>
                  </a:lnTo>
                  <a:lnTo>
                    <a:pt x="4544089" y="6228671"/>
                  </a:lnTo>
                  <a:lnTo>
                    <a:pt x="4814501" y="5958259"/>
                  </a:lnTo>
                  <a:close/>
                  <a:moveTo>
                    <a:pt x="169284" y="5687847"/>
                  </a:moveTo>
                  <a:lnTo>
                    <a:pt x="299249" y="5817813"/>
                  </a:lnTo>
                  <a:lnTo>
                    <a:pt x="439696" y="5958259"/>
                  </a:lnTo>
                  <a:lnTo>
                    <a:pt x="169284" y="6229370"/>
                  </a:lnTo>
                  <a:lnTo>
                    <a:pt x="433407" y="6229370"/>
                  </a:lnTo>
                  <a:lnTo>
                    <a:pt x="703819" y="5958259"/>
                  </a:lnTo>
                  <a:lnTo>
                    <a:pt x="432708" y="5687847"/>
                  </a:lnTo>
                  <a:close/>
                  <a:moveTo>
                    <a:pt x="1814814" y="5687149"/>
                  </a:moveTo>
                  <a:lnTo>
                    <a:pt x="2085925" y="5957561"/>
                  </a:lnTo>
                  <a:lnTo>
                    <a:pt x="1815513" y="6227973"/>
                  </a:lnTo>
                  <a:lnTo>
                    <a:pt x="2079636" y="6227973"/>
                  </a:lnTo>
                  <a:lnTo>
                    <a:pt x="2350049" y="5957561"/>
                  </a:lnTo>
                  <a:lnTo>
                    <a:pt x="2078937" y="5687149"/>
                  </a:lnTo>
                  <a:close/>
                  <a:moveTo>
                    <a:pt x="717095" y="5687149"/>
                  </a:moveTo>
                  <a:lnTo>
                    <a:pt x="988206" y="5957561"/>
                  </a:lnTo>
                  <a:lnTo>
                    <a:pt x="717794" y="6228671"/>
                  </a:lnTo>
                  <a:lnTo>
                    <a:pt x="981917" y="6228671"/>
                  </a:lnTo>
                  <a:lnTo>
                    <a:pt x="1252329" y="5957561"/>
                  </a:lnTo>
                  <a:lnTo>
                    <a:pt x="981219" y="5687149"/>
                  </a:lnTo>
                  <a:close/>
                  <a:moveTo>
                    <a:pt x="2363324" y="5686450"/>
                  </a:moveTo>
                  <a:lnTo>
                    <a:pt x="2634435" y="5956862"/>
                  </a:lnTo>
                  <a:lnTo>
                    <a:pt x="2364722" y="6227973"/>
                  </a:lnTo>
                  <a:lnTo>
                    <a:pt x="2628146" y="6227973"/>
                  </a:lnTo>
                  <a:lnTo>
                    <a:pt x="2898558" y="5956862"/>
                  </a:lnTo>
                  <a:lnTo>
                    <a:pt x="2764401" y="5823402"/>
                  </a:lnTo>
                  <a:lnTo>
                    <a:pt x="2627447" y="5686450"/>
                  </a:lnTo>
                  <a:close/>
                  <a:moveTo>
                    <a:pt x="2911834" y="5685751"/>
                  </a:moveTo>
                  <a:lnTo>
                    <a:pt x="2913232" y="5687149"/>
                  </a:lnTo>
                  <a:lnTo>
                    <a:pt x="3182945" y="5956163"/>
                  </a:lnTo>
                  <a:lnTo>
                    <a:pt x="2912533" y="6226575"/>
                  </a:lnTo>
                  <a:lnTo>
                    <a:pt x="3176657" y="6226575"/>
                  </a:lnTo>
                  <a:lnTo>
                    <a:pt x="3447069" y="5956163"/>
                  </a:lnTo>
                  <a:lnTo>
                    <a:pt x="3441479" y="5951272"/>
                  </a:lnTo>
                  <a:lnTo>
                    <a:pt x="3175958" y="5685751"/>
                  </a:lnTo>
                  <a:close/>
                  <a:moveTo>
                    <a:pt x="1530428" y="5685751"/>
                  </a:moveTo>
                  <a:lnTo>
                    <a:pt x="1529030" y="5686450"/>
                  </a:lnTo>
                  <a:lnTo>
                    <a:pt x="1264907" y="5686450"/>
                  </a:lnTo>
                  <a:lnTo>
                    <a:pt x="1536018" y="5956862"/>
                  </a:lnTo>
                  <a:lnTo>
                    <a:pt x="1531824" y="5961054"/>
                  </a:lnTo>
                  <a:lnTo>
                    <a:pt x="1537414" y="5958259"/>
                  </a:lnTo>
                  <a:lnTo>
                    <a:pt x="1267002" y="6229370"/>
                  </a:lnTo>
                  <a:lnTo>
                    <a:pt x="1531127" y="6229370"/>
                  </a:lnTo>
                  <a:lnTo>
                    <a:pt x="1801539" y="5958259"/>
                  </a:lnTo>
                  <a:lnTo>
                    <a:pt x="1530428" y="5687847"/>
                  </a:lnTo>
                  <a:close/>
                  <a:moveTo>
                    <a:pt x="3459646" y="5685052"/>
                  </a:moveTo>
                  <a:lnTo>
                    <a:pt x="3730757" y="5955464"/>
                  </a:lnTo>
                  <a:lnTo>
                    <a:pt x="3727962" y="5958259"/>
                  </a:lnTo>
                  <a:lnTo>
                    <a:pt x="3637825" y="6049095"/>
                  </a:lnTo>
                  <a:lnTo>
                    <a:pt x="3460345" y="6225876"/>
                  </a:lnTo>
                  <a:lnTo>
                    <a:pt x="3724468" y="6225876"/>
                  </a:lnTo>
                  <a:lnTo>
                    <a:pt x="3813907" y="6136437"/>
                  </a:lnTo>
                  <a:lnTo>
                    <a:pt x="3994880" y="5955464"/>
                  </a:lnTo>
                  <a:lnTo>
                    <a:pt x="3723769" y="5685052"/>
                  </a:lnTo>
                  <a:close/>
                  <a:moveTo>
                    <a:pt x="1807128" y="5412543"/>
                  </a:moveTo>
                  <a:lnTo>
                    <a:pt x="1536716" y="5683654"/>
                  </a:lnTo>
                  <a:lnTo>
                    <a:pt x="1807827" y="5954066"/>
                  </a:lnTo>
                  <a:lnTo>
                    <a:pt x="2071951" y="5954066"/>
                  </a:lnTo>
                  <a:lnTo>
                    <a:pt x="1800840" y="5683654"/>
                  </a:lnTo>
                  <a:lnTo>
                    <a:pt x="2071252" y="5412543"/>
                  </a:lnTo>
                  <a:close/>
                  <a:moveTo>
                    <a:pt x="709409" y="5412543"/>
                  </a:moveTo>
                  <a:lnTo>
                    <a:pt x="438997" y="5683654"/>
                  </a:lnTo>
                  <a:lnTo>
                    <a:pt x="710108" y="5954066"/>
                  </a:lnTo>
                  <a:lnTo>
                    <a:pt x="974231" y="5954066"/>
                  </a:lnTo>
                  <a:lnTo>
                    <a:pt x="703120" y="5683654"/>
                  </a:lnTo>
                  <a:lnTo>
                    <a:pt x="972833" y="5412543"/>
                  </a:lnTo>
                  <a:close/>
                  <a:moveTo>
                    <a:pt x="2904148" y="5411845"/>
                  </a:moveTo>
                  <a:lnTo>
                    <a:pt x="2723874" y="5592120"/>
                  </a:lnTo>
                  <a:lnTo>
                    <a:pt x="2634435" y="5682258"/>
                  </a:lnTo>
                  <a:lnTo>
                    <a:pt x="2768593" y="5815716"/>
                  </a:lnTo>
                  <a:lnTo>
                    <a:pt x="2905546" y="5952669"/>
                  </a:lnTo>
                  <a:lnTo>
                    <a:pt x="3169669" y="5952669"/>
                  </a:lnTo>
                  <a:lnTo>
                    <a:pt x="2898558" y="5682258"/>
                  </a:lnTo>
                  <a:lnTo>
                    <a:pt x="2899956" y="5680860"/>
                  </a:lnTo>
                  <a:lnTo>
                    <a:pt x="3168271" y="5411845"/>
                  </a:lnTo>
                  <a:close/>
                  <a:moveTo>
                    <a:pt x="2355639" y="5411845"/>
                  </a:moveTo>
                  <a:lnTo>
                    <a:pt x="2085226" y="5682955"/>
                  </a:lnTo>
                  <a:lnTo>
                    <a:pt x="2356338" y="5953367"/>
                  </a:lnTo>
                  <a:lnTo>
                    <a:pt x="2620460" y="5953367"/>
                  </a:lnTo>
                  <a:lnTo>
                    <a:pt x="2349350" y="5682955"/>
                  </a:lnTo>
                  <a:lnTo>
                    <a:pt x="2533816" y="5498489"/>
                  </a:lnTo>
                  <a:lnTo>
                    <a:pt x="2619762" y="5412543"/>
                  </a:lnTo>
                  <a:lnTo>
                    <a:pt x="2361229" y="5412543"/>
                  </a:lnTo>
                  <a:close/>
                  <a:moveTo>
                    <a:pt x="1257919" y="5411845"/>
                  </a:moveTo>
                  <a:lnTo>
                    <a:pt x="987507" y="5682955"/>
                  </a:lnTo>
                  <a:lnTo>
                    <a:pt x="1258618" y="5953367"/>
                  </a:lnTo>
                  <a:lnTo>
                    <a:pt x="1522741" y="5953367"/>
                  </a:lnTo>
                  <a:lnTo>
                    <a:pt x="1251631" y="5682955"/>
                  </a:lnTo>
                  <a:lnTo>
                    <a:pt x="1436098" y="5498489"/>
                  </a:lnTo>
                  <a:lnTo>
                    <a:pt x="1522043" y="5411845"/>
                  </a:lnTo>
                  <a:close/>
                  <a:moveTo>
                    <a:pt x="3452658" y="5411147"/>
                  </a:moveTo>
                  <a:lnTo>
                    <a:pt x="3182246" y="5682258"/>
                  </a:lnTo>
                  <a:lnTo>
                    <a:pt x="3453357" y="5952669"/>
                  </a:lnTo>
                  <a:lnTo>
                    <a:pt x="3717481" y="5952669"/>
                  </a:lnTo>
                  <a:lnTo>
                    <a:pt x="3446370" y="5682258"/>
                  </a:lnTo>
                  <a:lnTo>
                    <a:pt x="3716782" y="5411147"/>
                  </a:lnTo>
                  <a:close/>
                  <a:moveTo>
                    <a:pt x="4549679" y="5409749"/>
                  </a:moveTo>
                  <a:lnTo>
                    <a:pt x="4279267" y="5680860"/>
                  </a:lnTo>
                  <a:lnTo>
                    <a:pt x="4550378" y="5951272"/>
                  </a:lnTo>
                  <a:lnTo>
                    <a:pt x="4814501" y="5951272"/>
                  </a:lnTo>
                  <a:lnTo>
                    <a:pt x="4543391" y="5680860"/>
                  </a:lnTo>
                  <a:lnTo>
                    <a:pt x="4727858" y="5495694"/>
                  </a:lnTo>
                  <a:lnTo>
                    <a:pt x="4727159" y="5494995"/>
                  </a:lnTo>
                  <a:lnTo>
                    <a:pt x="4812405" y="5409749"/>
                  </a:lnTo>
                  <a:close/>
                  <a:moveTo>
                    <a:pt x="167886" y="5139337"/>
                  </a:moveTo>
                  <a:lnTo>
                    <a:pt x="438997" y="5409749"/>
                  </a:lnTo>
                  <a:lnTo>
                    <a:pt x="169284" y="5680860"/>
                  </a:lnTo>
                  <a:lnTo>
                    <a:pt x="432708" y="5680860"/>
                  </a:lnTo>
                  <a:lnTo>
                    <a:pt x="703120" y="5409749"/>
                  </a:lnTo>
                  <a:lnTo>
                    <a:pt x="568962" y="5276290"/>
                  </a:lnTo>
                  <a:lnTo>
                    <a:pt x="432009" y="5139337"/>
                  </a:lnTo>
                  <a:close/>
                  <a:moveTo>
                    <a:pt x="1814116" y="5138638"/>
                  </a:moveTo>
                  <a:lnTo>
                    <a:pt x="1942683" y="5267207"/>
                  </a:lnTo>
                  <a:lnTo>
                    <a:pt x="2084528" y="5409050"/>
                  </a:lnTo>
                  <a:lnTo>
                    <a:pt x="1814116" y="5680161"/>
                  </a:lnTo>
                  <a:lnTo>
                    <a:pt x="2078239" y="5680161"/>
                  </a:lnTo>
                  <a:lnTo>
                    <a:pt x="2348651" y="5409050"/>
                  </a:lnTo>
                  <a:lnTo>
                    <a:pt x="2343759" y="5404159"/>
                  </a:lnTo>
                  <a:lnTo>
                    <a:pt x="2078239" y="5138638"/>
                  </a:lnTo>
                  <a:close/>
                  <a:moveTo>
                    <a:pt x="2362625" y="5137939"/>
                  </a:moveTo>
                  <a:lnTo>
                    <a:pt x="2633736" y="5407653"/>
                  </a:lnTo>
                  <a:lnTo>
                    <a:pt x="2630942" y="5410448"/>
                  </a:lnTo>
                  <a:lnTo>
                    <a:pt x="2540804" y="5501283"/>
                  </a:lnTo>
                  <a:lnTo>
                    <a:pt x="2363324" y="5678763"/>
                  </a:lnTo>
                  <a:lnTo>
                    <a:pt x="2627447" y="5678763"/>
                  </a:lnTo>
                  <a:lnTo>
                    <a:pt x="2716886" y="5589325"/>
                  </a:lnTo>
                  <a:lnTo>
                    <a:pt x="2897859" y="5408351"/>
                  </a:lnTo>
                  <a:lnTo>
                    <a:pt x="2626749" y="5137939"/>
                  </a:lnTo>
                  <a:close/>
                  <a:moveTo>
                    <a:pt x="1264208" y="5137939"/>
                  </a:moveTo>
                  <a:lnTo>
                    <a:pt x="1535319" y="5407653"/>
                  </a:lnTo>
                  <a:lnTo>
                    <a:pt x="1532523" y="5410448"/>
                  </a:lnTo>
                  <a:lnTo>
                    <a:pt x="1442387" y="5501283"/>
                  </a:lnTo>
                  <a:lnTo>
                    <a:pt x="1264907" y="5678763"/>
                  </a:lnTo>
                  <a:lnTo>
                    <a:pt x="1529030" y="5678763"/>
                  </a:lnTo>
                  <a:lnTo>
                    <a:pt x="1618469" y="5589325"/>
                  </a:lnTo>
                  <a:lnTo>
                    <a:pt x="1799442" y="5408351"/>
                  </a:lnTo>
                  <a:lnTo>
                    <a:pt x="1528331" y="5137939"/>
                  </a:lnTo>
                  <a:close/>
                  <a:moveTo>
                    <a:pt x="715697" y="5137939"/>
                  </a:moveTo>
                  <a:lnTo>
                    <a:pt x="717095" y="5139337"/>
                  </a:lnTo>
                  <a:lnTo>
                    <a:pt x="986808" y="5408351"/>
                  </a:lnTo>
                  <a:lnTo>
                    <a:pt x="716396" y="5679462"/>
                  </a:lnTo>
                  <a:lnTo>
                    <a:pt x="980520" y="5679462"/>
                  </a:lnTo>
                  <a:lnTo>
                    <a:pt x="1250932" y="5408351"/>
                  </a:lnTo>
                  <a:lnTo>
                    <a:pt x="1245342" y="5403460"/>
                  </a:lnTo>
                  <a:lnTo>
                    <a:pt x="979821" y="5137939"/>
                  </a:lnTo>
                  <a:close/>
                  <a:moveTo>
                    <a:pt x="2911136" y="5137241"/>
                  </a:moveTo>
                  <a:lnTo>
                    <a:pt x="3041801" y="5266508"/>
                  </a:lnTo>
                  <a:lnTo>
                    <a:pt x="3182246" y="5406954"/>
                  </a:lnTo>
                  <a:lnTo>
                    <a:pt x="2911834" y="5678065"/>
                  </a:lnTo>
                  <a:lnTo>
                    <a:pt x="3175958" y="5678065"/>
                  </a:lnTo>
                  <a:lnTo>
                    <a:pt x="3446370" y="5407653"/>
                  </a:lnTo>
                  <a:lnTo>
                    <a:pt x="3175259" y="5137241"/>
                  </a:lnTo>
                  <a:close/>
                  <a:moveTo>
                    <a:pt x="3459646" y="5136542"/>
                  </a:moveTo>
                  <a:lnTo>
                    <a:pt x="3730757" y="5406954"/>
                  </a:lnTo>
                  <a:lnTo>
                    <a:pt x="3460345" y="5678065"/>
                  </a:lnTo>
                  <a:lnTo>
                    <a:pt x="3724468" y="5678065"/>
                  </a:lnTo>
                  <a:lnTo>
                    <a:pt x="3994880" y="5406954"/>
                  </a:lnTo>
                  <a:lnTo>
                    <a:pt x="3723769" y="5136542"/>
                  </a:lnTo>
                  <a:close/>
                  <a:moveTo>
                    <a:pt x="4008156" y="5135843"/>
                  </a:moveTo>
                  <a:lnTo>
                    <a:pt x="4279267" y="5406255"/>
                  </a:lnTo>
                  <a:lnTo>
                    <a:pt x="4008855" y="5677366"/>
                  </a:lnTo>
                  <a:lnTo>
                    <a:pt x="4207297" y="5677366"/>
                  </a:lnTo>
                  <a:lnTo>
                    <a:pt x="4272280" y="5677366"/>
                  </a:lnTo>
                  <a:lnTo>
                    <a:pt x="4543391" y="5406255"/>
                  </a:lnTo>
                  <a:lnTo>
                    <a:pt x="4409232" y="5272797"/>
                  </a:lnTo>
                  <a:lnTo>
                    <a:pt x="4272280" y="5135843"/>
                  </a:lnTo>
                  <a:close/>
                  <a:moveTo>
                    <a:pt x="708011" y="4864034"/>
                  </a:moveTo>
                  <a:lnTo>
                    <a:pt x="527737" y="5045007"/>
                  </a:lnTo>
                  <a:lnTo>
                    <a:pt x="438298" y="5135144"/>
                  </a:lnTo>
                  <a:lnTo>
                    <a:pt x="572456" y="5268603"/>
                  </a:lnTo>
                  <a:lnTo>
                    <a:pt x="709409" y="5405557"/>
                  </a:lnTo>
                  <a:lnTo>
                    <a:pt x="973532" y="5405557"/>
                  </a:lnTo>
                  <a:lnTo>
                    <a:pt x="702421" y="5135144"/>
                  </a:lnTo>
                  <a:lnTo>
                    <a:pt x="703819" y="5133747"/>
                  </a:lnTo>
                  <a:lnTo>
                    <a:pt x="972135" y="4864034"/>
                  </a:lnTo>
                  <a:close/>
                  <a:moveTo>
                    <a:pt x="1257220" y="4863335"/>
                  </a:moveTo>
                  <a:lnTo>
                    <a:pt x="986808" y="5134446"/>
                  </a:lnTo>
                  <a:lnTo>
                    <a:pt x="1257919" y="5404858"/>
                  </a:lnTo>
                  <a:lnTo>
                    <a:pt x="1522043" y="5404858"/>
                  </a:lnTo>
                  <a:lnTo>
                    <a:pt x="1250932" y="5134446"/>
                  </a:lnTo>
                  <a:lnTo>
                    <a:pt x="1521344" y="4863335"/>
                  </a:lnTo>
                  <a:close/>
                  <a:moveTo>
                    <a:pt x="2904148" y="4862636"/>
                  </a:moveTo>
                  <a:lnTo>
                    <a:pt x="2633736" y="5133747"/>
                  </a:lnTo>
                  <a:lnTo>
                    <a:pt x="2904847" y="5404159"/>
                  </a:lnTo>
                  <a:lnTo>
                    <a:pt x="3168271" y="5404159"/>
                  </a:lnTo>
                  <a:lnTo>
                    <a:pt x="3037607" y="5274193"/>
                  </a:lnTo>
                  <a:lnTo>
                    <a:pt x="2897162" y="5133747"/>
                  </a:lnTo>
                  <a:lnTo>
                    <a:pt x="3168271" y="4862636"/>
                  </a:lnTo>
                  <a:close/>
                  <a:moveTo>
                    <a:pt x="1805032" y="4862636"/>
                  </a:moveTo>
                  <a:lnTo>
                    <a:pt x="1534620" y="5133747"/>
                  </a:lnTo>
                  <a:lnTo>
                    <a:pt x="1805731" y="5404159"/>
                  </a:lnTo>
                  <a:lnTo>
                    <a:pt x="1807128" y="5405557"/>
                  </a:lnTo>
                  <a:lnTo>
                    <a:pt x="2071252" y="5405557"/>
                  </a:lnTo>
                  <a:lnTo>
                    <a:pt x="1939889" y="5274193"/>
                  </a:lnTo>
                  <a:lnTo>
                    <a:pt x="1802236" y="5136542"/>
                  </a:lnTo>
                  <a:lnTo>
                    <a:pt x="2071252" y="4862636"/>
                  </a:lnTo>
                  <a:close/>
                  <a:moveTo>
                    <a:pt x="3451960" y="4861938"/>
                  </a:moveTo>
                  <a:lnTo>
                    <a:pt x="3181548" y="5133048"/>
                  </a:lnTo>
                  <a:lnTo>
                    <a:pt x="3452658" y="5403460"/>
                  </a:lnTo>
                  <a:lnTo>
                    <a:pt x="3716782" y="5403460"/>
                  </a:lnTo>
                  <a:lnTo>
                    <a:pt x="3445671" y="5133048"/>
                  </a:lnTo>
                  <a:lnTo>
                    <a:pt x="3630138" y="4948581"/>
                  </a:lnTo>
                  <a:lnTo>
                    <a:pt x="3714686" y="4861938"/>
                  </a:lnTo>
                  <a:close/>
                  <a:moveTo>
                    <a:pt x="4000470" y="4861239"/>
                  </a:moveTo>
                  <a:lnTo>
                    <a:pt x="3730058" y="5132350"/>
                  </a:lnTo>
                  <a:lnTo>
                    <a:pt x="4001169" y="5402762"/>
                  </a:lnTo>
                  <a:lnTo>
                    <a:pt x="4265292" y="5402762"/>
                  </a:lnTo>
                  <a:lnTo>
                    <a:pt x="3994181" y="5132350"/>
                  </a:lnTo>
                  <a:lnTo>
                    <a:pt x="3995579" y="5130952"/>
                  </a:lnTo>
                  <a:lnTo>
                    <a:pt x="3994880" y="5130952"/>
                  </a:lnTo>
                  <a:lnTo>
                    <a:pt x="4263197" y="4861938"/>
                  </a:lnTo>
                  <a:lnTo>
                    <a:pt x="4004663" y="4861938"/>
                  </a:lnTo>
                  <a:lnTo>
                    <a:pt x="4006060" y="4861239"/>
                  </a:lnTo>
                  <a:close/>
                  <a:moveTo>
                    <a:pt x="4548281" y="4860540"/>
                  </a:moveTo>
                  <a:lnTo>
                    <a:pt x="4367308" y="5041513"/>
                  </a:lnTo>
                  <a:lnTo>
                    <a:pt x="4368007" y="5042212"/>
                  </a:lnTo>
                  <a:lnTo>
                    <a:pt x="4278568" y="5132350"/>
                  </a:lnTo>
                  <a:lnTo>
                    <a:pt x="4412727" y="5265809"/>
                  </a:lnTo>
                  <a:lnTo>
                    <a:pt x="4548980" y="5402063"/>
                  </a:lnTo>
                  <a:lnTo>
                    <a:pt x="4813104" y="5402063"/>
                  </a:lnTo>
                  <a:lnTo>
                    <a:pt x="4541993" y="5131651"/>
                  </a:lnTo>
                  <a:lnTo>
                    <a:pt x="4812405" y="4860540"/>
                  </a:lnTo>
                  <a:close/>
                  <a:moveTo>
                    <a:pt x="2621159" y="4860540"/>
                  </a:moveTo>
                  <a:lnTo>
                    <a:pt x="2354940" y="4863335"/>
                  </a:lnTo>
                  <a:lnTo>
                    <a:pt x="2084528" y="5134446"/>
                  </a:lnTo>
                  <a:lnTo>
                    <a:pt x="2355639" y="5404858"/>
                  </a:lnTo>
                  <a:lnTo>
                    <a:pt x="2619762" y="5404858"/>
                  </a:lnTo>
                  <a:lnTo>
                    <a:pt x="2348651" y="5134446"/>
                  </a:lnTo>
                  <a:close/>
                  <a:moveTo>
                    <a:pt x="166488" y="4590827"/>
                  </a:moveTo>
                  <a:lnTo>
                    <a:pt x="437599" y="4861239"/>
                  </a:lnTo>
                  <a:lnTo>
                    <a:pt x="434805" y="4864034"/>
                  </a:lnTo>
                  <a:lnTo>
                    <a:pt x="344667" y="4954870"/>
                  </a:lnTo>
                  <a:lnTo>
                    <a:pt x="167187" y="5131651"/>
                  </a:lnTo>
                  <a:lnTo>
                    <a:pt x="431311" y="5131651"/>
                  </a:lnTo>
                  <a:lnTo>
                    <a:pt x="520749" y="5042212"/>
                  </a:lnTo>
                  <a:lnTo>
                    <a:pt x="701722" y="4861239"/>
                  </a:lnTo>
                  <a:lnTo>
                    <a:pt x="430612" y="4590827"/>
                  </a:lnTo>
                  <a:close/>
                  <a:moveTo>
                    <a:pt x="715697" y="4590128"/>
                  </a:moveTo>
                  <a:lnTo>
                    <a:pt x="845663" y="4720093"/>
                  </a:lnTo>
                  <a:lnTo>
                    <a:pt x="986109" y="4859841"/>
                  </a:lnTo>
                  <a:lnTo>
                    <a:pt x="715697" y="5130952"/>
                  </a:lnTo>
                  <a:lnTo>
                    <a:pt x="979821" y="5130952"/>
                  </a:lnTo>
                  <a:lnTo>
                    <a:pt x="1250932" y="4860540"/>
                  </a:lnTo>
                  <a:lnTo>
                    <a:pt x="979821" y="4590128"/>
                  </a:lnTo>
                  <a:close/>
                  <a:moveTo>
                    <a:pt x="2911136" y="4589429"/>
                  </a:moveTo>
                  <a:lnTo>
                    <a:pt x="3040403" y="4717299"/>
                  </a:lnTo>
                  <a:lnTo>
                    <a:pt x="3040403" y="4717998"/>
                  </a:lnTo>
                  <a:lnTo>
                    <a:pt x="3182246" y="4859841"/>
                  </a:lnTo>
                  <a:lnTo>
                    <a:pt x="2911834" y="5130952"/>
                  </a:lnTo>
                  <a:lnTo>
                    <a:pt x="3175259" y="5130952"/>
                  </a:lnTo>
                  <a:lnTo>
                    <a:pt x="3445671" y="4859841"/>
                  </a:lnTo>
                  <a:lnTo>
                    <a:pt x="3440081" y="4854251"/>
                  </a:lnTo>
                  <a:lnTo>
                    <a:pt x="3439382" y="4854251"/>
                  </a:lnTo>
                  <a:lnTo>
                    <a:pt x="3173862" y="4589429"/>
                  </a:lnTo>
                  <a:close/>
                  <a:moveTo>
                    <a:pt x="1813417" y="4589429"/>
                  </a:moveTo>
                  <a:lnTo>
                    <a:pt x="1815507" y="4592217"/>
                  </a:lnTo>
                  <a:lnTo>
                    <a:pt x="1814814" y="4591526"/>
                  </a:lnTo>
                  <a:lnTo>
                    <a:pt x="1815513" y="4592225"/>
                  </a:lnTo>
                  <a:lnTo>
                    <a:pt x="1815507" y="4592217"/>
                  </a:lnTo>
                  <a:lnTo>
                    <a:pt x="2074046" y="4850059"/>
                  </a:lnTo>
                  <a:lnTo>
                    <a:pt x="2083829" y="4859142"/>
                  </a:lnTo>
                  <a:lnTo>
                    <a:pt x="2085925" y="4861239"/>
                  </a:lnTo>
                  <a:lnTo>
                    <a:pt x="1821102" y="5130952"/>
                  </a:lnTo>
                  <a:lnTo>
                    <a:pt x="2080335" y="5131651"/>
                  </a:lnTo>
                  <a:lnTo>
                    <a:pt x="2350049" y="4861239"/>
                  </a:lnTo>
                  <a:lnTo>
                    <a:pt x="2214493" y="4726382"/>
                  </a:lnTo>
                  <a:lnTo>
                    <a:pt x="2197724" y="4709612"/>
                  </a:lnTo>
                  <a:lnTo>
                    <a:pt x="2078239" y="4590827"/>
                  </a:lnTo>
                  <a:lnTo>
                    <a:pt x="2074046" y="4589429"/>
                  </a:lnTo>
                  <a:close/>
                  <a:moveTo>
                    <a:pt x="1263509" y="4589429"/>
                  </a:moveTo>
                  <a:lnTo>
                    <a:pt x="1534620" y="4859841"/>
                  </a:lnTo>
                  <a:lnTo>
                    <a:pt x="1264208" y="5130952"/>
                  </a:lnTo>
                  <a:lnTo>
                    <a:pt x="1528331" y="5130952"/>
                  </a:lnTo>
                  <a:lnTo>
                    <a:pt x="1798743" y="4859841"/>
                  </a:lnTo>
                  <a:lnTo>
                    <a:pt x="1527632" y="4589429"/>
                  </a:lnTo>
                  <a:close/>
                  <a:moveTo>
                    <a:pt x="2626749" y="4588031"/>
                  </a:moveTo>
                  <a:lnTo>
                    <a:pt x="2363324" y="4588730"/>
                  </a:lnTo>
                  <a:lnTo>
                    <a:pt x="2632339" y="4857047"/>
                  </a:lnTo>
                  <a:lnTo>
                    <a:pt x="2631641" y="4857746"/>
                  </a:lnTo>
                  <a:lnTo>
                    <a:pt x="2633038" y="4859142"/>
                  </a:lnTo>
                  <a:lnTo>
                    <a:pt x="2362625" y="5130253"/>
                  </a:lnTo>
                  <a:lnTo>
                    <a:pt x="2626749" y="5130253"/>
                  </a:lnTo>
                  <a:lnTo>
                    <a:pt x="2716886" y="5040116"/>
                  </a:lnTo>
                  <a:lnTo>
                    <a:pt x="2896463" y="4857047"/>
                  </a:lnTo>
                  <a:close/>
                  <a:moveTo>
                    <a:pt x="4006759" y="4587334"/>
                  </a:moveTo>
                  <a:lnTo>
                    <a:pt x="4136725" y="4716600"/>
                  </a:lnTo>
                  <a:lnTo>
                    <a:pt x="4277171" y="4857047"/>
                  </a:lnTo>
                  <a:lnTo>
                    <a:pt x="4184238" y="4950678"/>
                  </a:lnTo>
                  <a:lnTo>
                    <a:pt x="4184937" y="4951376"/>
                  </a:lnTo>
                  <a:lnTo>
                    <a:pt x="4008156" y="5128855"/>
                  </a:lnTo>
                  <a:lnTo>
                    <a:pt x="4270882" y="5128855"/>
                  </a:lnTo>
                  <a:lnTo>
                    <a:pt x="4541294" y="4857746"/>
                  </a:lnTo>
                  <a:lnTo>
                    <a:pt x="4270183" y="4587334"/>
                  </a:lnTo>
                  <a:close/>
                  <a:moveTo>
                    <a:pt x="3458248" y="4587334"/>
                  </a:moveTo>
                  <a:lnTo>
                    <a:pt x="3729359" y="4857746"/>
                  </a:lnTo>
                  <a:lnTo>
                    <a:pt x="3730058" y="4858443"/>
                  </a:lnTo>
                  <a:lnTo>
                    <a:pt x="3459646" y="5129554"/>
                  </a:lnTo>
                  <a:lnTo>
                    <a:pt x="3723769" y="5129554"/>
                  </a:lnTo>
                  <a:lnTo>
                    <a:pt x="3813208" y="5039418"/>
                  </a:lnTo>
                  <a:lnTo>
                    <a:pt x="3812509" y="5039418"/>
                  </a:lnTo>
                  <a:lnTo>
                    <a:pt x="3993483" y="4858443"/>
                  </a:lnTo>
                  <a:lnTo>
                    <a:pt x="3988591" y="4852854"/>
                  </a:lnTo>
                  <a:lnTo>
                    <a:pt x="3722372" y="4587334"/>
                  </a:lnTo>
                  <a:close/>
                  <a:moveTo>
                    <a:pt x="708011" y="4316223"/>
                  </a:moveTo>
                  <a:lnTo>
                    <a:pt x="437599" y="4587334"/>
                  </a:lnTo>
                  <a:lnTo>
                    <a:pt x="709409" y="4857746"/>
                  </a:lnTo>
                  <a:lnTo>
                    <a:pt x="972833" y="4857746"/>
                  </a:lnTo>
                  <a:lnTo>
                    <a:pt x="842169" y="4727779"/>
                  </a:lnTo>
                  <a:lnTo>
                    <a:pt x="701722" y="4587334"/>
                  </a:lnTo>
                  <a:lnTo>
                    <a:pt x="972135" y="4316223"/>
                  </a:lnTo>
                  <a:close/>
                  <a:moveTo>
                    <a:pt x="2354241" y="4315524"/>
                  </a:moveTo>
                  <a:lnTo>
                    <a:pt x="2083829" y="4586635"/>
                  </a:lnTo>
                  <a:lnTo>
                    <a:pt x="2353542" y="4855649"/>
                  </a:lnTo>
                  <a:lnTo>
                    <a:pt x="2616967" y="4855649"/>
                  </a:lnTo>
                  <a:lnTo>
                    <a:pt x="2347952" y="4586635"/>
                  </a:lnTo>
                  <a:lnTo>
                    <a:pt x="2348651" y="4585936"/>
                  </a:lnTo>
                  <a:lnTo>
                    <a:pt x="2347254" y="4584538"/>
                  </a:lnTo>
                  <a:lnTo>
                    <a:pt x="2615569" y="4315524"/>
                  </a:lnTo>
                  <a:close/>
                  <a:moveTo>
                    <a:pt x="1256521" y="4315524"/>
                  </a:moveTo>
                  <a:lnTo>
                    <a:pt x="986109" y="4586635"/>
                  </a:lnTo>
                  <a:lnTo>
                    <a:pt x="1257220" y="4857047"/>
                  </a:lnTo>
                  <a:lnTo>
                    <a:pt x="1521344" y="4857047"/>
                  </a:lnTo>
                  <a:lnTo>
                    <a:pt x="1250233" y="4586635"/>
                  </a:lnTo>
                  <a:lnTo>
                    <a:pt x="1520645" y="4315524"/>
                  </a:lnTo>
                  <a:lnTo>
                    <a:pt x="1392775" y="4315524"/>
                  </a:lnTo>
                  <a:close/>
                  <a:moveTo>
                    <a:pt x="1805731" y="4314825"/>
                  </a:moveTo>
                  <a:lnTo>
                    <a:pt x="1625456" y="4495798"/>
                  </a:lnTo>
                  <a:lnTo>
                    <a:pt x="1624758" y="4495798"/>
                  </a:lnTo>
                  <a:lnTo>
                    <a:pt x="1534620" y="4585936"/>
                  </a:lnTo>
                  <a:lnTo>
                    <a:pt x="1805032" y="4857047"/>
                  </a:lnTo>
                  <a:lnTo>
                    <a:pt x="2069155" y="4857047"/>
                  </a:lnTo>
                  <a:lnTo>
                    <a:pt x="1798044" y="4586635"/>
                  </a:lnTo>
                  <a:lnTo>
                    <a:pt x="1982512" y="4402167"/>
                  </a:lnTo>
                  <a:lnTo>
                    <a:pt x="1983211" y="4402167"/>
                  </a:lnTo>
                  <a:lnTo>
                    <a:pt x="2069155" y="4315524"/>
                  </a:lnTo>
                  <a:lnTo>
                    <a:pt x="1810622" y="4315524"/>
                  </a:lnTo>
                  <a:close/>
                  <a:moveTo>
                    <a:pt x="3450563" y="4313427"/>
                  </a:moveTo>
                  <a:lnTo>
                    <a:pt x="3269589" y="4495099"/>
                  </a:lnTo>
                  <a:lnTo>
                    <a:pt x="3270986" y="4495798"/>
                  </a:lnTo>
                  <a:lnTo>
                    <a:pt x="3181548" y="4585237"/>
                  </a:lnTo>
                  <a:lnTo>
                    <a:pt x="3451960" y="4854950"/>
                  </a:lnTo>
                  <a:lnTo>
                    <a:pt x="3715384" y="4854950"/>
                  </a:lnTo>
                  <a:lnTo>
                    <a:pt x="3444972" y="4585237"/>
                  </a:lnTo>
                  <a:lnTo>
                    <a:pt x="3444274" y="4584538"/>
                  </a:lnTo>
                  <a:lnTo>
                    <a:pt x="3714686" y="4313427"/>
                  </a:lnTo>
                  <a:close/>
                  <a:moveTo>
                    <a:pt x="2904847" y="4313427"/>
                  </a:moveTo>
                  <a:lnTo>
                    <a:pt x="2908341" y="4314825"/>
                  </a:lnTo>
                  <a:lnTo>
                    <a:pt x="2902751" y="4314825"/>
                  </a:lnTo>
                  <a:lnTo>
                    <a:pt x="2633736" y="4585237"/>
                  </a:lnTo>
                  <a:lnTo>
                    <a:pt x="2903449" y="4854251"/>
                  </a:lnTo>
                  <a:lnTo>
                    <a:pt x="3168271" y="4855649"/>
                  </a:lnTo>
                  <a:lnTo>
                    <a:pt x="2897162" y="4585237"/>
                  </a:lnTo>
                  <a:lnTo>
                    <a:pt x="2895764" y="4583839"/>
                  </a:lnTo>
                  <a:lnTo>
                    <a:pt x="3164778" y="4314126"/>
                  </a:lnTo>
                  <a:lnTo>
                    <a:pt x="2967035" y="4314126"/>
                  </a:lnTo>
                  <a:lnTo>
                    <a:pt x="2967733" y="4313427"/>
                  </a:lnTo>
                  <a:close/>
                  <a:moveTo>
                    <a:pt x="3999073" y="4312728"/>
                  </a:moveTo>
                  <a:lnTo>
                    <a:pt x="3728660" y="4583839"/>
                  </a:lnTo>
                  <a:lnTo>
                    <a:pt x="3999771" y="4854251"/>
                  </a:lnTo>
                  <a:lnTo>
                    <a:pt x="4263197" y="4854251"/>
                  </a:lnTo>
                  <a:lnTo>
                    <a:pt x="4133230" y="4724286"/>
                  </a:lnTo>
                  <a:lnTo>
                    <a:pt x="3992783" y="4583839"/>
                  </a:lnTo>
                  <a:lnTo>
                    <a:pt x="4263197" y="4312728"/>
                  </a:lnTo>
                  <a:close/>
                  <a:moveTo>
                    <a:pt x="4547584" y="4312030"/>
                  </a:moveTo>
                  <a:lnTo>
                    <a:pt x="4277171" y="4583140"/>
                  </a:lnTo>
                  <a:lnTo>
                    <a:pt x="4548281" y="4853552"/>
                  </a:lnTo>
                  <a:lnTo>
                    <a:pt x="4812405" y="4853552"/>
                  </a:lnTo>
                  <a:lnTo>
                    <a:pt x="4541294" y="4583140"/>
                  </a:lnTo>
                  <a:lnTo>
                    <a:pt x="4811706" y="4312030"/>
                  </a:lnTo>
                  <a:close/>
                  <a:moveTo>
                    <a:pt x="717155" y="4044465"/>
                  </a:moveTo>
                  <a:lnTo>
                    <a:pt x="986808" y="4312728"/>
                  </a:lnTo>
                  <a:lnTo>
                    <a:pt x="716396" y="4583839"/>
                  </a:lnTo>
                  <a:lnTo>
                    <a:pt x="979821" y="4583839"/>
                  </a:lnTo>
                  <a:lnTo>
                    <a:pt x="1250233" y="4312728"/>
                  </a:lnTo>
                  <a:lnTo>
                    <a:pt x="1116075" y="4179269"/>
                  </a:lnTo>
                  <a:lnTo>
                    <a:pt x="1019702" y="4082896"/>
                  </a:lnTo>
                  <a:lnTo>
                    <a:pt x="1018761" y="4082896"/>
                  </a:lnTo>
                  <a:lnTo>
                    <a:pt x="980330" y="4044465"/>
                  </a:lnTo>
                  <a:close/>
                  <a:moveTo>
                    <a:pt x="168395" y="4044465"/>
                  </a:moveTo>
                  <a:lnTo>
                    <a:pt x="206127" y="4082197"/>
                  </a:lnTo>
                  <a:lnTo>
                    <a:pt x="205772" y="4082197"/>
                  </a:lnTo>
                  <a:lnTo>
                    <a:pt x="437599" y="4313427"/>
                  </a:lnTo>
                  <a:lnTo>
                    <a:pt x="167187" y="4583839"/>
                  </a:lnTo>
                  <a:lnTo>
                    <a:pt x="431311" y="4583839"/>
                  </a:lnTo>
                  <a:lnTo>
                    <a:pt x="701722" y="4312728"/>
                  </a:lnTo>
                  <a:lnTo>
                    <a:pt x="470596" y="4082197"/>
                  </a:lnTo>
                  <a:lnTo>
                    <a:pt x="470250" y="4082197"/>
                  </a:lnTo>
                  <a:lnTo>
                    <a:pt x="432518" y="4044465"/>
                  </a:lnTo>
                  <a:close/>
                  <a:moveTo>
                    <a:pt x="1816265" y="4043766"/>
                  </a:moveTo>
                  <a:lnTo>
                    <a:pt x="1942683" y="4170186"/>
                  </a:lnTo>
                  <a:lnTo>
                    <a:pt x="2083829" y="4310632"/>
                  </a:lnTo>
                  <a:lnTo>
                    <a:pt x="1813417" y="4581743"/>
                  </a:lnTo>
                  <a:lnTo>
                    <a:pt x="2076842" y="4581743"/>
                  </a:lnTo>
                  <a:lnTo>
                    <a:pt x="2347254" y="4311331"/>
                  </a:lnTo>
                  <a:lnTo>
                    <a:pt x="2214493" y="4178570"/>
                  </a:lnTo>
                  <a:lnTo>
                    <a:pt x="2214493" y="4177872"/>
                  </a:lnTo>
                  <a:lnTo>
                    <a:pt x="2119736" y="4083594"/>
                  </a:lnTo>
                  <a:lnTo>
                    <a:pt x="2116480" y="4083594"/>
                  </a:lnTo>
                  <a:lnTo>
                    <a:pt x="2076652" y="4043766"/>
                  </a:lnTo>
                  <a:close/>
                  <a:moveTo>
                    <a:pt x="1266369" y="4043766"/>
                  </a:moveTo>
                  <a:lnTo>
                    <a:pt x="1534620" y="4310632"/>
                  </a:lnTo>
                  <a:lnTo>
                    <a:pt x="1531824" y="4313427"/>
                  </a:lnTo>
                  <a:lnTo>
                    <a:pt x="1441688" y="4404264"/>
                  </a:lnTo>
                  <a:lnTo>
                    <a:pt x="1440989" y="4404264"/>
                  </a:lnTo>
                  <a:lnTo>
                    <a:pt x="1263509" y="4582442"/>
                  </a:lnTo>
                  <a:lnTo>
                    <a:pt x="1527632" y="4582442"/>
                  </a:lnTo>
                  <a:lnTo>
                    <a:pt x="1798044" y="4312030"/>
                  </a:lnTo>
                  <a:lnTo>
                    <a:pt x="1793153" y="4307139"/>
                  </a:lnTo>
                  <a:lnTo>
                    <a:pt x="1795249" y="4307838"/>
                  </a:lnTo>
                  <a:lnTo>
                    <a:pt x="1569718" y="4082896"/>
                  </a:lnTo>
                  <a:lnTo>
                    <a:pt x="1567271" y="4082896"/>
                  </a:lnTo>
                  <a:lnTo>
                    <a:pt x="1528141" y="4043766"/>
                  </a:lnTo>
                  <a:close/>
                  <a:moveTo>
                    <a:pt x="2363377" y="4043068"/>
                  </a:moveTo>
                  <a:lnTo>
                    <a:pt x="2630942" y="4310632"/>
                  </a:lnTo>
                  <a:lnTo>
                    <a:pt x="2632339" y="4312030"/>
                  </a:lnTo>
                  <a:lnTo>
                    <a:pt x="2363324" y="4581743"/>
                  </a:lnTo>
                  <a:lnTo>
                    <a:pt x="2625352" y="4581743"/>
                  </a:lnTo>
                  <a:lnTo>
                    <a:pt x="2895065" y="4311331"/>
                  </a:lnTo>
                  <a:lnTo>
                    <a:pt x="2890873" y="4307139"/>
                  </a:lnTo>
                  <a:lnTo>
                    <a:pt x="2892968" y="4307838"/>
                  </a:lnTo>
                  <a:lnTo>
                    <a:pt x="2668140" y="4083594"/>
                  </a:lnTo>
                  <a:lnTo>
                    <a:pt x="2666387" y="4083594"/>
                  </a:lnTo>
                  <a:lnTo>
                    <a:pt x="2625861" y="4043068"/>
                  </a:lnTo>
                  <a:close/>
                  <a:moveTo>
                    <a:pt x="2911879" y="4041670"/>
                  </a:moveTo>
                  <a:lnTo>
                    <a:pt x="3179452" y="4309934"/>
                  </a:lnTo>
                  <a:lnTo>
                    <a:pt x="3087218" y="4402866"/>
                  </a:lnTo>
                  <a:lnTo>
                    <a:pt x="3087917" y="4403565"/>
                  </a:lnTo>
                  <a:lnTo>
                    <a:pt x="2911834" y="4579647"/>
                  </a:lnTo>
                  <a:lnTo>
                    <a:pt x="3108180" y="4579647"/>
                  </a:lnTo>
                  <a:lnTo>
                    <a:pt x="3107481" y="4581045"/>
                  </a:lnTo>
                  <a:lnTo>
                    <a:pt x="3173163" y="4581045"/>
                  </a:lnTo>
                  <a:lnTo>
                    <a:pt x="3443575" y="4309934"/>
                  </a:lnTo>
                  <a:lnTo>
                    <a:pt x="3215951" y="4082896"/>
                  </a:lnTo>
                  <a:lnTo>
                    <a:pt x="3215596" y="4082896"/>
                  </a:lnTo>
                  <a:lnTo>
                    <a:pt x="3174371" y="4041670"/>
                  </a:lnTo>
                  <a:close/>
                  <a:moveTo>
                    <a:pt x="3459004" y="4040971"/>
                  </a:moveTo>
                  <a:lnTo>
                    <a:pt x="3728660" y="4309934"/>
                  </a:lnTo>
                  <a:lnTo>
                    <a:pt x="3458248" y="4580346"/>
                  </a:lnTo>
                  <a:lnTo>
                    <a:pt x="3722372" y="4580346"/>
                  </a:lnTo>
                  <a:lnTo>
                    <a:pt x="3992783" y="4309934"/>
                  </a:lnTo>
                  <a:lnTo>
                    <a:pt x="3765160" y="4082896"/>
                  </a:lnTo>
                  <a:lnTo>
                    <a:pt x="3764107" y="4082896"/>
                  </a:lnTo>
                  <a:lnTo>
                    <a:pt x="3722183" y="4040971"/>
                  </a:lnTo>
                  <a:close/>
                  <a:moveTo>
                    <a:pt x="4007520" y="4040272"/>
                  </a:moveTo>
                  <a:lnTo>
                    <a:pt x="4277869" y="4308536"/>
                  </a:lnTo>
                  <a:lnTo>
                    <a:pt x="4007457" y="4579647"/>
                  </a:lnTo>
                  <a:lnTo>
                    <a:pt x="4270882" y="4579647"/>
                  </a:lnTo>
                  <a:lnTo>
                    <a:pt x="4541294" y="4308536"/>
                  </a:lnTo>
                  <a:lnTo>
                    <a:pt x="4407136" y="4175077"/>
                  </a:lnTo>
                  <a:lnTo>
                    <a:pt x="4314482" y="4082896"/>
                  </a:lnTo>
                  <a:lnTo>
                    <a:pt x="4313316" y="4082896"/>
                  </a:lnTo>
                  <a:lnTo>
                    <a:pt x="4270692" y="4040272"/>
                  </a:lnTo>
                  <a:close/>
                  <a:moveTo>
                    <a:pt x="2354051" y="3769161"/>
                  </a:moveTo>
                  <a:lnTo>
                    <a:pt x="2084461" y="4039450"/>
                  </a:lnTo>
                  <a:lnTo>
                    <a:pt x="2353542" y="4307838"/>
                  </a:lnTo>
                  <a:lnTo>
                    <a:pt x="2616967" y="4307838"/>
                  </a:lnTo>
                  <a:lnTo>
                    <a:pt x="2392140" y="4083594"/>
                  </a:lnTo>
                  <a:lnTo>
                    <a:pt x="2391783" y="4083594"/>
                  </a:lnTo>
                  <a:lnTo>
                    <a:pt x="2347762" y="4039573"/>
                  </a:lnTo>
                  <a:lnTo>
                    <a:pt x="2347884" y="4039452"/>
                  </a:lnTo>
                  <a:lnTo>
                    <a:pt x="2347254" y="4038823"/>
                  </a:lnTo>
                  <a:lnTo>
                    <a:pt x="2347952" y="4038124"/>
                  </a:lnTo>
                  <a:lnTo>
                    <a:pt x="2346555" y="4036727"/>
                  </a:lnTo>
                  <a:lnTo>
                    <a:pt x="2521938" y="3860644"/>
                  </a:lnTo>
                  <a:lnTo>
                    <a:pt x="2526691" y="3860644"/>
                  </a:lnTo>
                  <a:lnTo>
                    <a:pt x="2532230" y="3855106"/>
                  </a:lnTo>
                  <a:lnTo>
                    <a:pt x="2618174" y="3769161"/>
                  </a:lnTo>
                  <a:close/>
                  <a:moveTo>
                    <a:pt x="1804842" y="3769161"/>
                  </a:moveTo>
                  <a:lnTo>
                    <a:pt x="1535948" y="4038751"/>
                  </a:lnTo>
                  <a:lnTo>
                    <a:pt x="1805731" y="4307838"/>
                  </a:lnTo>
                  <a:lnTo>
                    <a:pt x="2069155" y="4307838"/>
                  </a:lnTo>
                  <a:lnTo>
                    <a:pt x="1939190" y="4177872"/>
                  </a:lnTo>
                  <a:lnTo>
                    <a:pt x="1844912" y="4083594"/>
                  </a:lnTo>
                  <a:lnTo>
                    <a:pt x="1841875" y="4083594"/>
                  </a:lnTo>
                  <a:lnTo>
                    <a:pt x="1798553" y="4040272"/>
                  </a:lnTo>
                  <a:lnTo>
                    <a:pt x="1800069" y="4038752"/>
                  </a:lnTo>
                  <a:lnTo>
                    <a:pt x="1798743" y="4037426"/>
                  </a:lnTo>
                  <a:lnTo>
                    <a:pt x="1974825" y="3860644"/>
                  </a:lnTo>
                  <a:lnTo>
                    <a:pt x="1977718" y="3860644"/>
                  </a:lnTo>
                  <a:lnTo>
                    <a:pt x="2068965" y="3769161"/>
                  </a:lnTo>
                  <a:close/>
                  <a:moveTo>
                    <a:pt x="1257031" y="3769161"/>
                  </a:moveTo>
                  <a:lnTo>
                    <a:pt x="987788" y="4039100"/>
                  </a:lnTo>
                  <a:lnTo>
                    <a:pt x="1257220" y="4307838"/>
                  </a:lnTo>
                  <a:lnTo>
                    <a:pt x="1519946" y="4307838"/>
                  </a:lnTo>
                  <a:lnTo>
                    <a:pt x="1294422" y="4082896"/>
                  </a:lnTo>
                  <a:lnTo>
                    <a:pt x="1293365" y="4082896"/>
                  </a:lnTo>
                  <a:lnTo>
                    <a:pt x="1250742" y="4040272"/>
                  </a:lnTo>
                  <a:lnTo>
                    <a:pt x="1251213" y="4039800"/>
                  </a:lnTo>
                  <a:lnTo>
                    <a:pt x="1249534" y="4038124"/>
                  </a:lnTo>
                  <a:lnTo>
                    <a:pt x="1250932" y="4036727"/>
                  </a:lnTo>
                  <a:lnTo>
                    <a:pt x="1426315" y="3860644"/>
                  </a:lnTo>
                  <a:lnTo>
                    <a:pt x="1429907" y="3860644"/>
                  </a:lnTo>
                  <a:lnTo>
                    <a:pt x="1521154" y="3769161"/>
                  </a:lnTo>
                  <a:close/>
                  <a:moveTo>
                    <a:pt x="709219" y="3769161"/>
                  </a:moveTo>
                  <a:lnTo>
                    <a:pt x="438807" y="4040272"/>
                  </a:lnTo>
                  <a:lnTo>
                    <a:pt x="480732" y="4082197"/>
                  </a:lnTo>
                  <a:lnTo>
                    <a:pt x="480499" y="4082197"/>
                  </a:lnTo>
                  <a:lnTo>
                    <a:pt x="708011" y="4308536"/>
                  </a:lnTo>
                  <a:lnTo>
                    <a:pt x="972135" y="4308536"/>
                  </a:lnTo>
                  <a:lnTo>
                    <a:pt x="745211" y="4082197"/>
                  </a:lnTo>
                  <a:lnTo>
                    <a:pt x="744855" y="4082197"/>
                  </a:lnTo>
                  <a:lnTo>
                    <a:pt x="702930" y="4040272"/>
                  </a:lnTo>
                  <a:lnTo>
                    <a:pt x="703053" y="4040149"/>
                  </a:lnTo>
                  <a:lnTo>
                    <a:pt x="701024" y="4038124"/>
                  </a:lnTo>
                  <a:lnTo>
                    <a:pt x="878504" y="3860644"/>
                  </a:lnTo>
                  <a:lnTo>
                    <a:pt x="882095" y="3860644"/>
                  </a:lnTo>
                  <a:lnTo>
                    <a:pt x="973342" y="3769161"/>
                  </a:lnTo>
                  <a:close/>
                  <a:moveTo>
                    <a:pt x="3451072" y="3767066"/>
                  </a:moveTo>
                  <a:lnTo>
                    <a:pt x="3181135" y="4037702"/>
                  </a:lnTo>
                  <a:lnTo>
                    <a:pt x="3312910" y="4168788"/>
                  </a:lnTo>
                  <a:lnTo>
                    <a:pt x="3312910" y="4169487"/>
                  </a:lnTo>
                  <a:lnTo>
                    <a:pt x="3450563" y="4306440"/>
                  </a:lnTo>
                  <a:lnTo>
                    <a:pt x="3714686" y="4306440"/>
                  </a:lnTo>
                  <a:lnTo>
                    <a:pt x="3490444" y="4082197"/>
                  </a:lnTo>
                  <a:lnTo>
                    <a:pt x="3489503" y="4082197"/>
                  </a:lnTo>
                  <a:lnTo>
                    <a:pt x="3444084" y="4036779"/>
                  </a:lnTo>
                  <a:lnTo>
                    <a:pt x="3444556" y="4036310"/>
                  </a:lnTo>
                  <a:lnTo>
                    <a:pt x="3444274" y="4036028"/>
                  </a:lnTo>
                  <a:lnTo>
                    <a:pt x="3618959" y="3860644"/>
                  </a:lnTo>
                  <a:lnTo>
                    <a:pt x="3621132" y="3860644"/>
                  </a:lnTo>
                  <a:lnTo>
                    <a:pt x="3715195" y="3767066"/>
                  </a:lnTo>
                  <a:close/>
                  <a:moveTo>
                    <a:pt x="3999582" y="3766367"/>
                  </a:moveTo>
                  <a:lnTo>
                    <a:pt x="3729642" y="4037004"/>
                  </a:lnTo>
                  <a:lnTo>
                    <a:pt x="3999073" y="4305741"/>
                  </a:lnTo>
                  <a:lnTo>
                    <a:pt x="4263197" y="4305741"/>
                  </a:lnTo>
                  <a:lnTo>
                    <a:pt x="4039076" y="4082197"/>
                  </a:lnTo>
                  <a:lnTo>
                    <a:pt x="4038711" y="4082197"/>
                  </a:lnTo>
                  <a:lnTo>
                    <a:pt x="3992595" y="4036080"/>
                  </a:lnTo>
                  <a:lnTo>
                    <a:pt x="3992717" y="4035958"/>
                  </a:lnTo>
                  <a:lnTo>
                    <a:pt x="3992086" y="4035329"/>
                  </a:lnTo>
                  <a:lnTo>
                    <a:pt x="4166770" y="3860644"/>
                  </a:lnTo>
                  <a:lnTo>
                    <a:pt x="4168939" y="3860644"/>
                  </a:lnTo>
                  <a:lnTo>
                    <a:pt x="4263706" y="3766367"/>
                  </a:lnTo>
                  <a:close/>
                  <a:moveTo>
                    <a:pt x="4547394" y="3765668"/>
                  </a:moveTo>
                  <a:lnTo>
                    <a:pt x="4277804" y="4035954"/>
                  </a:lnTo>
                  <a:lnTo>
                    <a:pt x="4410630" y="4168089"/>
                  </a:lnTo>
                  <a:lnTo>
                    <a:pt x="4547584" y="4305042"/>
                  </a:lnTo>
                  <a:lnTo>
                    <a:pt x="4811706" y="4305042"/>
                  </a:lnTo>
                  <a:lnTo>
                    <a:pt x="4588162" y="4081498"/>
                  </a:lnTo>
                  <a:lnTo>
                    <a:pt x="4587920" y="4081498"/>
                  </a:lnTo>
                  <a:lnTo>
                    <a:pt x="4541105" y="4035381"/>
                  </a:lnTo>
                  <a:lnTo>
                    <a:pt x="4541576" y="4034912"/>
                  </a:lnTo>
                  <a:lnTo>
                    <a:pt x="4541294" y="4034630"/>
                  </a:lnTo>
                  <a:lnTo>
                    <a:pt x="4542692" y="4033233"/>
                  </a:lnTo>
                  <a:lnTo>
                    <a:pt x="4714582" y="3860644"/>
                  </a:lnTo>
                  <a:lnTo>
                    <a:pt x="4716295" y="3860644"/>
                  </a:lnTo>
                  <a:lnTo>
                    <a:pt x="4811517" y="3765668"/>
                  </a:lnTo>
                  <a:close/>
                  <a:moveTo>
                    <a:pt x="1264018" y="3493858"/>
                  </a:moveTo>
                  <a:lnTo>
                    <a:pt x="1535828" y="3763572"/>
                  </a:lnTo>
                  <a:lnTo>
                    <a:pt x="1266165" y="4033931"/>
                  </a:lnTo>
                  <a:lnTo>
                    <a:pt x="1527632" y="4033931"/>
                  </a:lnTo>
                  <a:lnTo>
                    <a:pt x="1700221" y="3860644"/>
                  </a:lnTo>
                  <a:lnTo>
                    <a:pt x="1702878" y="3860644"/>
                  </a:lnTo>
                  <a:lnTo>
                    <a:pt x="1799252" y="3764270"/>
                  </a:lnTo>
                  <a:lnTo>
                    <a:pt x="1665094" y="3630811"/>
                  </a:lnTo>
                  <a:lnTo>
                    <a:pt x="1528141" y="3493858"/>
                  </a:lnTo>
                  <a:close/>
                  <a:moveTo>
                    <a:pt x="715508" y="3493858"/>
                  </a:moveTo>
                  <a:lnTo>
                    <a:pt x="986618" y="3764270"/>
                  </a:lnTo>
                  <a:lnTo>
                    <a:pt x="716955" y="4034630"/>
                  </a:lnTo>
                  <a:lnTo>
                    <a:pt x="979122" y="4034630"/>
                  </a:lnTo>
                  <a:lnTo>
                    <a:pt x="1067862" y="3945192"/>
                  </a:lnTo>
                  <a:lnTo>
                    <a:pt x="1152410" y="3860644"/>
                  </a:lnTo>
                  <a:lnTo>
                    <a:pt x="1154616" y="3860644"/>
                  </a:lnTo>
                  <a:lnTo>
                    <a:pt x="1250742" y="3764270"/>
                  </a:lnTo>
                  <a:lnTo>
                    <a:pt x="979631" y="3493858"/>
                  </a:lnTo>
                  <a:close/>
                  <a:moveTo>
                    <a:pt x="165601" y="3493858"/>
                  </a:moveTo>
                  <a:lnTo>
                    <a:pt x="436711" y="3764270"/>
                  </a:lnTo>
                  <a:lnTo>
                    <a:pt x="438108" y="3764969"/>
                  </a:lnTo>
                  <a:lnTo>
                    <a:pt x="169094" y="4034682"/>
                  </a:lnTo>
                  <a:lnTo>
                    <a:pt x="365440" y="4034682"/>
                  </a:lnTo>
                  <a:lnTo>
                    <a:pt x="365116" y="4035329"/>
                  </a:lnTo>
                  <a:lnTo>
                    <a:pt x="430612" y="4035329"/>
                  </a:lnTo>
                  <a:lnTo>
                    <a:pt x="604598" y="3860644"/>
                  </a:lnTo>
                  <a:lnTo>
                    <a:pt x="606802" y="3860644"/>
                  </a:lnTo>
                  <a:lnTo>
                    <a:pt x="701533" y="3765668"/>
                  </a:lnTo>
                  <a:lnTo>
                    <a:pt x="430423" y="3495256"/>
                  </a:lnTo>
                  <a:lnTo>
                    <a:pt x="362644" y="3493858"/>
                  </a:lnTo>
                  <a:close/>
                  <a:moveTo>
                    <a:pt x="2361039" y="3493160"/>
                  </a:moveTo>
                  <a:lnTo>
                    <a:pt x="2631451" y="3762174"/>
                  </a:lnTo>
                  <a:lnTo>
                    <a:pt x="2628655" y="3764969"/>
                  </a:lnTo>
                  <a:lnTo>
                    <a:pt x="2538519" y="3855806"/>
                  </a:lnTo>
                  <a:lnTo>
                    <a:pt x="2361789" y="4032535"/>
                  </a:lnTo>
                  <a:lnTo>
                    <a:pt x="2624653" y="4032535"/>
                  </a:lnTo>
                  <a:lnTo>
                    <a:pt x="2795844" y="3860644"/>
                  </a:lnTo>
                  <a:lnTo>
                    <a:pt x="2797802" y="3860644"/>
                  </a:lnTo>
                  <a:lnTo>
                    <a:pt x="2895574" y="3762873"/>
                  </a:lnTo>
                  <a:lnTo>
                    <a:pt x="2625162" y="3493160"/>
                  </a:lnTo>
                  <a:close/>
                  <a:moveTo>
                    <a:pt x="1812528" y="3493160"/>
                  </a:moveTo>
                  <a:lnTo>
                    <a:pt x="1813926" y="3494557"/>
                  </a:lnTo>
                  <a:lnTo>
                    <a:pt x="2083639" y="3763572"/>
                  </a:lnTo>
                  <a:lnTo>
                    <a:pt x="1814673" y="4033233"/>
                  </a:lnTo>
                  <a:lnTo>
                    <a:pt x="2076143" y="4033233"/>
                  </a:lnTo>
                  <a:lnTo>
                    <a:pt x="2248033" y="3860644"/>
                  </a:lnTo>
                  <a:lnTo>
                    <a:pt x="2250940" y="3860644"/>
                  </a:lnTo>
                  <a:lnTo>
                    <a:pt x="2347762" y="3763572"/>
                  </a:lnTo>
                  <a:lnTo>
                    <a:pt x="2342173" y="3758681"/>
                  </a:lnTo>
                  <a:lnTo>
                    <a:pt x="2076652" y="3493160"/>
                  </a:lnTo>
                  <a:close/>
                  <a:moveTo>
                    <a:pt x="4005871" y="3491064"/>
                  </a:moveTo>
                  <a:lnTo>
                    <a:pt x="4277680" y="3760776"/>
                  </a:lnTo>
                  <a:lnTo>
                    <a:pt x="4008016" y="4031137"/>
                  </a:lnTo>
                  <a:lnTo>
                    <a:pt x="4270183" y="4031137"/>
                  </a:lnTo>
                  <a:lnTo>
                    <a:pt x="4359622" y="3941698"/>
                  </a:lnTo>
                  <a:lnTo>
                    <a:pt x="4440676" y="3860644"/>
                  </a:lnTo>
                  <a:lnTo>
                    <a:pt x="4441937" y="3860644"/>
                  </a:lnTo>
                  <a:lnTo>
                    <a:pt x="4541105" y="3761476"/>
                  </a:lnTo>
                  <a:lnTo>
                    <a:pt x="4406947" y="3628017"/>
                  </a:lnTo>
                  <a:lnTo>
                    <a:pt x="4269994" y="3491064"/>
                  </a:lnTo>
                  <a:close/>
                  <a:moveTo>
                    <a:pt x="3721484" y="3490365"/>
                  </a:moveTo>
                  <a:lnTo>
                    <a:pt x="3457360" y="3491064"/>
                  </a:lnTo>
                  <a:lnTo>
                    <a:pt x="3728471" y="3761476"/>
                  </a:lnTo>
                  <a:lnTo>
                    <a:pt x="3458808" y="4031836"/>
                  </a:lnTo>
                  <a:lnTo>
                    <a:pt x="3721674" y="4031836"/>
                  </a:lnTo>
                  <a:lnTo>
                    <a:pt x="3892166" y="3859946"/>
                  </a:lnTo>
                  <a:lnTo>
                    <a:pt x="3893935" y="3859946"/>
                  </a:lnTo>
                  <a:lnTo>
                    <a:pt x="3992595" y="3760776"/>
                  </a:lnTo>
                  <a:close/>
                  <a:moveTo>
                    <a:pt x="707821" y="3220651"/>
                  </a:moveTo>
                  <a:lnTo>
                    <a:pt x="437409" y="3491762"/>
                  </a:lnTo>
                  <a:lnTo>
                    <a:pt x="570170" y="3623824"/>
                  </a:lnTo>
                  <a:lnTo>
                    <a:pt x="708520" y="3761476"/>
                  </a:lnTo>
                  <a:lnTo>
                    <a:pt x="972643" y="3761476"/>
                  </a:lnTo>
                  <a:lnTo>
                    <a:pt x="701533" y="3491064"/>
                  </a:lnTo>
                  <a:lnTo>
                    <a:pt x="971945" y="3220651"/>
                  </a:lnTo>
                  <a:close/>
                  <a:moveTo>
                    <a:pt x="1256332" y="3219953"/>
                  </a:moveTo>
                  <a:lnTo>
                    <a:pt x="985920" y="3491064"/>
                  </a:lnTo>
                  <a:lnTo>
                    <a:pt x="1257031" y="3761476"/>
                  </a:lnTo>
                  <a:lnTo>
                    <a:pt x="1521154" y="3760776"/>
                  </a:lnTo>
                  <a:lnTo>
                    <a:pt x="1250043" y="3490365"/>
                  </a:lnTo>
                  <a:lnTo>
                    <a:pt x="1434510" y="3305898"/>
                  </a:lnTo>
                  <a:lnTo>
                    <a:pt x="1520455" y="3219953"/>
                  </a:lnTo>
                  <a:close/>
                  <a:moveTo>
                    <a:pt x="1804143" y="3219255"/>
                  </a:moveTo>
                  <a:lnTo>
                    <a:pt x="1623869" y="3400228"/>
                  </a:lnTo>
                  <a:lnTo>
                    <a:pt x="1534430" y="3490365"/>
                  </a:lnTo>
                  <a:lnTo>
                    <a:pt x="1668588" y="3623824"/>
                  </a:lnTo>
                  <a:lnTo>
                    <a:pt x="1805541" y="3760776"/>
                  </a:lnTo>
                  <a:lnTo>
                    <a:pt x="2069664" y="3760078"/>
                  </a:lnTo>
                  <a:lnTo>
                    <a:pt x="1798553" y="3489666"/>
                  </a:lnTo>
                  <a:lnTo>
                    <a:pt x="1799951" y="3488269"/>
                  </a:lnTo>
                  <a:lnTo>
                    <a:pt x="2068266" y="3219255"/>
                  </a:lnTo>
                  <a:close/>
                  <a:moveTo>
                    <a:pt x="2353352" y="3218555"/>
                  </a:moveTo>
                  <a:lnTo>
                    <a:pt x="2082940" y="3489666"/>
                  </a:lnTo>
                  <a:lnTo>
                    <a:pt x="2354051" y="3760078"/>
                  </a:lnTo>
                  <a:lnTo>
                    <a:pt x="2618174" y="3760078"/>
                  </a:lnTo>
                  <a:lnTo>
                    <a:pt x="2347064" y="3489666"/>
                  </a:lnTo>
                  <a:lnTo>
                    <a:pt x="2617476" y="3218555"/>
                  </a:lnTo>
                  <a:close/>
                  <a:moveTo>
                    <a:pt x="3449674" y="3217158"/>
                  </a:moveTo>
                  <a:lnTo>
                    <a:pt x="3179262" y="3488269"/>
                  </a:lnTo>
                  <a:lnTo>
                    <a:pt x="3450373" y="3758681"/>
                  </a:lnTo>
                  <a:lnTo>
                    <a:pt x="3714496" y="3758681"/>
                  </a:lnTo>
                  <a:lnTo>
                    <a:pt x="3443385" y="3488269"/>
                  </a:lnTo>
                  <a:lnTo>
                    <a:pt x="3713797" y="3217158"/>
                  </a:lnTo>
                  <a:close/>
                  <a:moveTo>
                    <a:pt x="3998184" y="3216459"/>
                  </a:moveTo>
                  <a:lnTo>
                    <a:pt x="3727772" y="3487570"/>
                  </a:lnTo>
                  <a:lnTo>
                    <a:pt x="3998883" y="3757982"/>
                  </a:lnTo>
                  <a:lnTo>
                    <a:pt x="4263007" y="3757283"/>
                  </a:lnTo>
                  <a:lnTo>
                    <a:pt x="3991896" y="3486871"/>
                  </a:lnTo>
                  <a:lnTo>
                    <a:pt x="4176362" y="3302404"/>
                  </a:lnTo>
                  <a:lnTo>
                    <a:pt x="4177062" y="3302404"/>
                  </a:lnTo>
                  <a:lnTo>
                    <a:pt x="4262308" y="3216459"/>
                  </a:lnTo>
                  <a:close/>
                  <a:moveTo>
                    <a:pt x="4546695" y="3215760"/>
                  </a:moveTo>
                  <a:lnTo>
                    <a:pt x="4366420" y="3396734"/>
                  </a:lnTo>
                  <a:lnTo>
                    <a:pt x="4365722" y="3396734"/>
                  </a:lnTo>
                  <a:lnTo>
                    <a:pt x="4276282" y="3486871"/>
                  </a:lnTo>
                  <a:lnTo>
                    <a:pt x="4410440" y="3620330"/>
                  </a:lnTo>
                  <a:lnTo>
                    <a:pt x="4547394" y="3757283"/>
                  </a:lnTo>
                  <a:lnTo>
                    <a:pt x="4811517" y="3757283"/>
                  </a:lnTo>
                  <a:lnTo>
                    <a:pt x="4540406" y="3486871"/>
                  </a:lnTo>
                  <a:lnTo>
                    <a:pt x="4542503" y="3485473"/>
                  </a:lnTo>
                  <a:lnTo>
                    <a:pt x="4810119" y="3215760"/>
                  </a:lnTo>
                  <a:close/>
                  <a:moveTo>
                    <a:pt x="1263319" y="2946047"/>
                  </a:moveTo>
                  <a:lnTo>
                    <a:pt x="1534430" y="3215760"/>
                  </a:lnTo>
                  <a:lnTo>
                    <a:pt x="1531636" y="3218555"/>
                  </a:lnTo>
                  <a:lnTo>
                    <a:pt x="1441498" y="3309391"/>
                  </a:lnTo>
                  <a:lnTo>
                    <a:pt x="1264018" y="3486871"/>
                  </a:lnTo>
                  <a:lnTo>
                    <a:pt x="1528141" y="3486871"/>
                  </a:lnTo>
                  <a:lnTo>
                    <a:pt x="1617580" y="3397432"/>
                  </a:lnTo>
                  <a:lnTo>
                    <a:pt x="1798553" y="3216459"/>
                  </a:lnTo>
                  <a:lnTo>
                    <a:pt x="1527442" y="2946047"/>
                  </a:lnTo>
                  <a:close/>
                  <a:moveTo>
                    <a:pt x="714809" y="2946047"/>
                  </a:moveTo>
                  <a:lnTo>
                    <a:pt x="843377" y="3074615"/>
                  </a:lnTo>
                  <a:lnTo>
                    <a:pt x="985221" y="3216459"/>
                  </a:lnTo>
                  <a:lnTo>
                    <a:pt x="714809" y="3487570"/>
                  </a:lnTo>
                  <a:lnTo>
                    <a:pt x="978932" y="3487570"/>
                  </a:lnTo>
                  <a:lnTo>
                    <a:pt x="1249344" y="3216459"/>
                  </a:lnTo>
                  <a:lnTo>
                    <a:pt x="1244453" y="3211568"/>
                  </a:lnTo>
                  <a:lnTo>
                    <a:pt x="978932" y="2946047"/>
                  </a:lnTo>
                  <a:close/>
                  <a:moveTo>
                    <a:pt x="164902" y="2946047"/>
                  </a:moveTo>
                  <a:lnTo>
                    <a:pt x="436013" y="3215760"/>
                  </a:lnTo>
                  <a:lnTo>
                    <a:pt x="433217" y="3218555"/>
                  </a:lnTo>
                  <a:lnTo>
                    <a:pt x="343079" y="3309391"/>
                  </a:lnTo>
                  <a:lnTo>
                    <a:pt x="165601" y="3486871"/>
                  </a:lnTo>
                  <a:lnTo>
                    <a:pt x="429724" y="3486871"/>
                  </a:lnTo>
                  <a:lnTo>
                    <a:pt x="519162" y="3397432"/>
                  </a:lnTo>
                  <a:lnTo>
                    <a:pt x="700136" y="3216459"/>
                  </a:lnTo>
                  <a:lnTo>
                    <a:pt x="429025" y="2946047"/>
                  </a:lnTo>
                  <a:close/>
                  <a:moveTo>
                    <a:pt x="2908151" y="2945348"/>
                  </a:moveTo>
                  <a:lnTo>
                    <a:pt x="3179262" y="3215760"/>
                  </a:lnTo>
                  <a:lnTo>
                    <a:pt x="2908850" y="3486871"/>
                  </a:lnTo>
                  <a:lnTo>
                    <a:pt x="3107292" y="3486871"/>
                  </a:lnTo>
                  <a:lnTo>
                    <a:pt x="3103798" y="3493858"/>
                  </a:lnTo>
                  <a:lnTo>
                    <a:pt x="2908850" y="3493858"/>
                  </a:lnTo>
                  <a:lnTo>
                    <a:pt x="3038815" y="3623824"/>
                  </a:lnTo>
                  <a:lnTo>
                    <a:pt x="3035322" y="3630811"/>
                  </a:lnTo>
                  <a:lnTo>
                    <a:pt x="2894875" y="3490365"/>
                  </a:lnTo>
                  <a:lnTo>
                    <a:pt x="3165287" y="3219255"/>
                  </a:lnTo>
                  <a:lnTo>
                    <a:pt x="2901164" y="3219255"/>
                  </a:lnTo>
                  <a:lnTo>
                    <a:pt x="2630752" y="3490365"/>
                  </a:lnTo>
                  <a:lnTo>
                    <a:pt x="2901863" y="3760776"/>
                  </a:lnTo>
                  <a:lnTo>
                    <a:pt x="2970339" y="3760776"/>
                  </a:lnTo>
                  <a:lnTo>
                    <a:pt x="2966846" y="3767764"/>
                  </a:lnTo>
                  <a:lnTo>
                    <a:pt x="2901863" y="3767764"/>
                  </a:lnTo>
                  <a:lnTo>
                    <a:pt x="2721588" y="3948738"/>
                  </a:lnTo>
                  <a:lnTo>
                    <a:pt x="2633317" y="4037700"/>
                  </a:lnTo>
                  <a:lnTo>
                    <a:pt x="2902751" y="4306440"/>
                  </a:lnTo>
                  <a:lnTo>
                    <a:pt x="3165477" y="4306440"/>
                  </a:lnTo>
                  <a:lnTo>
                    <a:pt x="3036210" y="4177174"/>
                  </a:lnTo>
                  <a:lnTo>
                    <a:pt x="3036909" y="4176475"/>
                  </a:lnTo>
                  <a:lnTo>
                    <a:pt x="2942163" y="4082197"/>
                  </a:lnTo>
                  <a:lnTo>
                    <a:pt x="2940992" y="4082197"/>
                  </a:lnTo>
                  <a:lnTo>
                    <a:pt x="2896273" y="4037478"/>
                  </a:lnTo>
                  <a:lnTo>
                    <a:pt x="2896745" y="4037005"/>
                  </a:lnTo>
                  <a:lnTo>
                    <a:pt x="2895764" y="4036028"/>
                  </a:lnTo>
                  <a:lnTo>
                    <a:pt x="3070448" y="3860644"/>
                  </a:lnTo>
                  <a:lnTo>
                    <a:pt x="3072651" y="3860644"/>
                  </a:lnTo>
                  <a:lnTo>
                    <a:pt x="3165986" y="3767066"/>
                  </a:lnTo>
                  <a:lnTo>
                    <a:pt x="2967543" y="3767066"/>
                  </a:lnTo>
                  <a:lnTo>
                    <a:pt x="2971038" y="3760078"/>
                  </a:lnTo>
                  <a:lnTo>
                    <a:pt x="3165986" y="3760078"/>
                  </a:lnTo>
                  <a:lnTo>
                    <a:pt x="3036021" y="3630113"/>
                  </a:lnTo>
                  <a:lnTo>
                    <a:pt x="3039514" y="3623126"/>
                  </a:lnTo>
                  <a:lnTo>
                    <a:pt x="3179961" y="3763572"/>
                  </a:lnTo>
                  <a:lnTo>
                    <a:pt x="2912388" y="4031836"/>
                  </a:lnTo>
                  <a:lnTo>
                    <a:pt x="3173163" y="4031836"/>
                  </a:lnTo>
                  <a:lnTo>
                    <a:pt x="3262601" y="3942397"/>
                  </a:lnTo>
                  <a:lnTo>
                    <a:pt x="3344354" y="3860644"/>
                  </a:lnTo>
                  <a:lnTo>
                    <a:pt x="3347262" y="3860644"/>
                  </a:lnTo>
                  <a:lnTo>
                    <a:pt x="3444084" y="3763572"/>
                  </a:lnTo>
                  <a:lnTo>
                    <a:pt x="3172973" y="3493858"/>
                  </a:lnTo>
                  <a:lnTo>
                    <a:pt x="3104497" y="3493858"/>
                  </a:lnTo>
                  <a:lnTo>
                    <a:pt x="3107990" y="3486871"/>
                  </a:lnTo>
                  <a:lnTo>
                    <a:pt x="3172973" y="3486871"/>
                  </a:lnTo>
                  <a:lnTo>
                    <a:pt x="3443385" y="3215760"/>
                  </a:lnTo>
                  <a:lnTo>
                    <a:pt x="3309227" y="3082301"/>
                  </a:lnTo>
                  <a:lnTo>
                    <a:pt x="3172275" y="2945348"/>
                  </a:lnTo>
                  <a:close/>
                  <a:moveTo>
                    <a:pt x="1811829" y="2944649"/>
                  </a:moveTo>
                  <a:lnTo>
                    <a:pt x="1941795" y="3074615"/>
                  </a:lnTo>
                  <a:lnTo>
                    <a:pt x="2082940" y="3215061"/>
                  </a:lnTo>
                  <a:lnTo>
                    <a:pt x="1812528" y="3486172"/>
                  </a:lnTo>
                  <a:lnTo>
                    <a:pt x="2076652" y="3486172"/>
                  </a:lnTo>
                  <a:lnTo>
                    <a:pt x="2347064" y="3215061"/>
                  </a:lnTo>
                  <a:lnTo>
                    <a:pt x="2075953" y="2944649"/>
                  </a:lnTo>
                  <a:close/>
                  <a:moveTo>
                    <a:pt x="2360340" y="2943952"/>
                  </a:moveTo>
                  <a:lnTo>
                    <a:pt x="2631451" y="3214364"/>
                  </a:lnTo>
                  <a:lnTo>
                    <a:pt x="2361039" y="3485473"/>
                  </a:lnTo>
                  <a:lnTo>
                    <a:pt x="2625162" y="3485473"/>
                  </a:lnTo>
                  <a:lnTo>
                    <a:pt x="2895574" y="3214364"/>
                  </a:lnTo>
                  <a:lnTo>
                    <a:pt x="2624463" y="2943952"/>
                  </a:lnTo>
                  <a:close/>
                  <a:moveTo>
                    <a:pt x="4005871" y="2943253"/>
                  </a:moveTo>
                  <a:lnTo>
                    <a:pt x="4275584" y="3212267"/>
                  </a:lnTo>
                  <a:lnTo>
                    <a:pt x="4272789" y="3215061"/>
                  </a:lnTo>
                  <a:lnTo>
                    <a:pt x="4182652" y="3305898"/>
                  </a:lnTo>
                  <a:lnTo>
                    <a:pt x="4181952" y="3305898"/>
                  </a:lnTo>
                  <a:lnTo>
                    <a:pt x="4005172" y="3483378"/>
                  </a:lnTo>
                  <a:lnTo>
                    <a:pt x="4269295" y="3483378"/>
                  </a:lnTo>
                  <a:lnTo>
                    <a:pt x="4358734" y="3393939"/>
                  </a:lnTo>
                  <a:lnTo>
                    <a:pt x="4359432" y="3393939"/>
                  </a:lnTo>
                  <a:lnTo>
                    <a:pt x="4541105" y="3213665"/>
                  </a:lnTo>
                  <a:lnTo>
                    <a:pt x="4269994" y="2943253"/>
                  </a:lnTo>
                  <a:close/>
                  <a:moveTo>
                    <a:pt x="3457360" y="2943253"/>
                  </a:moveTo>
                  <a:lnTo>
                    <a:pt x="3458059" y="2943952"/>
                  </a:lnTo>
                  <a:lnTo>
                    <a:pt x="3458758" y="2943952"/>
                  </a:lnTo>
                  <a:lnTo>
                    <a:pt x="3727772" y="3212966"/>
                  </a:lnTo>
                  <a:lnTo>
                    <a:pt x="3457360" y="3484077"/>
                  </a:lnTo>
                  <a:lnTo>
                    <a:pt x="3721484" y="3484077"/>
                  </a:lnTo>
                  <a:lnTo>
                    <a:pt x="3991896" y="3213665"/>
                  </a:lnTo>
                  <a:lnTo>
                    <a:pt x="3987005" y="3208074"/>
                  </a:lnTo>
                  <a:lnTo>
                    <a:pt x="3721484" y="2943253"/>
                  </a:lnTo>
                  <a:close/>
                  <a:moveTo>
                    <a:pt x="1255633" y="2671443"/>
                  </a:moveTo>
                  <a:lnTo>
                    <a:pt x="985221" y="2942554"/>
                  </a:lnTo>
                  <a:lnTo>
                    <a:pt x="1256332" y="3212966"/>
                  </a:lnTo>
                  <a:lnTo>
                    <a:pt x="1520455" y="3212966"/>
                  </a:lnTo>
                  <a:lnTo>
                    <a:pt x="1249344" y="2942554"/>
                  </a:lnTo>
                  <a:lnTo>
                    <a:pt x="1519757" y="2671443"/>
                  </a:lnTo>
                  <a:close/>
                  <a:moveTo>
                    <a:pt x="1804143" y="2670744"/>
                  </a:moveTo>
                  <a:lnTo>
                    <a:pt x="1533731" y="2941855"/>
                  </a:lnTo>
                  <a:lnTo>
                    <a:pt x="1805541" y="3212267"/>
                  </a:lnTo>
                  <a:lnTo>
                    <a:pt x="2068965" y="3212267"/>
                  </a:lnTo>
                  <a:lnTo>
                    <a:pt x="1938301" y="3082301"/>
                  </a:lnTo>
                  <a:lnTo>
                    <a:pt x="1797854" y="2941855"/>
                  </a:lnTo>
                  <a:lnTo>
                    <a:pt x="2068266" y="2670744"/>
                  </a:lnTo>
                  <a:close/>
                  <a:moveTo>
                    <a:pt x="705027" y="2670744"/>
                  </a:moveTo>
                  <a:lnTo>
                    <a:pt x="434615" y="2941855"/>
                  </a:lnTo>
                  <a:lnTo>
                    <a:pt x="705726" y="3212267"/>
                  </a:lnTo>
                  <a:lnTo>
                    <a:pt x="774202" y="3212267"/>
                  </a:lnTo>
                  <a:lnTo>
                    <a:pt x="773503" y="3213665"/>
                  </a:lnTo>
                  <a:lnTo>
                    <a:pt x="971247" y="3213665"/>
                  </a:lnTo>
                  <a:lnTo>
                    <a:pt x="839884" y="3082301"/>
                  </a:lnTo>
                  <a:lnTo>
                    <a:pt x="699437" y="2941855"/>
                  </a:lnTo>
                  <a:lnTo>
                    <a:pt x="968451" y="2672142"/>
                  </a:lnTo>
                  <a:lnTo>
                    <a:pt x="772105" y="2672142"/>
                  </a:lnTo>
                  <a:lnTo>
                    <a:pt x="772804" y="2670744"/>
                  </a:lnTo>
                  <a:close/>
                  <a:moveTo>
                    <a:pt x="2352653" y="2670045"/>
                  </a:moveTo>
                  <a:lnTo>
                    <a:pt x="2082241" y="2941156"/>
                  </a:lnTo>
                  <a:lnTo>
                    <a:pt x="2353352" y="3211568"/>
                  </a:lnTo>
                  <a:lnTo>
                    <a:pt x="2617476" y="3211568"/>
                  </a:lnTo>
                  <a:lnTo>
                    <a:pt x="2346365" y="2941156"/>
                  </a:lnTo>
                  <a:lnTo>
                    <a:pt x="2616777" y="2670045"/>
                  </a:lnTo>
                  <a:close/>
                  <a:moveTo>
                    <a:pt x="3998184" y="2667949"/>
                  </a:moveTo>
                  <a:lnTo>
                    <a:pt x="3727772" y="2939060"/>
                  </a:lnTo>
                  <a:lnTo>
                    <a:pt x="3998883" y="3209471"/>
                  </a:lnTo>
                  <a:lnTo>
                    <a:pt x="4263007" y="3209471"/>
                  </a:lnTo>
                  <a:lnTo>
                    <a:pt x="3991896" y="2939060"/>
                  </a:lnTo>
                  <a:lnTo>
                    <a:pt x="4262308" y="2667949"/>
                  </a:lnTo>
                  <a:close/>
                  <a:moveTo>
                    <a:pt x="4546695" y="2667250"/>
                  </a:moveTo>
                  <a:lnTo>
                    <a:pt x="4276282" y="2938360"/>
                  </a:lnTo>
                  <a:lnTo>
                    <a:pt x="4547394" y="3208772"/>
                  </a:lnTo>
                  <a:lnTo>
                    <a:pt x="4810818" y="3208772"/>
                  </a:lnTo>
                  <a:lnTo>
                    <a:pt x="4680852" y="3078808"/>
                  </a:lnTo>
                  <a:lnTo>
                    <a:pt x="4540406" y="2938360"/>
                  </a:lnTo>
                  <a:lnTo>
                    <a:pt x="4810818" y="2667250"/>
                  </a:lnTo>
                  <a:close/>
                  <a:moveTo>
                    <a:pt x="164203" y="2397537"/>
                  </a:moveTo>
                  <a:lnTo>
                    <a:pt x="435314" y="2667949"/>
                  </a:lnTo>
                  <a:lnTo>
                    <a:pt x="164902" y="2939060"/>
                  </a:lnTo>
                  <a:lnTo>
                    <a:pt x="429025" y="2939060"/>
                  </a:lnTo>
                  <a:lnTo>
                    <a:pt x="699437" y="2667949"/>
                  </a:lnTo>
                  <a:lnTo>
                    <a:pt x="428326" y="2397537"/>
                  </a:lnTo>
                  <a:close/>
                  <a:moveTo>
                    <a:pt x="1811131" y="2396838"/>
                  </a:moveTo>
                  <a:lnTo>
                    <a:pt x="2082940" y="2667250"/>
                  </a:lnTo>
                  <a:lnTo>
                    <a:pt x="1812528" y="2938360"/>
                  </a:lnTo>
                  <a:lnTo>
                    <a:pt x="2075953" y="2938360"/>
                  </a:lnTo>
                  <a:lnTo>
                    <a:pt x="2346365" y="2667250"/>
                  </a:lnTo>
                  <a:lnTo>
                    <a:pt x="2212208" y="2533791"/>
                  </a:lnTo>
                  <a:lnTo>
                    <a:pt x="2075254" y="2396838"/>
                  </a:lnTo>
                  <a:close/>
                  <a:moveTo>
                    <a:pt x="1262620" y="2396838"/>
                  </a:moveTo>
                  <a:lnTo>
                    <a:pt x="1533731" y="2667250"/>
                  </a:lnTo>
                  <a:lnTo>
                    <a:pt x="1263319" y="2938360"/>
                  </a:lnTo>
                  <a:lnTo>
                    <a:pt x="1527442" y="2938360"/>
                  </a:lnTo>
                  <a:lnTo>
                    <a:pt x="1797854" y="2667250"/>
                  </a:lnTo>
                  <a:lnTo>
                    <a:pt x="1526744" y="2396838"/>
                  </a:lnTo>
                  <a:close/>
                  <a:moveTo>
                    <a:pt x="2359641" y="2396139"/>
                  </a:moveTo>
                  <a:lnTo>
                    <a:pt x="2361039" y="2397537"/>
                  </a:lnTo>
                  <a:lnTo>
                    <a:pt x="2629354" y="2665853"/>
                  </a:lnTo>
                  <a:lnTo>
                    <a:pt x="2358942" y="2936964"/>
                  </a:lnTo>
                  <a:lnTo>
                    <a:pt x="2623065" y="2936964"/>
                  </a:lnTo>
                  <a:lnTo>
                    <a:pt x="2893477" y="2665853"/>
                  </a:lnTo>
                  <a:lnTo>
                    <a:pt x="2888586" y="2660962"/>
                  </a:lnTo>
                  <a:lnTo>
                    <a:pt x="2906055" y="2669346"/>
                  </a:lnTo>
                  <a:lnTo>
                    <a:pt x="2900465" y="2669346"/>
                  </a:lnTo>
                  <a:lnTo>
                    <a:pt x="2630053" y="2940457"/>
                  </a:lnTo>
                  <a:lnTo>
                    <a:pt x="2901164" y="3210869"/>
                  </a:lnTo>
                  <a:lnTo>
                    <a:pt x="3165287" y="3210869"/>
                  </a:lnTo>
                  <a:lnTo>
                    <a:pt x="2894875" y="2939758"/>
                  </a:lnTo>
                  <a:lnTo>
                    <a:pt x="3079343" y="2755292"/>
                  </a:lnTo>
                  <a:lnTo>
                    <a:pt x="3165287" y="2669346"/>
                  </a:lnTo>
                  <a:lnTo>
                    <a:pt x="2906754" y="2669346"/>
                  </a:lnTo>
                  <a:lnTo>
                    <a:pt x="2889285" y="2660962"/>
                  </a:lnTo>
                  <a:lnTo>
                    <a:pt x="2623764" y="2396139"/>
                  </a:lnTo>
                  <a:close/>
                  <a:moveTo>
                    <a:pt x="713412" y="2396139"/>
                  </a:moveTo>
                  <a:lnTo>
                    <a:pt x="844775" y="2527503"/>
                  </a:lnTo>
                  <a:lnTo>
                    <a:pt x="985221" y="2667949"/>
                  </a:lnTo>
                  <a:lnTo>
                    <a:pt x="716206" y="2937662"/>
                  </a:lnTo>
                  <a:lnTo>
                    <a:pt x="912552" y="2937662"/>
                  </a:lnTo>
                  <a:lnTo>
                    <a:pt x="911853" y="2939060"/>
                  </a:lnTo>
                  <a:lnTo>
                    <a:pt x="978932" y="2939060"/>
                  </a:lnTo>
                  <a:lnTo>
                    <a:pt x="1248646" y="2667949"/>
                  </a:lnTo>
                  <a:lnTo>
                    <a:pt x="1113090" y="2533092"/>
                  </a:lnTo>
                  <a:lnTo>
                    <a:pt x="1094923" y="2514926"/>
                  </a:lnTo>
                  <a:lnTo>
                    <a:pt x="977535" y="2398236"/>
                  </a:lnTo>
                  <a:lnTo>
                    <a:pt x="909058" y="2398236"/>
                  </a:lnTo>
                  <a:lnTo>
                    <a:pt x="909757" y="2396838"/>
                  </a:lnTo>
                  <a:close/>
                  <a:moveTo>
                    <a:pt x="2907452" y="2394742"/>
                  </a:moveTo>
                  <a:lnTo>
                    <a:pt x="3178563" y="2665154"/>
                  </a:lnTo>
                  <a:lnTo>
                    <a:pt x="3175769" y="2667949"/>
                  </a:lnTo>
                  <a:lnTo>
                    <a:pt x="3085631" y="2758785"/>
                  </a:lnTo>
                  <a:lnTo>
                    <a:pt x="2908151" y="2936265"/>
                  </a:lnTo>
                  <a:lnTo>
                    <a:pt x="3172275" y="2936265"/>
                  </a:lnTo>
                  <a:lnTo>
                    <a:pt x="3262412" y="2846826"/>
                  </a:lnTo>
                  <a:lnTo>
                    <a:pt x="3442687" y="2665154"/>
                  </a:lnTo>
                  <a:lnTo>
                    <a:pt x="3171576" y="2394742"/>
                  </a:lnTo>
                  <a:close/>
                  <a:moveTo>
                    <a:pt x="4004473" y="2394044"/>
                  </a:moveTo>
                  <a:lnTo>
                    <a:pt x="4275584" y="2663757"/>
                  </a:lnTo>
                  <a:lnTo>
                    <a:pt x="4005172" y="2934868"/>
                  </a:lnTo>
                  <a:lnTo>
                    <a:pt x="4269295" y="2934868"/>
                  </a:lnTo>
                  <a:lnTo>
                    <a:pt x="4539707" y="2664456"/>
                  </a:lnTo>
                  <a:lnTo>
                    <a:pt x="4268597" y="2394044"/>
                  </a:lnTo>
                  <a:close/>
                  <a:moveTo>
                    <a:pt x="1255633" y="2122933"/>
                  </a:moveTo>
                  <a:lnTo>
                    <a:pt x="985221" y="2394044"/>
                  </a:lnTo>
                  <a:lnTo>
                    <a:pt x="1117282" y="2526105"/>
                  </a:lnTo>
                  <a:lnTo>
                    <a:pt x="1255633" y="2664456"/>
                  </a:lnTo>
                  <a:lnTo>
                    <a:pt x="1519757" y="2664456"/>
                  </a:lnTo>
                  <a:lnTo>
                    <a:pt x="1248646" y="2394044"/>
                  </a:lnTo>
                  <a:lnTo>
                    <a:pt x="1519757" y="2122933"/>
                  </a:lnTo>
                  <a:close/>
                  <a:moveTo>
                    <a:pt x="2351955" y="2122234"/>
                  </a:moveTo>
                  <a:lnTo>
                    <a:pt x="2171680" y="2303207"/>
                  </a:lnTo>
                  <a:lnTo>
                    <a:pt x="2170981" y="2303207"/>
                  </a:lnTo>
                  <a:lnTo>
                    <a:pt x="2081543" y="2392646"/>
                  </a:lnTo>
                  <a:lnTo>
                    <a:pt x="2215701" y="2526804"/>
                  </a:lnTo>
                  <a:lnTo>
                    <a:pt x="2352653" y="2663058"/>
                  </a:lnTo>
                  <a:lnTo>
                    <a:pt x="2616078" y="2663058"/>
                  </a:lnTo>
                  <a:lnTo>
                    <a:pt x="2344968" y="2392646"/>
                  </a:lnTo>
                  <a:lnTo>
                    <a:pt x="2346365" y="2391248"/>
                  </a:lnTo>
                  <a:lnTo>
                    <a:pt x="2347064" y="2391248"/>
                  </a:lnTo>
                  <a:lnTo>
                    <a:pt x="2615379" y="2122234"/>
                  </a:lnTo>
                  <a:close/>
                  <a:moveTo>
                    <a:pt x="1803445" y="2122234"/>
                  </a:moveTo>
                  <a:lnTo>
                    <a:pt x="1533032" y="2393345"/>
                  </a:lnTo>
                  <a:lnTo>
                    <a:pt x="1803445" y="2663058"/>
                  </a:lnTo>
                  <a:lnTo>
                    <a:pt x="2067568" y="2663058"/>
                  </a:lnTo>
                  <a:lnTo>
                    <a:pt x="1796458" y="2392646"/>
                  </a:lnTo>
                  <a:lnTo>
                    <a:pt x="1980924" y="2208178"/>
                  </a:lnTo>
                  <a:lnTo>
                    <a:pt x="1981623" y="2208178"/>
                  </a:lnTo>
                  <a:lnTo>
                    <a:pt x="2067568" y="2122234"/>
                  </a:lnTo>
                  <a:close/>
                  <a:moveTo>
                    <a:pt x="2900465" y="2121535"/>
                  </a:moveTo>
                  <a:lnTo>
                    <a:pt x="2630053" y="2392646"/>
                  </a:lnTo>
                  <a:lnTo>
                    <a:pt x="2901164" y="2663058"/>
                  </a:lnTo>
                  <a:lnTo>
                    <a:pt x="3165287" y="2663058"/>
                  </a:lnTo>
                  <a:lnTo>
                    <a:pt x="2894176" y="2392646"/>
                  </a:lnTo>
                  <a:lnTo>
                    <a:pt x="3164588" y="2121535"/>
                  </a:lnTo>
                  <a:close/>
                  <a:moveTo>
                    <a:pt x="3997486" y="2120137"/>
                  </a:moveTo>
                  <a:lnTo>
                    <a:pt x="3727074" y="2391248"/>
                  </a:lnTo>
                  <a:lnTo>
                    <a:pt x="3998184" y="2661660"/>
                  </a:lnTo>
                  <a:lnTo>
                    <a:pt x="4262308" y="2661660"/>
                  </a:lnTo>
                  <a:lnTo>
                    <a:pt x="3991197" y="2391248"/>
                  </a:lnTo>
                  <a:lnTo>
                    <a:pt x="4261609" y="2120137"/>
                  </a:lnTo>
                  <a:close/>
                  <a:moveTo>
                    <a:pt x="4545996" y="2119439"/>
                  </a:moveTo>
                  <a:lnTo>
                    <a:pt x="4275584" y="2390549"/>
                  </a:lnTo>
                  <a:lnTo>
                    <a:pt x="4545996" y="2660263"/>
                  </a:lnTo>
                  <a:lnTo>
                    <a:pt x="4810119" y="2660263"/>
                  </a:lnTo>
                  <a:lnTo>
                    <a:pt x="4539009" y="2389851"/>
                  </a:lnTo>
                  <a:lnTo>
                    <a:pt x="4723476" y="2205384"/>
                  </a:lnTo>
                  <a:lnTo>
                    <a:pt x="4810119" y="2119439"/>
                  </a:lnTo>
                  <a:close/>
                  <a:moveTo>
                    <a:pt x="1261921" y="1849027"/>
                  </a:moveTo>
                  <a:lnTo>
                    <a:pt x="1262620" y="1849725"/>
                  </a:lnTo>
                  <a:lnTo>
                    <a:pt x="1263319" y="1849725"/>
                  </a:lnTo>
                  <a:lnTo>
                    <a:pt x="1532333" y="2118740"/>
                  </a:lnTo>
                  <a:lnTo>
                    <a:pt x="1261921" y="2389851"/>
                  </a:lnTo>
                  <a:lnTo>
                    <a:pt x="1526046" y="2389851"/>
                  </a:lnTo>
                  <a:lnTo>
                    <a:pt x="1796458" y="2118740"/>
                  </a:lnTo>
                  <a:lnTo>
                    <a:pt x="1791566" y="2113849"/>
                  </a:lnTo>
                  <a:lnTo>
                    <a:pt x="1526046" y="1849027"/>
                  </a:lnTo>
                  <a:close/>
                  <a:moveTo>
                    <a:pt x="164203" y="1849027"/>
                  </a:moveTo>
                  <a:lnTo>
                    <a:pt x="165601" y="1850424"/>
                  </a:lnTo>
                  <a:lnTo>
                    <a:pt x="434615" y="2119439"/>
                  </a:lnTo>
                  <a:lnTo>
                    <a:pt x="164203" y="2389152"/>
                  </a:lnTo>
                  <a:lnTo>
                    <a:pt x="428326" y="2389152"/>
                  </a:lnTo>
                  <a:lnTo>
                    <a:pt x="698738" y="2118042"/>
                  </a:lnTo>
                  <a:lnTo>
                    <a:pt x="695191" y="2114493"/>
                  </a:lnTo>
                  <a:lnTo>
                    <a:pt x="709860" y="2121535"/>
                  </a:lnTo>
                  <a:lnTo>
                    <a:pt x="705726" y="2121535"/>
                  </a:lnTo>
                  <a:lnTo>
                    <a:pt x="435314" y="2392646"/>
                  </a:lnTo>
                  <a:lnTo>
                    <a:pt x="706425" y="2663058"/>
                  </a:lnTo>
                  <a:lnTo>
                    <a:pt x="970548" y="2663058"/>
                  </a:lnTo>
                  <a:lnTo>
                    <a:pt x="699437" y="2392646"/>
                  </a:lnTo>
                  <a:lnTo>
                    <a:pt x="883903" y="2208178"/>
                  </a:lnTo>
                  <a:lnTo>
                    <a:pt x="969849" y="2122234"/>
                  </a:lnTo>
                  <a:lnTo>
                    <a:pt x="711316" y="2122234"/>
                  </a:lnTo>
                  <a:lnTo>
                    <a:pt x="709860" y="2121535"/>
                  </a:lnTo>
                  <a:lnTo>
                    <a:pt x="711316" y="2121535"/>
                  </a:lnTo>
                  <a:lnTo>
                    <a:pt x="693847" y="2113150"/>
                  </a:lnTo>
                  <a:lnTo>
                    <a:pt x="695191" y="2114493"/>
                  </a:lnTo>
                  <a:lnTo>
                    <a:pt x="693847" y="2113849"/>
                  </a:lnTo>
                  <a:lnTo>
                    <a:pt x="428326" y="1849027"/>
                  </a:lnTo>
                  <a:close/>
                  <a:moveTo>
                    <a:pt x="712014" y="1848328"/>
                  </a:moveTo>
                  <a:lnTo>
                    <a:pt x="983125" y="2118042"/>
                  </a:lnTo>
                  <a:lnTo>
                    <a:pt x="980330" y="2120836"/>
                  </a:lnTo>
                  <a:lnTo>
                    <a:pt x="890192" y="2211673"/>
                  </a:lnTo>
                  <a:lnTo>
                    <a:pt x="712713" y="2389152"/>
                  </a:lnTo>
                  <a:lnTo>
                    <a:pt x="976837" y="2389152"/>
                  </a:lnTo>
                  <a:lnTo>
                    <a:pt x="1066275" y="2299714"/>
                  </a:lnTo>
                  <a:lnTo>
                    <a:pt x="1247249" y="2118740"/>
                  </a:lnTo>
                  <a:lnTo>
                    <a:pt x="1114488" y="1986679"/>
                  </a:lnTo>
                  <a:lnTo>
                    <a:pt x="976138" y="1848328"/>
                  </a:lnTo>
                  <a:close/>
                  <a:moveTo>
                    <a:pt x="2359641" y="1847630"/>
                  </a:moveTo>
                  <a:lnTo>
                    <a:pt x="2489606" y="1977595"/>
                  </a:lnTo>
                  <a:lnTo>
                    <a:pt x="2630053" y="2118042"/>
                  </a:lnTo>
                  <a:lnTo>
                    <a:pt x="2359641" y="2389152"/>
                  </a:lnTo>
                  <a:lnTo>
                    <a:pt x="2623764" y="2389152"/>
                  </a:lnTo>
                  <a:lnTo>
                    <a:pt x="2894176" y="2118042"/>
                  </a:lnTo>
                  <a:lnTo>
                    <a:pt x="2623065" y="1847630"/>
                  </a:lnTo>
                  <a:close/>
                  <a:moveTo>
                    <a:pt x="1810432" y="1847630"/>
                  </a:moveTo>
                  <a:lnTo>
                    <a:pt x="2081543" y="2118042"/>
                  </a:lnTo>
                  <a:lnTo>
                    <a:pt x="2078748" y="2120836"/>
                  </a:lnTo>
                  <a:lnTo>
                    <a:pt x="1988611" y="2211673"/>
                  </a:lnTo>
                  <a:lnTo>
                    <a:pt x="1987912" y="2211673"/>
                  </a:lnTo>
                  <a:lnTo>
                    <a:pt x="1811131" y="2389152"/>
                  </a:lnTo>
                  <a:lnTo>
                    <a:pt x="2074555" y="2388454"/>
                  </a:lnTo>
                  <a:lnTo>
                    <a:pt x="2163994" y="2299015"/>
                  </a:lnTo>
                  <a:lnTo>
                    <a:pt x="2164693" y="2299015"/>
                  </a:lnTo>
                  <a:lnTo>
                    <a:pt x="2345666" y="2118042"/>
                  </a:lnTo>
                  <a:lnTo>
                    <a:pt x="2074555" y="1847630"/>
                  </a:lnTo>
                  <a:close/>
                  <a:moveTo>
                    <a:pt x="2907452" y="1846931"/>
                  </a:moveTo>
                  <a:lnTo>
                    <a:pt x="3178563" y="2117343"/>
                  </a:lnTo>
                  <a:lnTo>
                    <a:pt x="2908151" y="2388454"/>
                  </a:lnTo>
                  <a:lnTo>
                    <a:pt x="3172275" y="2388454"/>
                  </a:lnTo>
                  <a:lnTo>
                    <a:pt x="3442687" y="2117343"/>
                  </a:lnTo>
                  <a:lnTo>
                    <a:pt x="3171576" y="1846931"/>
                  </a:lnTo>
                  <a:close/>
                  <a:moveTo>
                    <a:pt x="4004473" y="1844834"/>
                  </a:moveTo>
                  <a:lnTo>
                    <a:pt x="4005871" y="1846232"/>
                  </a:lnTo>
                  <a:lnTo>
                    <a:pt x="4274885" y="2115246"/>
                  </a:lnTo>
                  <a:lnTo>
                    <a:pt x="4004473" y="2386357"/>
                  </a:lnTo>
                  <a:lnTo>
                    <a:pt x="4268597" y="2386357"/>
                  </a:lnTo>
                  <a:lnTo>
                    <a:pt x="4539009" y="2115246"/>
                  </a:lnTo>
                  <a:lnTo>
                    <a:pt x="4534118" y="2110355"/>
                  </a:lnTo>
                  <a:lnTo>
                    <a:pt x="4268597" y="1844834"/>
                  </a:lnTo>
                  <a:close/>
                  <a:moveTo>
                    <a:pt x="705027" y="1574422"/>
                  </a:moveTo>
                  <a:lnTo>
                    <a:pt x="434615" y="1845533"/>
                  </a:lnTo>
                  <a:lnTo>
                    <a:pt x="705726" y="2115945"/>
                  </a:lnTo>
                  <a:lnTo>
                    <a:pt x="969849" y="2115945"/>
                  </a:lnTo>
                  <a:lnTo>
                    <a:pt x="698738" y="1845533"/>
                  </a:lnTo>
                  <a:lnTo>
                    <a:pt x="969150" y="1574422"/>
                  </a:lnTo>
                  <a:close/>
                  <a:moveTo>
                    <a:pt x="1802746" y="1573723"/>
                  </a:moveTo>
                  <a:lnTo>
                    <a:pt x="1532333" y="1844834"/>
                  </a:lnTo>
                  <a:lnTo>
                    <a:pt x="1803445" y="2115246"/>
                  </a:lnTo>
                  <a:lnTo>
                    <a:pt x="2067568" y="2115246"/>
                  </a:lnTo>
                  <a:lnTo>
                    <a:pt x="1796458" y="1844834"/>
                  </a:lnTo>
                  <a:lnTo>
                    <a:pt x="2066870" y="1573723"/>
                  </a:lnTo>
                  <a:close/>
                  <a:moveTo>
                    <a:pt x="1252838" y="1573723"/>
                  </a:moveTo>
                  <a:lnTo>
                    <a:pt x="983125" y="1844834"/>
                  </a:lnTo>
                  <a:lnTo>
                    <a:pt x="1183663" y="2045372"/>
                  </a:lnTo>
                  <a:lnTo>
                    <a:pt x="1254236" y="2115246"/>
                  </a:lnTo>
                  <a:lnTo>
                    <a:pt x="1322712" y="2115246"/>
                  </a:lnTo>
                  <a:lnTo>
                    <a:pt x="1322014" y="2116644"/>
                  </a:lnTo>
                  <a:lnTo>
                    <a:pt x="1519058" y="2116644"/>
                  </a:lnTo>
                  <a:lnTo>
                    <a:pt x="1247947" y="1846232"/>
                  </a:lnTo>
                  <a:lnTo>
                    <a:pt x="1248646" y="1845533"/>
                  </a:lnTo>
                  <a:lnTo>
                    <a:pt x="1246550" y="1844834"/>
                  </a:lnTo>
                  <a:lnTo>
                    <a:pt x="1516962" y="1573723"/>
                  </a:lnTo>
                  <a:close/>
                  <a:moveTo>
                    <a:pt x="2899766" y="1573024"/>
                  </a:moveTo>
                  <a:lnTo>
                    <a:pt x="2629354" y="1844135"/>
                  </a:lnTo>
                  <a:lnTo>
                    <a:pt x="2900465" y="2114547"/>
                  </a:lnTo>
                  <a:lnTo>
                    <a:pt x="3164588" y="2114547"/>
                  </a:lnTo>
                  <a:lnTo>
                    <a:pt x="2893477" y="1844135"/>
                  </a:lnTo>
                  <a:lnTo>
                    <a:pt x="3163889" y="1573024"/>
                  </a:lnTo>
                  <a:close/>
                  <a:moveTo>
                    <a:pt x="2351257" y="1573024"/>
                  </a:moveTo>
                  <a:lnTo>
                    <a:pt x="2080844" y="1844135"/>
                  </a:lnTo>
                  <a:lnTo>
                    <a:pt x="2351955" y="2114547"/>
                  </a:lnTo>
                  <a:lnTo>
                    <a:pt x="2615379" y="2114547"/>
                  </a:lnTo>
                  <a:lnTo>
                    <a:pt x="2485414" y="1984582"/>
                  </a:lnTo>
                  <a:lnTo>
                    <a:pt x="2344968" y="1844135"/>
                  </a:lnTo>
                  <a:lnTo>
                    <a:pt x="2615379" y="1573024"/>
                  </a:lnTo>
                  <a:close/>
                  <a:moveTo>
                    <a:pt x="3448276" y="1572326"/>
                  </a:moveTo>
                  <a:lnTo>
                    <a:pt x="3177864" y="1843436"/>
                  </a:lnTo>
                  <a:lnTo>
                    <a:pt x="3448975" y="2113150"/>
                  </a:lnTo>
                  <a:lnTo>
                    <a:pt x="3713099" y="2113150"/>
                  </a:lnTo>
                  <a:lnTo>
                    <a:pt x="3441988" y="1842739"/>
                  </a:lnTo>
                  <a:lnTo>
                    <a:pt x="3626455" y="1658271"/>
                  </a:lnTo>
                  <a:lnTo>
                    <a:pt x="3712400" y="1572326"/>
                  </a:lnTo>
                  <a:close/>
                  <a:moveTo>
                    <a:pt x="4545297" y="1570929"/>
                  </a:moveTo>
                  <a:lnTo>
                    <a:pt x="4274885" y="1842040"/>
                  </a:lnTo>
                  <a:lnTo>
                    <a:pt x="4545996" y="2111753"/>
                  </a:lnTo>
                  <a:lnTo>
                    <a:pt x="4810119" y="2111753"/>
                  </a:lnTo>
                  <a:lnTo>
                    <a:pt x="4539009" y="1841341"/>
                  </a:lnTo>
                  <a:lnTo>
                    <a:pt x="4809421" y="1570929"/>
                  </a:lnTo>
                  <a:close/>
                  <a:moveTo>
                    <a:pt x="164203" y="1300517"/>
                  </a:moveTo>
                  <a:lnTo>
                    <a:pt x="294168" y="1430482"/>
                  </a:lnTo>
                  <a:lnTo>
                    <a:pt x="434615" y="1570929"/>
                  </a:lnTo>
                  <a:lnTo>
                    <a:pt x="164203" y="1842040"/>
                  </a:lnTo>
                  <a:lnTo>
                    <a:pt x="428326" y="1842040"/>
                  </a:lnTo>
                  <a:lnTo>
                    <a:pt x="698738" y="1570929"/>
                  </a:lnTo>
                  <a:lnTo>
                    <a:pt x="427627" y="1300517"/>
                  </a:lnTo>
                  <a:close/>
                  <a:moveTo>
                    <a:pt x="1809733" y="1299818"/>
                  </a:moveTo>
                  <a:lnTo>
                    <a:pt x="2080844" y="1570230"/>
                  </a:lnTo>
                  <a:lnTo>
                    <a:pt x="1810432" y="1840642"/>
                  </a:lnTo>
                  <a:lnTo>
                    <a:pt x="2074555" y="1840642"/>
                  </a:lnTo>
                  <a:lnTo>
                    <a:pt x="2344968" y="1570230"/>
                  </a:lnTo>
                  <a:lnTo>
                    <a:pt x="2073856" y="1299818"/>
                  </a:lnTo>
                  <a:close/>
                  <a:moveTo>
                    <a:pt x="712014" y="1299818"/>
                  </a:moveTo>
                  <a:lnTo>
                    <a:pt x="983125" y="1570230"/>
                  </a:lnTo>
                  <a:lnTo>
                    <a:pt x="712713" y="1841341"/>
                  </a:lnTo>
                  <a:lnTo>
                    <a:pt x="976837" y="1841341"/>
                  </a:lnTo>
                  <a:lnTo>
                    <a:pt x="1247249" y="1570230"/>
                  </a:lnTo>
                  <a:lnTo>
                    <a:pt x="976138" y="1299818"/>
                  </a:lnTo>
                  <a:close/>
                  <a:moveTo>
                    <a:pt x="2358243" y="1299119"/>
                  </a:moveTo>
                  <a:lnTo>
                    <a:pt x="2629354" y="1569531"/>
                  </a:lnTo>
                  <a:lnTo>
                    <a:pt x="2359641" y="1840642"/>
                  </a:lnTo>
                  <a:lnTo>
                    <a:pt x="2623065" y="1840642"/>
                  </a:lnTo>
                  <a:lnTo>
                    <a:pt x="2893477" y="1569531"/>
                  </a:lnTo>
                  <a:lnTo>
                    <a:pt x="2759320" y="1436072"/>
                  </a:lnTo>
                  <a:lnTo>
                    <a:pt x="2622367" y="1299119"/>
                  </a:lnTo>
                  <a:close/>
                  <a:moveTo>
                    <a:pt x="2906754" y="1298421"/>
                  </a:moveTo>
                  <a:lnTo>
                    <a:pt x="2908151" y="1299818"/>
                  </a:lnTo>
                  <a:lnTo>
                    <a:pt x="3177864" y="1568832"/>
                  </a:lnTo>
                  <a:lnTo>
                    <a:pt x="2907452" y="1839244"/>
                  </a:lnTo>
                  <a:lnTo>
                    <a:pt x="3171576" y="1839244"/>
                  </a:lnTo>
                  <a:lnTo>
                    <a:pt x="3441988" y="1568832"/>
                  </a:lnTo>
                  <a:lnTo>
                    <a:pt x="3436398" y="1563941"/>
                  </a:lnTo>
                  <a:lnTo>
                    <a:pt x="3170877" y="1298421"/>
                  </a:lnTo>
                  <a:close/>
                  <a:moveTo>
                    <a:pt x="1525347" y="1298421"/>
                  </a:moveTo>
                  <a:lnTo>
                    <a:pt x="1523949" y="1299119"/>
                  </a:lnTo>
                  <a:lnTo>
                    <a:pt x="1259826" y="1299119"/>
                  </a:lnTo>
                  <a:lnTo>
                    <a:pt x="1530937" y="1569531"/>
                  </a:lnTo>
                  <a:lnTo>
                    <a:pt x="1526744" y="1573723"/>
                  </a:lnTo>
                  <a:lnTo>
                    <a:pt x="1532333" y="1570929"/>
                  </a:lnTo>
                  <a:lnTo>
                    <a:pt x="1261921" y="1842040"/>
                  </a:lnTo>
                  <a:lnTo>
                    <a:pt x="1526046" y="1842040"/>
                  </a:lnTo>
                  <a:lnTo>
                    <a:pt x="1796458" y="1570929"/>
                  </a:lnTo>
                  <a:lnTo>
                    <a:pt x="1525347" y="1300517"/>
                  </a:lnTo>
                  <a:close/>
                  <a:moveTo>
                    <a:pt x="3454565" y="1297722"/>
                  </a:moveTo>
                  <a:lnTo>
                    <a:pt x="3725676" y="1568134"/>
                  </a:lnTo>
                  <a:lnTo>
                    <a:pt x="3722882" y="1570929"/>
                  </a:lnTo>
                  <a:lnTo>
                    <a:pt x="3632744" y="1661764"/>
                  </a:lnTo>
                  <a:lnTo>
                    <a:pt x="3455264" y="1838545"/>
                  </a:lnTo>
                  <a:lnTo>
                    <a:pt x="3719387" y="1838545"/>
                  </a:lnTo>
                  <a:lnTo>
                    <a:pt x="3808826" y="1749107"/>
                  </a:lnTo>
                  <a:lnTo>
                    <a:pt x="3989799" y="1568134"/>
                  </a:lnTo>
                  <a:lnTo>
                    <a:pt x="3718688" y="1297722"/>
                  </a:lnTo>
                  <a:close/>
                  <a:moveTo>
                    <a:pt x="1802048" y="1025213"/>
                  </a:moveTo>
                  <a:lnTo>
                    <a:pt x="1531636" y="1296324"/>
                  </a:lnTo>
                  <a:lnTo>
                    <a:pt x="1802746" y="1566736"/>
                  </a:lnTo>
                  <a:lnTo>
                    <a:pt x="2066870" y="1566736"/>
                  </a:lnTo>
                  <a:lnTo>
                    <a:pt x="1795759" y="1296324"/>
                  </a:lnTo>
                  <a:lnTo>
                    <a:pt x="2066171" y="1025213"/>
                  </a:lnTo>
                  <a:close/>
                  <a:moveTo>
                    <a:pt x="704328" y="1025213"/>
                  </a:moveTo>
                  <a:lnTo>
                    <a:pt x="433916" y="1296324"/>
                  </a:lnTo>
                  <a:lnTo>
                    <a:pt x="705027" y="1566736"/>
                  </a:lnTo>
                  <a:lnTo>
                    <a:pt x="969150" y="1566736"/>
                  </a:lnTo>
                  <a:lnTo>
                    <a:pt x="698039" y="1296324"/>
                  </a:lnTo>
                  <a:lnTo>
                    <a:pt x="967752" y="1025213"/>
                  </a:lnTo>
                  <a:close/>
                  <a:moveTo>
                    <a:pt x="2899067" y="1024514"/>
                  </a:moveTo>
                  <a:lnTo>
                    <a:pt x="2718793" y="1204790"/>
                  </a:lnTo>
                  <a:lnTo>
                    <a:pt x="2629354" y="1294927"/>
                  </a:lnTo>
                  <a:lnTo>
                    <a:pt x="2763512" y="1428386"/>
                  </a:lnTo>
                  <a:lnTo>
                    <a:pt x="2900465" y="1565338"/>
                  </a:lnTo>
                  <a:lnTo>
                    <a:pt x="3164588" y="1565338"/>
                  </a:lnTo>
                  <a:lnTo>
                    <a:pt x="2893477" y="1294927"/>
                  </a:lnTo>
                  <a:lnTo>
                    <a:pt x="2894875" y="1293530"/>
                  </a:lnTo>
                  <a:lnTo>
                    <a:pt x="3163191" y="1024514"/>
                  </a:lnTo>
                  <a:close/>
                  <a:moveTo>
                    <a:pt x="2350558" y="1024514"/>
                  </a:moveTo>
                  <a:lnTo>
                    <a:pt x="2080145" y="1295625"/>
                  </a:lnTo>
                  <a:lnTo>
                    <a:pt x="2351257" y="1566037"/>
                  </a:lnTo>
                  <a:lnTo>
                    <a:pt x="2615379" y="1566037"/>
                  </a:lnTo>
                  <a:lnTo>
                    <a:pt x="2344269" y="1295625"/>
                  </a:lnTo>
                  <a:lnTo>
                    <a:pt x="2528736" y="1111159"/>
                  </a:lnTo>
                  <a:lnTo>
                    <a:pt x="2614681" y="1025213"/>
                  </a:lnTo>
                  <a:lnTo>
                    <a:pt x="2356148" y="1025213"/>
                  </a:lnTo>
                  <a:close/>
                  <a:moveTo>
                    <a:pt x="1252838" y="1024514"/>
                  </a:moveTo>
                  <a:lnTo>
                    <a:pt x="982426" y="1295625"/>
                  </a:lnTo>
                  <a:lnTo>
                    <a:pt x="1253537" y="1566037"/>
                  </a:lnTo>
                  <a:lnTo>
                    <a:pt x="1517660" y="1566037"/>
                  </a:lnTo>
                  <a:lnTo>
                    <a:pt x="1246550" y="1295625"/>
                  </a:lnTo>
                  <a:lnTo>
                    <a:pt x="1431017" y="1111159"/>
                  </a:lnTo>
                  <a:lnTo>
                    <a:pt x="1516962" y="1024514"/>
                  </a:lnTo>
                  <a:close/>
                  <a:moveTo>
                    <a:pt x="3447578" y="1023816"/>
                  </a:moveTo>
                  <a:lnTo>
                    <a:pt x="3177166" y="1294927"/>
                  </a:lnTo>
                  <a:lnTo>
                    <a:pt x="3448276" y="1565338"/>
                  </a:lnTo>
                  <a:lnTo>
                    <a:pt x="3712400" y="1565338"/>
                  </a:lnTo>
                  <a:lnTo>
                    <a:pt x="3441289" y="1294927"/>
                  </a:lnTo>
                  <a:lnTo>
                    <a:pt x="3711701" y="1023816"/>
                  </a:lnTo>
                  <a:close/>
                  <a:moveTo>
                    <a:pt x="4544598" y="1022419"/>
                  </a:moveTo>
                  <a:lnTo>
                    <a:pt x="4274186" y="1293530"/>
                  </a:lnTo>
                  <a:lnTo>
                    <a:pt x="4545297" y="1563941"/>
                  </a:lnTo>
                  <a:lnTo>
                    <a:pt x="4809421" y="1563941"/>
                  </a:lnTo>
                  <a:lnTo>
                    <a:pt x="4538310" y="1293530"/>
                  </a:lnTo>
                  <a:lnTo>
                    <a:pt x="4722777" y="1108363"/>
                  </a:lnTo>
                  <a:lnTo>
                    <a:pt x="4722078" y="1107664"/>
                  </a:lnTo>
                  <a:lnTo>
                    <a:pt x="4807324" y="1022419"/>
                  </a:lnTo>
                  <a:close/>
                  <a:moveTo>
                    <a:pt x="3995389" y="1022419"/>
                  </a:moveTo>
                  <a:lnTo>
                    <a:pt x="3724977" y="1293530"/>
                  </a:lnTo>
                  <a:lnTo>
                    <a:pt x="3996088" y="1563941"/>
                  </a:lnTo>
                  <a:lnTo>
                    <a:pt x="4064564" y="1563941"/>
                  </a:lnTo>
                  <a:lnTo>
                    <a:pt x="4061071" y="1570929"/>
                  </a:lnTo>
                  <a:lnTo>
                    <a:pt x="3996088" y="1570929"/>
                  </a:lnTo>
                  <a:lnTo>
                    <a:pt x="3815814" y="1751902"/>
                  </a:lnTo>
                  <a:lnTo>
                    <a:pt x="3726375" y="1842040"/>
                  </a:lnTo>
                  <a:lnTo>
                    <a:pt x="3859834" y="1975498"/>
                  </a:lnTo>
                  <a:lnTo>
                    <a:pt x="3857039" y="1981088"/>
                  </a:lnTo>
                  <a:lnTo>
                    <a:pt x="3857739" y="1981785"/>
                  </a:lnTo>
                  <a:lnTo>
                    <a:pt x="3857039" y="1983185"/>
                  </a:lnTo>
                  <a:lnTo>
                    <a:pt x="3720086" y="1846232"/>
                  </a:lnTo>
                  <a:lnTo>
                    <a:pt x="3455963" y="1846232"/>
                  </a:lnTo>
                  <a:lnTo>
                    <a:pt x="3727074" y="2116644"/>
                  </a:lnTo>
                  <a:lnTo>
                    <a:pt x="3456662" y="2387755"/>
                  </a:lnTo>
                  <a:lnTo>
                    <a:pt x="3654754" y="2387755"/>
                  </a:lnTo>
                  <a:lnTo>
                    <a:pt x="3652309" y="2392646"/>
                  </a:lnTo>
                  <a:lnTo>
                    <a:pt x="3652658" y="2392646"/>
                  </a:lnTo>
                  <a:lnTo>
                    <a:pt x="3651610" y="2394742"/>
                  </a:lnTo>
                  <a:lnTo>
                    <a:pt x="3456662" y="2394742"/>
                  </a:lnTo>
                  <a:lnTo>
                    <a:pt x="3586394" y="2524475"/>
                  </a:lnTo>
                  <a:lnTo>
                    <a:pt x="3583832" y="2529598"/>
                  </a:lnTo>
                  <a:lnTo>
                    <a:pt x="3584065" y="2529831"/>
                  </a:lnTo>
                  <a:lnTo>
                    <a:pt x="3583133" y="2531695"/>
                  </a:lnTo>
                  <a:lnTo>
                    <a:pt x="3442687" y="2391248"/>
                  </a:lnTo>
                  <a:lnTo>
                    <a:pt x="3713099" y="2120137"/>
                  </a:lnTo>
                  <a:lnTo>
                    <a:pt x="3448975" y="2120137"/>
                  </a:lnTo>
                  <a:lnTo>
                    <a:pt x="3178563" y="2391248"/>
                  </a:lnTo>
                  <a:lnTo>
                    <a:pt x="3448975" y="2662359"/>
                  </a:lnTo>
                  <a:lnTo>
                    <a:pt x="3517452" y="2662359"/>
                  </a:lnTo>
                  <a:lnTo>
                    <a:pt x="3513958" y="2669346"/>
                  </a:lnTo>
                  <a:lnTo>
                    <a:pt x="3448975" y="2669346"/>
                  </a:lnTo>
                  <a:lnTo>
                    <a:pt x="3268701" y="2850320"/>
                  </a:lnTo>
                  <a:lnTo>
                    <a:pt x="3179262" y="2939758"/>
                  </a:lnTo>
                  <a:lnTo>
                    <a:pt x="3312721" y="3073916"/>
                  </a:lnTo>
                  <a:lnTo>
                    <a:pt x="3451072" y="3207376"/>
                  </a:lnTo>
                  <a:lnTo>
                    <a:pt x="3715195" y="3207376"/>
                  </a:lnTo>
                  <a:lnTo>
                    <a:pt x="3444084" y="2936964"/>
                  </a:lnTo>
                  <a:lnTo>
                    <a:pt x="3445482" y="2935566"/>
                  </a:lnTo>
                  <a:lnTo>
                    <a:pt x="3713797" y="2666552"/>
                  </a:lnTo>
                  <a:lnTo>
                    <a:pt x="3515356" y="2666552"/>
                  </a:lnTo>
                  <a:lnTo>
                    <a:pt x="3518849" y="2659564"/>
                  </a:lnTo>
                  <a:lnTo>
                    <a:pt x="3713797" y="2659564"/>
                  </a:lnTo>
                  <a:lnTo>
                    <a:pt x="3584065" y="2529831"/>
                  </a:lnTo>
                  <a:lnTo>
                    <a:pt x="3586627" y="2524708"/>
                  </a:lnTo>
                  <a:lnTo>
                    <a:pt x="3586394" y="2524475"/>
                  </a:lnTo>
                  <a:lnTo>
                    <a:pt x="3587326" y="2522611"/>
                  </a:lnTo>
                  <a:lnTo>
                    <a:pt x="3727772" y="2663058"/>
                  </a:lnTo>
                  <a:lnTo>
                    <a:pt x="3457360" y="2934169"/>
                  </a:lnTo>
                  <a:lnTo>
                    <a:pt x="3721484" y="2934169"/>
                  </a:lnTo>
                  <a:lnTo>
                    <a:pt x="3991896" y="2663058"/>
                  </a:lnTo>
                  <a:lnTo>
                    <a:pt x="3720785" y="2392646"/>
                  </a:lnTo>
                  <a:lnTo>
                    <a:pt x="3652658" y="2392646"/>
                  </a:lnTo>
                  <a:lnTo>
                    <a:pt x="3655103" y="2387755"/>
                  </a:lnTo>
                  <a:lnTo>
                    <a:pt x="3654754" y="2387755"/>
                  </a:lnTo>
                  <a:lnTo>
                    <a:pt x="3655802" y="2385658"/>
                  </a:lnTo>
                  <a:lnTo>
                    <a:pt x="3720785" y="2385658"/>
                  </a:lnTo>
                  <a:lnTo>
                    <a:pt x="3991197" y="2114547"/>
                  </a:lnTo>
                  <a:lnTo>
                    <a:pt x="3857739" y="1981785"/>
                  </a:lnTo>
                  <a:lnTo>
                    <a:pt x="3860533" y="1976197"/>
                  </a:lnTo>
                  <a:lnTo>
                    <a:pt x="3859834" y="1975498"/>
                  </a:lnTo>
                  <a:lnTo>
                    <a:pt x="3860533" y="1974101"/>
                  </a:lnTo>
                  <a:lnTo>
                    <a:pt x="3997486" y="2111054"/>
                  </a:lnTo>
                  <a:lnTo>
                    <a:pt x="4261609" y="2111054"/>
                  </a:lnTo>
                  <a:lnTo>
                    <a:pt x="3990498" y="1840642"/>
                  </a:lnTo>
                  <a:lnTo>
                    <a:pt x="3991896" y="1839244"/>
                  </a:lnTo>
                  <a:lnTo>
                    <a:pt x="4260211" y="1570230"/>
                  </a:lnTo>
                  <a:lnTo>
                    <a:pt x="4061770" y="1570230"/>
                  </a:lnTo>
                  <a:lnTo>
                    <a:pt x="4065263" y="1563243"/>
                  </a:lnTo>
                  <a:lnTo>
                    <a:pt x="4260211" y="1563243"/>
                  </a:lnTo>
                  <a:lnTo>
                    <a:pt x="4130246" y="1433278"/>
                  </a:lnTo>
                  <a:lnTo>
                    <a:pt x="4133739" y="1426290"/>
                  </a:lnTo>
                  <a:lnTo>
                    <a:pt x="4274186" y="1566736"/>
                  </a:lnTo>
                  <a:lnTo>
                    <a:pt x="4003774" y="1837847"/>
                  </a:lnTo>
                  <a:lnTo>
                    <a:pt x="4267898" y="1837847"/>
                  </a:lnTo>
                  <a:lnTo>
                    <a:pt x="4538310" y="1566736"/>
                  </a:lnTo>
                  <a:lnTo>
                    <a:pt x="4267199" y="1297023"/>
                  </a:lnTo>
                  <a:lnTo>
                    <a:pt x="4198723" y="1297023"/>
                  </a:lnTo>
                  <a:lnTo>
                    <a:pt x="4003774" y="1297023"/>
                  </a:lnTo>
                  <a:lnTo>
                    <a:pt x="4133040" y="1426989"/>
                  </a:lnTo>
                  <a:lnTo>
                    <a:pt x="4129547" y="1433975"/>
                  </a:lnTo>
                  <a:lnTo>
                    <a:pt x="3989100" y="1293530"/>
                  </a:lnTo>
                  <a:lnTo>
                    <a:pt x="4259512" y="1022419"/>
                  </a:lnTo>
                  <a:close/>
                  <a:moveTo>
                    <a:pt x="162805" y="752007"/>
                  </a:moveTo>
                  <a:lnTo>
                    <a:pt x="433916" y="1022419"/>
                  </a:lnTo>
                  <a:lnTo>
                    <a:pt x="164203" y="1293530"/>
                  </a:lnTo>
                  <a:lnTo>
                    <a:pt x="427627" y="1293530"/>
                  </a:lnTo>
                  <a:lnTo>
                    <a:pt x="698039" y="1022419"/>
                  </a:lnTo>
                  <a:lnTo>
                    <a:pt x="563881" y="888959"/>
                  </a:lnTo>
                  <a:lnTo>
                    <a:pt x="426928" y="752007"/>
                  </a:lnTo>
                  <a:close/>
                  <a:moveTo>
                    <a:pt x="1809035" y="751308"/>
                  </a:moveTo>
                  <a:lnTo>
                    <a:pt x="1937603" y="879876"/>
                  </a:lnTo>
                  <a:lnTo>
                    <a:pt x="2079447" y="1021720"/>
                  </a:lnTo>
                  <a:lnTo>
                    <a:pt x="1809035" y="1292831"/>
                  </a:lnTo>
                  <a:lnTo>
                    <a:pt x="2073158" y="1292831"/>
                  </a:lnTo>
                  <a:lnTo>
                    <a:pt x="2343570" y="1021720"/>
                  </a:lnTo>
                  <a:lnTo>
                    <a:pt x="2338678" y="1016829"/>
                  </a:lnTo>
                  <a:lnTo>
                    <a:pt x="2073158" y="751308"/>
                  </a:lnTo>
                  <a:close/>
                  <a:moveTo>
                    <a:pt x="2357544" y="750609"/>
                  </a:moveTo>
                  <a:lnTo>
                    <a:pt x="2628655" y="1020322"/>
                  </a:lnTo>
                  <a:lnTo>
                    <a:pt x="2625861" y="1023118"/>
                  </a:lnTo>
                  <a:lnTo>
                    <a:pt x="2535723" y="1113953"/>
                  </a:lnTo>
                  <a:lnTo>
                    <a:pt x="2358243" y="1291433"/>
                  </a:lnTo>
                  <a:lnTo>
                    <a:pt x="2622367" y="1291433"/>
                  </a:lnTo>
                  <a:lnTo>
                    <a:pt x="2711805" y="1201994"/>
                  </a:lnTo>
                  <a:lnTo>
                    <a:pt x="2892779" y="1021021"/>
                  </a:lnTo>
                  <a:lnTo>
                    <a:pt x="2621668" y="750609"/>
                  </a:lnTo>
                  <a:close/>
                  <a:moveTo>
                    <a:pt x="1259127" y="750609"/>
                  </a:moveTo>
                  <a:lnTo>
                    <a:pt x="1530238" y="1020322"/>
                  </a:lnTo>
                  <a:lnTo>
                    <a:pt x="1527442" y="1023118"/>
                  </a:lnTo>
                  <a:lnTo>
                    <a:pt x="1437306" y="1113953"/>
                  </a:lnTo>
                  <a:lnTo>
                    <a:pt x="1259826" y="1291433"/>
                  </a:lnTo>
                  <a:lnTo>
                    <a:pt x="1523949" y="1291433"/>
                  </a:lnTo>
                  <a:lnTo>
                    <a:pt x="1613388" y="1201994"/>
                  </a:lnTo>
                  <a:lnTo>
                    <a:pt x="1794361" y="1021021"/>
                  </a:lnTo>
                  <a:lnTo>
                    <a:pt x="1523250" y="750609"/>
                  </a:lnTo>
                  <a:close/>
                  <a:moveTo>
                    <a:pt x="710617" y="750609"/>
                  </a:moveTo>
                  <a:lnTo>
                    <a:pt x="712014" y="752007"/>
                  </a:lnTo>
                  <a:lnTo>
                    <a:pt x="981727" y="1021021"/>
                  </a:lnTo>
                  <a:lnTo>
                    <a:pt x="711316" y="1292132"/>
                  </a:lnTo>
                  <a:lnTo>
                    <a:pt x="975439" y="1292132"/>
                  </a:lnTo>
                  <a:lnTo>
                    <a:pt x="1245851" y="1021021"/>
                  </a:lnTo>
                  <a:lnTo>
                    <a:pt x="1240261" y="1016130"/>
                  </a:lnTo>
                  <a:lnTo>
                    <a:pt x="974740" y="750609"/>
                  </a:lnTo>
                  <a:close/>
                  <a:moveTo>
                    <a:pt x="2906055" y="749910"/>
                  </a:moveTo>
                  <a:lnTo>
                    <a:pt x="3036720" y="879177"/>
                  </a:lnTo>
                  <a:lnTo>
                    <a:pt x="3177166" y="1019623"/>
                  </a:lnTo>
                  <a:lnTo>
                    <a:pt x="2906754" y="1290734"/>
                  </a:lnTo>
                  <a:lnTo>
                    <a:pt x="3170877" y="1290734"/>
                  </a:lnTo>
                  <a:lnTo>
                    <a:pt x="3441289" y="1020322"/>
                  </a:lnTo>
                  <a:lnTo>
                    <a:pt x="3170178" y="749910"/>
                  </a:lnTo>
                  <a:close/>
                  <a:moveTo>
                    <a:pt x="3454565" y="749211"/>
                  </a:moveTo>
                  <a:lnTo>
                    <a:pt x="3725676" y="1019623"/>
                  </a:lnTo>
                  <a:lnTo>
                    <a:pt x="3455264" y="1290734"/>
                  </a:lnTo>
                  <a:lnTo>
                    <a:pt x="3719387" y="1290734"/>
                  </a:lnTo>
                  <a:lnTo>
                    <a:pt x="3989799" y="1019623"/>
                  </a:lnTo>
                  <a:lnTo>
                    <a:pt x="3718688" y="749211"/>
                  </a:lnTo>
                  <a:close/>
                  <a:moveTo>
                    <a:pt x="4003075" y="748512"/>
                  </a:moveTo>
                  <a:lnTo>
                    <a:pt x="4274186" y="1018924"/>
                  </a:lnTo>
                  <a:lnTo>
                    <a:pt x="4003774" y="1290035"/>
                  </a:lnTo>
                  <a:lnTo>
                    <a:pt x="4202216" y="1290035"/>
                  </a:lnTo>
                  <a:lnTo>
                    <a:pt x="4267199" y="1290035"/>
                  </a:lnTo>
                  <a:lnTo>
                    <a:pt x="4538310" y="1018924"/>
                  </a:lnTo>
                  <a:lnTo>
                    <a:pt x="4404151" y="885466"/>
                  </a:lnTo>
                  <a:lnTo>
                    <a:pt x="4267199" y="748512"/>
                  </a:lnTo>
                  <a:close/>
                  <a:moveTo>
                    <a:pt x="702930" y="476704"/>
                  </a:moveTo>
                  <a:lnTo>
                    <a:pt x="522656" y="657677"/>
                  </a:lnTo>
                  <a:lnTo>
                    <a:pt x="433217" y="747814"/>
                  </a:lnTo>
                  <a:lnTo>
                    <a:pt x="567375" y="881273"/>
                  </a:lnTo>
                  <a:lnTo>
                    <a:pt x="704328" y="1018227"/>
                  </a:lnTo>
                  <a:lnTo>
                    <a:pt x="968451" y="1018227"/>
                  </a:lnTo>
                  <a:lnTo>
                    <a:pt x="697340" y="747814"/>
                  </a:lnTo>
                  <a:lnTo>
                    <a:pt x="698738" y="746417"/>
                  </a:lnTo>
                  <a:lnTo>
                    <a:pt x="967054" y="476704"/>
                  </a:lnTo>
                  <a:close/>
                  <a:moveTo>
                    <a:pt x="1252140" y="476005"/>
                  </a:moveTo>
                  <a:lnTo>
                    <a:pt x="981727" y="747116"/>
                  </a:lnTo>
                  <a:lnTo>
                    <a:pt x="1252838" y="1017528"/>
                  </a:lnTo>
                  <a:lnTo>
                    <a:pt x="1516962" y="1017528"/>
                  </a:lnTo>
                  <a:lnTo>
                    <a:pt x="1245851" y="747116"/>
                  </a:lnTo>
                  <a:lnTo>
                    <a:pt x="1516263" y="476005"/>
                  </a:lnTo>
                  <a:close/>
                  <a:moveTo>
                    <a:pt x="2899067" y="475306"/>
                  </a:moveTo>
                  <a:lnTo>
                    <a:pt x="2628655" y="746417"/>
                  </a:lnTo>
                  <a:lnTo>
                    <a:pt x="2899766" y="1016829"/>
                  </a:lnTo>
                  <a:lnTo>
                    <a:pt x="3163191" y="1016829"/>
                  </a:lnTo>
                  <a:lnTo>
                    <a:pt x="3032527" y="886863"/>
                  </a:lnTo>
                  <a:lnTo>
                    <a:pt x="2892081" y="746417"/>
                  </a:lnTo>
                  <a:lnTo>
                    <a:pt x="3163191" y="475306"/>
                  </a:lnTo>
                  <a:close/>
                  <a:moveTo>
                    <a:pt x="1799951" y="475306"/>
                  </a:moveTo>
                  <a:lnTo>
                    <a:pt x="1529539" y="746417"/>
                  </a:lnTo>
                  <a:lnTo>
                    <a:pt x="1800650" y="1016829"/>
                  </a:lnTo>
                  <a:lnTo>
                    <a:pt x="1802048" y="1018227"/>
                  </a:lnTo>
                  <a:lnTo>
                    <a:pt x="2066171" y="1018227"/>
                  </a:lnTo>
                  <a:lnTo>
                    <a:pt x="1934808" y="886863"/>
                  </a:lnTo>
                  <a:lnTo>
                    <a:pt x="1797155" y="749211"/>
                  </a:lnTo>
                  <a:lnTo>
                    <a:pt x="2066171" y="475306"/>
                  </a:lnTo>
                  <a:close/>
                  <a:moveTo>
                    <a:pt x="3446879" y="474607"/>
                  </a:moveTo>
                  <a:lnTo>
                    <a:pt x="3176467" y="745718"/>
                  </a:lnTo>
                  <a:lnTo>
                    <a:pt x="3447578" y="1016130"/>
                  </a:lnTo>
                  <a:lnTo>
                    <a:pt x="3711701" y="1016130"/>
                  </a:lnTo>
                  <a:lnTo>
                    <a:pt x="3440590" y="745718"/>
                  </a:lnTo>
                  <a:lnTo>
                    <a:pt x="3625057" y="561251"/>
                  </a:lnTo>
                  <a:lnTo>
                    <a:pt x="3709605" y="474607"/>
                  </a:lnTo>
                  <a:close/>
                  <a:moveTo>
                    <a:pt x="3995389" y="473908"/>
                  </a:moveTo>
                  <a:lnTo>
                    <a:pt x="3724977" y="745019"/>
                  </a:lnTo>
                  <a:lnTo>
                    <a:pt x="3996088" y="1015431"/>
                  </a:lnTo>
                  <a:lnTo>
                    <a:pt x="4260211" y="1015431"/>
                  </a:lnTo>
                  <a:lnTo>
                    <a:pt x="3989100" y="745019"/>
                  </a:lnTo>
                  <a:lnTo>
                    <a:pt x="3990498" y="743621"/>
                  </a:lnTo>
                  <a:lnTo>
                    <a:pt x="3989799" y="743621"/>
                  </a:lnTo>
                  <a:lnTo>
                    <a:pt x="4258116" y="474607"/>
                  </a:lnTo>
                  <a:lnTo>
                    <a:pt x="3999582" y="474607"/>
                  </a:lnTo>
                  <a:lnTo>
                    <a:pt x="4000979" y="473908"/>
                  </a:lnTo>
                  <a:close/>
                  <a:moveTo>
                    <a:pt x="4543201" y="473209"/>
                  </a:moveTo>
                  <a:lnTo>
                    <a:pt x="4362227" y="654183"/>
                  </a:lnTo>
                  <a:lnTo>
                    <a:pt x="4362926" y="654882"/>
                  </a:lnTo>
                  <a:lnTo>
                    <a:pt x="4273487" y="745019"/>
                  </a:lnTo>
                  <a:lnTo>
                    <a:pt x="4407646" y="878479"/>
                  </a:lnTo>
                  <a:lnTo>
                    <a:pt x="4543899" y="1014732"/>
                  </a:lnTo>
                  <a:lnTo>
                    <a:pt x="4808023" y="1014732"/>
                  </a:lnTo>
                  <a:lnTo>
                    <a:pt x="4536912" y="744320"/>
                  </a:lnTo>
                  <a:lnTo>
                    <a:pt x="4807324" y="473209"/>
                  </a:lnTo>
                  <a:close/>
                  <a:moveTo>
                    <a:pt x="2616078" y="473209"/>
                  </a:moveTo>
                  <a:lnTo>
                    <a:pt x="2349859" y="476005"/>
                  </a:lnTo>
                  <a:lnTo>
                    <a:pt x="2079447" y="747116"/>
                  </a:lnTo>
                  <a:lnTo>
                    <a:pt x="2350558" y="1017528"/>
                  </a:lnTo>
                  <a:lnTo>
                    <a:pt x="2614681" y="1017528"/>
                  </a:lnTo>
                  <a:lnTo>
                    <a:pt x="2343570" y="747116"/>
                  </a:lnTo>
                  <a:close/>
                  <a:moveTo>
                    <a:pt x="161407" y="203496"/>
                  </a:moveTo>
                  <a:lnTo>
                    <a:pt x="432518" y="473908"/>
                  </a:lnTo>
                  <a:lnTo>
                    <a:pt x="429724" y="476704"/>
                  </a:lnTo>
                  <a:lnTo>
                    <a:pt x="339586" y="567539"/>
                  </a:lnTo>
                  <a:lnTo>
                    <a:pt x="162106" y="744320"/>
                  </a:lnTo>
                  <a:lnTo>
                    <a:pt x="426230" y="744320"/>
                  </a:lnTo>
                  <a:lnTo>
                    <a:pt x="515668" y="654882"/>
                  </a:lnTo>
                  <a:lnTo>
                    <a:pt x="696642" y="473908"/>
                  </a:lnTo>
                  <a:lnTo>
                    <a:pt x="425531" y="203496"/>
                  </a:lnTo>
                  <a:close/>
                  <a:moveTo>
                    <a:pt x="710617" y="202798"/>
                  </a:moveTo>
                  <a:lnTo>
                    <a:pt x="840582" y="332763"/>
                  </a:lnTo>
                  <a:lnTo>
                    <a:pt x="981029" y="472511"/>
                  </a:lnTo>
                  <a:lnTo>
                    <a:pt x="710617" y="743621"/>
                  </a:lnTo>
                  <a:lnTo>
                    <a:pt x="974740" y="743621"/>
                  </a:lnTo>
                  <a:lnTo>
                    <a:pt x="1245851" y="473209"/>
                  </a:lnTo>
                  <a:lnTo>
                    <a:pt x="974740" y="202798"/>
                  </a:lnTo>
                  <a:close/>
                  <a:moveTo>
                    <a:pt x="2906055" y="202099"/>
                  </a:moveTo>
                  <a:lnTo>
                    <a:pt x="3035322" y="329968"/>
                  </a:lnTo>
                  <a:lnTo>
                    <a:pt x="3035322" y="330667"/>
                  </a:lnTo>
                  <a:lnTo>
                    <a:pt x="3177166" y="472511"/>
                  </a:lnTo>
                  <a:lnTo>
                    <a:pt x="2906754" y="743621"/>
                  </a:lnTo>
                  <a:lnTo>
                    <a:pt x="3170178" y="743621"/>
                  </a:lnTo>
                  <a:lnTo>
                    <a:pt x="3440590" y="472511"/>
                  </a:lnTo>
                  <a:lnTo>
                    <a:pt x="3435000" y="466921"/>
                  </a:lnTo>
                  <a:lnTo>
                    <a:pt x="3434301" y="466921"/>
                  </a:lnTo>
                  <a:lnTo>
                    <a:pt x="3168781" y="202099"/>
                  </a:lnTo>
                  <a:close/>
                  <a:moveTo>
                    <a:pt x="1808336" y="202099"/>
                  </a:moveTo>
                  <a:lnTo>
                    <a:pt x="1810426" y="204887"/>
                  </a:lnTo>
                  <a:lnTo>
                    <a:pt x="1809733" y="204195"/>
                  </a:lnTo>
                  <a:lnTo>
                    <a:pt x="1810432" y="204894"/>
                  </a:lnTo>
                  <a:lnTo>
                    <a:pt x="1810426" y="204887"/>
                  </a:lnTo>
                  <a:lnTo>
                    <a:pt x="2068965" y="462729"/>
                  </a:lnTo>
                  <a:lnTo>
                    <a:pt x="2078748" y="471812"/>
                  </a:lnTo>
                  <a:lnTo>
                    <a:pt x="2080844" y="473908"/>
                  </a:lnTo>
                  <a:lnTo>
                    <a:pt x="1816022" y="743621"/>
                  </a:lnTo>
                  <a:lnTo>
                    <a:pt x="2075254" y="744320"/>
                  </a:lnTo>
                  <a:lnTo>
                    <a:pt x="2344968" y="473908"/>
                  </a:lnTo>
                  <a:lnTo>
                    <a:pt x="2209412" y="339051"/>
                  </a:lnTo>
                  <a:lnTo>
                    <a:pt x="2192643" y="322282"/>
                  </a:lnTo>
                  <a:lnTo>
                    <a:pt x="2073158" y="203496"/>
                  </a:lnTo>
                  <a:lnTo>
                    <a:pt x="2068965" y="202099"/>
                  </a:lnTo>
                  <a:close/>
                  <a:moveTo>
                    <a:pt x="1258428" y="202099"/>
                  </a:moveTo>
                  <a:lnTo>
                    <a:pt x="1529539" y="472511"/>
                  </a:lnTo>
                  <a:lnTo>
                    <a:pt x="1259127" y="743621"/>
                  </a:lnTo>
                  <a:lnTo>
                    <a:pt x="1523250" y="743621"/>
                  </a:lnTo>
                  <a:lnTo>
                    <a:pt x="1793662" y="472511"/>
                  </a:lnTo>
                  <a:lnTo>
                    <a:pt x="1522551" y="202099"/>
                  </a:lnTo>
                  <a:close/>
                  <a:moveTo>
                    <a:pt x="2621668" y="200701"/>
                  </a:moveTo>
                  <a:lnTo>
                    <a:pt x="2358243" y="201400"/>
                  </a:lnTo>
                  <a:lnTo>
                    <a:pt x="2627259" y="469716"/>
                  </a:lnTo>
                  <a:lnTo>
                    <a:pt x="2626560" y="470415"/>
                  </a:lnTo>
                  <a:lnTo>
                    <a:pt x="2627957" y="471812"/>
                  </a:lnTo>
                  <a:lnTo>
                    <a:pt x="2357544" y="742923"/>
                  </a:lnTo>
                  <a:lnTo>
                    <a:pt x="2621668" y="742923"/>
                  </a:lnTo>
                  <a:lnTo>
                    <a:pt x="2711805" y="652786"/>
                  </a:lnTo>
                  <a:lnTo>
                    <a:pt x="2891382" y="469716"/>
                  </a:lnTo>
                  <a:close/>
                  <a:moveTo>
                    <a:pt x="4001678" y="200003"/>
                  </a:moveTo>
                  <a:lnTo>
                    <a:pt x="4131644" y="329269"/>
                  </a:lnTo>
                  <a:lnTo>
                    <a:pt x="4272090" y="469716"/>
                  </a:lnTo>
                  <a:lnTo>
                    <a:pt x="4179158" y="563347"/>
                  </a:lnTo>
                  <a:lnTo>
                    <a:pt x="4179856" y="564046"/>
                  </a:lnTo>
                  <a:lnTo>
                    <a:pt x="4003075" y="741525"/>
                  </a:lnTo>
                  <a:lnTo>
                    <a:pt x="4265801" y="741525"/>
                  </a:lnTo>
                  <a:lnTo>
                    <a:pt x="4536213" y="470415"/>
                  </a:lnTo>
                  <a:lnTo>
                    <a:pt x="4265102" y="200003"/>
                  </a:lnTo>
                  <a:close/>
                  <a:moveTo>
                    <a:pt x="3453167" y="200003"/>
                  </a:moveTo>
                  <a:lnTo>
                    <a:pt x="3724278" y="470415"/>
                  </a:lnTo>
                  <a:lnTo>
                    <a:pt x="3724977" y="471113"/>
                  </a:lnTo>
                  <a:lnTo>
                    <a:pt x="3454565" y="742224"/>
                  </a:lnTo>
                  <a:lnTo>
                    <a:pt x="3718688" y="742224"/>
                  </a:lnTo>
                  <a:lnTo>
                    <a:pt x="3808127" y="652087"/>
                  </a:lnTo>
                  <a:lnTo>
                    <a:pt x="3807428" y="652087"/>
                  </a:lnTo>
                  <a:lnTo>
                    <a:pt x="3988403" y="471113"/>
                  </a:lnTo>
                  <a:lnTo>
                    <a:pt x="3983511" y="465523"/>
                  </a:lnTo>
                  <a:lnTo>
                    <a:pt x="3717291" y="200003"/>
                  </a:lnTo>
                  <a:close/>
                  <a:moveTo>
                    <a:pt x="348134" y="0"/>
                  </a:moveTo>
                  <a:lnTo>
                    <a:pt x="358615" y="0"/>
                  </a:lnTo>
                  <a:lnTo>
                    <a:pt x="162106" y="196509"/>
                  </a:lnTo>
                  <a:lnTo>
                    <a:pt x="426230" y="196509"/>
                  </a:lnTo>
                  <a:lnTo>
                    <a:pt x="622232" y="0"/>
                  </a:lnTo>
                  <a:lnTo>
                    <a:pt x="632006" y="0"/>
                  </a:lnTo>
                  <a:lnTo>
                    <a:pt x="432518" y="200003"/>
                  </a:lnTo>
                  <a:lnTo>
                    <a:pt x="704328" y="470415"/>
                  </a:lnTo>
                  <a:lnTo>
                    <a:pt x="967752" y="470415"/>
                  </a:lnTo>
                  <a:lnTo>
                    <a:pt x="837089" y="340449"/>
                  </a:lnTo>
                  <a:lnTo>
                    <a:pt x="696642" y="200003"/>
                  </a:lnTo>
                  <a:lnTo>
                    <a:pt x="896129" y="0"/>
                  </a:lnTo>
                  <a:lnTo>
                    <a:pt x="907318" y="0"/>
                  </a:lnTo>
                  <a:lnTo>
                    <a:pt x="711316" y="196509"/>
                  </a:lnTo>
                  <a:lnTo>
                    <a:pt x="974740" y="196509"/>
                  </a:lnTo>
                  <a:lnTo>
                    <a:pt x="1170742" y="0"/>
                  </a:lnTo>
                  <a:lnTo>
                    <a:pt x="1179819" y="0"/>
                  </a:lnTo>
                  <a:lnTo>
                    <a:pt x="981029" y="199304"/>
                  </a:lnTo>
                  <a:lnTo>
                    <a:pt x="1252140" y="469716"/>
                  </a:lnTo>
                  <a:lnTo>
                    <a:pt x="1516263" y="469716"/>
                  </a:lnTo>
                  <a:lnTo>
                    <a:pt x="1245152" y="199304"/>
                  </a:lnTo>
                  <a:lnTo>
                    <a:pt x="1443942" y="0"/>
                  </a:lnTo>
                  <a:lnTo>
                    <a:pt x="1453410" y="0"/>
                  </a:lnTo>
                  <a:lnTo>
                    <a:pt x="1436607" y="16933"/>
                  </a:lnTo>
                  <a:lnTo>
                    <a:pt x="1435908" y="16933"/>
                  </a:lnTo>
                  <a:lnTo>
                    <a:pt x="1258428" y="195111"/>
                  </a:lnTo>
                  <a:lnTo>
                    <a:pt x="1522551" y="195111"/>
                  </a:lnTo>
                  <a:lnTo>
                    <a:pt x="1717663" y="0"/>
                  </a:lnTo>
                  <a:lnTo>
                    <a:pt x="1728424" y="0"/>
                  </a:lnTo>
                  <a:lnTo>
                    <a:pt x="1620376" y="108468"/>
                  </a:lnTo>
                  <a:lnTo>
                    <a:pt x="1619677" y="108468"/>
                  </a:lnTo>
                  <a:lnTo>
                    <a:pt x="1529539" y="198605"/>
                  </a:lnTo>
                  <a:lnTo>
                    <a:pt x="1799951" y="469716"/>
                  </a:lnTo>
                  <a:lnTo>
                    <a:pt x="2064074" y="469716"/>
                  </a:lnTo>
                  <a:lnTo>
                    <a:pt x="1792964" y="199304"/>
                  </a:lnTo>
                  <a:lnTo>
                    <a:pt x="1977431" y="14837"/>
                  </a:lnTo>
                  <a:lnTo>
                    <a:pt x="1978130" y="14837"/>
                  </a:lnTo>
                  <a:lnTo>
                    <a:pt x="1992847" y="0"/>
                  </a:lnTo>
                  <a:lnTo>
                    <a:pt x="2002247" y="0"/>
                  </a:lnTo>
                  <a:lnTo>
                    <a:pt x="1808336" y="194412"/>
                  </a:lnTo>
                  <a:lnTo>
                    <a:pt x="2071761" y="194412"/>
                  </a:lnTo>
                  <a:lnTo>
                    <a:pt x="2266173" y="0"/>
                  </a:lnTo>
                  <a:lnTo>
                    <a:pt x="2277539" y="0"/>
                  </a:lnTo>
                  <a:lnTo>
                    <a:pt x="2078748" y="199304"/>
                  </a:lnTo>
                  <a:lnTo>
                    <a:pt x="2348461" y="468319"/>
                  </a:lnTo>
                  <a:lnTo>
                    <a:pt x="2611886" y="468319"/>
                  </a:lnTo>
                  <a:lnTo>
                    <a:pt x="2342872" y="199304"/>
                  </a:lnTo>
                  <a:lnTo>
                    <a:pt x="2343570" y="198605"/>
                  </a:lnTo>
                  <a:lnTo>
                    <a:pt x="2342173" y="197208"/>
                  </a:lnTo>
                  <a:lnTo>
                    <a:pt x="2538868" y="0"/>
                  </a:lnTo>
                  <a:lnTo>
                    <a:pt x="2552152" y="0"/>
                  </a:lnTo>
                  <a:lnTo>
                    <a:pt x="2358243" y="194412"/>
                  </a:lnTo>
                  <a:lnTo>
                    <a:pt x="2620271" y="194412"/>
                  </a:lnTo>
                  <a:lnTo>
                    <a:pt x="2814181" y="0"/>
                  </a:lnTo>
                  <a:lnTo>
                    <a:pt x="2825540" y="0"/>
                  </a:lnTo>
                  <a:lnTo>
                    <a:pt x="2628655" y="197906"/>
                  </a:lnTo>
                  <a:lnTo>
                    <a:pt x="2898368" y="466921"/>
                  </a:lnTo>
                  <a:lnTo>
                    <a:pt x="3163191" y="468319"/>
                  </a:lnTo>
                  <a:lnTo>
                    <a:pt x="2892081" y="197906"/>
                  </a:lnTo>
                  <a:lnTo>
                    <a:pt x="2890683" y="196509"/>
                  </a:lnTo>
                  <a:lnTo>
                    <a:pt x="3086683" y="0"/>
                  </a:lnTo>
                  <a:lnTo>
                    <a:pt x="3097556" y="0"/>
                  </a:lnTo>
                  <a:lnTo>
                    <a:pt x="3082137" y="15536"/>
                  </a:lnTo>
                  <a:lnTo>
                    <a:pt x="3082836" y="16235"/>
                  </a:lnTo>
                  <a:lnTo>
                    <a:pt x="2906754" y="192317"/>
                  </a:lnTo>
                  <a:lnTo>
                    <a:pt x="3103099" y="192317"/>
                  </a:lnTo>
                  <a:lnTo>
                    <a:pt x="3102401" y="193714"/>
                  </a:lnTo>
                  <a:lnTo>
                    <a:pt x="3168083" y="193714"/>
                  </a:lnTo>
                  <a:lnTo>
                    <a:pt x="3361298" y="0"/>
                  </a:lnTo>
                  <a:lnTo>
                    <a:pt x="3371863" y="0"/>
                  </a:lnTo>
                  <a:lnTo>
                    <a:pt x="3264508" y="107769"/>
                  </a:lnTo>
                  <a:lnTo>
                    <a:pt x="3265906" y="108468"/>
                  </a:lnTo>
                  <a:lnTo>
                    <a:pt x="3176467" y="197906"/>
                  </a:lnTo>
                  <a:lnTo>
                    <a:pt x="3446879" y="467620"/>
                  </a:lnTo>
                  <a:lnTo>
                    <a:pt x="3710303" y="467620"/>
                  </a:lnTo>
                  <a:lnTo>
                    <a:pt x="3439891" y="197906"/>
                  </a:lnTo>
                  <a:lnTo>
                    <a:pt x="3439193" y="197208"/>
                  </a:lnTo>
                  <a:lnTo>
                    <a:pt x="3635893" y="0"/>
                  </a:lnTo>
                  <a:lnTo>
                    <a:pt x="3646183" y="0"/>
                  </a:lnTo>
                  <a:lnTo>
                    <a:pt x="3453167" y="193016"/>
                  </a:lnTo>
                  <a:lnTo>
                    <a:pt x="3717291" y="193016"/>
                  </a:lnTo>
                  <a:lnTo>
                    <a:pt x="3910306" y="0"/>
                  </a:lnTo>
                  <a:lnTo>
                    <a:pt x="3919582" y="0"/>
                  </a:lnTo>
                  <a:lnTo>
                    <a:pt x="3723579" y="196509"/>
                  </a:lnTo>
                  <a:lnTo>
                    <a:pt x="3994690" y="466921"/>
                  </a:lnTo>
                  <a:lnTo>
                    <a:pt x="4258116" y="466921"/>
                  </a:lnTo>
                  <a:lnTo>
                    <a:pt x="4128150" y="336956"/>
                  </a:lnTo>
                  <a:lnTo>
                    <a:pt x="3987703" y="196509"/>
                  </a:lnTo>
                  <a:lnTo>
                    <a:pt x="4183705" y="0"/>
                  </a:lnTo>
                  <a:lnTo>
                    <a:pt x="4194197" y="0"/>
                  </a:lnTo>
                  <a:lnTo>
                    <a:pt x="4002377" y="192317"/>
                  </a:lnTo>
                  <a:lnTo>
                    <a:pt x="4265801" y="192317"/>
                  </a:lnTo>
                  <a:lnTo>
                    <a:pt x="4457622" y="0"/>
                  </a:lnTo>
                  <a:lnTo>
                    <a:pt x="4467396" y="0"/>
                  </a:lnTo>
                  <a:lnTo>
                    <a:pt x="4272090" y="195810"/>
                  </a:lnTo>
                  <a:lnTo>
                    <a:pt x="4543201" y="466222"/>
                  </a:lnTo>
                  <a:lnTo>
                    <a:pt x="4807324" y="466222"/>
                  </a:lnTo>
                  <a:lnTo>
                    <a:pt x="4536213" y="195810"/>
                  </a:lnTo>
                  <a:lnTo>
                    <a:pt x="4731518" y="0"/>
                  </a:lnTo>
                  <a:lnTo>
                    <a:pt x="4741806" y="0"/>
                  </a:lnTo>
                  <a:lnTo>
                    <a:pt x="4549489" y="192317"/>
                  </a:lnTo>
                  <a:lnTo>
                    <a:pt x="4813613" y="192317"/>
                  </a:lnTo>
                  <a:lnTo>
                    <a:pt x="4823396" y="182534"/>
                  </a:lnTo>
                  <a:lnTo>
                    <a:pt x="4823396" y="193016"/>
                  </a:lnTo>
                  <a:lnTo>
                    <a:pt x="4820600" y="195810"/>
                  </a:lnTo>
                  <a:lnTo>
                    <a:pt x="4823396" y="198605"/>
                  </a:lnTo>
                  <a:lnTo>
                    <a:pt x="4823396" y="209086"/>
                  </a:lnTo>
                  <a:lnTo>
                    <a:pt x="4814311" y="200003"/>
                  </a:lnTo>
                  <a:lnTo>
                    <a:pt x="4550188" y="200003"/>
                  </a:lnTo>
                  <a:lnTo>
                    <a:pt x="4821299" y="470415"/>
                  </a:lnTo>
                  <a:lnTo>
                    <a:pt x="4550887" y="741525"/>
                  </a:lnTo>
                  <a:lnTo>
                    <a:pt x="4815010" y="741525"/>
                  </a:lnTo>
                  <a:lnTo>
                    <a:pt x="4823396" y="732442"/>
                  </a:lnTo>
                  <a:lnTo>
                    <a:pt x="4823396" y="742224"/>
                  </a:lnTo>
                  <a:lnTo>
                    <a:pt x="4821299" y="744320"/>
                  </a:lnTo>
                  <a:lnTo>
                    <a:pt x="4823396" y="746417"/>
                  </a:lnTo>
                  <a:lnTo>
                    <a:pt x="4823396" y="756898"/>
                  </a:lnTo>
                  <a:lnTo>
                    <a:pt x="4814311" y="747814"/>
                  </a:lnTo>
                  <a:lnTo>
                    <a:pt x="4550188" y="747814"/>
                  </a:lnTo>
                  <a:lnTo>
                    <a:pt x="4821299" y="1018227"/>
                  </a:lnTo>
                  <a:lnTo>
                    <a:pt x="4821998" y="1018924"/>
                  </a:lnTo>
                  <a:lnTo>
                    <a:pt x="4551586" y="1290035"/>
                  </a:lnTo>
                  <a:lnTo>
                    <a:pt x="4815709" y="1290035"/>
                  </a:lnTo>
                  <a:lnTo>
                    <a:pt x="4823396" y="1282349"/>
                  </a:lnTo>
                  <a:lnTo>
                    <a:pt x="4823396" y="1292831"/>
                  </a:lnTo>
                  <a:lnTo>
                    <a:pt x="4822697" y="1293530"/>
                  </a:lnTo>
                  <a:lnTo>
                    <a:pt x="4823396" y="1294228"/>
                  </a:lnTo>
                  <a:lnTo>
                    <a:pt x="4823396" y="1304010"/>
                  </a:lnTo>
                  <a:lnTo>
                    <a:pt x="4815709" y="1296324"/>
                  </a:lnTo>
                  <a:lnTo>
                    <a:pt x="4551586" y="1297023"/>
                  </a:lnTo>
                  <a:lnTo>
                    <a:pt x="4823396" y="1566736"/>
                  </a:lnTo>
                  <a:lnTo>
                    <a:pt x="4552984" y="1837847"/>
                  </a:lnTo>
                  <a:lnTo>
                    <a:pt x="4817107" y="1837847"/>
                  </a:lnTo>
                  <a:lnTo>
                    <a:pt x="4824094" y="1830859"/>
                  </a:lnTo>
                  <a:lnTo>
                    <a:pt x="4824094" y="1841341"/>
                  </a:lnTo>
                  <a:lnTo>
                    <a:pt x="4824094" y="1851822"/>
                  </a:lnTo>
                  <a:lnTo>
                    <a:pt x="4817107" y="1844834"/>
                  </a:lnTo>
                  <a:lnTo>
                    <a:pt x="4552984" y="1844834"/>
                  </a:lnTo>
                  <a:lnTo>
                    <a:pt x="4824094" y="2115246"/>
                  </a:lnTo>
                  <a:lnTo>
                    <a:pt x="4821299" y="2118042"/>
                  </a:lnTo>
                  <a:lnTo>
                    <a:pt x="4731162" y="2208877"/>
                  </a:lnTo>
                  <a:lnTo>
                    <a:pt x="4553682" y="2386357"/>
                  </a:lnTo>
                  <a:lnTo>
                    <a:pt x="4817806" y="2386357"/>
                  </a:lnTo>
                  <a:lnTo>
                    <a:pt x="4824094" y="2380068"/>
                  </a:lnTo>
                  <a:lnTo>
                    <a:pt x="4824094" y="2398934"/>
                  </a:lnTo>
                  <a:lnTo>
                    <a:pt x="4817806" y="2392646"/>
                  </a:lnTo>
                  <a:lnTo>
                    <a:pt x="4553682" y="2392646"/>
                  </a:lnTo>
                  <a:lnTo>
                    <a:pt x="4824094" y="2662359"/>
                  </a:lnTo>
                  <a:lnTo>
                    <a:pt x="4824094" y="2663757"/>
                  </a:lnTo>
                  <a:lnTo>
                    <a:pt x="4554381" y="2934169"/>
                  </a:lnTo>
                  <a:lnTo>
                    <a:pt x="4817806" y="2934169"/>
                  </a:lnTo>
                  <a:lnTo>
                    <a:pt x="4823396" y="2928579"/>
                  </a:lnTo>
                  <a:lnTo>
                    <a:pt x="4823396" y="2947445"/>
                  </a:lnTo>
                  <a:lnTo>
                    <a:pt x="4817806" y="2941855"/>
                  </a:lnTo>
                  <a:lnTo>
                    <a:pt x="4554381" y="2941855"/>
                  </a:lnTo>
                  <a:lnTo>
                    <a:pt x="4684346" y="3071820"/>
                  </a:lnTo>
                  <a:lnTo>
                    <a:pt x="4823396" y="3210869"/>
                  </a:lnTo>
                  <a:lnTo>
                    <a:pt x="4823396" y="3213665"/>
                  </a:lnTo>
                  <a:lnTo>
                    <a:pt x="4554381" y="3483378"/>
                  </a:lnTo>
                  <a:lnTo>
                    <a:pt x="4818505" y="3483378"/>
                  </a:lnTo>
                  <a:lnTo>
                    <a:pt x="4823396" y="3478487"/>
                  </a:lnTo>
                  <a:lnTo>
                    <a:pt x="4823396" y="3495256"/>
                  </a:lnTo>
                  <a:lnTo>
                    <a:pt x="4818505" y="3490365"/>
                  </a:lnTo>
                  <a:lnTo>
                    <a:pt x="4554381" y="3490365"/>
                  </a:lnTo>
                  <a:lnTo>
                    <a:pt x="4555778" y="3491762"/>
                  </a:lnTo>
                  <a:lnTo>
                    <a:pt x="4823396" y="3758681"/>
                  </a:lnTo>
                  <a:lnTo>
                    <a:pt x="4823396" y="3762174"/>
                  </a:lnTo>
                  <a:lnTo>
                    <a:pt x="4555828" y="4030438"/>
                  </a:lnTo>
                  <a:lnTo>
                    <a:pt x="4817996" y="4030438"/>
                  </a:lnTo>
                  <a:lnTo>
                    <a:pt x="4828476" y="4019957"/>
                  </a:lnTo>
                  <a:lnTo>
                    <a:pt x="4828476" y="4030438"/>
                  </a:lnTo>
                  <a:lnTo>
                    <a:pt x="4824983" y="4033931"/>
                  </a:lnTo>
                  <a:lnTo>
                    <a:pt x="4828476" y="4037426"/>
                  </a:lnTo>
                  <a:lnTo>
                    <a:pt x="4828476" y="4047906"/>
                  </a:lnTo>
                  <a:lnTo>
                    <a:pt x="4823396" y="4042826"/>
                  </a:lnTo>
                  <a:lnTo>
                    <a:pt x="4823396" y="4043068"/>
                  </a:lnTo>
                  <a:lnTo>
                    <a:pt x="4819202" y="4038876"/>
                  </a:lnTo>
                  <a:lnTo>
                    <a:pt x="4555321" y="4038876"/>
                  </a:lnTo>
                  <a:lnTo>
                    <a:pt x="4555968" y="4039522"/>
                  </a:lnTo>
                  <a:lnTo>
                    <a:pt x="4825681" y="4308536"/>
                  </a:lnTo>
                  <a:lnTo>
                    <a:pt x="4554570" y="4579647"/>
                  </a:lnTo>
                  <a:lnTo>
                    <a:pt x="4818693" y="4579647"/>
                  </a:lnTo>
                  <a:lnTo>
                    <a:pt x="4828476" y="4569864"/>
                  </a:lnTo>
                  <a:lnTo>
                    <a:pt x="4828476" y="4580346"/>
                  </a:lnTo>
                  <a:lnTo>
                    <a:pt x="4825681" y="4583140"/>
                  </a:lnTo>
                  <a:lnTo>
                    <a:pt x="4828476" y="4585936"/>
                  </a:lnTo>
                  <a:lnTo>
                    <a:pt x="4828476" y="4596417"/>
                  </a:lnTo>
                  <a:lnTo>
                    <a:pt x="4819392" y="4587334"/>
                  </a:lnTo>
                  <a:lnTo>
                    <a:pt x="4555269" y="4587334"/>
                  </a:lnTo>
                  <a:lnTo>
                    <a:pt x="4826380" y="4857746"/>
                  </a:lnTo>
                  <a:lnTo>
                    <a:pt x="4555968" y="5128855"/>
                  </a:lnTo>
                  <a:lnTo>
                    <a:pt x="4820091" y="5128855"/>
                  </a:lnTo>
                  <a:lnTo>
                    <a:pt x="4828476" y="5119772"/>
                  </a:lnTo>
                  <a:lnTo>
                    <a:pt x="4828476" y="5129554"/>
                  </a:lnTo>
                  <a:lnTo>
                    <a:pt x="4826380" y="5131651"/>
                  </a:lnTo>
                  <a:lnTo>
                    <a:pt x="4828476" y="5133747"/>
                  </a:lnTo>
                  <a:lnTo>
                    <a:pt x="4828476" y="5144228"/>
                  </a:lnTo>
                  <a:lnTo>
                    <a:pt x="4819392" y="5135144"/>
                  </a:lnTo>
                  <a:lnTo>
                    <a:pt x="4555269" y="5135144"/>
                  </a:lnTo>
                  <a:lnTo>
                    <a:pt x="4826380" y="5405557"/>
                  </a:lnTo>
                  <a:lnTo>
                    <a:pt x="4827079" y="5406255"/>
                  </a:lnTo>
                  <a:lnTo>
                    <a:pt x="4556667" y="5677366"/>
                  </a:lnTo>
                  <a:lnTo>
                    <a:pt x="4820790" y="5677366"/>
                  </a:lnTo>
                  <a:lnTo>
                    <a:pt x="4828476" y="5669679"/>
                  </a:lnTo>
                  <a:lnTo>
                    <a:pt x="4828476" y="5680161"/>
                  </a:lnTo>
                  <a:lnTo>
                    <a:pt x="4827778" y="5680860"/>
                  </a:lnTo>
                  <a:lnTo>
                    <a:pt x="4828476" y="5681559"/>
                  </a:lnTo>
                  <a:lnTo>
                    <a:pt x="4828476" y="5691341"/>
                  </a:lnTo>
                  <a:lnTo>
                    <a:pt x="4820790" y="5683654"/>
                  </a:lnTo>
                  <a:lnTo>
                    <a:pt x="4556667" y="5684353"/>
                  </a:lnTo>
                  <a:lnTo>
                    <a:pt x="4828476" y="5954066"/>
                  </a:lnTo>
                  <a:lnTo>
                    <a:pt x="4558064" y="6225177"/>
                  </a:lnTo>
                  <a:lnTo>
                    <a:pt x="4822188" y="6225177"/>
                  </a:lnTo>
                  <a:lnTo>
                    <a:pt x="4829175" y="6218190"/>
                  </a:lnTo>
                  <a:lnTo>
                    <a:pt x="4829175" y="6228671"/>
                  </a:lnTo>
                  <a:lnTo>
                    <a:pt x="4829175" y="6239152"/>
                  </a:lnTo>
                  <a:lnTo>
                    <a:pt x="4822188" y="6232165"/>
                  </a:lnTo>
                  <a:lnTo>
                    <a:pt x="4558064" y="6232165"/>
                  </a:lnTo>
                  <a:lnTo>
                    <a:pt x="4829175" y="6502577"/>
                  </a:lnTo>
                  <a:lnTo>
                    <a:pt x="4826380" y="6505372"/>
                  </a:lnTo>
                  <a:lnTo>
                    <a:pt x="4816727" y="6515100"/>
                  </a:lnTo>
                  <a:lnTo>
                    <a:pt x="4806802" y="6515100"/>
                  </a:lnTo>
                  <a:lnTo>
                    <a:pt x="4815200" y="6506770"/>
                  </a:lnTo>
                  <a:lnTo>
                    <a:pt x="4551077" y="6506770"/>
                  </a:lnTo>
                  <a:lnTo>
                    <a:pt x="4542768" y="6515100"/>
                  </a:lnTo>
                  <a:lnTo>
                    <a:pt x="4531598" y="6515100"/>
                  </a:lnTo>
                  <a:lnTo>
                    <a:pt x="4544089" y="6502577"/>
                  </a:lnTo>
                  <a:lnTo>
                    <a:pt x="4539198" y="6497686"/>
                  </a:lnTo>
                  <a:lnTo>
                    <a:pt x="4273677" y="6232165"/>
                  </a:lnTo>
                  <a:lnTo>
                    <a:pt x="4009554" y="6232165"/>
                  </a:lnTo>
                  <a:lnTo>
                    <a:pt x="4010952" y="6233562"/>
                  </a:lnTo>
                  <a:lnTo>
                    <a:pt x="4279966" y="6502577"/>
                  </a:lnTo>
                  <a:lnTo>
                    <a:pt x="4267475" y="6515100"/>
                  </a:lnTo>
                  <a:lnTo>
                    <a:pt x="4259077" y="6515100"/>
                  </a:lnTo>
                  <a:lnTo>
                    <a:pt x="4266690" y="6507468"/>
                  </a:lnTo>
                  <a:lnTo>
                    <a:pt x="4002566" y="6507468"/>
                  </a:lnTo>
                  <a:lnTo>
                    <a:pt x="3994954" y="6515100"/>
                  </a:lnTo>
                  <a:lnTo>
                    <a:pt x="3983089" y="6515100"/>
                  </a:lnTo>
                  <a:lnTo>
                    <a:pt x="3996278" y="6501878"/>
                  </a:lnTo>
                  <a:lnTo>
                    <a:pt x="3862819" y="6369115"/>
                  </a:lnTo>
                  <a:lnTo>
                    <a:pt x="3865614" y="6363527"/>
                  </a:lnTo>
                  <a:lnTo>
                    <a:pt x="3864915" y="6362829"/>
                  </a:lnTo>
                  <a:lnTo>
                    <a:pt x="3865614" y="6361432"/>
                  </a:lnTo>
                  <a:lnTo>
                    <a:pt x="4002566" y="6498385"/>
                  </a:lnTo>
                  <a:lnTo>
                    <a:pt x="4266690" y="6498385"/>
                  </a:lnTo>
                  <a:lnTo>
                    <a:pt x="3995579" y="6227973"/>
                  </a:lnTo>
                  <a:lnTo>
                    <a:pt x="3996977" y="6226575"/>
                  </a:lnTo>
                  <a:lnTo>
                    <a:pt x="4265292" y="5957561"/>
                  </a:lnTo>
                  <a:lnTo>
                    <a:pt x="4066851" y="5957561"/>
                  </a:lnTo>
                  <a:lnTo>
                    <a:pt x="4070344" y="5950573"/>
                  </a:lnTo>
                  <a:lnTo>
                    <a:pt x="4265292" y="5950573"/>
                  </a:lnTo>
                  <a:lnTo>
                    <a:pt x="4135327" y="5820608"/>
                  </a:lnTo>
                  <a:lnTo>
                    <a:pt x="4138820" y="5813620"/>
                  </a:lnTo>
                  <a:lnTo>
                    <a:pt x="4279267" y="5954066"/>
                  </a:lnTo>
                  <a:lnTo>
                    <a:pt x="4008855" y="6225177"/>
                  </a:lnTo>
                  <a:lnTo>
                    <a:pt x="4272979" y="6225177"/>
                  </a:lnTo>
                  <a:lnTo>
                    <a:pt x="4543391" y="5954066"/>
                  </a:lnTo>
                  <a:lnTo>
                    <a:pt x="4272280" y="5684353"/>
                  </a:lnTo>
                  <a:lnTo>
                    <a:pt x="4203803" y="5684353"/>
                  </a:lnTo>
                  <a:lnTo>
                    <a:pt x="4008855" y="5684353"/>
                  </a:lnTo>
                  <a:lnTo>
                    <a:pt x="4138121" y="5814319"/>
                  </a:lnTo>
                  <a:lnTo>
                    <a:pt x="4134628" y="5821306"/>
                  </a:lnTo>
                  <a:lnTo>
                    <a:pt x="3994181" y="5680860"/>
                  </a:lnTo>
                  <a:lnTo>
                    <a:pt x="4264593" y="5409749"/>
                  </a:lnTo>
                  <a:lnTo>
                    <a:pt x="4000470" y="5409749"/>
                  </a:lnTo>
                  <a:lnTo>
                    <a:pt x="3730058" y="5680860"/>
                  </a:lnTo>
                  <a:lnTo>
                    <a:pt x="4001169" y="5951272"/>
                  </a:lnTo>
                  <a:lnTo>
                    <a:pt x="4069645" y="5951272"/>
                  </a:lnTo>
                  <a:lnTo>
                    <a:pt x="4066152" y="5958259"/>
                  </a:lnTo>
                  <a:lnTo>
                    <a:pt x="4001169" y="5958259"/>
                  </a:lnTo>
                  <a:lnTo>
                    <a:pt x="3820894" y="6139233"/>
                  </a:lnTo>
                  <a:lnTo>
                    <a:pt x="3731456" y="6229370"/>
                  </a:lnTo>
                  <a:lnTo>
                    <a:pt x="3864915" y="6362829"/>
                  </a:lnTo>
                  <a:lnTo>
                    <a:pt x="3862120" y="6368418"/>
                  </a:lnTo>
                  <a:lnTo>
                    <a:pt x="3862819" y="6369115"/>
                  </a:lnTo>
                  <a:lnTo>
                    <a:pt x="3862120" y="6370515"/>
                  </a:lnTo>
                  <a:lnTo>
                    <a:pt x="3725167" y="6233562"/>
                  </a:lnTo>
                  <a:lnTo>
                    <a:pt x="3461044" y="6233562"/>
                  </a:lnTo>
                  <a:lnTo>
                    <a:pt x="3732154" y="6503974"/>
                  </a:lnTo>
                  <a:lnTo>
                    <a:pt x="3721057" y="6515100"/>
                  </a:lnTo>
                  <a:lnTo>
                    <a:pt x="3710566" y="6515100"/>
                  </a:lnTo>
                  <a:lnTo>
                    <a:pt x="3718179" y="6507468"/>
                  </a:lnTo>
                  <a:lnTo>
                    <a:pt x="3454056" y="6507468"/>
                  </a:lnTo>
                  <a:lnTo>
                    <a:pt x="3446443" y="6515100"/>
                  </a:lnTo>
                  <a:lnTo>
                    <a:pt x="3437367" y="6515100"/>
                  </a:lnTo>
                  <a:lnTo>
                    <a:pt x="3447767" y="6504673"/>
                  </a:lnTo>
                  <a:lnTo>
                    <a:pt x="3176657" y="6234261"/>
                  </a:lnTo>
                  <a:lnTo>
                    <a:pt x="2912533" y="6234261"/>
                  </a:lnTo>
                  <a:lnTo>
                    <a:pt x="3183644" y="6504673"/>
                  </a:lnTo>
                  <a:lnTo>
                    <a:pt x="3173244" y="6515100"/>
                  </a:lnTo>
                  <a:lnTo>
                    <a:pt x="3163450" y="6515100"/>
                  </a:lnTo>
                  <a:lnTo>
                    <a:pt x="3169669" y="6508865"/>
                  </a:lnTo>
                  <a:lnTo>
                    <a:pt x="2905546" y="6508865"/>
                  </a:lnTo>
                  <a:lnTo>
                    <a:pt x="2899327" y="6515100"/>
                  </a:lnTo>
                  <a:lnTo>
                    <a:pt x="2889554" y="6515100"/>
                  </a:lnTo>
                  <a:lnTo>
                    <a:pt x="2899257" y="6505372"/>
                  </a:lnTo>
                  <a:lnTo>
                    <a:pt x="2628146" y="6234960"/>
                  </a:lnTo>
                  <a:lnTo>
                    <a:pt x="2364722" y="6234960"/>
                  </a:lnTo>
                  <a:lnTo>
                    <a:pt x="2494687" y="6364925"/>
                  </a:lnTo>
                  <a:lnTo>
                    <a:pt x="2635134" y="6505372"/>
                  </a:lnTo>
                  <a:lnTo>
                    <a:pt x="2625431" y="6515100"/>
                  </a:lnTo>
                  <a:lnTo>
                    <a:pt x="2614938" y="6515100"/>
                  </a:lnTo>
                  <a:lnTo>
                    <a:pt x="2620460" y="6509564"/>
                  </a:lnTo>
                  <a:lnTo>
                    <a:pt x="2357035" y="6509564"/>
                  </a:lnTo>
                  <a:lnTo>
                    <a:pt x="2351521" y="6515100"/>
                  </a:lnTo>
                  <a:lnTo>
                    <a:pt x="2341019" y="6515100"/>
                  </a:lnTo>
                  <a:lnTo>
                    <a:pt x="2350747" y="6505372"/>
                  </a:lnTo>
                  <a:lnTo>
                    <a:pt x="2079636" y="6234960"/>
                  </a:lnTo>
                  <a:lnTo>
                    <a:pt x="1815513" y="6234960"/>
                  </a:lnTo>
                  <a:lnTo>
                    <a:pt x="2086623" y="6505372"/>
                  </a:lnTo>
                  <a:lnTo>
                    <a:pt x="2083829" y="6508166"/>
                  </a:lnTo>
                  <a:lnTo>
                    <a:pt x="2076948" y="6515100"/>
                  </a:lnTo>
                  <a:lnTo>
                    <a:pt x="2067112" y="6515100"/>
                  </a:lnTo>
                  <a:lnTo>
                    <a:pt x="2072648" y="6509564"/>
                  </a:lnTo>
                  <a:lnTo>
                    <a:pt x="1808526" y="6509564"/>
                  </a:lnTo>
                  <a:lnTo>
                    <a:pt x="1803004" y="6515100"/>
                  </a:lnTo>
                  <a:lnTo>
                    <a:pt x="1792532" y="6515100"/>
                  </a:lnTo>
                  <a:lnTo>
                    <a:pt x="1801539" y="6506071"/>
                  </a:lnTo>
                  <a:lnTo>
                    <a:pt x="1796647" y="6501179"/>
                  </a:lnTo>
                  <a:lnTo>
                    <a:pt x="1531127" y="6236358"/>
                  </a:lnTo>
                  <a:lnTo>
                    <a:pt x="1267002" y="6236358"/>
                  </a:lnTo>
                  <a:lnTo>
                    <a:pt x="1267701" y="6237056"/>
                  </a:lnTo>
                  <a:lnTo>
                    <a:pt x="1268400" y="6237056"/>
                  </a:lnTo>
                  <a:lnTo>
                    <a:pt x="1537414" y="6506071"/>
                  </a:lnTo>
                  <a:lnTo>
                    <a:pt x="1528408" y="6515100"/>
                  </a:lnTo>
                  <a:lnTo>
                    <a:pt x="1520000" y="6515100"/>
                  </a:lnTo>
                  <a:lnTo>
                    <a:pt x="1524838" y="6510263"/>
                  </a:lnTo>
                  <a:lnTo>
                    <a:pt x="1260714" y="6510263"/>
                  </a:lnTo>
                  <a:lnTo>
                    <a:pt x="1255889" y="6515100"/>
                  </a:lnTo>
                  <a:lnTo>
                    <a:pt x="1243300" y="6515100"/>
                  </a:lnTo>
                  <a:lnTo>
                    <a:pt x="1252329" y="6506071"/>
                  </a:lnTo>
                  <a:lnTo>
                    <a:pt x="1119569" y="6374009"/>
                  </a:lnTo>
                  <a:lnTo>
                    <a:pt x="981219" y="6235659"/>
                  </a:lnTo>
                  <a:lnTo>
                    <a:pt x="717095" y="6235659"/>
                  </a:lnTo>
                  <a:lnTo>
                    <a:pt x="988206" y="6505372"/>
                  </a:lnTo>
                  <a:lnTo>
                    <a:pt x="985411" y="6508166"/>
                  </a:lnTo>
                  <a:lnTo>
                    <a:pt x="978530" y="6515100"/>
                  </a:lnTo>
                  <a:lnTo>
                    <a:pt x="969394" y="6515100"/>
                  </a:lnTo>
                  <a:lnTo>
                    <a:pt x="974930" y="6509564"/>
                  </a:lnTo>
                  <a:lnTo>
                    <a:pt x="716396" y="6509564"/>
                  </a:lnTo>
                  <a:lnTo>
                    <a:pt x="714941" y="6508865"/>
                  </a:lnTo>
                  <a:lnTo>
                    <a:pt x="716396" y="6508865"/>
                  </a:lnTo>
                  <a:lnTo>
                    <a:pt x="698928" y="6500480"/>
                  </a:lnTo>
                  <a:lnTo>
                    <a:pt x="700271" y="6501824"/>
                  </a:lnTo>
                  <a:lnTo>
                    <a:pt x="698928" y="6501179"/>
                  </a:lnTo>
                  <a:lnTo>
                    <a:pt x="433407" y="6236358"/>
                  </a:lnTo>
                  <a:lnTo>
                    <a:pt x="169284" y="6236358"/>
                  </a:lnTo>
                  <a:lnTo>
                    <a:pt x="170681" y="6237754"/>
                  </a:lnTo>
                  <a:lnTo>
                    <a:pt x="439696" y="6506770"/>
                  </a:lnTo>
                  <a:lnTo>
                    <a:pt x="431344" y="6515100"/>
                  </a:lnTo>
                  <a:lnTo>
                    <a:pt x="420908" y="6515100"/>
                  </a:lnTo>
                  <a:lnTo>
                    <a:pt x="425721" y="6510263"/>
                  </a:lnTo>
                  <a:lnTo>
                    <a:pt x="161597" y="6510263"/>
                  </a:lnTo>
                  <a:lnTo>
                    <a:pt x="156781" y="6515100"/>
                  </a:lnTo>
                  <a:lnTo>
                    <a:pt x="146978" y="6515100"/>
                  </a:lnTo>
                  <a:lnTo>
                    <a:pt x="155309" y="6506770"/>
                  </a:lnTo>
                  <a:lnTo>
                    <a:pt x="21150" y="6373310"/>
                  </a:lnTo>
                  <a:lnTo>
                    <a:pt x="5080" y="6357239"/>
                  </a:lnTo>
                  <a:lnTo>
                    <a:pt x="5080" y="6347457"/>
                  </a:lnTo>
                  <a:lnTo>
                    <a:pt x="24645" y="6367022"/>
                  </a:lnTo>
                  <a:lnTo>
                    <a:pt x="161597" y="6503275"/>
                  </a:lnTo>
                  <a:lnTo>
                    <a:pt x="425721" y="6503275"/>
                  </a:lnTo>
                  <a:lnTo>
                    <a:pt x="154610" y="6232863"/>
                  </a:lnTo>
                  <a:lnTo>
                    <a:pt x="156008" y="6231466"/>
                  </a:lnTo>
                  <a:lnTo>
                    <a:pt x="156706" y="6231466"/>
                  </a:lnTo>
                  <a:lnTo>
                    <a:pt x="425022" y="5962452"/>
                  </a:lnTo>
                  <a:lnTo>
                    <a:pt x="161597" y="5962452"/>
                  </a:lnTo>
                  <a:lnTo>
                    <a:pt x="5080" y="6118969"/>
                  </a:lnTo>
                  <a:lnTo>
                    <a:pt x="5080" y="6108488"/>
                  </a:lnTo>
                  <a:lnTo>
                    <a:pt x="154610" y="5958957"/>
                  </a:lnTo>
                  <a:lnTo>
                    <a:pt x="5080" y="5809427"/>
                  </a:lnTo>
                  <a:lnTo>
                    <a:pt x="5080" y="5798947"/>
                  </a:lnTo>
                  <a:lnTo>
                    <a:pt x="161597" y="5954765"/>
                  </a:lnTo>
                  <a:lnTo>
                    <a:pt x="425022" y="5954765"/>
                  </a:lnTo>
                  <a:lnTo>
                    <a:pt x="295057" y="5824800"/>
                  </a:lnTo>
                  <a:lnTo>
                    <a:pt x="154610" y="5684353"/>
                  </a:lnTo>
                  <a:lnTo>
                    <a:pt x="425022" y="5413941"/>
                  </a:lnTo>
                  <a:lnTo>
                    <a:pt x="160898" y="5413941"/>
                  </a:lnTo>
                  <a:lnTo>
                    <a:pt x="5080" y="5569760"/>
                  </a:lnTo>
                  <a:lnTo>
                    <a:pt x="5080" y="5559279"/>
                  </a:lnTo>
                  <a:lnTo>
                    <a:pt x="153911" y="5410448"/>
                  </a:lnTo>
                  <a:lnTo>
                    <a:pt x="5080" y="5261616"/>
                  </a:lnTo>
                  <a:lnTo>
                    <a:pt x="5080" y="5251135"/>
                  </a:lnTo>
                  <a:lnTo>
                    <a:pt x="160898" y="5406255"/>
                  </a:lnTo>
                  <a:lnTo>
                    <a:pt x="425022" y="5406255"/>
                  </a:lnTo>
                  <a:lnTo>
                    <a:pt x="153911" y="5135843"/>
                  </a:lnTo>
                  <a:lnTo>
                    <a:pt x="338378" y="4951376"/>
                  </a:lnTo>
                  <a:lnTo>
                    <a:pt x="424323" y="4865431"/>
                  </a:lnTo>
                  <a:lnTo>
                    <a:pt x="160200" y="4865431"/>
                  </a:lnTo>
                  <a:lnTo>
                    <a:pt x="5080" y="5020552"/>
                  </a:lnTo>
                  <a:lnTo>
                    <a:pt x="5080" y="5010070"/>
                  </a:lnTo>
                  <a:lnTo>
                    <a:pt x="153212" y="4861239"/>
                  </a:lnTo>
                  <a:lnTo>
                    <a:pt x="148321" y="4856348"/>
                  </a:lnTo>
                  <a:lnTo>
                    <a:pt x="5080" y="4713804"/>
                  </a:lnTo>
                  <a:lnTo>
                    <a:pt x="5080" y="4704023"/>
                  </a:lnTo>
                  <a:lnTo>
                    <a:pt x="160200" y="4858443"/>
                  </a:lnTo>
                  <a:lnTo>
                    <a:pt x="424323" y="4857746"/>
                  </a:lnTo>
                  <a:lnTo>
                    <a:pt x="153212" y="4587334"/>
                  </a:lnTo>
                  <a:lnTo>
                    <a:pt x="423624" y="4316922"/>
                  </a:lnTo>
                  <a:lnTo>
                    <a:pt x="159501" y="4316922"/>
                  </a:lnTo>
                  <a:lnTo>
                    <a:pt x="5080" y="4471342"/>
                  </a:lnTo>
                  <a:lnTo>
                    <a:pt x="5080" y="4460862"/>
                  </a:lnTo>
                  <a:lnTo>
                    <a:pt x="152513" y="4312728"/>
                  </a:lnTo>
                  <a:lnTo>
                    <a:pt x="5080" y="4165993"/>
                  </a:lnTo>
                  <a:lnTo>
                    <a:pt x="5080" y="4155512"/>
                  </a:lnTo>
                  <a:lnTo>
                    <a:pt x="159501" y="4309235"/>
                  </a:lnTo>
                  <a:lnTo>
                    <a:pt x="423624" y="4309235"/>
                  </a:lnTo>
                  <a:lnTo>
                    <a:pt x="152513" y="4039522"/>
                  </a:lnTo>
                  <a:lnTo>
                    <a:pt x="331391" y="3860644"/>
                  </a:lnTo>
                  <a:lnTo>
                    <a:pt x="331489" y="3860644"/>
                  </a:lnTo>
                  <a:lnTo>
                    <a:pt x="422038" y="3769860"/>
                  </a:lnTo>
                  <a:lnTo>
                    <a:pt x="225692" y="3769860"/>
                  </a:lnTo>
                  <a:lnTo>
                    <a:pt x="226391" y="3768464"/>
                  </a:lnTo>
                  <a:lnTo>
                    <a:pt x="158613" y="3768464"/>
                  </a:lnTo>
                  <a:lnTo>
                    <a:pt x="0" y="3927075"/>
                  </a:lnTo>
                  <a:lnTo>
                    <a:pt x="0" y="3917294"/>
                  </a:lnTo>
                  <a:lnTo>
                    <a:pt x="152324" y="3764969"/>
                  </a:lnTo>
                  <a:lnTo>
                    <a:pt x="0" y="3613344"/>
                  </a:lnTo>
                  <a:lnTo>
                    <a:pt x="0" y="3602863"/>
                  </a:lnTo>
                  <a:lnTo>
                    <a:pt x="159312" y="3760776"/>
                  </a:lnTo>
                  <a:lnTo>
                    <a:pt x="423435" y="3760776"/>
                  </a:lnTo>
                  <a:lnTo>
                    <a:pt x="294168" y="3632209"/>
                  </a:lnTo>
                  <a:lnTo>
                    <a:pt x="152324" y="3491064"/>
                  </a:lnTo>
                  <a:lnTo>
                    <a:pt x="336093" y="3305898"/>
                  </a:lnTo>
                  <a:lnTo>
                    <a:pt x="422038" y="3219953"/>
                  </a:lnTo>
                  <a:lnTo>
                    <a:pt x="157914" y="3219953"/>
                  </a:lnTo>
                  <a:lnTo>
                    <a:pt x="0" y="3378566"/>
                  </a:lnTo>
                  <a:lnTo>
                    <a:pt x="0" y="3368084"/>
                  </a:lnTo>
                  <a:lnTo>
                    <a:pt x="152324" y="3216459"/>
                  </a:lnTo>
                  <a:lnTo>
                    <a:pt x="146735" y="3211568"/>
                  </a:lnTo>
                  <a:lnTo>
                    <a:pt x="0" y="3065532"/>
                  </a:lnTo>
                  <a:lnTo>
                    <a:pt x="0" y="3055052"/>
                  </a:lnTo>
                  <a:lnTo>
                    <a:pt x="157914" y="3212966"/>
                  </a:lnTo>
                  <a:lnTo>
                    <a:pt x="422038" y="3212966"/>
                  </a:lnTo>
                  <a:lnTo>
                    <a:pt x="150927" y="2942554"/>
                  </a:lnTo>
                  <a:lnTo>
                    <a:pt x="421339" y="2671443"/>
                  </a:lnTo>
                  <a:lnTo>
                    <a:pt x="157215" y="2671443"/>
                  </a:lnTo>
                  <a:lnTo>
                    <a:pt x="0" y="2829357"/>
                  </a:lnTo>
                  <a:lnTo>
                    <a:pt x="0" y="2818875"/>
                  </a:lnTo>
                  <a:lnTo>
                    <a:pt x="150927" y="2667949"/>
                  </a:lnTo>
                  <a:lnTo>
                    <a:pt x="0" y="2517721"/>
                  </a:lnTo>
                  <a:lnTo>
                    <a:pt x="0" y="2507939"/>
                  </a:lnTo>
                  <a:lnTo>
                    <a:pt x="157914" y="2664456"/>
                  </a:lnTo>
                  <a:lnTo>
                    <a:pt x="422038" y="2664456"/>
                  </a:lnTo>
                  <a:lnTo>
                    <a:pt x="150927" y="2394044"/>
                  </a:lnTo>
                  <a:lnTo>
                    <a:pt x="420640" y="2122933"/>
                  </a:lnTo>
                  <a:lnTo>
                    <a:pt x="156517" y="2122933"/>
                  </a:lnTo>
                  <a:lnTo>
                    <a:pt x="0" y="2280148"/>
                  </a:lnTo>
                  <a:lnTo>
                    <a:pt x="0" y="2269667"/>
                  </a:lnTo>
                  <a:lnTo>
                    <a:pt x="150228" y="2119439"/>
                  </a:lnTo>
                  <a:lnTo>
                    <a:pt x="16070" y="1985980"/>
                  </a:lnTo>
                  <a:lnTo>
                    <a:pt x="0" y="1969909"/>
                  </a:lnTo>
                  <a:lnTo>
                    <a:pt x="0" y="1960127"/>
                  </a:lnTo>
                  <a:lnTo>
                    <a:pt x="19564" y="1979691"/>
                  </a:lnTo>
                  <a:lnTo>
                    <a:pt x="156517" y="2115945"/>
                  </a:lnTo>
                  <a:lnTo>
                    <a:pt x="420640" y="2115945"/>
                  </a:lnTo>
                  <a:lnTo>
                    <a:pt x="149529" y="1845533"/>
                  </a:lnTo>
                  <a:lnTo>
                    <a:pt x="150927" y="1844135"/>
                  </a:lnTo>
                  <a:lnTo>
                    <a:pt x="151626" y="1844135"/>
                  </a:lnTo>
                  <a:lnTo>
                    <a:pt x="419941" y="1575121"/>
                  </a:lnTo>
                  <a:lnTo>
                    <a:pt x="156517" y="1575121"/>
                  </a:lnTo>
                  <a:lnTo>
                    <a:pt x="0" y="1731637"/>
                  </a:lnTo>
                  <a:lnTo>
                    <a:pt x="0" y="1721157"/>
                  </a:lnTo>
                  <a:lnTo>
                    <a:pt x="149529" y="1571627"/>
                  </a:lnTo>
                  <a:lnTo>
                    <a:pt x="0" y="1422098"/>
                  </a:lnTo>
                  <a:lnTo>
                    <a:pt x="0" y="1411617"/>
                  </a:lnTo>
                  <a:lnTo>
                    <a:pt x="156517" y="1567435"/>
                  </a:lnTo>
                  <a:lnTo>
                    <a:pt x="419941" y="1567435"/>
                  </a:lnTo>
                  <a:lnTo>
                    <a:pt x="289976" y="1437470"/>
                  </a:lnTo>
                  <a:lnTo>
                    <a:pt x="149529" y="1297023"/>
                  </a:lnTo>
                  <a:lnTo>
                    <a:pt x="419941" y="1026611"/>
                  </a:lnTo>
                  <a:lnTo>
                    <a:pt x="155818" y="1026611"/>
                  </a:lnTo>
                  <a:lnTo>
                    <a:pt x="0" y="1182428"/>
                  </a:lnTo>
                  <a:lnTo>
                    <a:pt x="0" y="1171948"/>
                  </a:lnTo>
                  <a:lnTo>
                    <a:pt x="148830" y="1023118"/>
                  </a:lnTo>
                  <a:lnTo>
                    <a:pt x="0" y="874286"/>
                  </a:lnTo>
                  <a:lnTo>
                    <a:pt x="0" y="863806"/>
                  </a:lnTo>
                  <a:lnTo>
                    <a:pt x="155818" y="1018924"/>
                  </a:lnTo>
                  <a:lnTo>
                    <a:pt x="419941" y="1018924"/>
                  </a:lnTo>
                  <a:lnTo>
                    <a:pt x="148830" y="748512"/>
                  </a:lnTo>
                  <a:lnTo>
                    <a:pt x="333298" y="564046"/>
                  </a:lnTo>
                  <a:lnTo>
                    <a:pt x="419242" y="478100"/>
                  </a:lnTo>
                  <a:lnTo>
                    <a:pt x="155119" y="478100"/>
                  </a:lnTo>
                  <a:lnTo>
                    <a:pt x="0" y="633220"/>
                  </a:lnTo>
                  <a:lnTo>
                    <a:pt x="0" y="622738"/>
                  </a:lnTo>
                  <a:lnTo>
                    <a:pt x="148131" y="473908"/>
                  </a:lnTo>
                  <a:lnTo>
                    <a:pt x="143240" y="469017"/>
                  </a:lnTo>
                  <a:lnTo>
                    <a:pt x="0" y="326475"/>
                  </a:lnTo>
                  <a:lnTo>
                    <a:pt x="0" y="316693"/>
                  </a:lnTo>
                  <a:lnTo>
                    <a:pt x="155119" y="471113"/>
                  </a:lnTo>
                  <a:lnTo>
                    <a:pt x="419242" y="470415"/>
                  </a:lnTo>
                  <a:lnTo>
                    <a:pt x="148131" y="200003"/>
                  </a:lnTo>
                  <a:close/>
                  <a:moveTo>
                    <a:pt x="73183" y="0"/>
                  </a:moveTo>
                  <a:lnTo>
                    <a:pt x="84011" y="0"/>
                  </a:lnTo>
                  <a:lnTo>
                    <a:pt x="0" y="84011"/>
                  </a:lnTo>
                  <a:lnTo>
                    <a:pt x="0" y="7353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8" name="Rectangle 7">
              <a:extLst>
                <a:ext uri="{FF2B5EF4-FFF2-40B4-BE49-F238E27FC236}">
                  <a16:creationId xmlns:a16="http://schemas.microsoft.com/office/drawing/2014/main" id="{898BB275-D13C-4C6A-B58E-3A7FE558C7B6}"/>
                </a:ext>
              </a:extLst>
            </p:cNvPr>
            <p:cNvSpPr/>
            <p:nvPr/>
          </p:nvSpPr>
          <p:spPr>
            <a:xfrm>
              <a:off x="1846833" y="0"/>
              <a:ext cx="4829175" cy="6515100"/>
            </a:xfrm>
            <a:prstGeom prst="rect">
              <a:avLst/>
            </a:prstGeom>
            <a:gradFill flip="none" rotWithShape="1">
              <a:gsLst>
                <a:gs pos="7000">
                  <a:schemeClr val="bg1"/>
                </a:gs>
                <a:gs pos="100000">
                  <a:schemeClr val="bg1">
                    <a:shade val="100000"/>
                    <a:satMod val="115000"/>
                    <a:alpha val="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0000"/>
                </a:solidFill>
              </a:endParaRPr>
            </a:p>
          </p:txBody>
        </p:sp>
      </p:grpSp>
      <p:sp>
        <p:nvSpPr>
          <p:cNvPr id="3" name="Rectangle 2" hidden="1">
            <a:extLst>
              <a:ext uri="{FF2B5EF4-FFF2-40B4-BE49-F238E27FC236}">
                <a16:creationId xmlns:a16="http://schemas.microsoft.com/office/drawing/2014/main" id="{EB495991-1E07-4639-8B3E-0877E9367090}"/>
              </a:ext>
            </a:extLst>
          </p:cNvPr>
          <p:cNvSpPr/>
          <p:nvPr>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19" name="Picture Placeholder 18">
            <a:extLst>
              <a:ext uri="{FF2B5EF4-FFF2-40B4-BE49-F238E27FC236}">
                <a16:creationId xmlns:a16="http://schemas.microsoft.com/office/drawing/2014/main" id="{5DBCA4AE-28E9-4125-AA65-A01EAE2C95E9}"/>
              </a:ext>
            </a:extLst>
          </p:cNvPr>
          <p:cNvSpPr>
            <a:spLocks noGrp="1"/>
          </p:cNvSpPr>
          <p:nvPr>
            <p:ph type="pic" sz="quarter" idx="10"/>
          </p:nvPr>
        </p:nvSpPr>
        <p:spPr>
          <a:xfrm>
            <a:off x="5194301" y="0"/>
            <a:ext cx="6997700" cy="4826000"/>
          </a:xfrm>
        </p:spPr>
        <p:txBody>
          <a:bodyPr/>
          <a:lstStyle/>
          <a:p>
            <a:r>
              <a:rPr lang="en-US" dirty="0"/>
              <a:t>Click icon to add picture</a:t>
            </a:r>
          </a:p>
        </p:txBody>
      </p:sp>
      <p:sp>
        <p:nvSpPr>
          <p:cNvPr id="21" name="Rectangle 20">
            <a:extLst>
              <a:ext uri="{FF2B5EF4-FFF2-40B4-BE49-F238E27FC236}">
                <a16:creationId xmlns:a16="http://schemas.microsoft.com/office/drawing/2014/main" id="{DF389211-E886-422A-8D4B-CD3FDC4197A3}"/>
              </a:ext>
            </a:extLst>
          </p:cNvPr>
          <p:cNvSpPr/>
          <p:nvPr/>
        </p:nvSpPr>
        <p:spPr>
          <a:xfrm>
            <a:off x="0" y="4829649"/>
            <a:ext cx="12192000" cy="168544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2" name="Title 1"/>
          <p:cNvSpPr>
            <a:spLocks noGrp="1"/>
          </p:cNvSpPr>
          <p:nvPr>
            <p:ph type="title"/>
          </p:nvPr>
        </p:nvSpPr>
        <p:spPr>
          <a:xfrm>
            <a:off x="457201" y="358140"/>
            <a:ext cx="4737099" cy="2156460"/>
          </a:xfrm>
        </p:spPr>
        <p:txBody>
          <a:bodyPr vert="horz" lIns="0" anchor="t" anchorCtr="0"/>
          <a:lstStyle>
            <a:lvl1pPr>
              <a:defRPr sz="3200">
                <a:solidFill>
                  <a:schemeClr val="accent1"/>
                </a:solidFill>
              </a:defRPr>
            </a:lvl1pPr>
          </a:lstStyle>
          <a:p>
            <a:r>
              <a:rPr lang="en-US" dirty="0"/>
              <a:t>Click to edit Master title style</a:t>
            </a:r>
          </a:p>
        </p:txBody>
      </p:sp>
      <p:sp>
        <p:nvSpPr>
          <p:cNvPr id="14" name="Rectangle 13" hidden="1">
            <a:extLst>
              <a:ext uri="{FF2B5EF4-FFF2-40B4-BE49-F238E27FC236}">
                <a16:creationId xmlns:a16="http://schemas.microsoft.com/office/drawing/2014/main" id="{8ECEEACC-403A-4878-ACAA-BB9FC11003AF}"/>
              </a:ext>
            </a:extLst>
          </p:cNvPr>
          <p:cNvSpPr/>
          <p:nvPr userDrawn="1">
            <p:custDataLst>
              <p:tags r:id="rId3"/>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15" name="Rectangle 14">
            <a:extLst>
              <a:ext uri="{FF2B5EF4-FFF2-40B4-BE49-F238E27FC236}">
                <a16:creationId xmlns:a16="http://schemas.microsoft.com/office/drawing/2014/main" id="{64F8C175-AB42-4A9D-A795-BD4859B5BAEA}"/>
              </a:ext>
            </a:extLst>
          </p:cNvPr>
          <p:cNvSpPr/>
          <p:nvPr userDrawn="1"/>
        </p:nvSpPr>
        <p:spPr>
          <a:xfrm>
            <a:off x="0" y="4829649"/>
            <a:ext cx="12192000" cy="1685449"/>
          </a:xfrm>
          <a:prstGeom prst="rect">
            <a:avLst/>
          </a:prstGeom>
          <a:solidFill>
            <a:srgbClr val="EB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Tree>
    <p:extLst>
      <p:ext uri="{BB962C8B-B14F-4D97-AF65-F5344CB8AC3E}">
        <p14:creationId xmlns:p14="http://schemas.microsoft.com/office/powerpoint/2010/main" val="1397959414"/>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2_No Line Dark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4146552470"/>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CCBEC1A1-9DAE-421F-BEB1-6A2E3CB246B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3" name="Rectangle 2">
            <a:extLst>
              <a:ext uri="{FF2B5EF4-FFF2-40B4-BE49-F238E27FC236}">
                <a16:creationId xmlns:a16="http://schemas.microsoft.com/office/drawing/2014/main" id="{DCFEFD1D-D1D9-4610-A6A3-708197C1FB91}"/>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Rectangle 3">
            <a:extLst>
              <a:ext uri="{FF2B5EF4-FFF2-40B4-BE49-F238E27FC236}">
                <a16:creationId xmlns:a16="http://schemas.microsoft.com/office/drawing/2014/main" id="{D101A2CC-AC51-446C-B70F-C6C49C636C06}"/>
              </a:ext>
            </a:extLst>
          </p:cNvPr>
          <p:cNvSpPr/>
          <p:nvPr userDrawn="1"/>
        </p:nvSpPr>
        <p:spPr>
          <a:xfrm>
            <a:off x="2" y="3"/>
            <a:ext cx="12191999" cy="65129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j-lt"/>
              <a:ea typeface="+mn-ea"/>
              <a:cs typeface="+mn-cs"/>
            </a:endParaRPr>
          </a:p>
        </p:txBody>
      </p:sp>
      <p:sp>
        <p:nvSpPr>
          <p:cNvPr id="17" name="Title 16">
            <a:extLst>
              <a:ext uri="{FF2B5EF4-FFF2-40B4-BE49-F238E27FC236}">
                <a16:creationId xmlns:a16="http://schemas.microsoft.com/office/drawing/2014/main" id="{7346B5CE-33D5-48E4-B6E5-19D00D2A676B}"/>
              </a:ext>
            </a:extLst>
          </p:cNvPr>
          <p:cNvSpPr>
            <a:spLocks noGrp="1"/>
          </p:cNvSpPr>
          <p:nvPr>
            <p:ph type="title"/>
          </p:nvPr>
        </p:nvSpPr>
        <p:spPr bwMode="white">
          <a:xfrm>
            <a:off x="457200" y="310896"/>
            <a:ext cx="4873752" cy="1600200"/>
          </a:xfrm>
        </p:spPr>
        <p:txBody>
          <a:bodyPr vert="horz" anchor="ctr" anchorCtr="0"/>
          <a:lstStyle>
            <a:lvl1pPr>
              <a:defRPr sz="3200" b="0">
                <a:solidFill>
                  <a:schemeClr val="bg1"/>
                </a:solidFill>
              </a:defRPr>
            </a:lvl1pPr>
          </a:lstStyle>
          <a:p>
            <a:r>
              <a:rPr lang="en-US" dirty="0"/>
              <a:t>Click to edit Master title style</a:t>
            </a:r>
          </a:p>
        </p:txBody>
      </p:sp>
      <p:cxnSp>
        <p:nvCxnSpPr>
          <p:cNvPr id="19" name="Straight Connector 18">
            <a:extLst>
              <a:ext uri="{FF2B5EF4-FFF2-40B4-BE49-F238E27FC236}">
                <a16:creationId xmlns:a16="http://schemas.microsoft.com/office/drawing/2014/main" id="{0A9DCB26-F32D-45E8-8D8A-8C55B0434268}"/>
              </a:ext>
            </a:extLst>
          </p:cNvPr>
          <p:cNvCxnSpPr>
            <a:cxnSpLocks/>
          </p:cNvCxnSpPr>
          <p:nvPr userDrawn="1"/>
        </p:nvCxnSpPr>
        <p:spPr bwMode="white">
          <a:xfrm>
            <a:off x="5331013" y="428198"/>
            <a:ext cx="0" cy="137160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3C12EF41-0F86-415A-A9E8-26E6E6E65C24}"/>
              </a:ext>
            </a:extLst>
          </p:cNvPr>
          <p:cNvSpPr>
            <a:spLocks noGrp="1"/>
          </p:cNvSpPr>
          <p:nvPr>
            <p:ph type="body" sz="quarter" idx="10"/>
          </p:nvPr>
        </p:nvSpPr>
        <p:spPr bwMode="white">
          <a:xfrm>
            <a:off x="5330952" y="310896"/>
            <a:ext cx="5440680" cy="1600200"/>
          </a:xfrm>
        </p:spPr>
        <p:txBody>
          <a:bodyPr anchor="ct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a:t>
            </a:r>
          </a:p>
        </p:txBody>
      </p:sp>
    </p:spTree>
    <p:extLst>
      <p:ext uri="{BB962C8B-B14F-4D97-AF65-F5344CB8AC3E}">
        <p14:creationId xmlns:p14="http://schemas.microsoft.com/office/powerpoint/2010/main" val="1503912706"/>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5_Introductions 16up">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1131787941"/>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grpSp>
        <p:nvGrpSpPr>
          <p:cNvPr id="30" name="Group 29">
            <a:extLst>
              <a:ext uri="{FF2B5EF4-FFF2-40B4-BE49-F238E27FC236}">
                <a16:creationId xmlns:a16="http://schemas.microsoft.com/office/drawing/2014/main" id="{C387E408-6B3E-4AD1-80E5-3AD5AA76B2E0}"/>
              </a:ext>
            </a:extLst>
          </p:cNvPr>
          <p:cNvGrpSpPr/>
          <p:nvPr userDrawn="1"/>
        </p:nvGrpSpPr>
        <p:grpSpPr>
          <a:xfrm>
            <a:off x="0" y="42672"/>
            <a:ext cx="6676008" cy="6457188"/>
            <a:chOff x="0" y="0"/>
            <a:chExt cx="6676008" cy="6515100"/>
          </a:xfrm>
        </p:grpSpPr>
        <p:sp>
          <p:nvSpPr>
            <p:cNvPr id="31" name="Freeform: Shape 30">
              <a:extLst>
                <a:ext uri="{FF2B5EF4-FFF2-40B4-BE49-F238E27FC236}">
                  <a16:creationId xmlns:a16="http://schemas.microsoft.com/office/drawing/2014/main" id="{9FC786FB-6EA8-44F9-937E-B72B8FD05680}"/>
                </a:ext>
              </a:extLst>
            </p:cNvPr>
            <p:cNvSpPr/>
            <p:nvPr/>
          </p:nvSpPr>
          <p:spPr>
            <a:xfrm>
              <a:off x="0" y="0"/>
              <a:ext cx="4829175" cy="6515100"/>
            </a:xfrm>
            <a:custGeom>
              <a:avLst/>
              <a:gdLst>
                <a:gd name="connsiteX0" fmla="*/ 700271 w 4829175"/>
                <a:gd name="connsiteY0" fmla="*/ 6501824 h 6515100"/>
                <a:gd name="connsiteX1" fmla="*/ 714941 w 4829175"/>
                <a:gd name="connsiteY1" fmla="*/ 6508865 h 6515100"/>
                <a:gd name="connsiteX2" fmla="*/ 710807 w 4829175"/>
                <a:gd name="connsiteY2" fmla="*/ 6508865 h 6515100"/>
                <a:gd name="connsiteX3" fmla="*/ 704588 w 4829175"/>
                <a:gd name="connsiteY3" fmla="*/ 6515100 h 6515100"/>
                <a:gd name="connsiteX4" fmla="*/ 694116 w 4829175"/>
                <a:gd name="connsiteY4" fmla="*/ 6515100 h 6515100"/>
                <a:gd name="connsiteX5" fmla="*/ 703819 w 4829175"/>
                <a:gd name="connsiteY5" fmla="*/ 6505372 h 6515100"/>
                <a:gd name="connsiteX6" fmla="*/ 710108 w 4829175"/>
                <a:gd name="connsiteY6" fmla="*/ 5961753 h 6515100"/>
                <a:gd name="connsiteX7" fmla="*/ 439696 w 4829175"/>
                <a:gd name="connsiteY7" fmla="*/ 6232863 h 6515100"/>
                <a:gd name="connsiteX8" fmla="*/ 710807 w 4829175"/>
                <a:gd name="connsiteY8" fmla="*/ 6503275 h 6515100"/>
                <a:gd name="connsiteX9" fmla="*/ 974930 w 4829175"/>
                <a:gd name="connsiteY9" fmla="*/ 6503275 h 6515100"/>
                <a:gd name="connsiteX10" fmla="*/ 703819 w 4829175"/>
                <a:gd name="connsiteY10" fmla="*/ 6232863 h 6515100"/>
                <a:gd name="connsiteX11" fmla="*/ 974231 w 4829175"/>
                <a:gd name="connsiteY11" fmla="*/ 5961753 h 6515100"/>
                <a:gd name="connsiteX12" fmla="*/ 1807827 w 4829175"/>
                <a:gd name="connsiteY12" fmla="*/ 5961054 h 6515100"/>
                <a:gd name="connsiteX13" fmla="*/ 1537414 w 4829175"/>
                <a:gd name="connsiteY13" fmla="*/ 6232165 h 6515100"/>
                <a:gd name="connsiteX14" fmla="*/ 1808526 w 4829175"/>
                <a:gd name="connsiteY14" fmla="*/ 6502577 h 6515100"/>
                <a:gd name="connsiteX15" fmla="*/ 2072648 w 4829175"/>
                <a:gd name="connsiteY15" fmla="*/ 6502577 h 6515100"/>
                <a:gd name="connsiteX16" fmla="*/ 1801539 w 4829175"/>
                <a:gd name="connsiteY16" fmla="*/ 6232165 h 6515100"/>
                <a:gd name="connsiteX17" fmla="*/ 2071951 w 4829175"/>
                <a:gd name="connsiteY17" fmla="*/ 5961054 h 6515100"/>
                <a:gd name="connsiteX18" fmla="*/ 1257919 w 4829175"/>
                <a:gd name="connsiteY18" fmla="*/ 5961054 h 6515100"/>
                <a:gd name="connsiteX19" fmla="*/ 988206 w 4829175"/>
                <a:gd name="connsiteY19" fmla="*/ 6232165 h 6515100"/>
                <a:gd name="connsiteX20" fmla="*/ 1188744 w 4829175"/>
                <a:gd name="connsiteY20" fmla="*/ 6432703 h 6515100"/>
                <a:gd name="connsiteX21" fmla="*/ 1259317 w 4829175"/>
                <a:gd name="connsiteY21" fmla="*/ 6502577 h 6515100"/>
                <a:gd name="connsiteX22" fmla="*/ 1327793 w 4829175"/>
                <a:gd name="connsiteY22" fmla="*/ 6502577 h 6515100"/>
                <a:gd name="connsiteX23" fmla="*/ 1327094 w 4829175"/>
                <a:gd name="connsiteY23" fmla="*/ 6503974 h 6515100"/>
                <a:gd name="connsiteX24" fmla="*/ 1524139 w 4829175"/>
                <a:gd name="connsiteY24" fmla="*/ 6503974 h 6515100"/>
                <a:gd name="connsiteX25" fmla="*/ 1253028 w 4829175"/>
                <a:gd name="connsiteY25" fmla="*/ 6233562 h 6515100"/>
                <a:gd name="connsiteX26" fmla="*/ 1253727 w 4829175"/>
                <a:gd name="connsiteY26" fmla="*/ 6232863 h 6515100"/>
                <a:gd name="connsiteX27" fmla="*/ 1251631 w 4829175"/>
                <a:gd name="connsiteY27" fmla="*/ 6232165 h 6515100"/>
                <a:gd name="connsiteX28" fmla="*/ 1522043 w 4829175"/>
                <a:gd name="connsiteY28" fmla="*/ 5961054 h 6515100"/>
                <a:gd name="connsiteX29" fmla="*/ 2904847 w 4829175"/>
                <a:gd name="connsiteY29" fmla="*/ 5960355 h 6515100"/>
                <a:gd name="connsiteX30" fmla="*/ 2634435 w 4829175"/>
                <a:gd name="connsiteY30" fmla="*/ 6231466 h 6515100"/>
                <a:gd name="connsiteX31" fmla="*/ 2905546 w 4829175"/>
                <a:gd name="connsiteY31" fmla="*/ 6501878 h 6515100"/>
                <a:gd name="connsiteX32" fmla="*/ 3169669 w 4829175"/>
                <a:gd name="connsiteY32" fmla="*/ 6501878 h 6515100"/>
                <a:gd name="connsiteX33" fmla="*/ 2898558 w 4829175"/>
                <a:gd name="connsiteY33" fmla="*/ 6231466 h 6515100"/>
                <a:gd name="connsiteX34" fmla="*/ 3168970 w 4829175"/>
                <a:gd name="connsiteY34" fmla="*/ 5960355 h 6515100"/>
                <a:gd name="connsiteX35" fmla="*/ 2356338 w 4829175"/>
                <a:gd name="connsiteY35" fmla="*/ 5960355 h 6515100"/>
                <a:gd name="connsiteX36" fmla="*/ 2085925 w 4829175"/>
                <a:gd name="connsiteY36" fmla="*/ 6231466 h 6515100"/>
                <a:gd name="connsiteX37" fmla="*/ 2357035 w 4829175"/>
                <a:gd name="connsiteY37" fmla="*/ 6501878 h 6515100"/>
                <a:gd name="connsiteX38" fmla="*/ 2620460 w 4829175"/>
                <a:gd name="connsiteY38" fmla="*/ 6501878 h 6515100"/>
                <a:gd name="connsiteX39" fmla="*/ 2490495 w 4829175"/>
                <a:gd name="connsiteY39" fmla="*/ 6371913 h 6515100"/>
                <a:gd name="connsiteX40" fmla="*/ 2350049 w 4829175"/>
                <a:gd name="connsiteY40" fmla="*/ 6231466 h 6515100"/>
                <a:gd name="connsiteX41" fmla="*/ 2620460 w 4829175"/>
                <a:gd name="connsiteY41" fmla="*/ 5960355 h 6515100"/>
                <a:gd name="connsiteX42" fmla="*/ 3453357 w 4829175"/>
                <a:gd name="connsiteY42" fmla="*/ 5959656 h 6515100"/>
                <a:gd name="connsiteX43" fmla="*/ 3182945 w 4829175"/>
                <a:gd name="connsiteY43" fmla="*/ 6230767 h 6515100"/>
                <a:gd name="connsiteX44" fmla="*/ 3454056 w 4829175"/>
                <a:gd name="connsiteY44" fmla="*/ 6500480 h 6515100"/>
                <a:gd name="connsiteX45" fmla="*/ 3718179 w 4829175"/>
                <a:gd name="connsiteY45" fmla="*/ 6500480 h 6515100"/>
                <a:gd name="connsiteX46" fmla="*/ 3447069 w 4829175"/>
                <a:gd name="connsiteY46" fmla="*/ 6230069 h 6515100"/>
                <a:gd name="connsiteX47" fmla="*/ 3631536 w 4829175"/>
                <a:gd name="connsiteY47" fmla="*/ 6045602 h 6515100"/>
                <a:gd name="connsiteX48" fmla="*/ 3717481 w 4829175"/>
                <a:gd name="connsiteY48" fmla="*/ 5959656 h 6515100"/>
                <a:gd name="connsiteX49" fmla="*/ 4550378 w 4829175"/>
                <a:gd name="connsiteY49" fmla="*/ 5958259 h 6515100"/>
                <a:gd name="connsiteX50" fmla="*/ 4279966 w 4829175"/>
                <a:gd name="connsiteY50" fmla="*/ 6229370 h 6515100"/>
                <a:gd name="connsiteX51" fmla="*/ 4551077 w 4829175"/>
                <a:gd name="connsiteY51" fmla="*/ 6499083 h 6515100"/>
                <a:gd name="connsiteX52" fmla="*/ 4815200 w 4829175"/>
                <a:gd name="connsiteY52" fmla="*/ 6499083 h 6515100"/>
                <a:gd name="connsiteX53" fmla="*/ 4544089 w 4829175"/>
                <a:gd name="connsiteY53" fmla="*/ 6228671 h 6515100"/>
                <a:gd name="connsiteX54" fmla="*/ 4814501 w 4829175"/>
                <a:gd name="connsiteY54" fmla="*/ 5958259 h 6515100"/>
                <a:gd name="connsiteX55" fmla="*/ 169284 w 4829175"/>
                <a:gd name="connsiteY55" fmla="*/ 5687847 h 6515100"/>
                <a:gd name="connsiteX56" fmla="*/ 299249 w 4829175"/>
                <a:gd name="connsiteY56" fmla="*/ 5817813 h 6515100"/>
                <a:gd name="connsiteX57" fmla="*/ 439696 w 4829175"/>
                <a:gd name="connsiteY57" fmla="*/ 5958259 h 6515100"/>
                <a:gd name="connsiteX58" fmla="*/ 169284 w 4829175"/>
                <a:gd name="connsiteY58" fmla="*/ 6229370 h 6515100"/>
                <a:gd name="connsiteX59" fmla="*/ 433407 w 4829175"/>
                <a:gd name="connsiteY59" fmla="*/ 6229370 h 6515100"/>
                <a:gd name="connsiteX60" fmla="*/ 703819 w 4829175"/>
                <a:gd name="connsiteY60" fmla="*/ 5958259 h 6515100"/>
                <a:gd name="connsiteX61" fmla="*/ 432708 w 4829175"/>
                <a:gd name="connsiteY61" fmla="*/ 5687847 h 6515100"/>
                <a:gd name="connsiteX62" fmla="*/ 1814814 w 4829175"/>
                <a:gd name="connsiteY62" fmla="*/ 5687149 h 6515100"/>
                <a:gd name="connsiteX63" fmla="*/ 2085925 w 4829175"/>
                <a:gd name="connsiteY63" fmla="*/ 5957561 h 6515100"/>
                <a:gd name="connsiteX64" fmla="*/ 1815513 w 4829175"/>
                <a:gd name="connsiteY64" fmla="*/ 6227973 h 6515100"/>
                <a:gd name="connsiteX65" fmla="*/ 2079636 w 4829175"/>
                <a:gd name="connsiteY65" fmla="*/ 6227973 h 6515100"/>
                <a:gd name="connsiteX66" fmla="*/ 2350049 w 4829175"/>
                <a:gd name="connsiteY66" fmla="*/ 5957561 h 6515100"/>
                <a:gd name="connsiteX67" fmla="*/ 2078937 w 4829175"/>
                <a:gd name="connsiteY67" fmla="*/ 5687149 h 6515100"/>
                <a:gd name="connsiteX68" fmla="*/ 717095 w 4829175"/>
                <a:gd name="connsiteY68" fmla="*/ 5687149 h 6515100"/>
                <a:gd name="connsiteX69" fmla="*/ 988206 w 4829175"/>
                <a:gd name="connsiteY69" fmla="*/ 5957561 h 6515100"/>
                <a:gd name="connsiteX70" fmla="*/ 717794 w 4829175"/>
                <a:gd name="connsiteY70" fmla="*/ 6228671 h 6515100"/>
                <a:gd name="connsiteX71" fmla="*/ 981917 w 4829175"/>
                <a:gd name="connsiteY71" fmla="*/ 6228671 h 6515100"/>
                <a:gd name="connsiteX72" fmla="*/ 1252329 w 4829175"/>
                <a:gd name="connsiteY72" fmla="*/ 5957561 h 6515100"/>
                <a:gd name="connsiteX73" fmla="*/ 981219 w 4829175"/>
                <a:gd name="connsiteY73" fmla="*/ 5687149 h 6515100"/>
                <a:gd name="connsiteX74" fmla="*/ 2363324 w 4829175"/>
                <a:gd name="connsiteY74" fmla="*/ 5686450 h 6515100"/>
                <a:gd name="connsiteX75" fmla="*/ 2634435 w 4829175"/>
                <a:gd name="connsiteY75" fmla="*/ 5956862 h 6515100"/>
                <a:gd name="connsiteX76" fmla="*/ 2364722 w 4829175"/>
                <a:gd name="connsiteY76" fmla="*/ 6227973 h 6515100"/>
                <a:gd name="connsiteX77" fmla="*/ 2628146 w 4829175"/>
                <a:gd name="connsiteY77" fmla="*/ 6227973 h 6515100"/>
                <a:gd name="connsiteX78" fmla="*/ 2898558 w 4829175"/>
                <a:gd name="connsiteY78" fmla="*/ 5956862 h 6515100"/>
                <a:gd name="connsiteX79" fmla="*/ 2764401 w 4829175"/>
                <a:gd name="connsiteY79" fmla="*/ 5823402 h 6515100"/>
                <a:gd name="connsiteX80" fmla="*/ 2627447 w 4829175"/>
                <a:gd name="connsiteY80" fmla="*/ 5686450 h 6515100"/>
                <a:gd name="connsiteX81" fmla="*/ 2911834 w 4829175"/>
                <a:gd name="connsiteY81" fmla="*/ 5685751 h 6515100"/>
                <a:gd name="connsiteX82" fmla="*/ 2913232 w 4829175"/>
                <a:gd name="connsiteY82" fmla="*/ 5687149 h 6515100"/>
                <a:gd name="connsiteX83" fmla="*/ 3182945 w 4829175"/>
                <a:gd name="connsiteY83" fmla="*/ 5956163 h 6515100"/>
                <a:gd name="connsiteX84" fmla="*/ 2912533 w 4829175"/>
                <a:gd name="connsiteY84" fmla="*/ 6226575 h 6515100"/>
                <a:gd name="connsiteX85" fmla="*/ 3176657 w 4829175"/>
                <a:gd name="connsiteY85" fmla="*/ 6226575 h 6515100"/>
                <a:gd name="connsiteX86" fmla="*/ 3447069 w 4829175"/>
                <a:gd name="connsiteY86" fmla="*/ 5956163 h 6515100"/>
                <a:gd name="connsiteX87" fmla="*/ 3441479 w 4829175"/>
                <a:gd name="connsiteY87" fmla="*/ 5951272 h 6515100"/>
                <a:gd name="connsiteX88" fmla="*/ 3175958 w 4829175"/>
                <a:gd name="connsiteY88" fmla="*/ 5685751 h 6515100"/>
                <a:gd name="connsiteX89" fmla="*/ 1530428 w 4829175"/>
                <a:gd name="connsiteY89" fmla="*/ 5685751 h 6515100"/>
                <a:gd name="connsiteX90" fmla="*/ 1529030 w 4829175"/>
                <a:gd name="connsiteY90" fmla="*/ 5686450 h 6515100"/>
                <a:gd name="connsiteX91" fmla="*/ 1264907 w 4829175"/>
                <a:gd name="connsiteY91" fmla="*/ 5686450 h 6515100"/>
                <a:gd name="connsiteX92" fmla="*/ 1536018 w 4829175"/>
                <a:gd name="connsiteY92" fmla="*/ 5956862 h 6515100"/>
                <a:gd name="connsiteX93" fmla="*/ 1531824 w 4829175"/>
                <a:gd name="connsiteY93" fmla="*/ 5961054 h 6515100"/>
                <a:gd name="connsiteX94" fmla="*/ 1537414 w 4829175"/>
                <a:gd name="connsiteY94" fmla="*/ 5958259 h 6515100"/>
                <a:gd name="connsiteX95" fmla="*/ 1267002 w 4829175"/>
                <a:gd name="connsiteY95" fmla="*/ 6229370 h 6515100"/>
                <a:gd name="connsiteX96" fmla="*/ 1531127 w 4829175"/>
                <a:gd name="connsiteY96" fmla="*/ 6229370 h 6515100"/>
                <a:gd name="connsiteX97" fmla="*/ 1801539 w 4829175"/>
                <a:gd name="connsiteY97" fmla="*/ 5958259 h 6515100"/>
                <a:gd name="connsiteX98" fmla="*/ 1530428 w 4829175"/>
                <a:gd name="connsiteY98" fmla="*/ 5687847 h 6515100"/>
                <a:gd name="connsiteX99" fmla="*/ 3459646 w 4829175"/>
                <a:gd name="connsiteY99" fmla="*/ 5685052 h 6515100"/>
                <a:gd name="connsiteX100" fmla="*/ 3730757 w 4829175"/>
                <a:gd name="connsiteY100" fmla="*/ 5955464 h 6515100"/>
                <a:gd name="connsiteX101" fmla="*/ 3727962 w 4829175"/>
                <a:gd name="connsiteY101" fmla="*/ 5958259 h 6515100"/>
                <a:gd name="connsiteX102" fmla="*/ 3637825 w 4829175"/>
                <a:gd name="connsiteY102" fmla="*/ 6049095 h 6515100"/>
                <a:gd name="connsiteX103" fmla="*/ 3460345 w 4829175"/>
                <a:gd name="connsiteY103" fmla="*/ 6225876 h 6515100"/>
                <a:gd name="connsiteX104" fmla="*/ 3724468 w 4829175"/>
                <a:gd name="connsiteY104" fmla="*/ 6225876 h 6515100"/>
                <a:gd name="connsiteX105" fmla="*/ 3813907 w 4829175"/>
                <a:gd name="connsiteY105" fmla="*/ 6136437 h 6515100"/>
                <a:gd name="connsiteX106" fmla="*/ 3994880 w 4829175"/>
                <a:gd name="connsiteY106" fmla="*/ 5955464 h 6515100"/>
                <a:gd name="connsiteX107" fmla="*/ 3723769 w 4829175"/>
                <a:gd name="connsiteY107" fmla="*/ 5685052 h 6515100"/>
                <a:gd name="connsiteX108" fmla="*/ 1807128 w 4829175"/>
                <a:gd name="connsiteY108" fmla="*/ 5412543 h 6515100"/>
                <a:gd name="connsiteX109" fmla="*/ 1536716 w 4829175"/>
                <a:gd name="connsiteY109" fmla="*/ 5683654 h 6515100"/>
                <a:gd name="connsiteX110" fmla="*/ 1807827 w 4829175"/>
                <a:gd name="connsiteY110" fmla="*/ 5954066 h 6515100"/>
                <a:gd name="connsiteX111" fmla="*/ 2071951 w 4829175"/>
                <a:gd name="connsiteY111" fmla="*/ 5954066 h 6515100"/>
                <a:gd name="connsiteX112" fmla="*/ 1800840 w 4829175"/>
                <a:gd name="connsiteY112" fmla="*/ 5683654 h 6515100"/>
                <a:gd name="connsiteX113" fmla="*/ 2071252 w 4829175"/>
                <a:gd name="connsiteY113" fmla="*/ 5412543 h 6515100"/>
                <a:gd name="connsiteX114" fmla="*/ 709409 w 4829175"/>
                <a:gd name="connsiteY114" fmla="*/ 5412543 h 6515100"/>
                <a:gd name="connsiteX115" fmla="*/ 438997 w 4829175"/>
                <a:gd name="connsiteY115" fmla="*/ 5683654 h 6515100"/>
                <a:gd name="connsiteX116" fmla="*/ 710108 w 4829175"/>
                <a:gd name="connsiteY116" fmla="*/ 5954066 h 6515100"/>
                <a:gd name="connsiteX117" fmla="*/ 974231 w 4829175"/>
                <a:gd name="connsiteY117" fmla="*/ 5954066 h 6515100"/>
                <a:gd name="connsiteX118" fmla="*/ 703120 w 4829175"/>
                <a:gd name="connsiteY118" fmla="*/ 5683654 h 6515100"/>
                <a:gd name="connsiteX119" fmla="*/ 972833 w 4829175"/>
                <a:gd name="connsiteY119" fmla="*/ 5412543 h 6515100"/>
                <a:gd name="connsiteX120" fmla="*/ 2904148 w 4829175"/>
                <a:gd name="connsiteY120" fmla="*/ 5411845 h 6515100"/>
                <a:gd name="connsiteX121" fmla="*/ 2723874 w 4829175"/>
                <a:gd name="connsiteY121" fmla="*/ 5592120 h 6515100"/>
                <a:gd name="connsiteX122" fmla="*/ 2634435 w 4829175"/>
                <a:gd name="connsiteY122" fmla="*/ 5682258 h 6515100"/>
                <a:gd name="connsiteX123" fmla="*/ 2768593 w 4829175"/>
                <a:gd name="connsiteY123" fmla="*/ 5815716 h 6515100"/>
                <a:gd name="connsiteX124" fmla="*/ 2905546 w 4829175"/>
                <a:gd name="connsiteY124" fmla="*/ 5952669 h 6515100"/>
                <a:gd name="connsiteX125" fmla="*/ 3169669 w 4829175"/>
                <a:gd name="connsiteY125" fmla="*/ 5952669 h 6515100"/>
                <a:gd name="connsiteX126" fmla="*/ 2898558 w 4829175"/>
                <a:gd name="connsiteY126" fmla="*/ 5682258 h 6515100"/>
                <a:gd name="connsiteX127" fmla="*/ 2899956 w 4829175"/>
                <a:gd name="connsiteY127" fmla="*/ 5680860 h 6515100"/>
                <a:gd name="connsiteX128" fmla="*/ 3168271 w 4829175"/>
                <a:gd name="connsiteY128" fmla="*/ 5411845 h 6515100"/>
                <a:gd name="connsiteX129" fmla="*/ 2355639 w 4829175"/>
                <a:gd name="connsiteY129" fmla="*/ 5411845 h 6515100"/>
                <a:gd name="connsiteX130" fmla="*/ 2085226 w 4829175"/>
                <a:gd name="connsiteY130" fmla="*/ 5682955 h 6515100"/>
                <a:gd name="connsiteX131" fmla="*/ 2356338 w 4829175"/>
                <a:gd name="connsiteY131" fmla="*/ 5953367 h 6515100"/>
                <a:gd name="connsiteX132" fmla="*/ 2620460 w 4829175"/>
                <a:gd name="connsiteY132" fmla="*/ 5953367 h 6515100"/>
                <a:gd name="connsiteX133" fmla="*/ 2349350 w 4829175"/>
                <a:gd name="connsiteY133" fmla="*/ 5682955 h 6515100"/>
                <a:gd name="connsiteX134" fmla="*/ 2533816 w 4829175"/>
                <a:gd name="connsiteY134" fmla="*/ 5498489 h 6515100"/>
                <a:gd name="connsiteX135" fmla="*/ 2619762 w 4829175"/>
                <a:gd name="connsiteY135" fmla="*/ 5412543 h 6515100"/>
                <a:gd name="connsiteX136" fmla="*/ 2361229 w 4829175"/>
                <a:gd name="connsiteY136" fmla="*/ 5412543 h 6515100"/>
                <a:gd name="connsiteX137" fmla="*/ 1257919 w 4829175"/>
                <a:gd name="connsiteY137" fmla="*/ 5411845 h 6515100"/>
                <a:gd name="connsiteX138" fmla="*/ 987507 w 4829175"/>
                <a:gd name="connsiteY138" fmla="*/ 5682955 h 6515100"/>
                <a:gd name="connsiteX139" fmla="*/ 1258618 w 4829175"/>
                <a:gd name="connsiteY139" fmla="*/ 5953367 h 6515100"/>
                <a:gd name="connsiteX140" fmla="*/ 1522741 w 4829175"/>
                <a:gd name="connsiteY140" fmla="*/ 5953367 h 6515100"/>
                <a:gd name="connsiteX141" fmla="*/ 1251631 w 4829175"/>
                <a:gd name="connsiteY141" fmla="*/ 5682955 h 6515100"/>
                <a:gd name="connsiteX142" fmla="*/ 1436098 w 4829175"/>
                <a:gd name="connsiteY142" fmla="*/ 5498489 h 6515100"/>
                <a:gd name="connsiteX143" fmla="*/ 1522043 w 4829175"/>
                <a:gd name="connsiteY143" fmla="*/ 5411845 h 6515100"/>
                <a:gd name="connsiteX144" fmla="*/ 3452658 w 4829175"/>
                <a:gd name="connsiteY144" fmla="*/ 5411147 h 6515100"/>
                <a:gd name="connsiteX145" fmla="*/ 3182246 w 4829175"/>
                <a:gd name="connsiteY145" fmla="*/ 5682258 h 6515100"/>
                <a:gd name="connsiteX146" fmla="*/ 3453357 w 4829175"/>
                <a:gd name="connsiteY146" fmla="*/ 5952669 h 6515100"/>
                <a:gd name="connsiteX147" fmla="*/ 3717481 w 4829175"/>
                <a:gd name="connsiteY147" fmla="*/ 5952669 h 6515100"/>
                <a:gd name="connsiteX148" fmla="*/ 3446370 w 4829175"/>
                <a:gd name="connsiteY148" fmla="*/ 5682258 h 6515100"/>
                <a:gd name="connsiteX149" fmla="*/ 3716782 w 4829175"/>
                <a:gd name="connsiteY149" fmla="*/ 5411147 h 6515100"/>
                <a:gd name="connsiteX150" fmla="*/ 4549679 w 4829175"/>
                <a:gd name="connsiteY150" fmla="*/ 5409749 h 6515100"/>
                <a:gd name="connsiteX151" fmla="*/ 4279267 w 4829175"/>
                <a:gd name="connsiteY151" fmla="*/ 5680860 h 6515100"/>
                <a:gd name="connsiteX152" fmla="*/ 4550378 w 4829175"/>
                <a:gd name="connsiteY152" fmla="*/ 5951272 h 6515100"/>
                <a:gd name="connsiteX153" fmla="*/ 4814501 w 4829175"/>
                <a:gd name="connsiteY153" fmla="*/ 5951272 h 6515100"/>
                <a:gd name="connsiteX154" fmla="*/ 4543391 w 4829175"/>
                <a:gd name="connsiteY154" fmla="*/ 5680860 h 6515100"/>
                <a:gd name="connsiteX155" fmla="*/ 4727858 w 4829175"/>
                <a:gd name="connsiteY155" fmla="*/ 5495694 h 6515100"/>
                <a:gd name="connsiteX156" fmla="*/ 4727159 w 4829175"/>
                <a:gd name="connsiteY156" fmla="*/ 5494995 h 6515100"/>
                <a:gd name="connsiteX157" fmla="*/ 4812405 w 4829175"/>
                <a:gd name="connsiteY157" fmla="*/ 5409749 h 6515100"/>
                <a:gd name="connsiteX158" fmla="*/ 167886 w 4829175"/>
                <a:gd name="connsiteY158" fmla="*/ 5139337 h 6515100"/>
                <a:gd name="connsiteX159" fmla="*/ 438997 w 4829175"/>
                <a:gd name="connsiteY159" fmla="*/ 5409749 h 6515100"/>
                <a:gd name="connsiteX160" fmla="*/ 169284 w 4829175"/>
                <a:gd name="connsiteY160" fmla="*/ 5680860 h 6515100"/>
                <a:gd name="connsiteX161" fmla="*/ 432708 w 4829175"/>
                <a:gd name="connsiteY161" fmla="*/ 5680860 h 6515100"/>
                <a:gd name="connsiteX162" fmla="*/ 703120 w 4829175"/>
                <a:gd name="connsiteY162" fmla="*/ 5409749 h 6515100"/>
                <a:gd name="connsiteX163" fmla="*/ 568962 w 4829175"/>
                <a:gd name="connsiteY163" fmla="*/ 5276290 h 6515100"/>
                <a:gd name="connsiteX164" fmla="*/ 432009 w 4829175"/>
                <a:gd name="connsiteY164" fmla="*/ 5139337 h 6515100"/>
                <a:gd name="connsiteX165" fmla="*/ 1814116 w 4829175"/>
                <a:gd name="connsiteY165" fmla="*/ 5138638 h 6515100"/>
                <a:gd name="connsiteX166" fmla="*/ 1942683 w 4829175"/>
                <a:gd name="connsiteY166" fmla="*/ 5267207 h 6515100"/>
                <a:gd name="connsiteX167" fmla="*/ 2084528 w 4829175"/>
                <a:gd name="connsiteY167" fmla="*/ 5409050 h 6515100"/>
                <a:gd name="connsiteX168" fmla="*/ 1814116 w 4829175"/>
                <a:gd name="connsiteY168" fmla="*/ 5680161 h 6515100"/>
                <a:gd name="connsiteX169" fmla="*/ 2078239 w 4829175"/>
                <a:gd name="connsiteY169" fmla="*/ 5680161 h 6515100"/>
                <a:gd name="connsiteX170" fmla="*/ 2348651 w 4829175"/>
                <a:gd name="connsiteY170" fmla="*/ 5409050 h 6515100"/>
                <a:gd name="connsiteX171" fmla="*/ 2343759 w 4829175"/>
                <a:gd name="connsiteY171" fmla="*/ 5404159 h 6515100"/>
                <a:gd name="connsiteX172" fmla="*/ 2078239 w 4829175"/>
                <a:gd name="connsiteY172" fmla="*/ 5138638 h 6515100"/>
                <a:gd name="connsiteX173" fmla="*/ 2362625 w 4829175"/>
                <a:gd name="connsiteY173" fmla="*/ 5137939 h 6515100"/>
                <a:gd name="connsiteX174" fmla="*/ 2633736 w 4829175"/>
                <a:gd name="connsiteY174" fmla="*/ 5407653 h 6515100"/>
                <a:gd name="connsiteX175" fmla="*/ 2630942 w 4829175"/>
                <a:gd name="connsiteY175" fmla="*/ 5410448 h 6515100"/>
                <a:gd name="connsiteX176" fmla="*/ 2540804 w 4829175"/>
                <a:gd name="connsiteY176" fmla="*/ 5501283 h 6515100"/>
                <a:gd name="connsiteX177" fmla="*/ 2363324 w 4829175"/>
                <a:gd name="connsiteY177" fmla="*/ 5678763 h 6515100"/>
                <a:gd name="connsiteX178" fmla="*/ 2627447 w 4829175"/>
                <a:gd name="connsiteY178" fmla="*/ 5678763 h 6515100"/>
                <a:gd name="connsiteX179" fmla="*/ 2716886 w 4829175"/>
                <a:gd name="connsiteY179" fmla="*/ 5589325 h 6515100"/>
                <a:gd name="connsiteX180" fmla="*/ 2897859 w 4829175"/>
                <a:gd name="connsiteY180" fmla="*/ 5408351 h 6515100"/>
                <a:gd name="connsiteX181" fmla="*/ 2626749 w 4829175"/>
                <a:gd name="connsiteY181" fmla="*/ 5137939 h 6515100"/>
                <a:gd name="connsiteX182" fmla="*/ 1264208 w 4829175"/>
                <a:gd name="connsiteY182" fmla="*/ 5137939 h 6515100"/>
                <a:gd name="connsiteX183" fmla="*/ 1535319 w 4829175"/>
                <a:gd name="connsiteY183" fmla="*/ 5407653 h 6515100"/>
                <a:gd name="connsiteX184" fmla="*/ 1532523 w 4829175"/>
                <a:gd name="connsiteY184" fmla="*/ 5410448 h 6515100"/>
                <a:gd name="connsiteX185" fmla="*/ 1442387 w 4829175"/>
                <a:gd name="connsiteY185" fmla="*/ 5501283 h 6515100"/>
                <a:gd name="connsiteX186" fmla="*/ 1264907 w 4829175"/>
                <a:gd name="connsiteY186" fmla="*/ 5678763 h 6515100"/>
                <a:gd name="connsiteX187" fmla="*/ 1529030 w 4829175"/>
                <a:gd name="connsiteY187" fmla="*/ 5678763 h 6515100"/>
                <a:gd name="connsiteX188" fmla="*/ 1618469 w 4829175"/>
                <a:gd name="connsiteY188" fmla="*/ 5589325 h 6515100"/>
                <a:gd name="connsiteX189" fmla="*/ 1799442 w 4829175"/>
                <a:gd name="connsiteY189" fmla="*/ 5408351 h 6515100"/>
                <a:gd name="connsiteX190" fmla="*/ 1528331 w 4829175"/>
                <a:gd name="connsiteY190" fmla="*/ 5137939 h 6515100"/>
                <a:gd name="connsiteX191" fmla="*/ 715697 w 4829175"/>
                <a:gd name="connsiteY191" fmla="*/ 5137939 h 6515100"/>
                <a:gd name="connsiteX192" fmla="*/ 717095 w 4829175"/>
                <a:gd name="connsiteY192" fmla="*/ 5139337 h 6515100"/>
                <a:gd name="connsiteX193" fmla="*/ 986808 w 4829175"/>
                <a:gd name="connsiteY193" fmla="*/ 5408351 h 6515100"/>
                <a:gd name="connsiteX194" fmla="*/ 716396 w 4829175"/>
                <a:gd name="connsiteY194" fmla="*/ 5679462 h 6515100"/>
                <a:gd name="connsiteX195" fmla="*/ 980520 w 4829175"/>
                <a:gd name="connsiteY195" fmla="*/ 5679462 h 6515100"/>
                <a:gd name="connsiteX196" fmla="*/ 1250932 w 4829175"/>
                <a:gd name="connsiteY196" fmla="*/ 5408351 h 6515100"/>
                <a:gd name="connsiteX197" fmla="*/ 1245342 w 4829175"/>
                <a:gd name="connsiteY197" fmla="*/ 5403460 h 6515100"/>
                <a:gd name="connsiteX198" fmla="*/ 979821 w 4829175"/>
                <a:gd name="connsiteY198" fmla="*/ 5137939 h 6515100"/>
                <a:gd name="connsiteX199" fmla="*/ 2911136 w 4829175"/>
                <a:gd name="connsiteY199" fmla="*/ 5137241 h 6515100"/>
                <a:gd name="connsiteX200" fmla="*/ 3041801 w 4829175"/>
                <a:gd name="connsiteY200" fmla="*/ 5266508 h 6515100"/>
                <a:gd name="connsiteX201" fmla="*/ 3182246 w 4829175"/>
                <a:gd name="connsiteY201" fmla="*/ 5406954 h 6515100"/>
                <a:gd name="connsiteX202" fmla="*/ 2911834 w 4829175"/>
                <a:gd name="connsiteY202" fmla="*/ 5678065 h 6515100"/>
                <a:gd name="connsiteX203" fmla="*/ 3175958 w 4829175"/>
                <a:gd name="connsiteY203" fmla="*/ 5678065 h 6515100"/>
                <a:gd name="connsiteX204" fmla="*/ 3446370 w 4829175"/>
                <a:gd name="connsiteY204" fmla="*/ 5407653 h 6515100"/>
                <a:gd name="connsiteX205" fmla="*/ 3175259 w 4829175"/>
                <a:gd name="connsiteY205" fmla="*/ 5137241 h 6515100"/>
                <a:gd name="connsiteX206" fmla="*/ 3459646 w 4829175"/>
                <a:gd name="connsiteY206" fmla="*/ 5136542 h 6515100"/>
                <a:gd name="connsiteX207" fmla="*/ 3730757 w 4829175"/>
                <a:gd name="connsiteY207" fmla="*/ 5406954 h 6515100"/>
                <a:gd name="connsiteX208" fmla="*/ 3460345 w 4829175"/>
                <a:gd name="connsiteY208" fmla="*/ 5678065 h 6515100"/>
                <a:gd name="connsiteX209" fmla="*/ 3724468 w 4829175"/>
                <a:gd name="connsiteY209" fmla="*/ 5678065 h 6515100"/>
                <a:gd name="connsiteX210" fmla="*/ 3994880 w 4829175"/>
                <a:gd name="connsiteY210" fmla="*/ 5406954 h 6515100"/>
                <a:gd name="connsiteX211" fmla="*/ 3723769 w 4829175"/>
                <a:gd name="connsiteY211" fmla="*/ 5136542 h 6515100"/>
                <a:gd name="connsiteX212" fmla="*/ 4008156 w 4829175"/>
                <a:gd name="connsiteY212" fmla="*/ 5135843 h 6515100"/>
                <a:gd name="connsiteX213" fmla="*/ 4279267 w 4829175"/>
                <a:gd name="connsiteY213" fmla="*/ 5406255 h 6515100"/>
                <a:gd name="connsiteX214" fmla="*/ 4008855 w 4829175"/>
                <a:gd name="connsiteY214" fmla="*/ 5677366 h 6515100"/>
                <a:gd name="connsiteX215" fmla="*/ 4207297 w 4829175"/>
                <a:gd name="connsiteY215" fmla="*/ 5677366 h 6515100"/>
                <a:gd name="connsiteX216" fmla="*/ 4272280 w 4829175"/>
                <a:gd name="connsiteY216" fmla="*/ 5677366 h 6515100"/>
                <a:gd name="connsiteX217" fmla="*/ 4543391 w 4829175"/>
                <a:gd name="connsiteY217" fmla="*/ 5406255 h 6515100"/>
                <a:gd name="connsiteX218" fmla="*/ 4409232 w 4829175"/>
                <a:gd name="connsiteY218" fmla="*/ 5272797 h 6515100"/>
                <a:gd name="connsiteX219" fmla="*/ 4272280 w 4829175"/>
                <a:gd name="connsiteY219" fmla="*/ 5135843 h 6515100"/>
                <a:gd name="connsiteX220" fmla="*/ 708011 w 4829175"/>
                <a:gd name="connsiteY220" fmla="*/ 4864034 h 6515100"/>
                <a:gd name="connsiteX221" fmla="*/ 527737 w 4829175"/>
                <a:gd name="connsiteY221" fmla="*/ 5045007 h 6515100"/>
                <a:gd name="connsiteX222" fmla="*/ 438298 w 4829175"/>
                <a:gd name="connsiteY222" fmla="*/ 5135144 h 6515100"/>
                <a:gd name="connsiteX223" fmla="*/ 572456 w 4829175"/>
                <a:gd name="connsiteY223" fmla="*/ 5268603 h 6515100"/>
                <a:gd name="connsiteX224" fmla="*/ 709409 w 4829175"/>
                <a:gd name="connsiteY224" fmla="*/ 5405557 h 6515100"/>
                <a:gd name="connsiteX225" fmla="*/ 973532 w 4829175"/>
                <a:gd name="connsiteY225" fmla="*/ 5405557 h 6515100"/>
                <a:gd name="connsiteX226" fmla="*/ 702421 w 4829175"/>
                <a:gd name="connsiteY226" fmla="*/ 5135144 h 6515100"/>
                <a:gd name="connsiteX227" fmla="*/ 703819 w 4829175"/>
                <a:gd name="connsiteY227" fmla="*/ 5133747 h 6515100"/>
                <a:gd name="connsiteX228" fmla="*/ 972135 w 4829175"/>
                <a:gd name="connsiteY228" fmla="*/ 4864034 h 6515100"/>
                <a:gd name="connsiteX229" fmla="*/ 1257220 w 4829175"/>
                <a:gd name="connsiteY229" fmla="*/ 4863335 h 6515100"/>
                <a:gd name="connsiteX230" fmla="*/ 986808 w 4829175"/>
                <a:gd name="connsiteY230" fmla="*/ 5134446 h 6515100"/>
                <a:gd name="connsiteX231" fmla="*/ 1257919 w 4829175"/>
                <a:gd name="connsiteY231" fmla="*/ 5404858 h 6515100"/>
                <a:gd name="connsiteX232" fmla="*/ 1522043 w 4829175"/>
                <a:gd name="connsiteY232" fmla="*/ 5404858 h 6515100"/>
                <a:gd name="connsiteX233" fmla="*/ 1250932 w 4829175"/>
                <a:gd name="connsiteY233" fmla="*/ 5134446 h 6515100"/>
                <a:gd name="connsiteX234" fmla="*/ 1521344 w 4829175"/>
                <a:gd name="connsiteY234" fmla="*/ 4863335 h 6515100"/>
                <a:gd name="connsiteX235" fmla="*/ 2904148 w 4829175"/>
                <a:gd name="connsiteY235" fmla="*/ 4862636 h 6515100"/>
                <a:gd name="connsiteX236" fmla="*/ 2633736 w 4829175"/>
                <a:gd name="connsiteY236" fmla="*/ 5133747 h 6515100"/>
                <a:gd name="connsiteX237" fmla="*/ 2904847 w 4829175"/>
                <a:gd name="connsiteY237" fmla="*/ 5404159 h 6515100"/>
                <a:gd name="connsiteX238" fmla="*/ 3168271 w 4829175"/>
                <a:gd name="connsiteY238" fmla="*/ 5404159 h 6515100"/>
                <a:gd name="connsiteX239" fmla="*/ 3037607 w 4829175"/>
                <a:gd name="connsiteY239" fmla="*/ 5274193 h 6515100"/>
                <a:gd name="connsiteX240" fmla="*/ 2897162 w 4829175"/>
                <a:gd name="connsiteY240" fmla="*/ 5133747 h 6515100"/>
                <a:gd name="connsiteX241" fmla="*/ 3168271 w 4829175"/>
                <a:gd name="connsiteY241" fmla="*/ 4862636 h 6515100"/>
                <a:gd name="connsiteX242" fmla="*/ 1805032 w 4829175"/>
                <a:gd name="connsiteY242" fmla="*/ 4862636 h 6515100"/>
                <a:gd name="connsiteX243" fmla="*/ 1534620 w 4829175"/>
                <a:gd name="connsiteY243" fmla="*/ 5133747 h 6515100"/>
                <a:gd name="connsiteX244" fmla="*/ 1805731 w 4829175"/>
                <a:gd name="connsiteY244" fmla="*/ 5404159 h 6515100"/>
                <a:gd name="connsiteX245" fmla="*/ 1807128 w 4829175"/>
                <a:gd name="connsiteY245" fmla="*/ 5405557 h 6515100"/>
                <a:gd name="connsiteX246" fmla="*/ 2071252 w 4829175"/>
                <a:gd name="connsiteY246" fmla="*/ 5405557 h 6515100"/>
                <a:gd name="connsiteX247" fmla="*/ 1939889 w 4829175"/>
                <a:gd name="connsiteY247" fmla="*/ 5274193 h 6515100"/>
                <a:gd name="connsiteX248" fmla="*/ 1802236 w 4829175"/>
                <a:gd name="connsiteY248" fmla="*/ 5136542 h 6515100"/>
                <a:gd name="connsiteX249" fmla="*/ 2071252 w 4829175"/>
                <a:gd name="connsiteY249" fmla="*/ 4862636 h 6515100"/>
                <a:gd name="connsiteX250" fmla="*/ 3451960 w 4829175"/>
                <a:gd name="connsiteY250" fmla="*/ 4861938 h 6515100"/>
                <a:gd name="connsiteX251" fmla="*/ 3181548 w 4829175"/>
                <a:gd name="connsiteY251" fmla="*/ 5133048 h 6515100"/>
                <a:gd name="connsiteX252" fmla="*/ 3452658 w 4829175"/>
                <a:gd name="connsiteY252" fmla="*/ 5403460 h 6515100"/>
                <a:gd name="connsiteX253" fmla="*/ 3716782 w 4829175"/>
                <a:gd name="connsiteY253" fmla="*/ 5403460 h 6515100"/>
                <a:gd name="connsiteX254" fmla="*/ 3445671 w 4829175"/>
                <a:gd name="connsiteY254" fmla="*/ 5133048 h 6515100"/>
                <a:gd name="connsiteX255" fmla="*/ 3630138 w 4829175"/>
                <a:gd name="connsiteY255" fmla="*/ 4948581 h 6515100"/>
                <a:gd name="connsiteX256" fmla="*/ 3714686 w 4829175"/>
                <a:gd name="connsiteY256" fmla="*/ 4861938 h 6515100"/>
                <a:gd name="connsiteX257" fmla="*/ 4000470 w 4829175"/>
                <a:gd name="connsiteY257" fmla="*/ 4861239 h 6515100"/>
                <a:gd name="connsiteX258" fmla="*/ 3730058 w 4829175"/>
                <a:gd name="connsiteY258" fmla="*/ 5132350 h 6515100"/>
                <a:gd name="connsiteX259" fmla="*/ 4001169 w 4829175"/>
                <a:gd name="connsiteY259" fmla="*/ 5402762 h 6515100"/>
                <a:gd name="connsiteX260" fmla="*/ 4265292 w 4829175"/>
                <a:gd name="connsiteY260" fmla="*/ 5402762 h 6515100"/>
                <a:gd name="connsiteX261" fmla="*/ 3994181 w 4829175"/>
                <a:gd name="connsiteY261" fmla="*/ 5132350 h 6515100"/>
                <a:gd name="connsiteX262" fmla="*/ 3995579 w 4829175"/>
                <a:gd name="connsiteY262" fmla="*/ 5130952 h 6515100"/>
                <a:gd name="connsiteX263" fmla="*/ 3994880 w 4829175"/>
                <a:gd name="connsiteY263" fmla="*/ 5130952 h 6515100"/>
                <a:gd name="connsiteX264" fmla="*/ 4263197 w 4829175"/>
                <a:gd name="connsiteY264" fmla="*/ 4861938 h 6515100"/>
                <a:gd name="connsiteX265" fmla="*/ 4004663 w 4829175"/>
                <a:gd name="connsiteY265" fmla="*/ 4861938 h 6515100"/>
                <a:gd name="connsiteX266" fmla="*/ 4006060 w 4829175"/>
                <a:gd name="connsiteY266" fmla="*/ 4861239 h 6515100"/>
                <a:gd name="connsiteX267" fmla="*/ 4548281 w 4829175"/>
                <a:gd name="connsiteY267" fmla="*/ 4860540 h 6515100"/>
                <a:gd name="connsiteX268" fmla="*/ 4367308 w 4829175"/>
                <a:gd name="connsiteY268" fmla="*/ 5041513 h 6515100"/>
                <a:gd name="connsiteX269" fmla="*/ 4368007 w 4829175"/>
                <a:gd name="connsiteY269" fmla="*/ 5042212 h 6515100"/>
                <a:gd name="connsiteX270" fmla="*/ 4278568 w 4829175"/>
                <a:gd name="connsiteY270" fmla="*/ 5132350 h 6515100"/>
                <a:gd name="connsiteX271" fmla="*/ 4412727 w 4829175"/>
                <a:gd name="connsiteY271" fmla="*/ 5265809 h 6515100"/>
                <a:gd name="connsiteX272" fmla="*/ 4548980 w 4829175"/>
                <a:gd name="connsiteY272" fmla="*/ 5402063 h 6515100"/>
                <a:gd name="connsiteX273" fmla="*/ 4813104 w 4829175"/>
                <a:gd name="connsiteY273" fmla="*/ 5402063 h 6515100"/>
                <a:gd name="connsiteX274" fmla="*/ 4541993 w 4829175"/>
                <a:gd name="connsiteY274" fmla="*/ 5131651 h 6515100"/>
                <a:gd name="connsiteX275" fmla="*/ 4812405 w 4829175"/>
                <a:gd name="connsiteY275" fmla="*/ 4860540 h 6515100"/>
                <a:gd name="connsiteX276" fmla="*/ 2621159 w 4829175"/>
                <a:gd name="connsiteY276" fmla="*/ 4860540 h 6515100"/>
                <a:gd name="connsiteX277" fmla="*/ 2354940 w 4829175"/>
                <a:gd name="connsiteY277" fmla="*/ 4863335 h 6515100"/>
                <a:gd name="connsiteX278" fmla="*/ 2084528 w 4829175"/>
                <a:gd name="connsiteY278" fmla="*/ 5134446 h 6515100"/>
                <a:gd name="connsiteX279" fmla="*/ 2355639 w 4829175"/>
                <a:gd name="connsiteY279" fmla="*/ 5404858 h 6515100"/>
                <a:gd name="connsiteX280" fmla="*/ 2619762 w 4829175"/>
                <a:gd name="connsiteY280" fmla="*/ 5404858 h 6515100"/>
                <a:gd name="connsiteX281" fmla="*/ 2348651 w 4829175"/>
                <a:gd name="connsiteY281" fmla="*/ 5134446 h 6515100"/>
                <a:gd name="connsiteX282" fmla="*/ 166488 w 4829175"/>
                <a:gd name="connsiteY282" fmla="*/ 4590827 h 6515100"/>
                <a:gd name="connsiteX283" fmla="*/ 437599 w 4829175"/>
                <a:gd name="connsiteY283" fmla="*/ 4861239 h 6515100"/>
                <a:gd name="connsiteX284" fmla="*/ 434805 w 4829175"/>
                <a:gd name="connsiteY284" fmla="*/ 4864034 h 6515100"/>
                <a:gd name="connsiteX285" fmla="*/ 344667 w 4829175"/>
                <a:gd name="connsiteY285" fmla="*/ 4954870 h 6515100"/>
                <a:gd name="connsiteX286" fmla="*/ 167187 w 4829175"/>
                <a:gd name="connsiteY286" fmla="*/ 5131651 h 6515100"/>
                <a:gd name="connsiteX287" fmla="*/ 431311 w 4829175"/>
                <a:gd name="connsiteY287" fmla="*/ 5131651 h 6515100"/>
                <a:gd name="connsiteX288" fmla="*/ 520749 w 4829175"/>
                <a:gd name="connsiteY288" fmla="*/ 5042212 h 6515100"/>
                <a:gd name="connsiteX289" fmla="*/ 701722 w 4829175"/>
                <a:gd name="connsiteY289" fmla="*/ 4861239 h 6515100"/>
                <a:gd name="connsiteX290" fmla="*/ 430612 w 4829175"/>
                <a:gd name="connsiteY290" fmla="*/ 4590827 h 6515100"/>
                <a:gd name="connsiteX291" fmla="*/ 715697 w 4829175"/>
                <a:gd name="connsiteY291" fmla="*/ 4590128 h 6515100"/>
                <a:gd name="connsiteX292" fmla="*/ 845663 w 4829175"/>
                <a:gd name="connsiteY292" fmla="*/ 4720093 h 6515100"/>
                <a:gd name="connsiteX293" fmla="*/ 986109 w 4829175"/>
                <a:gd name="connsiteY293" fmla="*/ 4859841 h 6515100"/>
                <a:gd name="connsiteX294" fmla="*/ 715697 w 4829175"/>
                <a:gd name="connsiteY294" fmla="*/ 5130952 h 6515100"/>
                <a:gd name="connsiteX295" fmla="*/ 979821 w 4829175"/>
                <a:gd name="connsiteY295" fmla="*/ 5130952 h 6515100"/>
                <a:gd name="connsiteX296" fmla="*/ 1250932 w 4829175"/>
                <a:gd name="connsiteY296" fmla="*/ 4860540 h 6515100"/>
                <a:gd name="connsiteX297" fmla="*/ 979821 w 4829175"/>
                <a:gd name="connsiteY297" fmla="*/ 4590128 h 6515100"/>
                <a:gd name="connsiteX298" fmla="*/ 2911136 w 4829175"/>
                <a:gd name="connsiteY298" fmla="*/ 4589429 h 6515100"/>
                <a:gd name="connsiteX299" fmla="*/ 3040403 w 4829175"/>
                <a:gd name="connsiteY299" fmla="*/ 4717299 h 6515100"/>
                <a:gd name="connsiteX300" fmla="*/ 3040403 w 4829175"/>
                <a:gd name="connsiteY300" fmla="*/ 4717998 h 6515100"/>
                <a:gd name="connsiteX301" fmla="*/ 3182246 w 4829175"/>
                <a:gd name="connsiteY301" fmla="*/ 4859841 h 6515100"/>
                <a:gd name="connsiteX302" fmla="*/ 2911834 w 4829175"/>
                <a:gd name="connsiteY302" fmla="*/ 5130952 h 6515100"/>
                <a:gd name="connsiteX303" fmla="*/ 3175259 w 4829175"/>
                <a:gd name="connsiteY303" fmla="*/ 5130952 h 6515100"/>
                <a:gd name="connsiteX304" fmla="*/ 3445671 w 4829175"/>
                <a:gd name="connsiteY304" fmla="*/ 4859841 h 6515100"/>
                <a:gd name="connsiteX305" fmla="*/ 3440081 w 4829175"/>
                <a:gd name="connsiteY305" fmla="*/ 4854251 h 6515100"/>
                <a:gd name="connsiteX306" fmla="*/ 3439382 w 4829175"/>
                <a:gd name="connsiteY306" fmla="*/ 4854251 h 6515100"/>
                <a:gd name="connsiteX307" fmla="*/ 3173862 w 4829175"/>
                <a:gd name="connsiteY307" fmla="*/ 4589429 h 6515100"/>
                <a:gd name="connsiteX308" fmla="*/ 1813417 w 4829175"/>
                <a:gd name="connsiteY308" fmla="*/ 4589429 h 6515100"/>
                <a:gd name="connsiteX309" fmla="*/ 1815507 w 4829175"/>
                <a:gd name="connsiteY309" fmla="*/ 4592217 h 6515100"/>
                <a:gd name="connsiteX310" fmla="*/ 1814814 w 4829175"/>
                <a:gd name="connsiteY310" fmla="*/ 4591526 h 6515100"/>
                <a:gd name="connsiteX311" fmla="*/ 1815513 w 4829175"/>
                <a:gd name="connsiteY311" fmla="*/ 4592225 h 6515100"/>
                <a:gd name="connsiteX312" fmla="*/ 1815507 w 4829175"/>
                <a:gd name="connsiteY312" fmla="*/ 4592217 h 6515100"/>
                <a:gd name="connsiteX313" fmla="*/ 2074046 w 4829175"/>
                <a:gd name="connsiteY313" fmla="*/ 4850059 h 6515100"/>
                <a:gd name="connsiteX314" fmla="*/ 2083829 w 4829175"/>
                <a:gd name="connsiteY314" fmla="*/ 4859142 h 6515100"/>
                <a:gd name="connsiteX315" fmla="*/ 2085925 w 4829175"/>
                <a:gd name="connsiteY315" fmla="*/ 4861239 h 6515100"/>
                <a:gd name="connsiteX316" fmla="*/ 1821102 w 4829175"/>
                <a:gd name="connsiteY316" fmla="*/ 5130952 h 6515100"/>
                <a:gd name="connsiteX317" fmla="*/ 2080335 w 4829175"/>
                <a:gd name="connsiteY317" fmla="*/ 5131651 h 6515100"/>
                <a:gd name="connsiteX318" fmla="*/ 2350049 w 4829175"/>
                <a:gd name="connsiteY318" fmla="*/ 4861239 h 6515100"/>
                <a:gd name="connsiteX319" fmla="*/ 2214493 w 4829175"/>
                <a:gd name="connsiteY319" fmla="*/ 4726382 h 6515100"/>
                <a:gd name="connsiteX320" fmla="*/ 2197724 w 4829175"/>
                <a:gd name="connsiteY320" fmla="*/ 4709612 h 6515100"/>
                <a:gd name="connsiteX321" fmla="*/ 2078239 w 4829175"/>
                <a:gd name="connsiteY321" fmla="*/ 4590827 h 6515100"/>
                <a:gd name="connsiteX322" fmla="*/ 2074046 w 4829175"/>
                <a:gd name="connsiteY322" fmla="*/ 4589429 h 6515100"/>
                <a:gd name="connsiteX323" fmla="*/ 1263509 w 4829175"/>
                <a:gd name="connsiteY323" fmla="*/ 4589429 h 6515100"/>
                <a:gd name="connsiteX324" fmla="*/ 1534620 w 4829175"/>
                <a:gd name="connsiteY324" fmla="*/ 4859841 h 6515100"/>
                <a:gd name="connsiteX325" fmla="*/ 1264208 w 4829175"/>
                <a:gd name="connsiteY325" fmla="*/ 5130952 h 6515100"/>
                <a:gd name="connsiteX326" fmla="*/ 1528331 w 4829175"/>
                <a:gd name="connsiteY326" fmla="*/ 5130952 h 6515100"/>
                <a:gd name="connsiteX327" fmla="*/ 1798743 w 4829175"/>
                <a:gd name="connsiteY327" fmla="*/ 4859841 h 6515100"/>
                <a:gd name="connsiteX328" fmla="*/ 1527632 w 4829175"/>
                <a:gd name="connsiteY328" fmla="*/ 4589429 h 6515100"/>
                <a:gd name="connsiteX329" fmla="*/ 2626749 w 4829175"/>
                <a:gd name="connsiteY329" fmla="*/ 4588031 h 6515100"/>
                <a:gd name="connsiteX330" fmla="*/ 2363324 w 4829175"/>
                <a:gd name="connsiteY330" fmla="*/ 4588730 h 6515100"/>
                <a:gd name="connsiteX331" fmla="*/ 2632339 w 4829175"/>
                <a:gd name="connsiteY331" fmla="*/ 4857047 h 6515100"/>
                <a:gd name="connsiteX332" fmla="*/ 2631641 w 4829175"/>
                <a:gd name="connsiteY332" fmla="*/ 4857746 h 6515100"/>
                <a:gd name="connsiteX333" fmla="*/ 2633038 w 4829175"/>
                <a:gd name="connsiteY333" fmla="*/ 4859142 h 6515100"/>
                <a:gd name="connsiteX334" fmla="*/ 2362625 w 4829175"/>
                <a:gd name="connsiteY334" fmla="*/ 5130253 h 6515100"/>
                <a:gd name="connsiteX335" fmla="*/ 2626749 w 4829175"/>
                <a:gd name="connsiteY335" fmla="*/ 5130253 h 6515100"/>
                <a:gd name="connsiteX336" fmla="*/ 2716886 w 4829175"/>
                <a:gd name="connsiteY336" fmla="*/ 5040116 h 6515100"/>
                <a:gd name="connsiteX337" fmla="*/ 2896463 w 4829175"/>
                <a:gd name="connsiteY337" fmla="*/ 4857047 h 6515100"/>
                <a:gd name="connsiteX338" fmla="*/ 4006759 w 4829175"/>
                <a:gd name="connsiteY338" fmla="*/ 4587334 h 6515100"/>
                <a:gd name="connsiteX339" fmla="*/ 4136725 w 4829175"/>
                <a:gd name="connsiteY339" fmla="*/ 4716600 h 6515100"/>
                <a:gd name="connsiteX340" fmla="*/ 4277171 w 4829175"/>
                <a:gd name="connsiteY340" fmla="*/ 4857047 h 6515100"/>
                <a:gd name="connsiteX341" fmla="*/ 4184238 w 4829175"/>
                <a:gd name="connsiteY341" fmla="*/ 4950678 h 6515100"/>
                <a:gd name="connsiteX342" fmla="*/ 4184937 w 4829175"/>
                <a:gd name="connsiteY342" fmla="*/ 4951376 h 6515100"/>
                <a:gd name="connsiteX343" fmla="*/ 4008156 w 4829175"/>
                <a:gd name="connsiteY343" fmla="*/ 5128855 h 6515100"/>
                <a:gd name="connsiteX344" fmla="*/ 4270882 w 4829175"/>
                <a:gd name="connsiteY344" fmla="*/ 5128855 h 6515100"/>
                <a:gd name="connsiteX345" fmla="*/ 4541294 w 4829175"/>
                <a:gd name="connsiteY345" fmla="*/ 4857746 h 6515100"/>
                <a:gd name="connsiteX346" fmla="*/ 4270183 w 4829175"/>
                <a:gd name="connsiteY346" fmla="*/ 4587334 h 6515100"/>
                <a:gd name="connsiteX347" fmla="*/ 3458248 w 4829175"/>
                <a:gd name="connsiteY347" fmla="*/ 4587334 h 6515100"/>
                <a:gd name="connsiteX348" fmla="*/ 3729359 w 4829175"/>
                <a:gd name="connsiteY348" fmla="*/ 4857746 h 6515100"/>
                <a:gd name="connsiteX349" fmla="*/ 3730058 w 4829175"/>
                <a:gd name="connsiteY349" fmla="*/ 4858443 h 6515100"/>
                <a:gd name="connsiteX350" fmla="*/ 3459646 w 4829175"/>
                <a:gd name="connsiteY350" fmla="*/ 5129554 h 6515100"/>
                <a:gd name="connsiteX351" fmla="*/ 3723769 w 4829175"/>
                <a:gd name="connsiteY351" fmla="*/ 5129554 h 6515100"/>
                <a:gd name="connsiteX352" fmla="*/ 3813208 w 4829175"/>
                <a:gd name="connsiteY352" fmla="*/ 5039418 h 6515100"/>
                <a:gd name="connsiteX353" fmla="*/ 3812509 w 4829175"/>
                <a:gd name="connsiteY353" fmla="*/ 5039418 h 6515100"/>
                <a:gd name="connsiteX354" fmla="*/ 3993483 w 4829175"/>
                <a:gd name="connsiteY354" fmla="*/ 4858443 h 6515100"/>
                <a:gd name="connsiteX355" fmla="*/ 3988591 w 4829175"/>
                <a:gd name="connsiteY355" fmla="*/ 4852854 h 6515100"/>
                <a:gd name="connsiteX356" fmla="*/ 3722372 w 4829175"/>
                <a:gd name="connsiteY356" fmla="*/ 4587334 h 6515100"/>
                <a:gd name="connsiteX357" fmla="*/ 708011 w 4829175"/>
                <a:gd name="connsiteY357" fmla="*/ 4316223 h 6515100"/>
                <a:gd name="connsiteX358" fmla="*/ 437599 w 4829175"/>
                <a:gd name="connsiteY358" fmla="*/ 4587334 h 6515100"/>
                <a:gd name="connsiteX359" fmla="*/ 709409 w 4829175"/>
                <a:gd name="connsiteY359" fmla="*/ 4857746 h 6515100"/>
                <a:gd name="connsiteX360" fmla="*/ 972833 w 4829175"/>
                <a:gd name="connsiteY360" fmla="*/ 4857746 h 6515100"/>
                <a:gd name="connsiteX361" fmla="*/ 842169 w 4829175"/>
                <a:gd name="connsiteY361" fmla="*/ 4727779 h 6515100"/>
                <a:gd name="connsiteX362" fmla="*/ 701722 w 4829175"/>
                <a:gd name="connsiteY362" fmla="*/ 4587334 h 6515100"/>
                <a:gd name="connsiteX363" fmla="*/ 972135 w 4829175"/>
                <a:gd name="connsiteY363" fmla="*/ 4316223 h 6515100"/>
                <a:gd name="connsiteX364" fmla="*/ 2354241 w 4829175"/>
                <a:gd name="connsiteY364" fmla="*/ 4315524 h 6515100"/>
                <a:gd name="connsiteX365" fmla="*/ 2083829 w 4829175"/>
                <a:gd name="connsiteY365" fmla="*/ 4586635 h 6515100"/>
                <a:gd name="connsiteX366" fmla="*/ 2353542 w 4829175"/>
                <a:gd name="connsiteY366" fmla="*/ 4855649 h 6515100"/>
                <a:gd name="connsiteX367" fmla="*/ 2616967 w 4829175"/>
                <a:gd name="connsiteY367" fmla="*/ 4855649 h 6515100"/>
                <a:gd name="connsiteX368" fmla="*/ 2347952 w 4829175"/>
                <a:gd name="connsiteY368" fmla="*/ 4586635 h 6515100"/>
                <a:gd name="connsiteX369" fmla="*/ 2348651 w 4829175"/>
                <a:gd name="connsiteY369" fmla="*/ 4585936 h 6515100"/>
                <a:gd name="connsiteX370" fmla="*/ 2347254 w 4829175"/>
                <a:gd name="connsiteY370" fmla="*/ 4584538 h 6515100"/>
                <a:gd name="connsiteX371" fmla="*/ 2615569 w 4829175"/>
                <a:gd name="connsiteY371" fmla="*/ 4315524 h 6515100"/>
                <a:gd name="connsiteX372" fmla="*/ 1256521 w 4829175"/>
                <a:gd name="connsiteY372" fmla="*/ 4315524 h 6515100"/>
                <a:gd name="connsiteX373" fmla="*/ 986109 w 4829175"/>
                <a:gd name="connsiteY373" fmla="*/ 4586635 h 6515100"/>
                <a:gd name="connsiteX374" fmla="*/ 1257220 w 4829175"/>
                <a:gd name="connsiteY374" fmla="*/ 4857047 h 6515100"/>
                <a:gd name="connsiteX375" fmla="*/ 1521344 w 4829175"/>
                <a:gd name="connsiteY375" fmla="*/ 4857047 h 6515100"/>
                <a:gd name="connsiteX376" fmla="*/ 1250233 w 4829175"/>
                <a:gd name="connsiteY376" fmla="*/ 4586635 h 6515100"/>
                <a:gd name="connsiteX377" fmla="*/ 1520645 w 4829175"/>
                <a:gd name="connsiteY377" fmla="*/ 4315524 h 6515100"/>
                <a:gd name="connsiteX378" fmla="*/ 1392775 w 4829175"/>
                <a:gd name="connsiteY378" fmla="*/ 4315524 h 6515100"/>
                <a:gd name="connsiteX379" fmla="*/ 1805731 w 4829175"/>
                <a:gd name="connsiteY379" fmla="*/ 4314825 h 6515100"/>
                <a:gd name="connsiteX380" fmla="*/ 1625456 w 4829175"/>
                <a:gd name="connsiteY380" fmla="*/ 4495798 h 6515100"/>
                <a:gd name="connsiteX381" fmla="*/ 1624758 w 4829175"/>
                <a:gd name="connsiteY381" fmla="*/ 4495798 h 6515100"/>
                <a:gd name="connsiteX382" fmla="*/ 1534620 w 4829175"/>
                <a:gd name="connsiteY382" fmla="*/ 4585936 h 6515100"/>
                <a:gd name="connsiteX383" fmla="*/ 1805032 w 4829175"/>
                <a:gd name="connsiteY383" fmla="*/ 4857047 h 6515100"/>
                <a:gd name="connsiteX384" fmla="*/ 2069155 w 4829175"/>
                <a:gd name="connsiteY384" fmla="*/ 4857047 h 6515100"/>
                <a:gd name="connsiteX385" fmla="*/ 1798044 w 4829175"/>
                <a:gd name="connsiteY385" fmla="*/ 4586635 h 6515100"/>
                <a:gd name="connsiteX386" fmla="*/ 1982512 w 4829175"/>
                <a:gd name="connsiteY386" fmla="*/ 4402167 h 6515100"/>
                <a:gd name="connsiteX387" fmla="*/ 1983211 w 4829175"/>
                <a:gd name="connsiteY387" fmla="*/ 4402167 h 6515100"/>
                <a:gd name="connsiteX388" fmla="*/ 2069155 w 4829175"/>
                <a:gd name="connsiteY388" fmla="*/ 4315524 h 6515100"/>
                <a:gd name="connsiteX389" fmla="*/ 1810622 w 4829175"/>
                <a:gd name="connsiteY389" fmla="*/ 4315524 h 6515100"/>
                <a:gd name="connsiteX390" fmla="*/ 3450563 w 4829175"/>
                <a:gd name="connsiteY390" fmla="*/ 4313427 h 6515100"/>
                <a:gd name="connsiteX391" fmla="*/ 3269589 w 4829175"/>
                <a:gd name="connsiteY391" fmla="*/ 4495099 h 6515100"/>
                <a:gd name="connsiteX392" fmla="*/ 3270986 w 4829175"/>
                <a:gd name="connsiteY392" fmla="*/ 4495798 h 6515100"/>
                <a:gd name="connsiteX393" fmla="*/ 3181548 w 4829175"/>
                <a:gd name="connsiteY393" fmla="*/ 4585237 h 6515100"/>
                <a:gd name="connsiteX394" fmla="*/ 3451960 w 4829175"/>
                <a:gd name="connsiteY394" fmla="*/ 4854950 h 6515100"/>
                <a:gd name="connsiteX395" fmla="*/ 3715384 w 4829175"/>
                <a:gd name="connsiteY395" fmla="*/ 4854950 h 6515100"/>
                <a:gd name="connsiteX396" fmla="*/ 3444972 w 4829175"/>
                <a:gd name="connsiteY396" fmla="*/ 4585237 h 6515100"/>
                <a:gd name="connsiteX397" fmla="*/ 3444274 w 4829175"/>
                <a:gd name="connsiteY397" fmla="*/ 4584538 h 6515100"/>
                <a:gd name="connsiteX398" fmla="*/ 3714686 w 4829175"/>
                <a:gd name="connsiteY398" fmla="*/ 4313427 h 6515100"/>
                <a:gd name="connsiteX399" fmla="*/ 2904847 w 4829175"/>
                <a:gd name="connsiteY399" fmla="*/ 4313427 h 6515100"/>
                <a:gd name="connsiteX400" fmla="*/ 2908341 w 4829175"/>
                <a:gd name="connsiteY400" fmla="*/ 4314825 h 6515100"/>
                <a:gd name="connsiteX401" fmla="*/ 2902751 w 4829175"/>
                <a:gd name="connsiteY401" fmla="*/ 4314825 h 6515100"/>
                <a:gd name="connsiteX402" fmla="*/ 2633736 w 4829175"/>
                <a:gd name="connsiteY402" fmla="*/ 4585237 h 6515100"/>
                <a:gd name="connsiteX403" fmla="*/ 2903449 w 4829175"/>
                <a:gd name="connsiteY403" fmla="*/ 4854251 h 6515100"/>
                <a:gd name="connsiteX404" fmla="*/ 3168271 w 4829175"/>
                <a:gd name="connsiteY404" fmla="*/ 4855649 h 6515100"/>
                <a:gd name="connsiteX405" fmla="*/ 2897162 w 4829175"/>
                <a:gd name="connsiteY405" fmla="*/ 4585237 h 6515100"/>
                <a:gd name="connsiteX406" fmla="*/ 2895764 w 4829175"/>
                <a:gd name="connsiteY406" fmla="*/ 4583839 h 6515100"/>
                <a:gd name="connsiteX407" fmla="*/ 3164778 w 4829175"/>
                <a:gd name="connsiteY407" fmla="*/ 4314126 h 6515100"/>
                <a:gd name="connsiteX408" fmla="*/ 2967035 w 4829175"/>
                <a:gd name="connsiteY408" fmla="*/ 4314126 h 6515100"/>
                <a:gd name="connsiteX409" fmla="*/ 2967733 w 4829175"/>
                <a:gd name="connsiteY409" fmla="*/ 4313427 h 6515100"/>
                <a:gd name="connsiteX410" fmla="*/ 3999073 w 4829175"/>
                <a:gd name="connsiteY410" fmla="*/ 4312728 h 6515100"/>
                <a:gd name="connsiteX411" fmla="*/ 3728660 w 4829175"/>
                <a:gd name="connsiteY411" fmla="*/ 4583839 h 6515100"/>
                <a:gd name="connsiteX412" fmla="*/ 3999771 w 4829175"/>
                <a:gd name="connsiteY412" fmla="*/ 4854251 h 6515100"/>
                <a:gd name="connsiteX413" fmla="*/ 4263197 w 4829175"/>
                <a:gd name="connsiteY413" fmla="*/ 4854251 h 6515100"/>
                <a:gd name="connsiteX414" fmla="*/ 4133230 w 4829175"/>
                <a:gd name="connsiteY414" fmla="*/ 4724286 h 6515100"/>
                <a:gd name="connsiteX415" fmla="*/ 3992783 w 4829175"/>
                <a:gd name="connsiteY415" fmla="*/ 4583839 h 6515100"/>
                <a:gd name="connsiteX416" fmla="*/ 4263197 w 4829175"/>
                <a:gd name="connsiteY416" fmla="*/ 4312728 h 6515100"/>
                <a:gd name="connsiteX417" fmla="*/ 4547584 w 4829175"/>
                <a:gd name="connsiteY417" fmla="*/ 4312030 h 6515100"/>
                <a:gd name="connsiteX418" fmla="*/ 4277171 w 4829175"/>
                <a:gd name="connsiteY418" fmla="*/ 4583140 h 6515100"/>
                <a:gd name="connsiteX419" fmla="*/ 4548281 w 4829175"/>
                <a:gd name="connsiteY419" fmla="*/ 4853552 h 6515100"/>
                <a:gd name="connsiteX420" fmla="*/ 4812405 w 4829175"/>
                <a:gd name="connsiteY420" fmla="*/ 4853552 h 6515100"/>
                <a:gd name="connsiteX421" fmla="*/ 4541294 w 4829175"/>
                <a:gd name="connsiteY421" fmla="*/ 4583140 h 6515100"/>
                <a:gd name="connsiteX422" fmla="*/ 4811706 w 4829175"/>
                <a:gd name="connsiteY422" fmla="*/ 4312030 h 6515100"/>
                <a:gd name="connsiteX423" fmla="*/ 717155 w 4829175"/>
                <a:gd name="connsiteY423" fmla="*/ 4044465 h 6515100"/>
                <a:gd name="connsiteX424" fmla="*/ 986808 w 4829175"/>
                <a:gd name="connsiteY424" fmla="*/ 4312728 h 6515100"/>
                <a:gd name="connsiteX425" fmla="*/ 716396 w 4829175"/>
                <a:gd name="connsiteY425" fmla="*/ 4583839 h 6515100"/>
                <a:gd name="connsiteX426" fmla="*/ 979821 w 4829175"/>
                <a:gd name="connsiteY426" fmla="*/ 4583839 h 6515100"/>
                <a:gd name="connsiteX427" fmla="*/ 1250233 w 4829175"/>
                <a:gd name="connsiteY427" fmla="*/ 4312728 h 6515100"/>
                <a:gd name="connsiteX428" fmla="*/ 1116075 w 4829175"/>
                <a:gd name="connsiteY428" fmla="*/ 4179269 h 6515100"/>
                <a:gd name="connsiteX429" fmla="*/ 1019702 w 4829175"/>
                <a:gd name="connsiteY429" fmla="*/ 4082896 h 6515100"/>
                <a:gd name="connsiteX430" fmla="*/ 1018761 w 4829175"/>
                <a:gd name="connsiteY430" fmla="*/ 4082896 h 6515100"/>
                <a:gd name="connsiteX431" fmla="*/ 980330 w 4829175"/>
                <a:gd name="connsiteY431" fmla="*/ 4044465 h 6515100"/>
                <a:gd name="connsiteX432" fmla="*/ 168395 w 4829175"/>
                <a:gd name="connsiteY432" fmla="*/ 4044465 h 6515100"/>
                <a:gd name="connsiteX433" fmla="*/ 206127 w 4829175"/>
                <a:gd name="connsiteY433" fmla="*/ 4082197 h 6515100"/>
                <a:gd name="connsiteX434" fmla="*/ 205772 w 4829175"/>
                <a:gd name="connsiteY434" fmla="*/ 4082197 h 6515100"/>
                <a:gd name="connsiteX435" fmla="*/ 437599 w 4829175"/>
                <a:gd name="connsiteY435" fmla="*/ 4313427 h 6515100"/>
                <a:gd name="connsiteX436" fmla="*/ 167187 w 4829175"/>
                <a:gd name="connsiteY436" fmla="*/ 4583839 h 6515100"/>
                <a:gd name="connsiteX437" fmla="*/ 431311 w 4829175"/>
                <a:gd name="connsiteY437" fmla="*/ 4583839 h 6515100"/>
                <a:gd name="connsiteX438" fmla="*/ 701722 w 4829175"/>
                <a:gd name="connsiteY438" fmla="*/ 4312728 h 6515100"/>
                <a:gd name="connsiteX439" fmla="*/ 470596 w 4829175"/>
                <a:gd name="connsiteY439" fmla="*/ 4082197 h 6515100"/>
                <a:gd name="connsiteX440" fmla="*/ 470250 w 4829175"/>
                <a:gd name="connsiteY440" fmla="*/ 4082197 h 6515100"/>
                <a:gd name="connsiteX441" fmla="*/ 432518 w 4829175"/>
                <a:gd name="connsiteY441" fmla="*/ 4044465 h 6515100"/>
                <a:gd name="connsiteX442" fmla="*/ 1816265 w 4829175"/>
                <a:gd name="connsiteY442" fmla="*/ 4043766 h 6515100"/>
                <a:gd name="connsiteX443" fmla="*/ 1942683 w 4829175"/>
                <a:gd name="connsiteY443" fmla="*/ 4170186 h 6515100"/>
                <a:gd name="connsiteX444" fmla="*/ 2083829 w 4829175"/>
                <a:gd name="connsiteY444" fmla="*/ 4310632 h 6515100"/>
                <a:gd name="connsiteX445" fmla="*/ 1813417 w 4829175"/>
                <a:gd name="connsiteY445" fmla="*/ 4581743 h 6515100"/>
                <a:gd name="connsiteX446" fmla="*/ 2076842 w 4829175"/>
                <a:gd name="connsiteY446" fmla="*/ 4581743 h 6515100"/>
                <a:gd name="connsiteX447" fmla="*/ 2347254 w 4829175"/>
                <a:gd name="connsiteY447" fmla="*/ 4311331 h 6515100"/>
                <a:gd name="connsiteX448" fmla="*/ 2214493 w 4829175"/>
                <a:gd name="connsiteY448" fmla="*/ 4178570 h 6515100"/>
                <a:gd name="connsiteX449" fmla="*/ 2214493 w 4829175"/>
                <a:gd name="connsiteY449" fmla="*/ 4177872 h 6515100"/>
                <a:gd name="connsiteX450" fmla="*/ 2119736 w 4829175"/>
                <a:gd name="connsiteY450" fmla="*/ 4083594 h 6515100"/>
                <a:gd name="connsiteX451" fmla="*/ 2116480 w 4829175"/>
                <a:gd name="connsiteY451" fmla="*/ 4083594 h 6515100"/>
                <a:gd name="connsiteX452" fmla="*/ 2076652 w 4829175"/>
                <a:gd name="connsiteY452" fmla="*/ 4043766 h 6515100"/>
                <a:gd name="connsiteX453" fmla="*/ 1266369 w 4829175"/>
                <a:gd name="connsiteY453" fmla="*/ 4043766 h 6515100"/>
                <a:gd name="connsiteX454" fmla="*/ 1534620 w 4829175"/>
                <a:gd name="connsiteY454" fmla="*/ 4310632 h 6515100"/>
                <a:gd name="connsiteX455" fmla="*/ 1531824 w 4829175"/>
                <a:gd name="connsiteY455" fmla="*/ 4313427 h 6515100"/>
                <a:gd name="connsiteX456" fmla="*/ 1441688 w 4829175"/>
                <a:gd name="connsiteY456" fmla="*/ 4404264 h 6515100"/>
                <a:gd name="connsiteX457" fmla="*/ 1440989 w 4829175"/>
                <a:gd name="connsiteY457" fmla="*/ 4404264 h 6515100"/>
                <a:gd name="connsiteX458" fmla="*/ 1263509 w 4829175"/>
                <a:gd name="connsiteY458" fmla="*/ 4582442 h 6515100"/>
                <a:gd name="connsiteX459" fmla="*/ 1527632 w 4829175"/>
                <a:gd name="connsiteY459" fmla="*/ 4582442 h 6515100"/>
                <a:gd name="connsiteX460" fmla="*/ 1798044 w 4829175"/>
                <a:gd name="connsiteY460" fmla="*/ 4312030 h 6515100"/>
                <a:gd name="connsiteX461" fmla="*/ 1793153 w 4829175"/>
                <a:gd name="connsiteY461" fmla="*/ 4307139 h 6515100"/>
                <a:gd name="connsiteX462" fmla="*/ 1795249 w 4829175"/>
                <a:gd name="connsiteY462" fmla="*/ 4307838 h 6515100"/>
                <a:gd name="connsiteX463" fmla="*/ 1569718 w 4829175"/>
                <a:gd name="connsiteY463" fmla="*/ 4082896 h 6515100"/>
                <a:gd name="connsiteX464" fmla="*/ 1567271 w 4829175"/>
                <a:gd name="connsiteY464" fmla="*/ 4082896 h 6515100"/>
                <a:gd name="connsiteX465" fmla="*/ 1528141 w 4829175"/>
                <a:gd name="connsiteY465" fmla="*/ 4043766 h 6515100"/>
                <a:gd name="connsiteX466" fmla="*/ 2363377 w 4829175"/>
                <a:gd name="connsiteY466" fmla="*/ 4043068 h 6515100"/>
                <a:gd name="connsiteX467" fmla="*/ 2630942 w 4829175"/>
                <a:gd name="connsiteY467" fmla="*/ 4310632 h 6515100"/>
                <a:gd name="connsiteX468" fmla="*/ 2632339 w 4829175"/>
                <a:gd name="connsiteY468" fmla="*/ 4312030 h 6515100"/>
                <a:gd name="connsiteX469" fmla="*/ 2363324 w 4829175"/>
                <a:gd name="connsiteY469" fmla="*/ 4581743 h 6515100"/>
                <a:gd name="connsiteX470" fmla="*/ 2625352 w 4829175"/>
                <a:gd name="connsiteY470" fmla="*/ 4581743 h 6515100"/>
                <a:gd name="connsiteX471" fmla="*/ 2895065 w 4829175"/>
                <a:gd name="connsiteY471" fmla="*/ 4311331 h 6515100"/>
                <a:gd name="connsiteX472" fmla="*/ 2890873 w 4829175"/>
                <a:gd name="connsiteY472" fmla="*/ 4307139 h 6515100"/>
                <a:gd name="connsiteX473" fmla="*/ 2892968 w 4829175"/>
                <a:gd name="connsiteY473" fmla="*/ 4307838 h 6515100"/>
                <a:gd name="connsiteX474" fmla="*/ 2668140 w 4829175"/>
                <a:gd name="connsiteY474" fmla="*/ 4083594 h 6515100"/>
                <a:gd name="connsiteX475" fmla="*/ 2666387 w 4829175"/>
                <a:gd name="connsiteY475" fmla="*/ 4083594 h 6515100"/>
                <a:gd name="connsiteX476" fmla="*/ 2625861 w 4829175"/>
                <a:gd name="connsiteY476" fmla="*/ 4043068 h 6515100"/>
                <a:gd name="connsiteX477" fmla="*/ 2911879 w 4829175"/>
                <a:gd name="connsiteY477" fmla="*/ 4041670 h 6515100"/>
                <a:gd name="connsiteX478" fmla="*/ 3179452 w 4829175"/>
                <a:gd name="connsiteY478" fmla="*/ 4309934 h 6515100"/>
                <a:gd name="connsiteX479" fmla="*/ 3087218 w 4829175"/>
                <a:gd name="connsiteY479" fmla="*/ 4402866 h 6515100"/>
                <a:gd name="connsiteX480" fmla="*/ 3087917 w 4829175"/>
                <a:gd name="connsiteY480" fmla="*/ 4403565 h 6515100"/>
                <a:gd name="connsiteX481" fmla="*/ 2911834 w 4829175"/>
                <a:gd name="connsiteY481" fmla="*/ 4579647 h 6515100"/>
                <a:gd name="connsiteX482" fmla="*/ 3108180 w 4829175"/>
                <a:gd name="connsiteY482" fmla="*/ 4579647 h 6515100"/>
                <a:gd name="connsiteX483" fmla="*/ 3107481 w 4829175"/>
                <a:gd name="connsiteY483" fmla="*/ 4581045 h 6515100"/>
                <a:gd name="connsiteX484" fmla="*/ 3173163 w 4829175"/>
                <a:gd name="connsiteY484" fmla="*/ 4581045 h 6515100"/>
                <a:gd name="connsiteX485" fmla="*/ 3443575 w 4829175"/>
                <a:gd name="connsiteY485" fmla="*/ 4309934 h 6515100"/>
                <a:gd name="connsiteX486" fmla="*/ 3215951 w 4829175"/>
                <a:gd name="connsiteY486" fmla="*/ 4082896 h 6515100"/>
                <a:gd name="connsiteX487" fmla="*/ 3215596 w 4829175"/>
                <a:gd name="connsiteY487" fmla="*/ 4082896 h 6515100"/>
                <a:gd name="connsiteX488" fmla="*/ 3174371 w 4829175"/>
                <a:gd name="connsiteY488" fmla="*/ 4041670 h 6515100"/>
                <a:gd name="connsiteX489" fmla="*/ 3459004 w 4829175"/>
                <a:gd name="connsiteY489" fmla="*/ 4040971 h 6515100"/>
                <a:gd name="connsiteX490" fmla="*/ 3728660 w 4829175"/>
                <a:gd name="connsiteY490" fmla="*/ 4309934 h 6515100"/>
                <a:gd name="connsiteX491" fmla="*/ 3458248 w 4829175"/>
                <a:gd name="connsiteY491" fmla="*/ 4580346 h 6515100"/>
                <a:gd name="connsiteX492" fmla="*/ 3722372 w 4829175"/>
                <a:gd name="connsiteY492" fmla="*/ 4580346 h 6515100"/>
                <a:gd name="connsiteX493" fmla="*/ 3992783 w 4829175"/>
                <a:gd name="connsiteY493" fmla="*/ 4309934 h 6515100"/>
                <a:gd name="connsiteX494" fmla="*/ 3765160 w 4829175"/>
                <a:gd name="connsiteY494" fmla="*/ 4082896 h 6515100"/>
                <a:gd name="connsiteX495" fmla="*/ 3764107 w 4829175"/>
                <a:gd name="connsiteY495" fmla="*/ 4082896 h 6515100"/>
                <a:gd name="connsiteX496" fmla="*/ 3722183 w 4829175"/>
                <a:gd name="connsiteY496" fmla="*/ 4040971 h 6515100"/>
                <a:gd name="connsiteX497" fmla="*/ 4007520 w 4829175"/>
                <a:gd name="connsiteY497" fmla="*/ 4040272 h 6515100"/>
                <a:gd name="connsiteX498" fmla="*/ 4277869 w 4829175"/>
                <a:gd name="connsiteY498" fmla="*/ 4308536 h 6515100"/>
                <a:gd name="connsiteX499" fmla="*/ 4007457 w 4829175"/>
                <a:gd name="connsiteY499" fmla="*/ 4579647 h 6515100"/>
                <a:gd name="connsiteX500" fmla="*/ 4270882 w 4829175"/>
                <a:gd name="connsiteY500" fmla="*/ 4579647 h 6515100"/>
                <a:gd name="connsiteX501" fmla="*/ 4541294 w 4829175"/>
                <a:gd name="connsiteY501" fmla="*/ 4308536 h 6515100"/>
                <a:gd name="connsiteX502" fmla="*/ 4407136 w 4829175"/>
                <a:gd name="connsiteY502" fmla="*/ 4175077 h 6515100"/>
                <a:gd name="connsiteX503" fmla="*/ 4314482 w 4829175"/>
                <a:gd name="connsiteY503" fmla="*/ 4082896 h 6515100"/>
                <a:gd name="connsiteX504" fmla="*/ 4313316 w 4829175"/>
                <a:gd name="connsiteY504" fmla="*/ 4082896 h 6515100"/>
                <a:gd name="connsiteX505" fmla="*/ 4270692 w 4829175"/>
                <a:gd name="connsiteY505" fmla="*/ 4040272 h 6515100"/>
                <a:gd name="connsiteX506" fmla="*/ 2354051 w 4829175"/>
                <a:gd name="connsiteY506" fmla="*/ 3769161 h 6515100"/>
                <a:gd name="connsiteX507" fmla="*/ 2084461 w 4829175"/>
                <a:gd name="connsiteY507" fmla="*/ 4039450 h 6515100"/>
                <a:gd name="connsiteX508" fmla="*/ 2353542 w 4829175"/>
                <a:gd name="connsiteY508" fmla="*/ 4307838 h 6515100"/>
                <a:gd name="connsiteX509" fmla="*/ 2616967 w 4829175"/>
                <a:gd name="connsiteY509" fmla="*/ 4307838 h 6515100"/>
                <a:gd name="connsiteX510" fmla="*/ 2392140 w 4829175"/>
                <a:gd name="connsiteY510" fmla="*/ 4083594 h 6515100"/>
                <a:gd name="connsiteX511" fmla="*/ 2391783 w 4829175"/>
                <a:gd name="connsiteY511" fmla="*/ 4083594 h 6515100"/>
                <a:gd name="connsiteX512" fmla="*/ 2347762 w 4829175"/>
                <a:gd name="connsiteY512" fmla="*/ 4039573 h 6515100"/>
                <a:gd name="connsiteX513" fmla="*/ 2347884 w 4829175"/>
                <a:gd name="connsiteY513" fmla="*/ 4039452 h 6515100"/>
                <a:gd name="connsiteX514" fmla="*/ 2347254 w 4829175"/>
                <a:gd name="connsiteY514" fmla="*/ 4038823 h 6515100"/>
                <a:gd name="connsiteX515" fmla="*/ 2347952 w 4829175"/>
                <a:gd name="connsiteY515" fmla="*/ 4038124 h 6515100"/>
                <a:gd name="connsiteX516" fmla="*/ 2346555 w 4829175"/>
                <a:gd name="connsiteY516" fmla="*/ 4036727 h 6515100"/>
                <a:gd name="connsiteX517" fmla="*/ 2521938 w 4829175"/>
                <a:gd name="connsiteY517" fmla="*/ 3860644 h 6515100"/>
                <a:gd name="connsiteX518" fmla="*/ 2526691 w 4829175"/>
                <a:gd name="connsiteY518" fmla="*/ 3860644 h 6515100"/>
                <a:gd name="connsiteX519" fmla="*/ 2532230 w 4829175"/>
                <a:gd name="connsiteY519" fmla="*/ 3855106 h 6515100"/>
                <a:gd name="connsiteX520" fmla="*/ 2618174 w 4829175"/>
                <a:gd name="connsiteY520" fmla="*/ 3769161 h 6515100"/>
                <a:gd name="connsiteX521" fmla="*/ 1804842 w 4829175"/>
                <a:gd name="connsiteY521" fmla="*/ 3769161 h 6515100"/>
                <a:gd name="connsiteX522" fmla="*/ 1535948 w 4829175"/>
                <a:gd name="connsiteY522" fmla="*/ 4038751 h 6515100"/>
                <a:gd name="connsiteX523" fmla="*/ 1805731 w 4829175"/>
                <a:gd name="connsiteY523" fmla="*/ 4307838 h 6515100"/>
                <a:gd name="connsiteX524" fmla="*/ 2069155 w 4829175"/>
                <a:gd name="connsiteY524" fmla="*/ 4307838 h 6515100"/>
                <a:gd name="connsiteX525" fmla="*/ 1939190 w 4829175"/>
                <a:gd name="connsiteY525" fmla="*/ 4177872 h 6515100"/>
                <a:gd name="connsiteX526" fmla="*/ 1844912 w 4829175"/>
                <a:gd name="connsiteY526" fmla="*/ 4083594 h 6515100"/>
                <a:gd name="connsiteX527" fmla="*/ 1841875 w 4829175"/>
                <a:gd name="connsiteY527" fmla="*/ 4083594 h 6515100"/>
                <a:gd name="connsiteX528" fmla="*/ 1798553 w 4829175"/>
                <a:gd name="connsiteY528" fmla="*/ 4040272 h 6515100"/>
                <a:gd name="connsiteX529" fmla="*/ 1800069 w 4829175"/>
                <a:gd name="connsiteY529" fmla="*/ 4038752 h 6515100"/>
                <a:gd name="connsiteX530" fmla="*/ 1798743 w 4829175"/>
                <a:gd name="connsiteY530" fmla="*/ 4037426 h 6515100"/>
                <a:gd name="connsiteX531" fmla="*/ 1974825 w 4829175"/>
                <a:gd name="connsiteY531" fmla="*/ 3860644 h 6515100"/>
                <a:gd name="connsiteX532" fmla="*/ 1977718 w 4829175"/>
                <a:gd name="connsiteY532" fmla="*/ 3860644 h 6515100"/>
                <a:gd name="connsiteX533" fmla="*/ 2068965 w 4829175"/>
                <a:gd name="connsiteY533" fmla="*/ 3769161 h 6515100"/>
                <a:gd name="connsiteX534" fmla="*/ 1257031 w 4829175"/>
                <a:gd name="connsiteY534" fmla="*/ 3769161 h 6515100"/>
                <a:gd name="connsiteX535" fmla="*/ 987788 w 4829175"/>
                <a:gd name="connsiteY535" fmla="*/ 4039100 h 6515100"/>
                <a:gd name="connsiteX536" fmla="*/ 1257220 w 4829175"/>
                <a:gd name="connsiteY536" fmla="*/ 4307838 h 6515100"/>
                <a:gd name="connsiteX537" fmla="*/ 1519946 w 4829175"/>
                <a:gd name="connsiteY537" fmla="*/ 4307838 h 6515100"/>
                <a:gd name="connsiteX538" fmla="*/ 1294422 w 4829175"/>
                <a:gd name="connsiteY538" fmla="*/ 4082896 h 6515100"/>
                <a:gd name="connsiteX539" fmla="*/ 1293365 w 4829175"/>
                <a:gd name="connsiteY539" fmla="*/ 4082896 h 6515100"/>
                <a:gd name="connsiteX540" fmla="*/ 1250742 w 4829175"/>
                <a:gd name="connsiteY540" fmla="*/ 4040272 h 6515100"/>
                <a:gd name="connsiteX541" fmla="*/ 1251213 w 4829175"/>
                <a:gd name="connsiteY541" fmla="*/ 4039800 h 6515100"/>
                <a:gd name="connsiteX542" fmla="*/ 1249534 w 4829175"/>
                <a:gd name="connsiteY542" fmla="*/ 4038124 h 6515100"/>
                <a:gd name="connsiteX543" fmla="*/ 1250932 w 4829175"/>
                <a:gd name="connsiteY543" fmla="*/ 4036727 h 6515100"/>
                <a:gd name="connsiteX544" fmla="*/ 1426315 w 4829175"/>
                <a:gd name="connsiteY544" fmla="*/ 3860644 h 6515100"/>
                <a:gd name="connsiteX545" fmla="*/ 1429907 w 4829175"/>
                <a:gd name="connsiteY545" fmla="*/ 3860644 h 6515100"/>
                <a:gd name="connsiteX546" fmla="*/ 1521154 w 4829175"/>
                <a:gd name="connsiteY546" fmla="*/ 3769161 h 6515100"/>
                <a:gd name="connsiteX547" fmla="*/ 709219 w 4829175"/>
                <a:gd name="connsiteY547" fmla="*/ 3769161 h 6515100"/>
                <a:gd name="connsiteX548" fmla="*/ 438807 w 4829175"/>
                <a:gd name="connsiteY548" fmla="*/ 4040272 h 6515100"/>
                <a:gd name="connsiteX549" fmla="*/ 480732 w 4829175"/>
                <a:gd name="connsiteY549" fmla="*/ 4082197 h 6515100"/>
                <a:gd name="connsiteX550" fmla="*/ 480499 w 4829175"/>
                <a:gd name="connsiteY550" fmla="*/ 4082197 h 6515100"/>
                <a:gd name="connsiteX551" fmla="*/ 708011 w 4829175"/>
                <a:gd name="connsiteY551" fmla="*/ 4308536 h 6515100"/>
                <a:gd name="connsiteX552" fmla="*/ 972135 w 4829175"/>
                <a:gd name="connsiteY552" fmla="*/ 4308536 h 6515100"/>
                <a:gd name="connsiteX553" fmla="*/ 745211 w 4829175"/>
                <a:gd name="connsiteY553" fmla="*/ 4082197 h 6515100"/>
                <a:gd name="connsiteX554" fmla="*/ 744855 w 4829175"/>
                <a:gd name="connsiteY554" fmla="*/ 4082197 h 6515100"/>
                <a:gd name="connsiteX555" fmla="*/ 702930 w 4829175"/>
                <a:gd name="connsiteY555" fmla="*/ 4040272 h 6515100"/>
                <a:gd name="connsiteX556" fmla="*/ 703053 w 4829175"/>
                <a:gd name="connsiteY556" fmla="*/ 4040149 h 6515100"/>
                <a:gd name="connsiteX557" fmla="*/ 701024 w 4829175"/>
                <a:gd name="connsiteY557" fmla="*/ 4038124 h 6515100"/>
                <a:gd name="connsiteX558" fmla="*/ 878504 w 4829175"/>
                <a:gd name="connsiteY558" fmla="*/ 3860644 h 6515100"/>
                <a:gd name="connsiteX559" fmla="*/ 882095 w 4829175"/>
                <a:gd name="connsiteY559" fmla="*/ 3860644 h 6515100"/>
                <a:gd name="connsiteX560" fmla="*/ 973342 w 4829175"/>
                <a:gd name="connsiteY560" fmla="*/ 3769161 h 6515100"/>
                <a:gd name="connsiteX561" fmla="*/ 3451072 w 4829175"/>
                <a:gd name="connsiteY561" fmla="*/ 3767066 h 6515100"/>
                <a:gd name="connsiteX562" fmla="*/ 3181135 w 4829175"/>
                <a:gd name="connsiteY562" fmla="*/ 4037702 h 6515100"/>
                <a:gd name="connsiteX563" fmla="*/ 3312910 w 4829175"/>
                <a:gd name="connsiteY563" fmla="*/ 4168788 h 6515100"/>
                <a:gd name="connsiteX564" fmla="*/ 3312910 w 4829175"/>
                <a:gd name="connsiteY564" fmla="*/ 4169487 h 6515100"/>
                <a:gd name="connsiteX565" fmla="*/ 3450563 w 4829175"/>
                <a:gd name="connsiteY565" fmla="*/ 4306440 h 6515100"/>
                <a:gd name="connsiteX566" fmla="*/ 3714686 w 4829175"/>
                <a:gd name="connsiteY566" fmla="*/ 4306440 h 6515100"/>
                <a:gd name="connsiteX567" fmla="*/ 3490444 w 4829175"/>
                <a:gd name="connsiteY567" fmla="*/ 4082197 h 6515100"/>
                <a:gd name="connsiteX568" fmla="*/ 3489503 w 4829175"/>
                <a:gd name="connsiteY568" fmla="*/ 4082197 h 6515100"/>
                <a:gd name="connsiteX569" fmla="*/ 3444084 w 4829175"/>
                <a:gd name="connsiteY569" fmla="*/ 4036779 h 6515100"/>
                <a:gd name="connsiteX570" fmla="*/ 3444556 w 4829175"/>
                <a:gd name="connsiteY570" fmla="*/ 4036310 h 6515100"/>
                <a:gd name="connsiteX571" fmla="*/ 3444274 w 4829175"/>
                <a:gd name="connsiteY571" fmla="*/ 4036028 h 6515100"/>
                <a:gd name="connsiteX572" fmla="*/ 3618959 w 4829175"/>
                <a:gd name="connsiteY572" fmla="*/ 3860644 h 6515100"/>
                <a:gd name="connsiteX573" fmla="*/ 3621132 w 4829175"/>
                <a:gd name="connsiteY573" fmla="*/ 3860644 h 6515100"/>
                <a:gd name="connsiteX574" fmla="*/ 3715195 w 4829175"/>
                <a:gd name="connsiteY574" fmla="*/ 3767066 h 6515100"/>
                <a:gd name="connsiteX575" fmla="*/ 3999582 w 4829175"/>
                <a:gd name="connsiteY575" fmla="*/ 3766367 h 6515100"/>
                <a:gd name="connsiteX576" fmla="*/ 3729642 w 4829175"/>
                <a:gd name="connsiteY576" fmla="*/ 4037004 h 6515100"/>
                <a:gd name="connsiteX577" fmla="*/ 3999073 w 4829175"/>
                <a:gd name="connsiteY577" fmla="*/ 4305741 h 6515100"/>
                <a:gd name="connsiteX578" fmla="*/ 4263197 w 4829175"/>
                <a:gd name="connsiteY578" fmla="*/ 4305741 h 6515100"/>
                <a:gd name="connsiteX579" fmla="*/ 4039076 w 4829175"/>
                <a:gd name="connsiteY579" fmla="*/ 4082197 h 6515100"/>
                <a:gd name="connsiteX580" fmla="*/ 4038711 w 4829175"/>
                <a:gd name="connsiteY580" fmla="*/ 4082197 h 6515100"/>
                <a:gd name="connsiteX581" fmla="*/ 3992595 w 4829175"/>
                <a:gd name="connsiteY581" fmla="*/ 4036080 h 6515100"/>
                <a:gd name="connsiteX582" fmla="*/ 3992717 w 4829175"/>
                <a:gd name="connsiteY582" fmla="*/ 4035958 h 6515100"/>
                <a:gd name="connsiteX583" fmla="*/ 3992086 w 4829175"/>
                <a:gd name="connsiteY583" fmla="*/ 4035329 h 6515100"/>
                <a:gd name="connsiteX584" fmla="*/ 4166770 w 4829175"/>
                <a:gd name="connsiteY584" fmla="*/ 3860644 h 6515100"/>
                <a:gd name="connsiteX585" fmla="*/ 4168939 w 4829175"/>
                <a:gd name="connsiteY585" fmla="*/ 3860644 h 6515100"/>
                <a:gd name="connsiteX586" fmla="*/ 4263706 w 4829175"/>
                <a:gd name="connsiteY586" fmla="*/ 3766367 h 6515100"/>
                <a:gd name="connsiteX587" fmla="*/ 4547394 w 4829175"/>
                <a:gd name="connsiteY587" fmla="*/ 3765668 h 6515100"/>
                <a:gd name="connsiteX588" fmla="*/ 4277804 w 4829175"/>
                <a:gd name="connsiteY588" fmla="*/ 4035954 h 6515100"/>
                <a:gd name="connsiteX589" fmla="*/ 4410630 w 4829175"/>
                <a:gd name="connsiteY589" fmla="*/ 4168089 h 6515100"/>
                <a:gd name="connsiteX590" fmla="*/ 4547584 w 4829175"/>
                <a:gd name="connsiteY590" fmla="*/ 4305042 h 6515100"/>
                <a:gd name="connsiteX591" fmla="*/ 4811706 w 4829175"/>
                <a:gd name="connsiteY591" fmla="*/ 4305042 h 6515100"/>
                <a:gd name="connsiteX592" fmla="*/ 4588162 w 4829175"/>
                <a:gd name="connsiteY592" fmla="*/ 4081498 h 6515100"/>
                <a:gd name="connsiteX593" fmla="*/ 4587920 w 4829175"/>
                <a:gd name="connsiteY593" fmla="*/ 4081498 h 6515100"/>
                <a:gd name="connsiteX594" fmla="*/ 4541105 w 4829175"/>
                <a:gd name="connsiteY594" fmla="*/ 4035381 h 6515100"/>
                <a:gd name="connsiteX595" fmla="*/ 4541576 w 4829175"/>
                <a:gd name="connsiteY595" fmla="*/ 4034912 h 6515100"/>
                <a:gd name="connsiteX596" fmla="*/ 4541294 w 4829175"/>
                <a:gd name="connsiteY596" fmla="*/ 4034630 h 6515100"/>
                <a:gd name="connsiteX597" fmla="*/ 4542692 w 4829175"/>
                <a:gd name="connsiteY597" fmla="*/ 4033233 h 6515100"/>
                <a:gd name="connsiteX598" fmla="*/ 4714582 w 4829175"/>
                <a:gd name="connsiteY598" fmla="*/ 3860644 h 6515100"/>
                <a:gd name="connsiteX599" fmla="*/ 4716295 w 4829175"/>
                <a:gd name="connsiteY599" fmla="*/ 3860644 h 6515100"/>
                <a:gd name="connsiteX600" fmla="*/ 4811517 w 4829175"/>
                <a:gd name="connsiteY600" fmla="*/ 3765668 h 6515100"/>
                <a:gd name="connsiteX601" fmla="*/ 1264018 w 4829175"/>
                <a:gd name="connsiteY601" fmla="*/ 3493858 h 6515100"/>
                <a:gd name="connsiteX602" fmla="*/ 1535828 w 4829175"/>
                <a:gd name="connsiteY602" fmla="*/ 3763572 h 6515100"/>
                <a:gd name="connsiteX603" fmla="*/ 1266165 w 4829175"/>
                <a:gd name="connsiteY603" fmla="*/ 4033931 h 6515100"/>
                <a:gd name="connsiteX604" fmla="*/ 1527632 w 4829175"/>
                <a:gd name="connsiteY604" fmla="*/ 4033931 h 6515100"/>
                <a:gd name="connsiteX605" fmla="*/ 1700221 w 4829175"/>
                <a:gd name="connsiteY605" fmla="*/ 3860644 h 6515100"/>
                <a:gd name="connsiteX606" fmla="*/ 1702878 w 4829175"/>
                <a:gd name="connsiteY606" fmla="*/ 3860644 h 6515100"/>
                <a:gd name="connsiteX607" fmla="*/ 1799252 w 4829175"/>
                <a:gd name="connsiteY607" fmla="*/ 3764270 h 6515100"/>
                <a:gd name="connsiteX608" fmla="*/ 1665094 w 4829175"/>
                <a:gd name="connsiteY608" fmla="*/ 3630811 h 6515100"/>
                <a:gd name="connsiteX609" fmla="*/ 1528141 w 4829175"/>
                <a:gd name="connsiteY609" fmla="*/ 3493858 h 6515100"/>
                <a:gd name="connsiteX610" fmla="*/ 715508 w 4829175"/>
                <a:gd name="connsiteY610" fmla="*/ 3493858 h 6515100"/>
                <a:gd name="connsiteX611" fmla="*/ 986618 w 4829175"/>
                <a:gd name="connsiteY611" fmla="*/ 3764270 h 6515100"/>
                <a:gd name="connsiteX612" fmla="*/ 716955 w 4829175"/>
                <a:gd name="connsiteY612" fmla="*/ 4034630 h 6515100"/>
                <a:gd name="connsiteX613" fmla="*/ 979122 w 4829175"/>
                <a:gd name="connsiteY613" fmla="*/ 4034630 h 6515100"/>
                <a:gd name="connsiteX614" fmla="*/ 1067862 w 4829175"/>
                <a:gd name="connsiteY614" fmla="*/ 3945192 h 6515100"/>
                <a:gd name="connsiteX615" fmla="*/ 1152410 w 4829175"/>
                <a:gd name="connsiteY615" fmla="*/ 3860644 h 6515100"/>
                <a:gd name="connsiteX616" fmla="*/ 1154616 w 4829175"/>
                <a:gd name="connsiteY616" fmla="*/ 3860644 h 6515100"/>
                <a:gd name="connsiteX617" fmla="*/ 1250742 w 4829175"/>
                <a:gd name="connsiteY617" fmla="*/ 3764270 h 6515100"/>
                <a:gd name="connsiteX618" fmla="*/ 979631 w 4829175"/>
                <a:gd name="connsiteY618" fmla="*/ 3493858 h 6515100"/>
                <a:gd name="connsiteX619" fmla="*/ 165601 w 4829175"/>
                <a:gd name="connsiteY619" fmla="*/ 3493858 h 6515100"/>
                <a:gd name="connsiteX620" fmla="*/ 436711 w 4829175"/>
                <a:gd name="connsiteY620" fmla="*/ 3764270 h 6515100"/>
                <a:gd name="connsiteX621" fmla="*/ 438108 w 4829175"/>
                <a:gd name="connsiteY621" fmla="*/ 3764969 h 6515100"/>
                <a:gd name="connsiteX622" fmla="*/ 169094 w 4829175"/>
                <a:gd name="connsiteY622" fmla="*/ 4034682 h 6515100"/>
                <a:gd name="connsiteX623" fmla="*/ 365440 w 4829175"/>
                <a:gd name="connsiteY623" fmla="*/ 4034682 h 6515100"/>
                <a:gd name="connsiteX624" fmla="*/ 365116 w 4829175"/>
                <a:gd name="connsiteY624" fmla="*/ 4035329 h 6515100"/>
                <a:gd name="connsiteX625" fmla="*/ 430612 w 4829175"/>
                <a:gd name="connsiteY625" fmla="*/ 4035329 h 6515100"/>
                <a:gd name="connsiteX626" fmla="*/ 604598 w 4829175"/>
                <a:gd name="connsiteY626" fmla="*/ 3860644 h 6515100"/>
                <a:gd name="connsiteX627" fmla="*/ 606802 w 4829175"/>
                <a:gd name="connsiteY627" fmla="*/ 3860644 h 6515100"/>
                <a:gd name="connsiteX628" fmla="*/ 701533 w 4829175"/>
                <a:gd name="connsiteY628" fmla="*/ 3765668 h 6515100"/>
                <a:gd name="connsiteX629" fmla="*/ 430423 w 4829175"/>
                <a:gd name="connsiteY629" fmla="*/ 3495256 h 6515100"/>
                <a:gd name="connsiteX630" fmla="*/ 362644 w 4829175"/>
                <a:gd name="connsiteY630" fmla="*/ 3493858 h 6515100"/>
                <a:gd name="connsiteX631" fmla="*/ 2361039 w 4829175"/>
                <a:gd name="connsiteY631" fmla="*/ 3493160 h 6515100"/>
                <a:gd name="connsiteX632" fmla="*/ 2631451 w 4829175"/>
                <a:gd name="connsiteY632" fmla="*/ 3762174 h 6515100"/>
                <a:gd name="connsiteX633" fmla="*/ 2628655 w 4829175"/>
                <a:gd name="connsiteY633" fmla="*/ 3764969 h 6515100"/>
                <a:gd name="connsiteX634" fmla="*/ 2538519 w 4829175"/>
                <a:gd name="connsiteY634" fmla="*/ 3855806 h 6515100"/>
                <a:gd name="connsiteX635" fmla="*/ 2361789 w 4829175"/>
                <a:gd name="connsiteY635" fmla="*/ 4032535 h 6515100"/>
                <a:gd name="connsiteX636" fmla="*/ 2624653 w 4829175"/>
                <a:gd name="connsiteY636" fmla="*/ 4032535 h 6515100"/>
                <a:gd name="connsiteX637" fmla="*/ 2795844 w 4829175"/>
                <a:gd name="connsiteY637" fmla="*/ 3860644 h 6515100"/>
                <a:gd name="connsiteX638" fmla="*/ 2797802 w 4829175"/>
                <a:gd name="connsiteY638" fmla="*/ 3860644 h 6515100"/>
                <a:gd name="connsiteX639" fmla="*/ 2895574 w 4829175"/>
                <a:gd name="connsiteY639" fmla="*/ 3762873 h 6515100"/>
                <a:gd name="connsiteX640" fmla="*/ 2625162 w 4829175"/>
                <a:gd name="connsiteY640" fmla="*/ 3493160 h 6515100"/>
                <a:gd name="connsiteX641" fmla="*/ 1812528 w 4829175"/>
                <a:gd name="connsiteY641" fmla="*/ 3493160 h 6515100"/>
                <a:gd name="connsiteX642" fmla="*/ 1813926 w 4829175"/>
                <a:gd name="connsiteY642" fmla="*/ 3494557 h 6515100"/>
                <a:gd name="connsiteX643" fmla="*/ 2083639 w 4829175"/>
                <a:gd name="connsiteY643" fmla="*/ 3763572 h 6515100"/>
                <a:gd name="connsiteX644" fmla="*/ 1814673 w 4829175"/>
                <a:gd name="connsiteY644" fmla="*/ 4033233 h 6515100"/>
                <a:gd name="connsiteX645" fmla="*/ 2076143 w 4829175"/>
                <a:gd name="connsiteY645" fmla="*/ 4033233 h 6515100"/>
                <a:gd name="connsiteX646" fmla="*/ 2248033 w 4829175"/>
                <a:gd name="connsiteY646" fmla="*/ 3860644 h 6515100"/>
                <a:gd name="connsiteX647" fmla="*/ 2250940 w 4829175"/>
                <a:gd name="connsiteY647" fmla="*/ 3860644 h 6515100"/>
                <a:gd name="connsiteX648" fmla="*/ 2347762 w 4829175"/>
                <a:gd name="connsiteY648" fmla="*/ 3763572 h 6515100"/>
                <a:gd name="connsiteX649" fmla="*/ 2342173 w 4829175"/>
                <a:gd name="connsiteY649" fmla="*/ 3758681 h 6515100"/>
                <a:gd name="connsiteX650" fmla="*/ 2076652 w 4829175"/>
                <a:gd name="connsiteY650" fmla="*/ 3493160 h 6515100"/>
                <a:gd name="connsiteX651" fmla="*/ 4005871 w 4829175"/>
                <a:gd name="connsiteY651" fmla="*/ 3491064 h 6515100"/>
                <a:gd name="connsiteX652" fmla="*/ 4277680 w 4829175"/>
                <a:gd name="connsiteY652" fmla="*/ 3760776 h 6515100"/>
                <a:gd name="connsiteX653" fmla="*/ 4008016 w 4829175"/>
                <a:gd name="connsiteY653" fmla="*/ 4031137 h 6515100"/>
                <a:gd name="connsiteX654" fmla="*/ 4270183 w 4829175"/>
                <a:gd name="connsiteY654" fmla="*/ 4031137 h 6515100"/>
                <a:gd name="connsiteX655" fmla="*/ 4359622 w 4829175"/>
                <a:gd name="connsiteY655" fmla="*/ 3941698 h 6515100"/>
                <a:gd name="connsiteX656" fmla="*/ 4440676 w 4829175"/>
                <a:gd name="connsiteY656" fmla="*/ 3860644 h 6515100"/>
                <a:gd name="connsiteX657" fmla="*/ 4441937 w 4829175"/>
                <a:gd name="connsiteY657" fmla="*/ 3860644 h 6515100"/>
                <a:gd name="connsiteX658" fmla="*/ 4541105 w 4829175"/>
                <a:gd name="connsiteY658" fmla="*/ 3761476 h 6515100"/>
                <a:gd name="connsiteX659" fmla="*/ 4406947 w 4829175"/>
                <a:gd name="connsiteY659" fmla="*/ 3628017 h 6515100"/>
                <a:gd name="connsiteX660" fmla="*/ 4269994 w 4829175"/>
                <a:gd name="connsiteY660" fmla="*/ 3491064 h 6515100"/>
                <a:gd name="connsiteX661" fmla="*/ 3721484 w 4829175"/>
                <a:gd name="connsiteY661" fmla="*/ 3490365 h 6515100"/>
                <a:gd name="connsiteX662" fmla="*/ 3457360 w 4829175"/>
                <a:gd name="connsiteY662" fmla="*/ 3491064 h 6515100"/>
                <a:gd name="connsiteX663" fmla="*/ 3728471 w 4829175"/>
                <a:gd name="connsiteY663" fmla="*/ 3761476 h 6515100"/>
                <a:gd name="connsiteX664" fmla="*/ 3458808 w 4829175"/>
                <a:gd name="connsiteY664" fmla="*/ 4031836 h 6515100"/>
                <a:gd name="connsiteX665" fmla="*/ 3721674 w 4829175"/>
                <a:gd name="connsiteY665" fmla="*/ 4031836 h 6515100"/>
                <a:gd name="connsiteX666" fmla="*/ 3892166 w 4829175"/>
                <a:gd name="connsiteY666" fmla="*/ 3859946 h 6515100"/>
                <a:gd name="connsiteX667" fmla="*/ 3893935 w 4829175"/>
                <a:gd name="connsiteY667" fmla="*/ 3859946 h 6515100"/>
                <a:gd name="connsiteX668" fmla="*/ 3992595 w 4829175"/>
                <a:gd name="connsiteY668" fmla="*/ 3760776 h 6515100"/>
                <a:gd name="connsiteX669" fmla="*/ 707821 w 4829175"/>
                <a:gd name="connsiteY669" fmla="*/ 3220651 h 6515100"/>
                <a:gd name="connsiteX670" fmla="*/ 437409 w 4829175"/>
                <a:gd name="connsiteY670" fmla="*/ 3491762 h 6515100"/>
                <a:gd name="connsiteX671" fmla="*/ 570170 w 4829175"/>
                <a:gd name="connsiteY671" fmla="*/ 3623824 h 6515100"/>
                <a:gd name="connsiteX672" fmla="*/ 708520 w 4829175"/>
                <a:gd name="connsiteY672" fmla="*/ 3761476 h 6515100"/>
                <a:gd name="connsiteX673" fmla="*/ 972643 w 4829175"/>
                <a:gd name="connsiteY673" fmla="*/ 3761476 h 6515100"/>
                <a:gd name="connsiteX674" fmla="*/ 701533 w 4829175"/>
                <a:gd name="connsiteY674" fmla="*/ 3491064 h 6515100"/>
                <a:gd name="connsiteX675" fmla="*/ 971945 w 4829175"/>
                <a:gd name="connsiteY675" fmla="*/ 3220651 h 6515100"/>
                <a:gd name="connsiteX676" fmla="*/ 1256332 w 4829175"/>
                <a:gd name="connsiteY676" fmla="*/ 3219953 h 6515100"/>
                <a:gd name="connsiteX677" fmla="*/ 985920 w 4829175"/>
                <a:gd name="connsiteY677" fmla="*/ 3491064 h 6515100"/>
                <a:gd name="connsiteX678" fmla="*/ 1257031 w 4829175"/>
                <a:gd name="connsiteY678" fmla="*/ 3761476 h 6515100"/>
                <a:gd name="connsiteX679" fmla="*/ 1521154 w 4829175"/>
                <a:gd name="connsiteY679" fmla="*/ 3760776 h 6515100"/>
                <a:gd name="connsiteX680" fmla="*/ 1250043 w 4829175"/>
                <a:gd name="connsiteY680" fmla="*/ 3490365 h 6515100"/>
                <a:gd name="connsiteX681" fmla="*/ 1434510 w 4829175"/>
                <a:gd name="connsiteY681" fmla="*/ 3305898 h 6515100"/>
                <a:gd name="connsiteX682" fmla="*/ 1520455 w 4829175"/>
                <a:gd name="connsiteY682" fmla="*/ 3219953 h 6515100"/>
                <a:gd name="connsiteX683" fmla="*/ 1804143 w 4829175"/>
                <a:gd name="connsiteY683" fmla="*/ 3219255 h 6515100"/>
                <a:gd name="connsiteX684" fmla="*/ 1623869 w 4829175"/>
                <a:gd name="connsiteY684" fmla="*/ 3400228 h 6515100"/>
                <a:gd name="connsiteX685" fmla="*/ 1534430 w 4829175"/>
                <a:gd name="connsiteY685" fmla="*/ 3490365 h 6515100"/>
                <a:gd name="connsiteX686" fmla="*/ 1668588 w 4829175"/>
                <a:gd name="connsiteY686" fmla="*/ 3623824 h 6515100"/>
                <a:gd name="connsiteX687" fmla="*/ 1805541 w 4829175"/>
                <a:gd name="connsiteY687" fmla="*/ 3760776 h 6515100"/>
                <a:gd name="connsiteX688" fmla="*/ 2069664 w 4829175"/>
                <a:gd name="connsiteY688" fmla="*/ 3760078 h 6515100"/>
                <a:gd name="connsiteX689" fmla="*/ 1798553 w 4829175"/>
                <a:gd name="connsiteY689" fmla="*/ 3489666 h 6515100"/>
                <a:gd name="connsiteX690" fmla="*/ 1799951 w 4829175"/>
                <a:gd name="connsiteY690" fmla="*/ 3488269 h 6515100"/>
                <a:gd name="connsiteX691" fmla="*/ 2068266 w 4829175"/>
                <a:gd name="connsiteY691" fmla="*/ 3219255 h 6515100"/>
                <a:gd name="connsiteX692" fmla="*/ 2353352 w 4829175"/>
                <a:gd name="connsiteY692" fmla="*/ 3218555 h 6515100"/>
                <a:gd name="connsiteX693" fmla="*/ 2082940 w 4829175"/>
                <a:gd name="connsiteY693" fmla="*/ 3489666 h 6515100"/>
                <a:gd name="connsiteX694" fmla="*/ 2354051 w 4829175"/>
                <a:gd name="connsiteY694" fmla="*/ 3760078 h 6515100"/>
                <a:gd name="connsiteX695" fmla="*/ 2618174 w 4829175"/>
                <a:gd name="connsiteY695" fmla="*/ 3760078 h 6515100"/>
                <a:gd name="connsiteX696" fmla="*/ 2347064 w 4829175"/>
                <a:gd name="connsiteY696" fmla="*/ 3489666 h 6515100"/>
                <a:gd name="connsiteX697" fmla="*/ 2617476 w 4829175"/>
                <a:gd name="connsiteY697" fmla="*/ 3218555 h 6515100"/>
                <a:gd name="connsiteX698" fmla="*/ 3449674 w 4829175"/>
                <a:gd name="connsiteY698" fmla="*/ 3217158 h 6515100"/>
                <a:gd name="connsiteX699" fmla="*/ 3179262 w 4829175"/>
                <a:gd name="connsiteY699" fmla="*/ 3488269 h 6515100"/>
                <a:gd name="connsiteX700" fmla="*/ 3450373 w 4829175"/>
                <a:gd name="connsiteY700" fmla="*/ 3758681 h 6515100"/>
                <a:gd name="connsiteX701" fmla="*/ 3714496 w 4829175"/>
                <a:gd name="connsiteY701" fmla="*/ 3758681 h 6515100"/>
                <a:gd name="connsiteX702" fmla="*/ 3443385 w 4829175"/>
                <a:gd name="connsiteY702" fmla="*/ 3488269 h 6515100"/>
                <a:gd name="connsiteX703" fmla="*/ 3713797 w 4829175"/>
                <a:gd name="connsiteY703" fmla="*/ 3217158 h 6515100"/>
                <a:gd name="connsiteX704" fmla="*/ 3998184 w 4829175"/>
                <a:gd name="connsiteY704" fmla="*/ 3216459 h 6515100"/>
                <a:gd name="connsiteX705" fmla="*/ 3727772 w 4829175"/>
                <a:gd name="connsiteY705" fmla="*/ 3487570 h 6515100"/>
                <a:gd name="connsiteX706" fmla="*/ 3998883 w 4829175"/>
                <a:gd name="connsiteY706" fmla="*/ 3757982 h 6515100"/>
                <a:gd name="connsiteX707" fmla="*/ 4263007 w 4829175"/>
                <a:gd name="connsiteY707" fmla="*/ 3757283 h 6515100"/>
                <a:gd name="connsiteX708" fmla="*/ 3991896 w 4829175"/>
                <a:gd name="connsiteY708" fmla="*/ 3486871 h 6515100"/>
                <a:gd name="connsiteX709" fmla="*/ 4176362 w 4829175"/>
                <a:gd name="connsiteY709" fmla="*/ 3302404 h 6515100"/>
                <a:gd name="connsiteX710" fmla="*/ 4177062 w 4829175"/>
                <a:gd name="connsiteY710" fmla="*/ 3302404 h 6515100"/>
                <a:gd name="connsiteX711" fmla="*/ 4262308 w 4829175"/>
                <a:gd name="connsiteY711" fmla="*/ 3216459 h 6515100"/>
                <a:gd name="connsiteX712" fmla="*/ 4546695 w 4829175"/>
                <a:gd name="connsiteY712" fmla="*/ 3215760 h 6515100"/>
                <a:gd name="connsiteX713" fmla="*/ 4366420 w 4829175"/>
                <a:gd name="connsiteY713" fmla="*/ 3396734 h 6515100"/>
                <a:gd name="connsiteX714" fmla="*/ 4365722 w 4829175"/>
                <a:gd name="connsiteY714" fmla="*/ 3396734 h 6515100"/>
                <a:gd name="connsiteX715" fmla="*/ 4276282 w 4829175"/>
                <a:gd name="connsiteY715" fmla="*/ 3486871 h 6515100"/>
                <a:gd name="connsiteX716" fmla="*/ 4410440 w 4829175"/>
                <a:gd name="connsiteY716" fmla="*/ 3620330 h 6515100"/>
                <a:gd name="connsiteX717" fmla="*/ 4547394 w 4829175"/>
                <a:gd name="connsiteY717" fmla="*/ 3757283 h 6515100"/>
                <a:gd name="connsiteX718" fmla="*/ 4811517 w 4829175"/>
                <a:gd name="connsiteY718" fmla="*/ 3757283 h 6515100"/>
                <a:gd name="connsiteX719" fmla="*/ 4540406 w 4829175"/>
                <a:gd name="connsiteY719" fmla="*/ 3486871 h 6515100"/>
                <a:gd name="connsiteX720" fmla="*/ 4542503 w 4829175"/>
                <a:gd name="connsiteY720" fmla="*/ 3485473 h 6515100"/>
                <a:gd name="connsiteX721" fmla="*/ 4810119 w 4829175"/>
                <a:gd name="connsiteY721" fmla="*/ 3215760 h 6515100"/>
                <a:gd name="connsiteX722" fmla="*/ 1263319 w 4829175"/>
                <a:gd name="connsiteY722" fmla="*/ 2946047 h 6515100"/>
                <a:gd name="connsiteX723" fmla="*/ 1534430 w 4829175"/>
                <a:gd name="connsiteY723" fmla="*/ 3215760 h 6515100"/>
                <a:gd name="connsiteX724" fmla="*/ 1531636 w 4829175"/>
                <a:gd name="connsiteY724" fmla="*/ 3218555 h 6515100"/>
                <a:gd name="connsiteX725" fmla="*/ 1441498 w 4829175"/>
                <a:gd name="connsiteY725" fmla="*/ 3309391 h 6515100"/>
                <a:gd name="connsiteX726" fmla="*/ 1264018 w 4829175"/>
                <a:gd name="connsiteY726" fmla="*/ 3486871 h 6515100"/>
                <a:gd name="connsiteX727" fmla="*/ 1528141 w 4829175"/>
                <a:gd name="connsiteY727" fmla="*/ 3486871 h 6515100"/>
                <a:gd name="connsiteX728" fmla="*/ 1617580 w 4829175"/>
                <a:gd name="connsiteY728" fmla="*/ 3397432 h 6515100"/>
                <a:gd name="connsiteX729" fmla="*/ 1798553 w 4829175"/>
                <a:gd name="connsiteY729" fmla="*/ 3216459 h 6515100"/>
                <a:gd name="connsiteX730" fmla="*/ 1527442 w 4829175"/>
                <a:gd name="connsiteY730" fmla="*/ 2946047 h 6515100"/>
                <a:gd name="connsiteX731" fmla="*/ 714809 w 4829175"/>
                <a:gd name="connsiteY731" fmla="*/ 2946047 h 6515100"/>
                <a:gd name="connsiteX732" fmla="*/ 843377 w 4829175"/>
                <a:gd name="connsiteY732" fmla="*/ 3074615 h 6515100"/>
                <a:gd name="connsiteX733" fmla="*/ 985221 w 4829175"/>
                <a:gd name="connsiteY733" fmla="*/ 3216459 h 6515100"/>
                <a:gd name="connsiteX734" fmla="*/ 714809 w 4829175"/>
                <a:gd name="connsiteY734" fmla="*/ 3487570 h 6515100"/>
                <a:gd name="connsiteX735" fmla="*/ 978932 w 4829175"/>
                <a:gd name="connsiteY735" fmla="*/ 3487570 h 6515100"/>
                <a:gd name="connsiteX736" fmla="*/ 1249344 w 4829175"/>
                <a:gd name="connsiteY736" fmla="*/ 3216459 h 6515100"/>
                <a:gd name="connsiteX737" fmla="*/ 1244453 w 4829175"/>
                <a:gd name="connsiteY737" fmla="*/ 3211568 h 6515100"/>
                <a:gd name="connsiteX738" fmla="*/ 978932 w 4829175"/>
                <a:gd name="connsiteY738" fmla="*/ 2946047 h 6515100"/>
                <a:gd name="connsiteX739" fmla="*/ 164902 w 4829175"/>
                <a:gd name="connsiteY739" fmla="*/ 2946047 h 6515100"/>
                <a:gd name="connsiteX740" fmla="*/ 436013 w 4829175"/>
                <a:gd name="connsiteY740" fmla="*/ 3215760 h 6515100"/>
                <a:gd name="connsiteX741" fmla="*/ 433217 w 4829175"/>
                <a:gd name="connsiteY741" fmla="*/ 3218555 h 6515100"/>
                <a:gd name="connsiteX742" fmla="*/ 343079 w 4829175"/>
                <a:gd name="connsiteY742" fmla="*/ 3309391 h 6515100"/>
                <a:gd name="connsiteX743" fmla="*/ 165601 w 4829175"/>
                <a:gd name="connsiteY743" fmla="*/ 3486871 h 6515100"/>
                <a:gd name="connsiteX744" fmla="*/ 429724 w 4829175"/>
                <a:gd name="connsiteY744" fmla="*/ 3486871 h 6515100"/>
                <a:gd name="connsiteX745" fmla="*/ 519162 w 4829175"/>
                <a:gd name="connsiteY745" fmla="*/ 3397432 h 6515100"/>
                <a:gd name="connsiteX746" fmla="*/ 700136 w 4829175"/>
                <a:gd name="connsiteY746" fmla="*/ 3216459 h 6515100"/>
                <a:gd name="connsiteX747" fmla="*/ 429025 w 4829175"/>
                <a:gd name="connsiteY747" fmla="*/ 2946047 h 6515100"/>
                <a:gd name="connsiteX748" fmla="*/ 2908151 w 4829175"/>
                <a:gd name="connsiteY748" fmla="*/ 2945348 h 6515100"/>
                <a:gd name="connsiteX749" fmla="*/ 3179262 w 4829175"/>
                <a:gd name="connsiteY749" fmla="*/ 3215760 h 6515100"/>
                <a:gd name="connsiteX750" fmla="*/ 2908850 w 4829175"/>
                <a:gd name="connsiteY750" fmla="*/ 3486871 h 6515100"/>
                <a:gd name="connsiteX751" fmla="*/ 3107292 w 4829175"/>
                <a:gd name="connsiteY751" fmla="*/ 3486871 h 6515100"/>
                <a:gd name="connsiteX752" fmla="*/ 3103798 w 4829175"/>
                <a:gd name="connsiteY752" fmla="*/ 3493858 h 6515100"/>
                <a:gd name="connsiteX753" fmla="*/ 2908850 w 4829175"/>
                <a:gd name="connsiteY753" fmla="*/ 3493858 h 6515100"/>
                <a:gd name="connsiteX754" fmla="*/ 3038815 w 4829175"/>
                <a:gd name="connsiteY754" fmla="*/ 3623824 h 6515100"/>
                <a:gd name="connsiteX755" fmla="*/ 3035322 w 4829175"/>
                <a:gd name="connsiteY755" fmla="*/ 3630811 h 6515100"/>
                <a:gd name="connsiteX756" fmla="*/ 2894875 w 4829175"/>
                <a:gd name="connsiteY756" fmla="*/ 3490365 h 6515100"/>
                <a:gd name="connsiteX757" fmla="*/ 3165287 w 4829175"/>
                <a:gd name="connsiteY757" fmla="*/ 3219255 h 6515100"/>
                <a:gd name="connsiteX758" fmla="*/ 2901164 w 4829175"/>
                <a:gd name="connsiteY758" fmla="*/ 3219255 h 6515100"/>
                <a:gd name="connsiteX759" fmla="*/ 2630752 w 4829175"/>
                <a:gd name="connsiteY759" fmla="*/ 3490365 h 6515100"/>
                <a:gd name="connsiteX760" fmla="*/ 2901863 w 4829175"/>
                <a:gd name="connsiteY760" fmla="*/ 3760776 h 6515100"/>
                <a:gd name="connsiteX761" fmla="*/ 2970339 w 4829175"/>
                <a:gd name="connsiteY761" fmla="*/ 3760776 h 6515100"/>
                <a:gd name="connsiteX762" fmla="*/ 2966846 w 4829175"/>
                <a:gd name="connsiteY762" fmla="*/ 3767764 h 6515100"/>
                <a:gd name="connsiteX763" fmla="*/ 2901863 w 4829175"/>
                <a:gd name="connsiteY763" fmla="*/ 3767764 h 6515100"/>
                <a:gd name="connsiteX764" fmla="*/ 2721588 w 4829175"/>
                <a:gd name="connsiteY764" fmla="*/ 3948738 h 6515100"/>
                <a:gd name="connsiteX765" fmla="*/ 2633317 w 4829175"/>
                <a:gd name="connsiteY765" fmla="*/ 4037700 h 6515100"/>
                <a:gd name="connsiteX766" fmla="*/ 2902751 w 4829175"/>
                <a:gd name="connsiteY766" fmla="*/ 4306440 h 6515100"/>
                <a:gd name="connsiteX767" fmla="*/ 3165477 w 4829175"/>
                <a:gd name="connsiteY767" fmla="*/ 4306440 h 6515100"/>
                <a:gd name="connsiteX768" fmla="*/ 3036210 w 4829175"/>
                <a:gd name="connsiteY768" fmla="*/ 4177174 h 6515100"/>
                <a:gd name="connsiteX769" fmla="*/ 3036909 w 4829175"/>
                <a:gd name="connsiteY769" fmla="*/ 4176475 h 6515100"/>
                <a:gd name="connsiteX770" fmla="*/ 2942163 w 4829175"/>
                <a:gd name="connsiteY770" fmla="*/ 4082197 h 6515100"/>
                <a:gd name="connsiteX771" fmla="*/ 2940992 w 4829175"/>
                <a:gd name="connsiteY771" fmla="*/ 4082197 h 6515100"/>
                <a:gd name="connsiteX772" fmla="*/ 2896273 w 4829175"/>
                <a:gd name="connsiteY772" fmla="*/ 4037478 h 6515100"/>
                <a:gd name="connsiteX773" fmla="*/ 2896745 w 4829175"/>
                <a:gd name="connsiteY773" fmla="*/ 4037005 h 6515100"/>
                <a:gd name="connsiteX774" fmla="*/ 2895764 w 4829175"/>
                <a:gd name="connsiteY774" fmla="*/ 4036028 h 6515100"/>
                <a:gd name="connsiteX775" fmla="*/ 3070448 w 4829175"/>
                <a:gd name="connsiteY775" fmla="*/ 3860644 h 6515100"/>
                <a:gd name="connsiteX776" fmla="*/ 3072651 w 4829175"/>
                <a:gd name="connsiteY776" fmla="*/ 3860644 h 6515100"/>
                <a:gd name="connsiteX777" fmla="*/ 3165986 w 4829175"/>
                <a:gd name="connsiteY777" fmla="*/ 3767066 h 6515100"/>
                <a:gd name="connsiteX778" fmla="*/ 2967543 w 4829175"/>
                <a:gd name="connsiteY778" fmla="*/ 3767066 h 6515100"/>
                <a:gd name="connsiteX779" fmla="*/ 2971038 w 4829175"/>
                <a:gd name="connsiteY779" fmla="*/ 3760078 h 6515100"/>
                <a:gd name="connsiteX780" fmla="*/ 3165986 w 4829175"/>
                <a:gd name="connsiteY780" fmla="*/ 3760078 h 6515100"/>
                <a:gd name="connsiteX781" fmla="*/ 3036021 w 4829175"/>
                <a:gd name="connsiteY781" fmla="*/ 3630113 h 6515100"/>
                <a:gd name="connsiteX782" fmla="*/ 3039514 w 4829175"/>
                <a:gd name="connsiteY782" fmla="*/ 3623126 h 6515100"/>
                <a:gd name="connsiteX783" fmla="*/ 3179961 w 4829175"/>
                <a:gd name="connsiteY783" fmla="*/ 3763572 h 6515100"/>
                <a:gd name="connsiteX784" fmla="*/ 2912388 w 4829175"/>
                <a:gd name="connsiteY784" fmla="*/ 4031836 h 6515100"/>
                <a:gd name="connsiteX785" fmla="*/ 3173163 w 4829175"/>
                <a:gd name="connsiteY785" fmla="*/ 4031836 h 6515100"/>
                <a:gd name="connsiteX786" fmla="*/ 3262601 w 4829175"/>
                <a:gd name="connsiteY786" fmla="*/ 3942397 h 6515100"/>
                <a:gd name="connsiteX787" fmla="*/ 3344354 w 4829175"/>
                <a:gd name="connsiteY787" fmla="*/ 3860644 h 6515100"/>
                <a:gd name="connsiteX788" fmla="*/ 3347262 w 4829175"/>
                <a:gd name="connsiteY788" fmla="*/ 3860644 h 6515100"/>
                <a:gd name="connsiteX789" fmla="*/ 3444084 w 4829175"/>
                <a:gd name="connsiteY789" fmla="*/ 3763572 h 6515100"/>
                <a:gd name="connsiteX790" fmla="*/ 3172973 w 4829175"/>
                <a:gd name="connsiteY790" fmla="*/ 3493858 h 6515100"/>
                <a:gd name="connsiteX791" fmla="*/ 3104497 w 4829175"/>
                <a:gd name="connsiteY791" fmla="*/ 3493858 h 6515100"/>
                <a:gd name="connsiteX792" fmla="*/ 3107990 w 4829175"/>
                <a:gd name="connsiteY792" fmla="*/ 3486871 h 6515100"/>
                <a:gd name="connsiteX793" fmla="*/ 3172973 w 4829175"/>
                <a:gd name="connsiteY793" fmla="*/ 3486871 h 6515100"/>
                <a:gd name="connsiteX794" fmla="*/ 3443385 w 4829175"/>
                <a:gd name="connsiteY794" fmla="*/ 3215760 h 6515100"/>
                <a:gd name="connsiteX795" fmla="*/ 3309227 w 4829175"/>
                <a:gd name="connsiteY795" fmla="*/ 3082301 h 6515100"/>
                <a:gd name="connsiteX796" fmla="*/ 3172275 w 4829175"/>
                <a:gd name="connsiteY796" fmla="*/ 2945348 h 6515100"/>
                <a:gd name="connsiteX797" fmla="*/ 1811829 w 4829175"/>
                <a:gd name="connsiteY797" fmla="*/ 2944649 h 6515100"/>
                <a:gd name="connsiteX798" fmla="*/ 1941795 w 4829175"/>
                <a:gd name="connsiteY798" fmla="*/ 3074615 h 6515100"/>
                <a:gd name="connsiteX799" fmla="*/ 2082940 w 4829175"/>
                <a:gd name="connsiteY799" fmla="*/ 3215061 h 6515100"/>
                <a:gd name="connsiteX800" fmla="*/ 1812528 w 4829175"/>
                <a:gd name="connsiteY800" fmla="*/ 3486172 h 6515100"/>
                <a:gd name="connsiteX801" fmla="*/ 2076652 w 4829175"/>
                <a:gd name="connsiteY801" fmla="*/ 3486172 h 6515100"/>
                <a:gd name="connsiteX802" fmla="*/ 2347064 w 4829175"/>
                <a:gd name="connsiteY802" fmla="*/ 3215061 h 6515100"/>
                <a:gd name="connsiteX803" fmla="*/ 2075953 w 4829175"/>
                <a:gd name="connsiteY803" fmla="*/ 2944649 h 6515100"/>
                <a:gd name="connsiteX804" fmla="*/ 2360340 w 4829175"/>
                <a:gd name="connsiteY804" fmla="*/ 2943952 h 6515100"/>
                <a:gd name="connsiteX805" fmla="*/ 2631451 w 4829175"/>
                <a:gd name="connsiteY805" fmla="*/ 3214364 h 6515100"/>
                <a:gd name="connsiteX806" fmla="*/ 2361039 w 4829175"/>
                <a:gd name="connsiteY806" fmla="*/ 3485473 h 6515100"/>
                <a:gd name="connsiteX807" fmla="*/ 2625162 w 4829175"/>
                <a:gd name="connsiteY807" fmla="*/ 3485473 h 6515100"/>
                <a:gd name="connsiteX808" fmla="*/ 2895574 w 4829175"/>
                <a:gd name="connsiteY808" fmla="*/ 3214364 h 6515100"/>
                <a:gd name="connsiteX809" fmla="*/ 2624463 w 4829175"/>
                <a:gd name="connsiteY809" fmla="*/ 2943952 h 6515100"/>
                <a:gd name="connsiteX810" fmla="*/ 4005871 w 4829175"/>
                <a:gd name="connsiteY810" fmla="*/ 2943253 h 6515100"/>
                <a:gd name="connsiteX811" fmla="*/ 4275584 w 4829175"/>
                <a:gd name="connsiteY811" fmla="*/ 3212267 h 6515100"/>
                <a:gd name="connsiteX812" fmla="*/ 4272789 w 4829175"/>
                <a:gd name="connsiteY812" fmla="*/ 3215061 h 6515100"/>
                <a:gd name="connsiteX813" fmla="*/ 4182652 w 4829175"/>
                <a:gd name="connsiteY813" fmla="*/ 3305898 h 6515100"/>
                <a:gd name="connsiteX814" fmla="*/ 4181952 w 4829175"/>
                <a:gd name="connsiteY814" fmla="*/ 3305898 h 6515100"/>
                <a:gd name="connsiteX815" fmla="*/ 4005172 w 4829175"/>
                <a:gd name="connsiteY815" fmla="*/ 3483378 h 6515100"/>
                <a:gd name="connsiteX816" fmla="*/ 4269295 w 4829175"/>
                <a:gd name="connsiteY816" fmla="*/ 3483378 h 6515100"/>
                <a:gd name="connsiteX817" fmla="*/ 4358734 w 4829175"/>
                <a:gd name="connsiteY817" fmla="*/ 3393939 h 6515100"/>
                <a:gd name="connsiteX818" fmla="*/ 4359432 w 4829175"/>
                <a:gd name="connsiteY818" fmla="*/ 3393939 h 6515100"/>
                <a:gd name="connsiteX819" fmla="*/ 4541105 w 4829175"/>
                <a:gd name="connsiteY819" fmla="*/ 3213665 h 6515100"/>
                <a:gd name="connsiteX820" fmla="*/ 4269994 w 4829175"/>
                <a:gd name="connsiteY820" fmla="*/ 2943253 h 6515100"/>
                <a:gd name="connsiteX821" fmla="*/ 3457360 w 4829175"/>
                <a:gd name="connsiteY821" fmla="*/ 2943253 h 6515100"/>
                <a:gd name="connsiteX822" fmla="*/ 3458059 w 4829175"/>
                <a:gd name="connsiteY822" fmla="*/ 2943952 h 6515100"/>
                <a:gd name="connsiteX823" fmla="*/ 3458758 w 4829175"/>
                <a:gd name="connsiteY823" fmla="*/ 2943952 h 6515100"/>
                <a:gd name="connsiteX824" fmla="*/ 3727772 w 4829175"/>
                <a:gd name="connsiteY824" fmla="*/ 3212966 h 6515100"/>
                <a:gd name="connsiteX825" fmla="*/ 3457360 w 4829175"/>
                <a:gd name="connsiteY825" fmla="*/ 3484077 h 6515100"/>
                <a:gd name="connsiteX826" fmla="*/ 3721484 w 4829175"/>
                <a:gd name="connsiteY826" fmla="*/ 3484077 h 6515100"/>
                <a:gd name="connsiteX827" fmla="*/ 3991896 w 4829175"/>
                <a:gd name="connsiteY827" fmla="*/ 3213665 h 6515100"/>
                <a:gd name="connsiteX828" fmla="*/ 3987005 w 4829175"/>
                <a:gd name="connsiteY828" fmla="*/ 3208074 h 6515100"/>
                <a:gd name="connsiteX829" fmla="*/ 3721484 w 4829175"/>
                <a:gd name="connsiteY829" fmla="*/ 2943253 h 6515100"/>
                <a:gd name="connsiteX830" fmla="*/ 1255633 w 4829175"/>
                <a:gd name="connsiteY830" fmla="*/ 2671443 h 6515100"/>
                <a:gd name="connsiteX831" fmla="*/ 985221 w 4829175"/>
                <a:gd name="connsiteY831" fmla="*/ 2942554 h 6515100"/>
                <a:gd name="connsiteX832" fmla="*/ 1256332 w 4829175"/>
                <a:gd name="connsiteY832" fmla="*/ 3212966 h 6515100"/>
                <a:gd name="connsiteX833" fmla="*/ 1520455 w 4829175"/>
                <a:gd name="connsiteY833" fmla="*/ 3212966 h 6515100"/>
                <a:gd name="connsiteX834" fmla="*/ 1249344 w 4829175"/>
                <a:gd name="connsiteY834" fmla="*/ 2942554 h 6515100"/>
                <a:gd name="connsiteX835" fmla="*/ 1519757 w 4829175"/>
                <a:gd name="connsiteY835" fmla="*/ 2671443 h 6515100"/>
                <a:gd name="connsiteX836" fmla="*/ 1804143 w 4829175"/>
                <a:gd name="connsiteY836" fmla="*/ 2670744 h 6515100"/>
                <a:gd name="connsiteX837" fmla="*/ 1533731 w 4829175"/>
                <a:gd name="connsiteY837" fmla="*/ 2941855 h 6515100"/>
                <a:gd name="connsiteX838" fmla="*/ 1805541 w 4829175"/>
                <a:gd name="connsiteY838" fmla="*/ 3212267 h 6515100"/>
                <a:gd name="connsiteX839" fmla="*/ 2068965 w 4829175"/>
                <a:gd name="connsiteY839" fmla="*/ 3212267 h 6515100"/>
                <a:gd name="connsiteX840" fmla="*/ 1938301 w 4829175"/>
                <a:gd name="connsiteY840" fmla="*/ 3082301 h 6515100"/>
                <a:gd name="connsiteX841" fmla="*/ 1797854 w 4829175"/>
                <a:gd name="connsiteY841" fmla="*/ 2941855 h 6515100"/>
                <a:gd name="connsiteX842" fmla="*/ 2068266 w 4829175"/>
                <a:gd name="connsiteY842" fmla="*/ 2670744 h 6515100"/>
                <a:gd name="connsiteX843" fmla="*/ 705027 w 4829175"/>
                <a:gd name="connsiteY843" fmla="*/ 2670744 h 6515100"/>
                <a:gd name="connsiteX844" fmla="*/ 434615 w 4829175"/>
                <a:gd name="connsiteY844" fmla="*/ 2941855 h 6515100"/>
                <a:gd name="connsiteX845" fmla="*/ 705726 w 4829175"/>
                <a:gd name="connsiteY845" fmla="*/ 3212267 h 6515100"/>
                <a:gd name="connsiteX846" fmla="*/ 774202 w 4829175"/>
                <a:gd name="connsiteY846" fmla="*/ 3212267 h 6515100"/>
                <a:gd name="connsiteX847" fmla="*/ 773503 w 4829175"/>
                <a:gd name="connsiteY847" fmla="*/ 3213665 h 6515100"/>
                <a:gd name="connsiteX848" fmla="*/ 971247 w 4829175"/>
                <a:gd name="connsiteY848" fmla="*/ 3213665 h 6515100"/>
                <a:gd name="connsiteX849" fmla="*/ 839884 w 4829175"/>
                <a:gd name="connsiteY849" fmla="*/ 3082301 h 6515100"/>
                <a:gd name="connsiteX850" fmla="*/ 699437 w 4829175"/>
                <a:gd name="connsiteY850" fmla="*/ 2941855 h 6515100"/>
                <a:gd name="connsiteX851" fmla="*/ 968451 w 4829175"/>
                <a:gd name="connsiteY851" fmla="*/ 2672142 h 6515100"/>
                <a:gd name="connsiteX852" fmla="*/ 772105 w 4829175"/>
                <a:gd name="connsiteY852" fmla="*/ 2672142 h 6515100"/>
                <a:gd name="connsiteX853" fmla="*/ 772804 w 4829175"/>
                <a:gd name="connsiteY853" fmla="*/ 2670744 h 6515100"/>
                <a:gd name="connsiteX854" fmla="*/ 2352653 w 4829175"/>
                <a:gd name="connsiteY854" fmla="*/ 2670045 h 6515100"/>
                <a:gd name="connsiteX855" fmla="*/ 2082241 w 4829175"/>
                <a:gd name="connsiteY855" fmla="*/ 2941156 h 6515100"/>
                <a:gd name="connsiteX856" fmla="*/ 2353352 w 4829175"/>
                <a:gd name="connsiteY856" fmla="*/ 3211568 h 6515100"/>
                <a:gd name="connsiteX857" fmla="*/ 2617476 w 4829175"/>
                <a:gd name="connsiteY857" fmla="*/ 3211568 h 6515100"/>
                <a:gd name="connsiteX858" fmla="*/ 2346365 w 4829175"/>
                <a:gd name="connsiteY858" fmla="*/ 2941156 h 6515100"/>
                <a:gd name="connsiteX859" fmla="*/ 2616777 w 4829175"/>
                <a:gd name="connsiteY859" fmla="*/ 2670045 h 6515100"/>
                <a:gd name="connsiteX860" fmla="*/ 3998184 w 4829175"/>
                <a:gd name="connsiteY860" fmla="*/ 2667949 h 6515100"/>
                <a:gd name="connsiteX861" fmla="*/ 3727772 w 4829175"/>
                <a:gd name="connsiteY861" fmla="*/ 2939060 h 6515100"/>
                <a:gd name="connsiteX862" fmla="*/ 3998883 w 4829175"/>
                <a:gd name="connsiteY862" fmla="*/ 3209471 h 6515100"/>
                <a:gd name="connsiteX863" fmla="*/ 4263007 w 4829175"/>
                <a:gd name="connsiteY863" fmla="*/ 3209471 h 6515100"/>
                <a:gd name="connsiteX864" fmla="*/ 3991896 w 4829175"/>
                <a:gd name="connsiteY864" fmla="*/ 2939060 h 6515100"/>
                <a:gd name="connsiteX865" fmla="*/ 4262308 w 4829175"/>
                <a:gd name="connsiteY865" fmla="*/ 2667949 h 6515100"/>
                <a:gd name="connsiteX866" fmla="*/ 4546695 w 4829175"/>
                <a:gd name="connsiteY866" fmla="*/ 2667250 h 6515100"/>
                <a:gd name="connsiteX867" fmla="*/ 4276282 w 4829175"/>
                <a:gd name="connsiteY867" fmla="*/ 2938360 h 6515100"/>
                <a:gd name="connsiteX868" fmla="*/ 4547394 w 4829175"/>
                <a:gd name="connsiteY868" fmla="*/ 3208772 h 6515100"/>
                <a:gd name="connsiteX869" fmla="*/ 4810818 w 4829175"/>
                <a:gd name="connsiteY869" fmla="*/ 3208772 h 6515100"/>
                <a:gd name="connsiteX870" fmla="*/ 4680852 w 4829175"/>
                <a:gd name="connsiteY870" fmla="*/ 3078808 h 6515100"/>
                <a:gd name="connsiteX871" fmla="*/ 4540406 w 4829175"/>
                <a:gd name="connsiteY871" fmla="*/ 2938360 h 6515100"/>
                <a:gd name="connsiteX872" fmla="*/ 4810818 w 4829175"/>
                <a:gd name="connsiteY872" fmla="*/ 2667250 h 6515100"/>
                <a:gd name="connsiteX873" fmla="*/ 164203 w 4829175"/>
                <a:gd name="connsiteY873" fmla="*/ 2397537 h 6515100"/>
                <a:gd name="connsiteX874" fmla="*/ 435314 w 4829175"/>
                <a:gd name="connsiteY874" fmla="*/ 2667949 h 6515100"/>
                <a:gd name="connsiteX875" fmla="*/ 164902 w 4829175"/>
                <a:gd name="connsiteY875" fmla="*/ 2939060 h 6515100"/>
                <a:gd name="connsiteX876" fmla="*/ 429025 w 4829175"/>
                <a:gd name="connsiteY876" fmla="*/ 2939060 h 6515100"/>
                <a:gd name="connsiteX877" fmla="*/ 699437 w 4829175"/>
                <a:gd name="connsiteY877" fmla="*/ 2667949 h 6515100"/>
                <a:gd name="connsiteX878" fmla="*/ 428326 w 4829175"/>
                <a:gd name="connsiteY878" fmla="*/ 2397537 h 6515100"/>
                <a:gd name="connsiteX879" fmla="*/ 1811131 w 4829175"/>
                <a:gd name="connsiteY879" fmla="*/ 2396838 h 6515100"/>
                <a:gd name="connsiteX880" fmla="*/ 2082940 w 4829175"/>
                <a:gd name="connsiteY880" fmla="*/ 2667250 h 6515100"/>
                <a:gd name="connsiteX881" fmla="*/ 1812528 w 4829175"/>
                <a:gd name="connsiteY881" fmla="*/ 2938360 h 6515100"/>
                <a:gd name="connsiteX882" fmla="*/ 2075953 w 4829175"/>
                <a:gd name="connsiteY882" fmla="*/ 2938360 h 6515100"/>
                <a:gd name="connsiteX883" fmla="*/ 2346365 w 4829175"/>
                <a:gd name="connsiteY883" fmla="*/ 2667250 h 6515100"/>
                <a:gd name="connsiteX884" fmla="*/ 2212208 w 4829175"/>
                <a:gd name="connsiteY884" fmla="*/ 2533791 h 6515100"/>
                <a:gd name="connsiteX885" fmla="*/ 2075254 w 4829175"/>
                <a:gd name="connsiteY885" fmla="*/ 2396838 h 6515100"/>
                <a:gd name="connsiteX886" fmla="*/ 1262620 w 4829175"/>
                <a:gd name="connsiteY886" fmla="*/ 2396838 h 6515100"/>
                <a:gd name="connsiteX887" fmla="*/ 1533731 w 4829175"/>
                <a:gd name="connsiteY887" fmla="*/ 2667250 h 6515100"/>
                <a:gd name="connsiteX888" fmla="*/ 1263319 w 4829175"/>
                <a:gd name="connsiteY888" fmla="*/ 2938360 h 6515100"/>
                <a:gd name="connsiteX889" fmla="*/ 1527442 w 4829175"/>
                <a:gd name="connsiteY889" fmla="*/ 2938360 h 6515100"/>
                <a:gd name="connsiteX890" fmla="*/ 1797854 w 4829175"/>
                <a:gd name="connsiteY890" fmla="*/ 2667250 h 6515100"/>
                <a:gd name="connsiteX891" fmla="*/ 1526744 w 4829175"/>
                <a:gd name="connsiteY891" fmla="*/ 2396838 h 6515100"/>
                <a:gd name="connsiteX892" fmla="*/ 2359641 w 4829175"/>
                <a:gd name="connsiteY892" fmla="*/ 2396139 h 6515100"/>
                <a:gd name="connsiteX893" fmla="*/ 2361039 w 4829175"/>
                <a:gd name="connsiteY893" fmla="*/ 2397537 h 6515100"/>
                <a:gd name="connsiteX894" fmla="*/ 2629354 w 4829175"/>
                <a:gd name="connsiteY894" fmla="*/ 2665853 h 6515100"/>
                <a:gd name="connsiteX895" fmla="*/ 2358942 w 4829175"/>
                <a:gd name="connsiteY895" fmla="*/ 2936964 h 6515100"/>
                <a:gd name="connsiteX896" fmla="*/ 2623065 w 4829175"/>
                <a:gd name="connsiteY896" fmla="*/ 2936964 h 6515100"/>
                <a:gd name="connsiteX897" fmla="*/ 2893477 w 4829175"/>
                <a:gd name="connsiteY897" fmla="*/ 2665853 h 6515100"/>
                <a:gd name="connsiteX898" fmla="*/ 2888586 w 4829175"/>
                <a:gd name="connsiteY898" fmla="*/ 2660962 h 6515100"/>
                <a:gd name="connsiteX899" fmla="*/ 2906055 w 4829175"/>
                <a:gd name="connsiteY899" fmla="*/ 2669346 h 6515100"/>
                <a:gd name="connsiteX900" fmla="*/ 2900465 w 4829175"/>
                <a:gd name="connsiteY900" fmla="*/ 2669346 h 6515100"/>
                <a:gd name="connsiteX901" fmla="*/ 2630053 w 4829175"/>
                <a:gd name="connsiteY901" fmla="*/ 2940457 h 6515100"/>
                <a:gd name="connsiteX902" fmla="*/ 2901164 w 4829175"/>
                <a:gd name="connsiteY902" fmla="*/ 3210869 h 6515100"/>
                <a:gd name="connsiteX903" fmla="*/ 3165287 w 4829175"/>
                <a:gd name="connsiteY903" fmla="*/ 3210869 h 6515100"/>
                <a:gd name="connsiteX904" fmla="*/ 2894875 w 4829175"/>
                <a:gd name="connsiteY904" fmla="*/ 2939758 h 6515100"/>
                <a:gd name="connsiteX905" fmla="*/ 3079343 w 4829175"/>
                <a:gd name="connsiteY905" fmla="*/ 2755292 h 6515100"/>
                <a:gd name="connsiteX906" fmla="*/ 3165287 w 4829175"/>
                <a:gd name="connsiteY906" fmla="*/ 2669346 h 6515100"/>
                <a:gd name="connsiteX907" fmla="*/ 2906754 w 4829175"/>
                <a:gd name="connsiteY907" fmla="*/ 2669346 h 6515100"/>
                <a:gd name="connsiteX908" fmla="*/ 2889285 w 4829175"/>
                <a:gd name="connsiteY908" fmla="*/ 2660962 h 6515100"/>
                <a:gd name="connsiteX909" fmla="*/ 2623764 w 4829175"/>
                <a:gd name="connsiteY909" fmla="*/ 2396139 h 6515100"/>
                <a:gd name="connsiteX910" fmla="*/ 713412 w 4829175"/>
                <a:gd name="connsiteY910" fmla="*/ 2396139 h 6515100"/>
                <a:gd name="connsiteX911" fmla="*/ 844775 w 4829175"/>
                <a:gd name="connsiteY911" fmla="*/ 2527503 h 6515100"/>
                <a:gd name="connsiteX912" fmla="*/ 985221 w 4829175"/>
                <a:gd name="connsiteY912" fmla="*/ 2667949 h 6515100"/>
                <a:gd name="connsiteX913" fmla="*/ 716206 w 4829175"/>
                <a:gd name="connsiteY913" fmla="*/ 2937662 h 6515100"/>
                <a:gd name="connsiteX914" fmla="*/ 912552 w 4829175"/>
                <a:gd name="connsiteY914" fmla="*/ 2937662 h 6515100"/>
                <a:gd name="connsiteX915" fmla="*/ 911853 w 4829175"/>
                <a:gd name="connsiteY915" fmla="*/ 2939060 h 6515100"/>
                <a:gd name="connsiteX916" fmla="*/ 978932 w 4829175"/>
                <a:gd name="connsiteY916" fmla="*/ 2939060 h 6515100"/>
                <a:gd name="connsiteX917" fmla="*/ 1248646 w 4829175"/>
                <a:gd name="connsiteY917" fmla="*/ 2667949 h 6515100"/>
                <a:gd name="connsiteX918" fmla="*/ 1113090 w 4829175"/>
                <a:gd name="connsiteY918" fmla="*/ 2533092 h 6515100"/>
                <a:gd name="connsiteX919" fmla="*/ 1094923 w 4829175"/>
                <a:gd name="connsiteY919" fmla="*/ 2514926 h 6515100"/>
                <a:gd name="connsiteX920" fmla="*/ 977535 w 4829175"/>
                <a:gd name="connsiteY920" fmla="*/ 2398236 h 6515100"/>
                <a:gd name="connsiteX921" fmla="*/ 909058 w 4829175"/>
                <a:gd name="connsiteY921" fmla="*/ 2398236 h 6515100"/>
                <a:gd name="connsiteX922" fmla="*/ 909757 w 4829175"/>
                <a:gd name="connsiteY922" fmla="*/ 2396838 h 6515100"/>
                <a:gd name="connsiteX923" fmla="*/ 2907452 w 4829175"/>
                <a:gd name="connsiteY923" fmla="*/ 2394742 h 6515100"/>
                <a:gd name="connsiteX924" fmla="*/ 3178563 w 4829175"/>
                <a:gd name="connsiteY924" fmla="*/ 2665154 h 6515100"/>
                <a:gd name="connsiteX925" fmla="*/ 3175769 w 4829175"/>
                <a:gd name="connsiteY925" fmla="*/ 2667949 h 6515100"/>
                <a:gd name="connsiteX926" fmla="*/ 3085631 w 4829175"/>
                <a:gd name="connsiteY926" fmla="*/ 2758785 h 6515100"/>
                <a:gd name="connsiteX927" fmla="*/ 2908151 w 4829175"/>
                <a:gd name="connsiteY927" fmla="*/ 2936265 h 6515100"/>
                <a:gd name="connsiteX928" fmla="*/ 3172275 w 4829175"/>
                <a:gd name="connsiteY928" fmla="*/ 2936265 h 6515100"/>
                <a:gd name="connsiteX929" fmla="*/ 3262412 w 4829175"/>
                <a:gd name="connsiteY929" fmla="*/ 2846826 h 6515100"/>
                <a:gd name="connsiteX930" fmla="*/ 3442687 w 4829175"/>
                <a:gd name="connsiteY930" fmla="*/ 2665154 h 6515100"/>
                <a:gd name="connsiteX931" fmla="*/ 3171576 w 4829175"/>
                <a:gd name="connsiteY931" fmla="*/ 2394742 h 6515100"/>
                <a:gd name="connsiteX932" fmla="*/ 4004473 w 4829175"/>
                <a:gd name="connsiteY932" fmla="*/ 2394044 h 6515100"/>
                <a:gd name="connsiteX933" fmla="*/ 4275584 w 4829175"/>
                <a:gd name="connsiteY933" fmla="*/ 2663757 h 6515100"/>
                <a:gd name="connsiteX934" fmla="*/ 4005172 w 4829175"/>
                <a:gd name="connsiteY934" fmla="*/ 2934868 h 6515100"/>
                <a:gd name="connsiteX935" fmla="*/ 4269295 w 4829175"/>
                <a:gd name="connsiteY935" fmla="*/ 2934868 h 6515100"/>
                <a:gd name="connsiteX936" fmla="*/ 4539707 w 4829175"/>
                <a:gd name="connsiteY936" fmla="*/ 2664456 h 6515100"/>
                <a:gd name="connsiteX937" fmla="*/ 4268597 w 4829175"/>
                <a:gd name="connsiteY937" fmla="*/ 2394044 h 6515100"/>
                <a:gd name="connsiteX938" fmla="*/ 1255633 w 4829175"/>
                <a:gd name="connsiteY938" fmla="*/ 2122933 h 6515100"/>
                <a:gd name="connsiteX939" fmla="*/ 985221 w 4829175"/>
                <a:gd name="connsiteY939" fmla="*/ 2394044 h 6515100"/>
                <a:gd name="connsiteX940" fmla="*/ 1117282 w 4829175"/>
                <a:gd name="connsiteY940" fmla="*/ 2526105 h 6515100"/>
                <a:gd name="connsiteX941" fmla="*/ 1255633 w 4829175"/>
                <a:gd name="connsiteY941" fmla="*/ 2664456 h 6515100"/>
                <a:gd name="connsiteX942" fmla="*/ 1519757 w 4829175"/>
                <a:gd name="connsiteY942" fmla="*/ 2664456 h 6515100"/>
                <a:gd name="connsiteX943" fmla="*/ 1248646 w 4829175"/>
                <a:gd name="connsiteY943" fmla="*/ 2394044 h 6515100"/>
                <a:gd name="connsiteX944" fmla="*/ 1519757 w 4829175"/>
                <a:gd name="connsiteY944" fmla="*/ 2122933 h 6515100"/>
                <a:gd name="connsiteX945" fmla="*/ 2351955 w 4829175"/>
                <a:gd name="connsiteY945" fmla="*/ 2122234 h 6515100"/>
                <a:gd name="connsiteX946" fmla="*/ 2171680 w 4829175"/>
                <a:gd name="connsiteY946" fmla="*/ 2303207 h 6515100"/>
                <a:gd name="connsiteX947" fmla="*/ 2170981 w 4829175"/>
                <a:gd name="connsiteY947" fmla="*/ 2303207 h 6515100"/>
                <a:gd name="connsiteX948" fmla="*/ 2081543 w 4829175"/>
                <a:gd name="connsiteY948" fmla="*/ 2392646 h 6515100"/>
                <a:gd name="connsiteX949" fmla="*/ 2215701 w 4829175"/>
                <a:gd name="connsiteY949" fmla="*/ 2526804 h 6515100"/>
                <a:gd name="connsiteX950" fmla="*/ 2352653 w 4829175"/>
                <a:gd name="connsiteY950" fmla="*/ 2663058 h 6515100"/>
                <a:gd name="connsiteX951" fmla="*/ 2616078 w 4829175"/>
                <a:gd name="connsiteY951" fmla="*/ 2663058 h 6515100"/>
                <a:gd name="connsiteX952" fmla="*/ 2344968 w 4829175"/>
                <a:gd name="connsiteY952" fmla="*/ 2392646 h 6515100"/>
                <a:gd name="connsiteX953" fmla="*/ 2346365 w 4829175"/>
                <a:gd name="connsiteY953" fmla="*/ 2391248 h 6515100"/>
                <a:gd name="connsiteX954" fmla="*/ 2347064 w 4829175"/>
                <a:gd name="connsiteY954" fmla="*/ 2391248 h 6515100"/>
                <a:gd name="connsiteX955" fmla="*/ 2615379 w 4829175"/>
                <a:gd name="connsiteY955" fmla="*/ 2122234 h 6515100"/>
                <a:gd name="connsiteX956" fmla="*/ 1803445 w 4829175"/>
                <a:gd name="connsiteY956" fmla="*/ 2122234 h 6515100"/>
                <a:gd name="connsiteX957" fmla="*/ 1533032 w 4829175"/>
                <a:gd name="connsiteY957" fmla="*/ 2393345 h 6515100"/>
                <a:gd name="connsiteX958" fmla="*/ 1803445 w 4829175"/>
                <a:gd name="connsiteY958" fmla="*/ 2663058 h 6515100"/>
                <a:gd name="connsiteX959" fmla="*/ 2067568 w 4829175"/>
                <a:gd name="connsiteY959" fmla="*/ 2663058 h 6515100"/>
                <a:gd name="connsiteX960" fmla="*/ 1796458 w 4829175"/>
                <a:gd name="connsiteY960" fmla="*/ 2392646 h 6515100"/>
                <a:gd name="connsiteX961" fmla="*/ 1980924 w 4829175"/>
                <a:gd name="connsiteY961" fmla="*/ 2208178 h 6515100"/>
                <a:gd name="connsiteX962" fmla="*/ 1981623 w 4829175"/>
                <a:gd name="connsiteY962" fmla="*/ 2208178 h 6515100"/>
                <a:gd name="connsiteX963" fmla="*/ 2067568 w 4829175"/>
                <a:gd name="connsiteY963" fmla="*/ 2122234 h 6515100"/>
                <a:gd name="connsiteX964" fmla="*/ 2900465 w 4829175"/>
                <a:gd name="connsiteY964" fmla="*/ 2121535 h 6515100"/>
                <a:gd name="connsiteX965" fmla="*/ 2630053 w 4829175"/>
                <a:gd name="connsiteY965" fmla="*/ 2392646 h 6515100"/>
                <a:gd name="connsiteX966" fmla="*/ 2901164 w 4829175"/>
                <a:gd name="connsiteY966" fmla="*/ 2663058 h 6515100"/>
                <a:gd name="connsiteX967" fmla="*/ 3165287 w 4829175"/>
                <a:gd name="connsiteY967" fmla="*/ 2663058 h 6515100"/>
                <a:gd name="connsiteX968" fmla="*/ 2894176 w 4829175"/>
                <a:gd name="connsiteY968" fmla="*/ 2392646 h 6515100"/>
                <a:gd name="connsiteX969" fmla="*/ 3164588 w 4829175"/>
                <a:gd name="connsiteY969" fmla="*/ 2121535 h 6515100"/>
                <a:gd name="connsiteX970" fmla="*/ 3997486 w 4829175"/>
                <a:gd name="connsiteY970" fmla="*/ 2120137 h 6515100"/>
                <a:gd name="connsiteX971" fmla="*/ 3727074 w 4829175"/>
                <a:gd name="connsiteY971" fmla="*/ 2391248 h 6515100"/>
                <a:gd name="connsiteX972" fmla="*/ 3998184 w 4829175"/>
                <a:gd name="connsiteY972" fmla="*/ 2661660 h 6515100"/>
                <a:gd name="connsiteX973" fmla="*/ 4262308 w 4829175"/>
                <a:gd name="connsiteY973" fmla="*/ 2661660 h 6515100"/>
                <a:gd name="connsiteX974" fmla="*/ 3991197 w 4829175"/>
                <a:gd name="connsiteY974" fmla="*/ 2391248 h 6515100"/>
                <a:gd name="connsiteX975" fmla="*/ 4261609 w 4829175"/>
                <a:gd name="connsiteY975" fmla="*/ 2120137 h 6515100"/>
                <a:gd name="connsiteX976" fmla="*/ 4545996 w 4829175"/>
                <a:gd name="connsiteY976" fmla="*/ 2119439 h 6515100"/>
                <a:gd name="connsiteX977" fmla="*/ 4275584 w 4829175"/>
                <a:gd name="connsiteY977" fmla="*/ 2390549 h 6515100"/>
                <a:gd name="connsiteX978" fmla="*/ 4545996 w 4829175"/>
                <a:gd name="connsiteY978" fmla="*/ 2660263 h 6515100"/>
                <a:gd name="connsiteX979" fmla="*/ 4810119 w 4829175"/>
                <a:gd name="connsiteY979" fmla="*/ 2660263 h 6515100"/>
                <a:gd name="connsiteX980" fmla="*/ 4539009 w 4829175"/>
                <a:gd name="connsiteY980" fmla="*/ 2389851 h 6515100"/>
                <a:gd name="connsiteX981" fmla="*/ 4723476 w 4829175"/>
                <a:gd name="connsiteY981" fmla="*/ 2205384 h 6515100"/>
                <a:gd name="connsiteX982" fmla="*/ 4810119 w 4829175"/>
                <a:gd name="connsiteY982" fmla="*/ 2119439 h 6515100"/>
                <a:gd name="connsiteX983" fmla="*/ 1261921 w 4829175"/>
                <a:gd name="connsiteY983" fmla="*/ 1849027 h 6515100"/>
                <a:gd name="connsiteX984" fmla="*/ 1262620 w 4829175"/>
                <a:gd name="connsiteY984" fmla="*/ 1849725 h 6515100"/>
                <a:gd name="connsiteX985" fmla="*/ 1263319 w 4829175"/>
                <a:gd name="connsiteY985" fmla="*/ 1849725 h 6515100"/>
                <a:gd name="connsiteX986" fmla="*/ 1532333 w 4829175"/>
                <a:gd name="connsiteY986" fmla="*/ 2118740 h 6515100"/>
                <a:gd name="connsiteX987" fmla="*/ 1261921 w 4829175"/>
                <a:gd name="connsiteY987" fmla="*/ 2389851 h 6515100"/>
                <a:gd name="connsiteX988" fmla="*/ 1526046 w 4829175"/>
                <a:gd name="connsiteY988" fmla="*/ 2389851 h 6515100"/>
                <a:gd name="connsiteX989" fmla="*/ 1796458 w 4829175"/>
                <a:gd name="connsiteY989" fmla="*/ 2118740 h 6515100"/>
                <a:gd name="connsiteX990" fmla="*/ 1791566 w 4829175"/>
                <a:gd name="connsiteY990" fmla="*/ 2113849 h 6515100"/>
                <a:gd name="connsiteX991" fmla="*/ 1526046 w 4829175"/>
                <a:gd name="connsiteY991" fmla="*/ 1849027 h 6515100"/>
                <a:gd name="connsiteX992" fmla="*/ 164203 w 4829175"/>
                <a:gd name="connsiteY992" fmla="*/ 1849027 h 6515100"/>
                <a:gd name="connsiteX993" fmla="*/ 165601 w 4829175"/>
                <a:gd name="connsiteY993" fmla="*/ 1850424 h 6515100"/>
                <a:gd name="connsiteX994" fmla="*/ 434615 w 4829175"/>
                <a:gd name="connsiteY994" fmla="*/ 2119439 h 6515100"/>
                <a:gd name="connsiteX995" fmla="*/ 164203 w 4829175"/>
                <a:gd name="connsiteY995" fmla="*/ 2389152 h 6515100"/>
                <a:gd name="connsiteX996" fmla="*/ 428326 w 4829175"/>
                <a:gd name="connsiteY996" fmla="*/ 2389152 h 6515100"/>
                <a:gd name="connsiteX997" fmla="*/ 698738 w 4829175"/>
                <a:gd name="connsiteY997" fmla="*/ 2118042 h 6515100"/>
                <a:gd name="connsiteX998" fmla="*/ 695191 w 4829175"/>
                <a:gd name="connsiteY998" fmla="*/ 2114493 h 6515100"/>
                <a:gd name="connsiteX999" fmla="*/ 709860 w 4829175"/>
                <a:gd name="connsiteY999" fmla="*/ 2121535 h 6515100"/>
                <a:gd name="connsiteX1000" fmla="*/ 705726 w 4829175"/>
                <a:gd name="connsiteY1000" fmla="*/ 2121535 h 6515100"/>
                <a:gd name="connsiteX1001" fmla="*/ 435314 w 4829175"/>
                <a:gd name="connsiteY1001" fmla="*/ 2392646 h 6515100"/>
                <a:gd name="connsiteX1002" fmla="*/ 706425 w 4829175"/>
                <a:gd name="connsiteY1002" fmla="*/ 2663058 h 6515100"/>
                <a:gd name="connsiteX1003" fmla="*/ 970548 w 4829175"/>
                <a:gd name="connsiteY1003" fmla="*/ 2663058 h 6515100"/>
                <a:gd name="connsiteX1004" fmla="*/ 699437 w 4829175"/>
                <a:gd name="connsiteY1004" fmla="*/ 2392646 h 6515100"/>
                <a:gd name="connsiteX1005" fmla="*/ 883903 w 4829175"/>
                <a:gd name="connsiteY1005" fmla="*/ 2208178 h 6515100"/>
                <a:gd name="connsiteX1006" fmla="*/ 969849 w 4829175"/>
                <a:gd name="connsiteY1006" fmla="*/ 2122234 h 6515100"/>
                <a:gd name="connsiteX1007" fmla="*/ 711316 w 4829175"/>
                <a:gd name="connsiteY1007" fmla="*/ 2122234 h 6515100"/>
                <a:gd name="connsiteX1008" fmla="*/ 709860 w 4829175"/>
                <a:gd name="connsiteY1008" fmla="*/ 2121535 h 6515100"/>
                <a:gd name="connsiteX1009" fmla="*/ 711316 w 4829175"/>
                <a:gd name="connsiteY1009" fmla="*/ 2121535 h 6515100"/>
                <a:gd name="connsiteX1010" fmla="*/ 693847 w 4829175"/>
                <a:gd name="connsiteY1010" fmla="*/ 2113150 h 6515100"/>
                <a:gd name="connsiteX1011" fmla="*/ 695191 w 4829175"/>
                <a:gd name="connsiteY1011" fmla="*/ 2114493 h 6515100"/>
                <a:gd name="connsiteX1012" fmla="*/ 693847 w 4829175"/>
                <a:gd name="connsiteY1012" fmla="*/ 2113849 h 6515100"/>
                <a:gd name="connsiteX1013" fmla="*/ 428326 w 4829175"/>
                <a:gd name="connsiteY1013" fmla="*/ 1849027 h 6515100"/>
                <a:gd name="connsiteX1014" fmla="*/ 712014 w 4829175"/>
                <a:gd name="connsiteY1014" fmla="*/ 1848328 h 6515100"/>
                <a:gd name="connsiteX1015" fmla="*/ 983125 w 4829175"/>
                <a:gd name="connsiteY1015" fmla="*/ 2118042 h 6515100"/>
                <a:gd name="connsiteX1016" fmla="*/ 980330 w 4829175"/>
                <a:gd name="connsiteY1016" fmla="*/ 2120836 h 6515100"/>
                <a:gd name="connsiteX1017" fmla="*/ 890192 w 4829175"/>
                <a:gd name="connsiteY1017" fmla="*/ 2211673 h 6515100"/>
                <a:gd name="connsiteX1018" fmla="*/ 712713 w 4829175"/>
                <a:gd name="connsiteY1018" fmla="*/ 2389152 h 6515100"/>
                <a:gd name="connsiteX1019" fmla="*/ 976837 w 4829175"/>
                <a:gd name="connsiteY1019" fmla="*/ 2389152 h 6515100"/>
                <a:gd name="connsiteX1020" fmla="*/ 1066275 w 4829175"/>
                <a:gd name="connsiteY1020" fmla="*/ 2299714 h 6515100"/>
                <a:gd name="connsiteX1021" fmla="*/ 1247249 w 4829175"/>
                <a:gd name="connsiteY1021" fmla="*/ 2118740 h 6515100"/>
                <a:gd name="connsiteX1022" fmla="*/ 1114488 w 4829175"/>
                <a:gd name="connsiteY1022" fmla="*/ 1986679 h 6515100"/>
                <a:gd name="connsiteX1023" fmla="*/ 976138 w 4829175"/>
                <a:gd name="connsiteY1023" fmla="*/ 1848328 h 6515100"/>
                <a:gd name="connsiteX1024" fmla="*/ 2359641 w 4829175"/>
                <a:gd name="connsiteY1024" fmla="*/ 1847630 h 6515100"/>
                <a:gd name="connsiteX1025" fmla="*/ 2489606 w 4829175"/>
                <a:gd name="connsiteY1025" fmla="*/ 1977595 h 6515100"/>
                <a:gd name="connsiteX1026" fmla="*/ 2630053 w 4829175"/>
                <a:gd name="connsiteY1026" fmla="*/ 2118042 h 6515100"/>
                <a:gd name="connsiteX1027" fmla="*/ 2359641 w 4829175"/>
                <a:gd name="connsiteY1027" fmla="*/ 2389152 h 6515100"/>
                <a:gd name="connsiteX1028" fmla="*/ 2623764 w 4829175"/>
                <a:gd name="connsiteY1028" fmla="*/ 2389152 h 6515100"/>
                <a:gd name="connsiteX1029" fmla="*/ 2894176 w 4829175"/>
                <a:gd name="connsiteY1029" fmla="*/ 2118042 h 6515100"/>
                <a:gd name="connsiteX1030" fmla="*/ 2623065 w 4829175"/>
                <a:gd name="connsiteY1030" fmla="*/ 1847630 h 6515100"/>
                <a:gd name="connsiteX1031" fmla="*/ 1810432 w 4829175"/>
                <a:gd name="connsiteY1031" fmla="*/ 1847630 h 6515100"/>
                <a:gd name="connsiteX1032" fmla="*/ 2081543 w 4829175"/>
                <a:gd name="connsiteY1032" fmla="*/ 2118042 h 6515100"/>
                <a:gd name="connsiteX1033" fmla="*/ 2078748 w 4829175"/>
                <a:gd name="connsiteY1033" fmla="*/ 2120836 h 6515100"/>
                <a:gd name="connsiteX1034" fmla="*/ 1988611 w 4829175"/>
                <a:gd name="connsiteY1034" fmla="*/ 2211673 h 6515100"/>
                <a:gd name="connsiteX1035" fmla="*/ 1987912 w 4829175"/>
                <a:gd name="connsiteY1035" fmla="*/ 2211673 h 6515100"/>
                <a:gd name="connsiteX1036" fmla="*/ 1811131 w 4829175"/>
                <a:gd name="connsiteY1036" fmla="*/ 2389152 h 6515100"/>
                <a:gd name="connsiteX1037" fmla="*/ 2074555 w 4829175"/>
                <a:gd name="connsiteY1037" fmla="*/ 2388454 h 6515100"/>
                <a:gd name="connsiteX1038" fmla="*/ 2163994 w 4829175"/>
                <a:gd name="connsiteY1038" fmla="*/ 2299015 h 6515100"/>
                <a:gd name="connsiteX1039" fmla="*/ 2164693 w 4829175"/>
                <a:gd name="connsiteY1039" fmla="*/ 2299015 h 6515100"/>
                <a:gd name="connsiteX1040" fmla="*/ 2345666 w 4829175"/>
                <a:gd name="connsiteY1040" fmla="*/ 2118042 h 6515100"/>
                <a:gd name="connsiteX1041" fmla="*/ 2074555 w 4829175"/>
                <a:gd name="connsiteY1041" fmla="*/ 1847630 h 6515100"/>
                <a:gd name="connsiteX1042" fmla="*/ 2907452 w 4829175"/>
                <a:gd name="connsiteY1042" fmla="*/ 1846931 h 6515100"/>
                <a:gd name="connsiteX1043" fmla="*/ 3178563 w 4829175"/>
                <a:gd name="connsiteY1043" fmla="*/ 2117343 h 6515100"/>
                <a:gd name="connsiteX1044" fmla="*/ 2908151 w 4829175"/>
                <a:gd name="connsiteY1044" fmla="*/ 2388454 h 6515100"/>
                <a:gd name="connsiteX1045" fmla="*/ 3172275 w 4829175"/>
                <a:gd name="connsiteY1045" fmla="*/ 2388454 h 6515100"/>
                <a:gd name="connsiteX1046" fmla="*/ 3442687 w 4829175"/>
                <a:gd name="connsiteY1046" fmla="*/ 2117343 h 6515100"/>
                <a:gd name="connsiteX1047" fmla="*/ 3171576 w 4829175"/>
                <a:gd name="connsiteY1047" fmla="*/ 1846931 h 6515100"/>
                <a:gd name="connsiteX1048" fmla="*/ 4004473 w 4829175"/>
                <a:gd name="connsiteY1048" fmla="*/ 1844834 h 6515100"/>
                <a:gd name="connsiteX1049" fmla="*/ 4005871 w 4829175"/>
                <a:gd name="connsiteY1049" fmla="*/ 1846232 h 6515100"/>
                <a:gd name="connsiteX1050" fmla="*/ 4274885 w 4829175"/>
                <a:gd name="connsiteY1050" fmla="*/ 2115246 h 6515100"/>
                <a:gd name="connsiteX1051" fmla="*/ 4004473 w 4829175"/>
                <a:gd name="connsiteY1051" fmla="*/ 2386357 h 6515100"/>
                <a:gd name="connsiteX1052" fmla="*/ 4268597 w 4829175"/>
                <a:gd name="connsiteY1052" fmla="*/ 2386357 h 6515100"/>
                <a:gd name="connsiteX1053" fmla="*/ 4539009 w 4829175"/>
                <a:gd name="connsiteY1053" fmla="*/ 2115246 h 6515100"/>
                <a:gd name="connsiteX1054" fmla="*/ 4534118 w 4829175"/>
                <a:gd name="connsiteY1054" fmla="*/ 2110355 h 6515100"/>
                <a:gd name="connsiteX1055" fmla="*/ 4268597 w 4829175"/>
                <a:gd name="connsiteY1055" fmla="*/ 1844834 h 6515100"/>
                <a:gd name="connsiteX1056" fmla="*/ 705027 w 4829175"/>
                <a:gd name="connsiteY1056" fmla="*/ 1574422 h 6515100"/>
                <a:gd name="connsiteX1057" fmla="*/ 434615 w 4829175"/>
                <a:gd name="connsiteY1057" fmla="*/ 1845533 h 6515100"/>
                <a:gd name="connsiteX1058" fmla="*/ 705726 w 4829175"/>
                <a:gd name="connsiteY1058" fmla="*/ 2115945 h 6515100"/>
                <a:gd name="connsiteX1059" fmla="*/ 969849 w 4829175"/>
                <a:gd name="connsiteY1059" fmla="*/ 2115945 h 6515100"/>
                <a:gd name="connsiteX1060" fmla="*/ 698738 w 4829175"/>
                <a:gd name="connsiteY1060" fmla="*/ 1845533 h 6515100"/>
                <a:gd name="connsiteX1061" fmla="*/ 969150 w 4829175"/>
                <a:gd name="connsiteY1061" fmla="*/ 1574422 h 6515100"/>
                <a:gd name="connsiteX1062" fmla="*/ 1802746 w 4829175"/>
                <a:gd name="connsiteY1062" fmla="*/ 1573723 h 6515100"/>
                <a:gd name="connsiteX1063" fmla="*/ 1532333 w 4829175"/>
                <a:gd name="connsiteY1063" fmla="*/ 1844834 h 6515100"/>
                <a:gd name="connsiteX1064" fmla="*/ 1803445 w 4829175"/>
                <a:gd name="connsiteY1064" fmla="*/ 2115246 h 6515100"/>
                <a:gd name="connsiteX1065" fmla="*/ 2067568 w 4829175"/>
                <a:gd name="connsiteY1065" fmla="*/ 2115246 h 6515100"/>
                <a:gd name="connsiteX1066" fmla="*/ 1796458 w 4829175"/>
                <a:gd name="connsiteY1066" fmla="*/ 1844834 h 6515100"/>
                <a:gd name="connsiteX1067" fmla="*/ 2066870 w 4829175"/>
                <a:gd name="connsiteY1067" fmla="*/ 1573723 h 6515100"/>
                <a:gd name="connsiteX1068" fmla="*/ 1252838 w 4829175"/>
                <a:gd name="connsiteY1068" fmla="*/ 1573723 h 6515100"/>
                <a:gd name="connsiteX1069" fmla="*/ 983125 w 4829175"/>
                <a:gd name="connsiteY1069" fmla="*/ 1844834 h 6515100"/>
                <a:gd name="connsiteX1070" fmla="*/ 1183663 w 4829175"/>
                <a:gd name="connsiteY1070" fmla="*/ 2045372 h 6515100"/>
                <a:gd name="connsiteX1071" fmla="*/ 1254236 w 4829175"/>
                <a:gd name="connsiteY1071" fmla="*/ 2115246 h 6515100"/>
                <a:gd name="connsiteX1072" fmla="*/ 1322712 w 4829175"/>
                <a:gd name="connsiteY1072" fmla="*/ 2115246 h 6515100"/>
                <a:gd name="connsiteX1073" fmla="*/ 1322014 w 4829175"/>
                <a:gd name="connsiteY1073" fmla="*/ 2116644 h 6515100"/>
                <a:gd name="connsiteX1074" fmla="*/ 1519058 w 4829175"/>
                <a:gd name="connsiteY1074" fmla="*/ 2116644 h 6515100"/>
                <a:gd name="connsiteX1075" fmla="*/ 1247947 w 4829175"/>
                <a:gd name="connsiteY1075" fmla="*/ 1846232 h 6515100"/>
                <a:gd name="connsiteX1076" fmla="*/ 1248646 w 4829175"/>
                <a:gd name="connsiteY1076" fmla="*/ 1845533 h 6515100"/>
                <a:gd name="connsiteX1077" fmla="*/ 1246550 w 4829175"/>
                <a:gd name="connsiteY1077" fmla="*/ 1844834 h 6515100"/>
                <a:gd name="connsiteX1078" fmla="*/ 1516962 w 4829175"/>
                <a:gd name="connsiteY1078" fmla="*/ 1573723 h 6515100"/>
                <a:gd name="connsiteX1079" fmla="*/ 2899766 w 4829175"/>
                <a:gd name="connsiteY1079" fmla="*/ 1573024 h 6515100"/>
                <a:gd name="connsiteX1080" fmla="*/ 2629354 w 4829175"/>
                <a:gd name="connsiteY1080" fmla="*/ 1844135 h 6515100"/>
                <a:gd name="connsiteX1081" fmla="*/ 2900465 w 4829175"/>
                <a:gd name="connsiteY1081" fmla="*/ 2114547 h 6515100"/>
                <a:gd name="connsiteX1082" fmla="*/ 3164588 w 4829175"/>
                <a:gd name="connsiteY1082" fmla="*/ 2114547 h 6515100"/>
                <a:gd name="connsiteX1083" fmla="*/ 2893477 w 4829175"/>
                <a:gd name="connsiteY1083" fmla="*/ 1844135 h 6515100"/>
                <a:gd name="connsiteX1084" fmla="*/ 3163889 w 4829175"/>
                <a:gd name="connsiteY1084" fmla="*/ 1573024 h 6515100"/>
                <a:gd name="connsiteX1085" fmla="*/ 2351257 w 4829175"/>
                <a:gd name="connsiteY1085" fmla="*/ 1573024 h 6515100"/>
                <a:gd name="connsiteX1086" fmla="*/ 2080844 w 4829175"/>
                <a:gd name="connsiteY1086" fmla="*/ 1844135 h 6515100"/>
                <a:gd name="connsiteX1087" fmla="*/ 2351955 w 4829175"/>
                <a:gd name="connsiteY1087" fmla="*/ 2114547 h 6515100"/>
                <a:gd name="connsiteX1088" fmla="*/ 2615379 w 4829175"/>
                <a:gd name="connsiteY1088" fmla="*/ 2114547 h 6515100"/>
                <a:gd name="connsiteX1089" fmla="*/ 2485414 w 4829175"/>
                <a:gd name="connsiteY1089" fmla="*/ 1984582 h 6515100"/>
                <a:gd name="connsiteX1090" fmla="*/ 2344968 w 4829175"/>
                <a:gd name="connsiteY1090" fmla="*/ 1844135 h 6515100"/>
                <a:gd name="connsiteX1091" fmla="*/ 2615379 w 4829175"/>
                <a:gd name="connsiteY1091" fmla="*/ 1573024 h 6515100"/>
                <a:gd name="connsiteX1092" fmla="*/ 3448276 w 4829175"/>
                <a:gd name="connsiteY1092" fmla="*/ 1572326 h 6515100"/>
                <a:gd name="connsiteX1093" fmla="*/ 3177864 w 4829175"/>
                <a:gd name="connsiteY1093" fmla="*/ 1843436 h 6515100"/>
                <a:gd name="connsiteX1094" fmla="*/ 3448975 w 4829175"/>
                <a:gd name="connsiteY1094" fmla="*/ 2113150 h 6515100"/>
                <a:gd name="connsiteX1095" fmla="*/ 3713099 w 4829175"/>
                <a:gd name="connsiteY1095" fmla="*/ 2113150 h 6515100"/>
                <a:gd name="connsiteX1096" fmla="*/ 3441988 w 4829175"/>
                <a:gd name="connsiteY1096" fmla="*/ 1842739 h 6515100"/>
                <a:gd name="connsiteX1097" fmla="*/ 3626455 w 4829175"/>
                <a:gd name="connsiteY1097" fmla="*/ 1658271 h 6515100"/>
                <a:gd name="connsiteX1098" fmla="*/ 3712400 w 4829175"/>
                <a:gd name="connsiteY1098" fmla="*/ 1572326 h 6515100"/>
                <a:gd name="connsiteX1099" fmla="*/ 4545297 w 4829175"/>
                <a:gd name="connsiteY1099" fmla="*/ 1570929 h 6515100"/>
                <a:gd name="connsiteX1100" fmla="*/ 4274885 w 4829175"/>
                <a:gd name="connsiteY1100" fmla="*/ 1842040 h 6515100"/>
                <a:gd name="connsiteX1101" fmla="*/ 4545996 w 4829175"/>
                <a:gd name="connsiteY1101" fmla="*/ 2111753 h 6515100"/>
                <a:gd name="connsiteX1102" fmla="*/ 4810119 w 4829175"/>
                <a:gd name="connsiteY1102" fmla="*/ 2111753 h 6515100"/>
                <a:gd name="connsiteX1103" fmla="*/ 4539009 w 4829175"/>
                <a:gd name="connsiteY1103" fmla="*/ 1841341 h 6515100"/>
                <a:gd name="connsiteX1104" fmla="*/ 4809421 w 4829175"/>
                <a:gd name="connsiteY1104" fmla="*/ 1570929 h 6515100"/>
                <a:gd name="connsiteX1105" fmla="*/ 164203 w 4829175"/>
                <a:gd name="connsiteY1105" fmla="*/ 1300517 h 6515100"/>
                <a:gd name="connsiteX1106" fmla="*/ 294168 w 4829175"/>
                <a:gd name="connsiteY1106" fmla="*/ 1430482 h 6515100"/>
                <a:gd name="connsiteX1107" fmla="*/ 434615 w 4829175"/>
                <a:gd name="connsiteY1107" fmla="*/ 1570929 h 6515100"/>
                <a:gd name="connsiteX1108" fmla="*/ 164203 w 4829175"/>
                <a:gd name="connsiteY1108" fmla="*/ 1842040 h 6515100"/>
                <a:gd name="connsiteX1109" fmla="*/ 428326 w 4829175"/>
                <a:gd name="connsiteY1109" fmla="*/ 1842040 h 6515100"/>
                <a:gd name="connsiteX1110" fmla="*/ 698738 w 4829175"/>
                <a:gd name="connsiteY1110" fmla="*/ 1570929 h 6515100"/>
                <a:gd name="connsiteX1111" fmla="*/ 427627 w 4829175"/>
                <a:gd name="connsiteY1111" fmla="*/ 1300517 h 6515100"/>
                <a:gd name="connsiteX1112" fmla="*/ 1809733 w 4829175"/>
                <a:gd name="connsiteY1112" fmla="*/ 1299818 h 6515100"/>
                <a:gd name="connsiteX1113" fmla="*/ 2080844 w 4829175"/>
                <a:gd name="connsiteY1113" fmla="*/ 1570230 h 6515100"/>
                <a:gd name="connsiteX1114" fmla="*/ 1810432 w 4829175"/>
                <a:gd name="connsiteY1114" fmla="*/ 1840642 h 6515100"/>
                <a:gd name="connsiteX1115" fmla="*/ 2074555 w 4829175"/>
                <a:gd name="connsiteY1115" fmla="*/ 1840642 h 6515100"/>
                <a:gd name="connsiteX1116" fmla="*/ 2344968 w 4829175"/>
                <a:gd name="connsiteY1116" fmla="*/ 1570230 h 6515100"/>
                <a:gd name="connsiteX1117" fmla="*/ 2073856 w 4829175"/>
                <a:gd name="connsiteY1117" fmla="*/ 1299818 h 6515100"/>
                <a:gd name="connsiteX1118" fmla="*/ 712014 w 4829175"/>
                <a:gd name="connsiteY1118" fmla="*/ 1299818 h 6515100"/>
                <a:gd name="connsiteX1119" fmla="*/ 983125 w 4829175"/>
                <a:gd name="connsiteY1119" fmla="*/ 1570230 h 6515100"/>
                <a:gd name="connsiteX1120" fmla="*/ 712713 w 4829175"/>
                <a:gd name="connsiteY1120" fmla="*/ 1841341 h 6515100"/>
                <a:gd name="connsiteX1121" fmla="*/ 976837 w 4829175"/>
                <a:gd name="connsiteY1121" fmla="*/ 1841341 h 6515100"/>
                <a:gd name="connsiteX1122" fmla="*/ 1247249 w 4829175"/>
                <a:gd name="connsiteY1122" fmla="*/ 1570230 h 6515100"/>
                <a:gd name="connsiteX1123" fmla="*/ 976138 w 4829175"/>
                <a:gd name="connsiteY1123" fmla="*/ 1299818 h 6515100"/>
                <a:gd name="connsiteX1124" fmla="*/ 2358243 w 4829175"/>
                <a:gd name="connsiteY1124" fmla="*/ 1299119 h 6515100"/>
                <a:gd name="connsiteX1125" fmla="*/ 2629354 w 4829175"/>
                <a:gd name="connsiteY1125" fmla="*/ 1569531 h 6515100"/>
                <a:gd name="connsiteX1126" fmla="*/ 2359641 w 4829175"/>
                <a:gd name="connsiteY1126" fmla="*/ 1840642 h 6515100"/>
                <a:gd name="connsiteX1127" fmla="*/ 2623065 w 4829175"/>
                <a:gd name="connsiteY1127" fmla="*/ 1840642 h 6515100"/>
                <a:gd name="connsiteX1128" fmla="*/ 2893477 w 4829175"/>
                <a:gd name="connsiteY1128" fmla="*/ 1569531 h 6515100"/>
                <a:gd name="connsiteX1129" fmla="*/ 2759320 w 4829175"/>
                <a:gd name="connsiteY1129" fmla="*/ 1436072 h 6515100"/>
                <a:gd name="connsiteX1130" fmla="*/ 2622367 w 4829175"/>
                <a:gd name="connsiteY1130" fmla="*/ 1299119 h 6515100"/>
                <a:gd name="connsiteX1131" fmla="*/ 2906754 w 4829175"/>
                <a:gd name="connsiteY1131" fmla="*/ 1298421 h 6515100"/>
                <a:gd name="connsiteX1132" fmla="*/ 2908151 w 4829175"/>
                <a:gd name="connsiteY1132" fmla="*/ 1299818 h 6515100"/>
                <a:gd name="connsiteX1133" fmla="*/ 3177864 w 4829175"/>
                <a:gd name="connsiteY1133" fmla="*/ 1568832 h 6515100"/>
                <a:gd name="connsiteX1134" fmla="*/ 2907452 w 4829175"/>
                <a:gd name="connsiteY1134" fmla="*/ 1839244 h 6515100"/>
                <a:gd name="connsiteX1135" fmla="*/ 3171576 w 4829175"/>
                <a:gd name="connsiteY1135" fmla="*/ 1839244 h 6515100"/>
                <a:gd name="connsiteX1136" fmla="*/ 3441988 w 4829175"/>
                <a:gd name="connsiteY1136" fmla="*/ 1568832 h 6515100"/>
                <a:gd name="connsiteX1137" fmla="*/ 3436398 w 4829175"/>
                <a:gd name="connsiteY1137" fmla="*/ 1563941 h 6515100"/>
                <a:gd name="connsiteX1138" fmla="*/ 3170877 w 4829175"/>
                <a:gd name="connsiteY1138" fmla="*/ 1298421 h 6515100"/>
                <a:gd name="connsiteX1139" fmla="*/ 1525347 w 4829175"/>
                <a:gd name="connsiteY1139" fmla="*/ 1298421 h 6515100"/>
                <a:gd name="connsiteX1140" fmla="*/ 1523949 w 4829175"/>
                <a:gd name="connsiteY1140" fmla="*/ 1299119 h 6515100"/>
                <a:gd name="connsiteX1141" fmla="*/ 1259826 w 4829175"/>
                <a:gd name="connsiteY1141" fmla="*/ 1299119 h 6515100"/>
                <a:gd name="connsiteX1142" fmla="*/ 1530937 w 4829175"/>
                <a:gd name="connsiteY1142" fmla="*/ 1569531 h 6515100"/>
                <a:gd name="connsiteX1143" fmla="*/ 1526744 w 4829175"/>
                <a:gd name="connsiteY1143" fmla="*/ 1573723 h 6515100"/>
                <a:gd name="connsiteX1144" fmla="*/ 1532333 w 4829175"/>
                <a:gd name="connsiteY1144" fmla="*/ 1570929 h 6515100"/>
                <a:gd name="connsiteX1145" fmla="*/ 1261921 w 4829175"/>
                <a:gd name="connsiteY1145" fmla="*/ 1842040 h 6515100"/>
                <a:gd name="connsiteX1146" fmla="*/ 1526046 w 4829175"/>
                <a:gd name="connsiteY1146" fmla="*/ 1842040 h 6515100"/>
                <a:gd name="connsiteX1147" fmla="*/ 1796458 w 4829175"/>
                <a:gd name="connsiteY1147" fmla="*/ 1570929 h 6515100"/>
                <a:gd name="connsiteX1148" fmla="*/ 1525347 w 4829175"/>
                <a:gd name="connsiteY1148" fmla="*/ 1300517 h 6515100"/>
                <a:gd name="connsiteX1149" fmla="*/ 3454565 w 4829175"/>
                <a:gd name="connsiteY1149" fmla="*/ 1297722 h 6515100"/>
                <a:gd name="connsiteX1150" fmla="*/ 3725676 w 4829175"/>
                <a:gd name="connsiteY1150" fmla="*/ 1568134 h 6515100"/>
                <a:gd name="connsiteX1151" fmla="*/ 3722882 w 4829175"/>
                <a:gd name="connsiteY1151" fmla="*/ 1570929 h 6515100"/>
                <a:gd name="connsiteX1152" fmla="*/ 3632744 w 4829175"/>
                <a:gd name="connsiteY1152" fmla="*/ 1661764 h 6515100"/>
                <a:gd name="connsiteX1153" fmla="*/ 3455264 w 4829175"/>
                <a:gd name="connsiteY1153" fmla="*/ 1838545 h 6515100"/>
                <a:gd name="connsiteX1154" fmla="*/ 3719387 w 4829175"/>
                <a:gd name="connsiteY1154" fmla="*/ 1838545 h 6515100"/>
                <a:gd name="connsiteX1155" fmla="*/ 3808826 w 4829175"/>
                <a:gd name="connsiteY1155" fmla="*/ 1749107 h 6515100"/>
                <a:gd name="connsiteX1156" fmla="*/ 3989799 w 4829175"/>
                <a:gd name="connsiteY1156" fmla="*/ 1568134 h 6515100"/>
                <a:gd name="connsiteX1157" fmla="*/ 3718688 w 4829175"/>
                <a:gd name="connsiteY1157" fmla="*/ 1297722 h 6515100"/>
                <a:gd name="connsiteX1158" fmla="*/ 1802048 w 4829175"/>
                <a:gd name="connsiteY1158" fmla="*/ 1025213 h 6515100"/>
                <a:gd name="connsiteX1159" fmla="*/ 1531636 w 4829175"/>
                <a:gd name="connsiteY1159" fmla="*/ 1296324 h 6515100"/>
                <a:gd name="connsiteX1160" fmla="*/ 1802746 w 4829175"/>
                <a:gd name="connsiteY1160" fmla="*/ 1566736 h 6515100"/>
                <a:gd name="connsiteX1161" fmla="*/ 2066870 w 4829175"/>
                <a:gd name="connsiteY1161" fmla="*/ 1566736 h 6515100"/>
                <a:gd name="connsiteX1162" fmla="*/ 1795759 w 4829175"/>
                <a:gd name="connsiteY1162" fmla="*/ 1296324 h 6515100"/>
                <a:gd name="connsiteX1163" fmla="*/ 2066171 w 4829175"/>
                <a:gd name="connsiteY1163" fmla="*/ 1025213 h 6515100"/>
                <a:gd name="connsiteX1164" fmla="*/ 704328 w 4829175"/>
                <a:gd name="connsiteY1164" fmla="*/ 1025213 h 6515100"/>
                <a:gd name="connsiteX1165" fmla="*/ 433916 w 4829175"/>
                <a:gd name="connsiteY1165" fmla="*/ 1296324 h 6515100"/>
                <a:gd name="connsiteX1166" fmla="*/ 705027 w 4829175"/>
                <a:gd name="connsiteY1166" fmla="*/ 1566736 h 6515100"/>
                <a:gd name="connsiteX1167" fmla="*/ 969150 w 4829175"/>
                <a:gd name="connsiteY1167" fmla="*/ 1566736 h 6515100"/>
                <a:gd name="connsiteX1168" fmla="*/ 698039 w 4829175"/>
                <a:gd name="connsiteY1168" fmla="*/ 1296324 h 6515100"/>
                <a:gd name="connsiteX1169" fmla="*/ 967752 w 4829175"/>
                <a:gd name="connsiteY1169" fmla="*/ 1025213 h 6515100"/>
                <a:gd name="connsiteX1170" fmla="*/ 2899067 w 4829175"/>
                <a:gd name="connsiteY1170" fmla="*/ 1024514 h 6515100"/>
                <a:gd name="connsiteX1171" fmla="*/ 2718793 w 4829175"/>
                <a:gd name="connsiteY1171" fmla="*/ 1204790 h 6515100"/>
                <a:gd name="connsiteX1172" fmla="*/ 2629354 w 4829175"/>
                <a:gd name="connsiteY1172" fmla="*/ 1294927 h 6515100"/>
                <a:gd name="connsiteX1173" fmla="*/ 2763512 w 4829175"/>
                <a:gd name="connsiteY1173" fmla="*/ 1428386 h 6515100"/>
                <a:gd name="connsiteX1174" fmla="*/ 2900465 w 4829175"/>
                <a:gd name="connsiteY1174" fmla="*/ 1565338 h 6515100"/>
                <a:gd name="connsiteX1175" fmla="*/ 3164588 w 4829175"/>
                <a:gd name="connsiteY1175" fmla="*/ 1565338 h 6515100"/>
                <a:gd name="connsiteX1176" fmla="*/ 2893477 w 4829175"/>
                <a:gd name="connsiteY1176" fmla="*/ 1294927 h 6515100"/>
                <a:gd name="connsiteX1177" fmla="*/ 2894875 w 4829175"/>
                <a:gd name="connsiteY1177" fmla="*/ 1293530 h 6515100"/>
                <a:gd name="connsiteX1178" fmla="*/ 3163191 w 4829175"/>
                <a:gd name="connsiteY1178" fmla="*/ 1024514 h 6515100"/>
                <a:gd name="connsiteX1179" fmla="*/ 2350558 w 4829175"/>
                <a:gd name="connsiteY1179" fmla="*/ 1024514 h 6515100"/>
                <a:gd name="connsiteX1180" fmla="*/ 2080145 w 4829175"/>
                <a:gd name="connsiteY1180" fmla="*/ 1295625 h 6515100"/>
                <a:gd name="connsiteX1181" fmla="*/ 2351257 w 4829175"/>
                <a:gd name="connsiteY1181" fmla="*/ 1566037 h 6515100"/>
                <a:gd name="connsiteX1182" fmla="*/ 2615379 w 4829175"/>
                <a:gd name="connsiteY1182" fmla="*/ 1566037 h 6515100"/>
                <a:gd name="connsiteX1183" fmla="*/ 2344269 w 4829175"/>
                <a:gd name="connsiteY1183" fmla="*/ 1295625 h 6515100"/>
                <a:gd name="connsiteX1184" fmla="*/ 2528736 w 4829175"/>
                <a:gd name="connsiteY1184" fmla="*/ 1111159 h 6515100"/>
                <a:gd name="connsiteX1185" fmla="*/ 2614681 w 4829175"/>
                <a:gd name="connsiteY1185" fmla="*/ 1025213 h 6515100"/>
                <a:gd name="connsiteX1186" fmla="*/ 2356148 w 4829175"/>
                <a:gd name="connsiteY1186" fmla="*/ 1025213 h 6515100"/>
                <a:gd name="connsiteX1187" fmla="*/ 1252838 w 4829175"/>
                <a:gd name="connsiteY1187" fmla="*/ 1024514 h 6515100"/>
                <a:gd name="connsiteX1188" fmla="*/ 982426 w 4829175"/>
                <a:gd name="connsiteY1188" fmla="*/ 1295625 h 6515100"/>
                <a:gd name="connsiteX1189" fmla="*/ 1253537 w 4829175"/>
                <a:gd name="connsiteY1189" fmla="*/ 1566037 h 6515100"/>
                <a:gd name="connsiteX1190" fmla="*/ 1517660 w 4829175"/>
                <a:gd name="connsiteY1190" fmla="*/ 1566037 h 6515100"/>
                <a:gd name="connsiteX1191" fmla="*/ 1246550 w 4829175"/>
                <a:gd name="connsiteY1191" fmla="*/ 1295625 h 6515100"/>
                <a:gd name="connsiteX1192" fmla="*/ 1431017 w 4829175"/>
                <a:gd name="connsiteY1192" fmla="*/ 1111159 h 6515100"/>
                <a:gd name="connsiteX1193" fmla="*/ 1516962 w 4829175"/>
                <a:gd name="connsiteY1193" fmla="*/ 1024514 h 6515100"/>
                <a:gd name="connsiteX1194" fmla="*/ 3447578 w 4829175"/>
                <a:gd name="connsiteY1194" fmla="*/ 1023816 h 6515100"/>
                <a:gd name="connsiteX1195" fmla="*/ 3177166 w 4829175"/>
                <a:gd name="connsiteY1195" fmla="*/ 1294927 h 6515100"/>
                <a:gd name="connsiteX1196" fmla="*/ 3448276 w 4829175"/>
                <a:gd name="connsiteY1196" fmla="*/ 1565338 h 6515100"/>
                <a:gd name="connsiteX1197" fmla="*/ 3712400 w 4829175"/>
                <a:gd name="connsiteY1197" fmla="*/ 1565338 h 6515100"/>
                <a:gd name="connsiteX1198" fmla="*/ 3441289 w 4829175"/>
                <a:gd name="connsiteY1198" fmla="*/ 1294927 h 6515100"/>
                <a:gd name="connsiteX1199" fmla="*/ 3711701 w 4829175"/>
                <a:gd name="connsiteY1199" fmla="*/ 1023816 h 6515100"/>
                <a:gd name="connsiteX1200" fmla="*/ 4544598 w 4829175"/>
                <a:gd name="connsiteY1200" fmla="*/ 1022419 h 6515100"/>
                <a:gd name="connsiteX1201" fmla="*/ 4274186 w 4829175"/>
                <a:gd name="connsiteY1201" fmla="*/ 1293530 h 6515100"/>
                <a:gd name="connsiteX1202" fmla="*/ 4545297 w 4829175"/>
                <a:gd name="connsiteY1202" fmla="*/ 1563941 h 6515100"/>
                <a:gd name="connsiteX1203" fmla="*/ 4809421 w 4829175"/>
                <a:gd name="connsiteY1203" fmla="*/ 1563941 h 6515100"/>
                <a:gd name="connsiteX1204" fmla="*/ 4538310 w 4829175"/>
                <a:gd name="connsiteY1204" fmla="*/ 1293530 h 6515100"/>
                <a:gd name="connsiteX1205" fmla="*/ 4722777 w 4829175"/>
                <a:gd name="connsiteY1205" fmla="*/ 1108363 h 6515100"/>
                <a:gd name="connsiteX1206" fmla="*/ 4722078 w 4829175"/>
                <a:gd name="connsiteY1206" fmla="*/ 1107664 h 6515100"/>
                <a:gd name="connsiteX1207" fmla="*/ 4807324 w 4829175"/>
                <a:gd name="connsiteY1207" fmla="*/ 1022419 h 6515100"/>
                <a:gd name="connsiteX1208" fmla="*/ 3995389 w 4829175"/>
                <a:gd name="connsiteY1208" fmla="*/ 1022419 h 6515100"/>
                <a:gd name="connsiteX1209" fmla="*/ 3724977 w 4829175"/>
                <a:gd name="connsiteY1209" fmla="*/ 1293530 h 6515100"/>
                <a:gd name="connsiteX1210" fmla="*/ 3996088 w 4829175"/>
                <a:gd name="connsiteY1210" fmla="*/ 1563941 h 6515100"/>
                <a:gd name="connsiteX1211" fmla="*/ 4064564 w 4829175"/>
                <a:gd name="connsiteY1211" fmla="*/ 1563941 h 6515100"/>
                <a:gd name="connsiteX1212" fmla="*/ 4061071 w 4829175"/>
                <a:gd name="connsiteY1212" fmla="*/ 1570929 h 6515100"/>
                <a:gd name="connsiteX1213" fmla="*/ 3996088 w 4829175"/>
                <a:gd name="connsiteY1213" fmla="*/ 1570929 h 6515100"/>
                <a:gd name="connsiteX1214" fmla="*/ 3815814 w 4829175"/>
                <a:gd name="connsiteY1214" fmla="*/ 1751902 h 6515100"/>
                <a:gd name="connsiteX1215" fmla="*/ 3726375 w 4829175"/>
                <a:gd name="connsiteY1215" fmla="*/ 1842040 h 6515100"/>
                <a:gd name="connsiteX1216" fmla="*/ 3859834 w 4829175"/>
                <a:gd name="connsiteY1216" fmla="*/ 1975498 h 6515100"/>
                <a:gd name="connsiteX1217" fmla="*/ 3857039 w 4829175"/>
                <a:gd name="connsiteY1217" fmla="*/ 1981088 h 6515100"/>
                <a:gd name="connsiteX1218" fmla="*/ 3857739 w 4829175"/>
                <a:gd name="connsiteY1218" fmla="*/ 1981785 h 6515100"/>
                <a:gd name="connsiteX1219" fmla="*/ 3857039 w 4829175"/>
                <a:gd name="connsiteY1219" fmla="*/ 1983185 h 6515100"/>
                <a:gd name="connsiteX1220" fmla="*/ 3720086 w 4829175"/>
                <a:gd name="connsiteY1220" fmla="*/ 1846232 h 6515100"/>
                <a:gd name="connsiteX1221" fmla="*/ 3455963 w 4829175"/>
                <a:gd name="connsiteY1221" fmla="*/ 1846232 h 6515100"/>
                <a:gd name="connsiteX1222" fmla="*/ 3727074 w 4829175"/>
                <a:gd name="connsiteY1222" fmla="*/ 2116644 h 6515100"/>
                <a:gd name="connsiteX1223" fmla="*/ 3456662 w 4829175"/>
                <a:gd name="connsiteY1223" fmla="*/ 2387755 h 6515100"/>
                <a:gd name="connsiteX1224" fmla="*/ 3654754 w 4829175"/>
                <a:gd name="connsiteY1224" fmla="*/ 2387755 h 6515100"/>
                <a:gd name="connsiteX1225" fmla="*/ 3652309 w 4829175"/>
                <a:gd name="connsiteY1225" fmla="*/ 2392646 h 6515100"/>
                <a:gd name="connsiteX1226" fmla="*/ 3652658 w 4829175"/>
                <a:gd name="connsiteY1226" fmla="*/ 2392646 h 6515100"/>
                <a:gd name="connsiteX1227" fmla="*/ 3651610 w 4829175"/>
                <a:gd name="connsiteY1227" fmla="*/ 2394742 h 6515100"/>
                <a:gd name="connsiteX1228" fmla="*/ 3456662 w 4829175"/>
                <a:gd name="connsiteY1228" fmla="*/ 2394742 h 6515100"/>
                <a:gd name="connsiteX1229" fmla="*/ 3586394 w 4829175"/>
                <a:gd name="connsiteY1229" fmla="*/ 2524475 h 6515100"/>
                <a:gd name="connsiteX1230" fmla="*/ 3583832 w 4829175"/>
                <a:gd name="connsiteY1230" fmla="*/ 2529598 h 6515100"/>
                <a:gd name="connsiteX1231" fmla="*/ 3584065 w 4829175"/>
                <a:gd name="connsiteY1231" fmla="*/ 2529831 h 6515100"/>
                <a:gd name="connsiteX1232" fmla="*/ 3583133 w 4829175"/>
                <a:gd name="connsiteY1232" fmla="*/ 2531695 h 6515100"/>
                <a:gd name="connsiteX1233" fmla="*/ 3442687 w 4829175"/>
                <a:gd name="connsiteY1233" fmla="*/ 2391248 h 6515100"/>
                <a:gd name="connsiteX1234" fmla="*/ 3713099 w 4829175"/>
                <a:gd name="connsiteY1234" fmla="*/ 2120137 h 6515100"/>
                <a:gd name="connsiteX1235" fmla="*/ 3448975 w 4829175"/>
                <a:gd name="connsiteY1235" fmla="*/ 2120137 h 6515100"/>
                <a:gd name="connsiteX1236" fmla="*/ 3178563 w 4829175"/>
                <a:gd name="connsiteY1236" fmla="*/ 2391248 h 6515100"/>
                <a:gd name="connsiteX1237" fmla="*/ 3448975 w 4829175"/>
                <a:gd name="connsiteY1237" fmla="*/ 2662359 h 6515100"/>
                <a:gd name="connsiteX1238" fmla="*/ 3517452 w 4829175"/>
                <a:gd name="connsiteY1238" fmla="*/ 2662359 h 6515100"/>
                <a:gd name="connsiteX1239" fmla="*/ 3513958 w 4829175"/>
                <a:gd name="connsiteY1239" fmla="*/ 2669346 h 6515100"/>
                <a:gd name="connsiteX1240" fmla="*/ 3448975 w 4829175"/>
                <a:gd name="connsiteY1240" fmla="*/ 2669346 h 6515100"/>
                <a:gd name="connsiteX1241" fmla="*/ 3268701 w 4829175"/>
                <a:gd name="connsiteY1241" fmla="*/ 2850320 h 6515100"/>
                <a:gd name="connsiteX1242" fmla="*/ 3179262 w 4829175"/>
                <a:gd name="connsiteY1242" fmla="*/ 2939758 h 6515100"/>
                <a:gd name="connsiteX1243" fmla="*/ 3312721 w 4829175"/>
                <a:gd name="connsiteY1243" fmla="*/ 3073916 h 6515100"/>
                <a:gd name="connsiteX1244" fmla="*/ 3451072 w 4829175"/>
                <a:gd name="connsiteY1244" fmla="*/ 3207376 h 6515100"/>
                <a:gd name="connsiteX1245" fmla="*/ 3715195 w 4829175"/>
                <a:gd name="connsiteY1245" fmla="*/ 3207376 h 6515100"/>
                <a:gd name="connsiteX1246" fmla="*/ 3444084 w 4829175"/>
                <a:gd name="connsiteY1246" fmla="*/ 2936964 h 6515100"/>
                <a:gd name="connsiteX1247" fmla="*/ 3445482 w 4829175"/>
                <a:gd name="connsiteY1247" fmla="*/ 2935566 h 6515100"/>
                <a:gd name="connsiteX1248" fmla="*/ 3713797 w 4829175"/>
                <a:gd name="connsiteY1248" fmla="*/ 2666552 h 6515100"/>
                <a:gd name="connsiteX1249" fmla="*/ 3515356 w 4829175"/>
                <a:gd name="connsiteY1249" fmla="*/ 2666552 h 6515100"/>
                <a:gd name="connsiteX1250" fmla="*/ 3518849 w 4829175"/>
                <a:gd name="connsiteY1250" fmla="*/ 2659564 h 6515100"/>
                <a:gd name="connsiteX1251" fmla="*/ 3713797 w 4829175"/>
                <a:gd name="connsiteY1251" fmla="*/ 2659564 h 6515100"/>
                <a:gd name="connsiteX1252" fmla="*/ 3584065 w 4829175"/>
                <a:gd name="connsiteY1252" fmla="*/ 2529831 h 6515100"/>
                <a:gd name="connsiteX1253" fmla="*/ 3586627 w 4829175"/>
                <a:gd name="connsiteY1253" fmla="*/ 2524708 h 6515100"/>
                <a:gd name="connsiteX1254" fmla="*/ 3586394 w 4829175"/>
                <a:gd name="connsiteY1254" fmla="*/ 2524475 h 6515100"/>
                <a:gd name="connsiteX1255" fmla="*/ 3587326 w 4829175"/>
                <a:gd name="connsiteY1255" fmla="*/ 2522611 h 6515100"/>
                <a:gd name="connsiteX1256" fmla="*/ 3727772 w 4829175"/>
                <a:gd name="connsiteY1256" fmla="*/ 2663058 h 6515100"/>
                <a:gd name="connsiteX1257" fmla="*/ 3457360 w 4829175"/>
                <a:gd name="connsiteY1257" fmla="*/ 2934169 h 6515100"/>
                <a:gd name="connsiteX1258" fmla="*/ 3721484 w 4829175"/>
                <a:gd name="connsiteY1258" fmla="*/ 2934169 h 6515100"/>
                <a:gd name="connsiteX1259" fmla="*/ 3991896 w 4829175"/>
                <a:gd name="connsiteY1259" fmla="*/ 2663058 h 6515100"/>
                <a:gd name="connsiteX1260" fmla="*/ 3720785 w 4829175"/>
                <a:gd name="connsiteY1260" fmla="*/ 2392646 h 6515100"/>
                <a:gd name="connsiteX1261" fmla="*/ 3652658 w 4829175"/>
                <a:gd name="connsiteY1261" fmla="*/ 2392646 h 6515100"/>
                <a:gd name="connsiteX1262" fmla="*/ 3655103 w 4829175"/>
                <a:gd name="connsiteY1262" fmla="*/ 2387755 h 6515100"/>
                <a:gd name="connsiteX1263" fmla="*/ 3654754 w 4829175"/>
                <a:gd name="connsiteY1263" fmla="*/ 2387755 h 6515100"/>
                <a:gd name="connsiteX1264" fmla="*/ 3655802 w 4829175"/>
                <a:gd name="connsiteY1264" fmla="*/ 2385658 h 6515100"/>
                <a:gd name="connsiteX1265" fmla="*/ 3720785 w 4829175"/>
                <a:gd name="connsiteY1265" fmla="*/ 2385658 h 6515100"/>
                <a:gd name="connsiteX1266" fmla="*/ 3991197 w 4829175"/>
                <a:gd name="connsiteY1266" fmla="*/ 2114547 h 6515100"/>
                <a:gd name="connsiteX1267" fmla="*/ 3857739 w 4829175"/>
                <a:gd name="connsiteY1267" fmla="*/ 1981785 h 6515100"/>
                <a:gd name="connsiteX1268" fmla="*/ 3860533 w 4829175"/>
                <a:gd name="connsiteY1268" fmla="*/ 1976197 h 6515100"/>
                <a:gd name="connsiteX1269" fmla="*/ 3859834 w 4829175"/>
                <a:gd name="connsiteY1269" fmla="*/ 1975498 h 6515100"/>
                <a:gd name="connsiteX1270" fmla="*/ 3860533 w 4829175"/>
                <a:gd name="connsiteY1270" fmla="*/ 1974101 h 6515100"/>
                <a:gd name="connsiteX1271" fmla="*/ 3997486 w 4829175"/>
                <a:gd name="connsiteY1271" fmla="*/ 2111054 h 6515100"/>
                <a:gd name="connsiteX1272" fmla="*/ 4261609 w 4829175"/>
                <a:gd name="connsiteY1272" fmla="*/ 2111054 h 6515100"/>
                <a:gd name="connsiteX1273" fmla="*/ 3990498 w 4829175"/>
                <a:gd name="connsiteY1273" fmla="*/ 1840642 h 6515100"/>
                <a:gd name="connsiteX1274" fmla="*/ 3991896 w 4829175"/>
                <a:gd name="connsiteY1274" fmla="*/ 1839244 h 6515100"/>
                <a:gd name="connsiteX1275" fmla="*/ 4260211 w 4829175"/>
                <a:gd name="connsiteY1275" fmla="*/ 1570230 h 6515100"/>
                <a:gd name="connsiteX1276" fmla="*/ 4061770 w 4829175"/>
                <a:gd name="connsiteY1276" fmla="*/ 1570230 h 6515100"/>
                <a:gd name="connsiteX1277" fmla="*/ 4065263 w 4829175"/>
                <a:gd name="connsiteY1277" fmla="*/ 1563243 h 6515100"/>
                <a:gd name="connsiteX1278" fmla="*/ 4260211 w 4829175"/>
                <a:gd name="connsiteY1278" fmla="*/ 1563243 h 6515100"/>
                <a:gd name="connsiteX1279" fmla="*/ 4130246 w 4829175"/>
                <a:gd name="connsiteY1279" fmla="*/ 1433278 h 6515100"/>
                <a:gd name="connsiteX1280" fmla="*/ 4133739 w 4829175"/>
                <a:gd name="connsiteY1280" fmla="*/ 1426290 h 6515100"/>
                <a:gd name="connsiteX1281" fmla="*/ 4274186 w 4829175"/>
                <a:gd name="connsiteY1281" fmla="*/ 1566736 h 6515100"/>
                <a:gd name="connsiteX1282" fmla="*/ 4003774 w 4829175"/>
                <a:gd name="connsiteY1282" fmla="*/ 1837847 h 6515100"/>
                <a:gd name="connsiteX1283" fmla="*/ 4267898 w 4829175"/>
                <a:gd name="connsiteY1283" fmla="*/ 1837847 h 6515100"/>
                <a:gd name="connsiteX1284" fmla="*/ 4538310 w 4829175"/>
                <a:gd name="connsiteY1284" fmla="*/ 1566736 h 6515100"/>
                <a:gd name="connsiteX1285" fmla="*/ 4267199 w 4829175"/>
                <a:gd name="connsiteY1285" fmla="*/ 1297023 h 6515100"/>
                <a:gd name="connsiteX1286" fmla="*/ 4198723 w 4829175"/>
                <a:gd name="connsiteY1286" fmla="*/ 1297023 h 6515100"/>
                <a:gd name="connsiteX1287" fmla="*/ 4003774 w 4829175"/>
                <a:gd name="connsiteY1287" fmla="*/ 1297023 h 6515100"/>
                <a:gd name="connsiteX1288" fmla="*/ 4133040 w 4829175"/>
                <a:gd name="connsiteY1288" fmla="*/ 1426989 h 6515100"/>
                <a:gd name="connsiteX1289" fmla="*/ 4129547 w 4829175"/>
                <a:gd name="connsiteY1289" fmla="*/ 1433975 h 6515100"/>
                <a:gd name="connsiteX1290" fmla="*/ 3989100 w 4829175"/>
                <a:gd name="connsiteY1290" fmla="*/ 1293530 h 6515100"/>
                <a:gd name="connsiteX1291" fmla="*/ 4259512 w 4829175"/>
                <a:gd name="connsiteY1291" fmla="*/ 1022419 h 6515100"/>
                <a:gd name="connsiteX1292" fmla="*/ 162805 w 4829175"/>
                <a:gd name="connsiteY1292" fmla="*/ 752007 h 6515100"/>
                <a:gd name="connsiteX1293" fmla="*/ 433916 w 4829175"/>
                <a:gd name="connsiteY1293" fmla="*/ 1022419 h 6515100"/>
                <a:gd name="connsiteX1294" fmla="*/ 164203 w 4829175"/>
                <a:gd name="connsiteY1294" fmla="*/ 1293530 h 6515100"/>
                <a:gd name="connsiteX1295" fmla="*/ 427627 w 4829175"/>
                <a:gd name="connsiteY1295" fmla="*/ 1293530 h 6515100"/>
                <a:gd name="connsiteX1296" fmla="*/ 698039 w 4829175"/>
                <a:gd name="connsiteY1296" fmla="*/ 1022419 h 6515100"/>
                <a:gd name="connsiteX1297" fmla="*/ 563881 w 4829175"/>
                <a:gd name="connsiteY1297" fmla="*/ 888959 h 6515100"/>
                <a:gd name="connsiteX1298" fmla="*/ 426928 w 4829175"/>
                <a:gd name="connsiteY1298" fmla="*/ 752007 h 6515100"/>
                <a:gd name="connsiteX1299" fmla="*/ 1809035 w 4829175"/>
                <a:gd name="connsiteY1299" fmla="*/ 751308 h 6515100"/>
                <a:gd name="connsiteX1300" fmla="*/ 1937603 w 4829175"/>
                <a:gd name="connsiteY1300" fmla="*/ 879876 h 6515100"/>
                <a:gd name="connsiteX1301" fmla="*/ 2079447 w 4829175"/>
                <a:gd name="connsiteY1301" fmla="*/ 1021720 h 6515100"/>
                <a:gd name="connsiteX1302" fmla="*/ 1809035 w 4829175"/>
                <a:gd name="connsiteY1302" fmla="*/ 1292831 h 6515100"/>
                <a:gd name="connsiteX1303" fmla="*/ 2073158 w 4829175"/>
                <a:gd name="connsiteY1303" fmla="*/ 1292831 h 6515100"/>
                <a:gd name="connsiteX1304" fmla="*/ 2343570 w 4829175"/>
                <a:gd name="connsiteY1304" fmla="*/ 1021720 h 6515100"/>
                <a:gd name="connsiteX1305" fmla="*/ 2338678 w 4829175"/>
                <a:gd name="connsiteY1305" fmla="*/ 1016829 h 6515100"/>
                <a:gd name="connsiteX1306" fmla="*/ 2073158 w 4829175"/>
                <a:gd name="connsiteY1306" fmla="*/ 751308 h 6515100"/>
                <a:gd name="connsiteX1307" fmla="*/ 2357544 w 4829175"/>
                <a:gd name="connsiteY1307" fmla="*/ 750609 h 6515100"/>
                <a:gd name="connsiteX1308" fmla="*/ 2628655 w 4829175"/>
                <a:gd name="connsiteY1308" fmla="*/ 1020322 h 6515100"/>
                <a:gd name="connsiteX1309" fmla="*/ 2625861 w 4829175"/>
                <a:gd name="connsiteY1309" fmla="*/ 1023118 h 6515100"/>
                <a:gd name="connsiteX1310" fmla="*/ 2535723 w 4829175"/>
                <a:gd name="connsiteY1310" fmla="*/ 1113953 h 6515100"/>
                <a:gd name="connsiteX1311" fmla="*/ 2358243 w 4829175"/>
                <a:gd name="connsiteY1311" fmla="*/ 1291433 h 6515100"/>
                <a:gd name="connsiteX1312" fmla="*/ 2622367 w 4829175"/>
                <a:gd name="connsiteY1312" fmla="*/ 1291433 h 6515100"/>
                <a:gd name="connsiteX1313" fmla="*/ 2711805 w 4829175"/>
                <a:gd name="connsiteY1313" fmla="*/ 1201994 h 6515100"/>
                <a:gd name="connsiteX1314" fmla="*/ 2892779 w 4829175"/>
                <a:gd name="connsiteY1314" fmla="*/ 1021021 h 6515100"/>
                <a:gd name="connsiteX1315" fmla="*/ 2621668 w 4829175"/>
                <a:gd name="connsiteY1315" fmla="*/ 750609 h 6515100"/>
                <a:gd name="connsiteX1316" fmla="*/ 1259127 w 4829175"/>
                <a:gd name="connsiteY1316" fmla="*/ 750609 h 6515100"/>
                <a:gd name="connsiteX1317" fmla="*/ 1530238 w 4829175"/>
                <a:gd name="connsiteY1317" fmla="*/ 1020322 h 6515100"/>
                <a:gd name="connsiteX1318" fmla="*/ 1527442 w 4829175"/>
                <a:gd name="connsiteY1318" fmla="*/ 1023118 h 6515100"/>
                <a:gd name="connsiteX1319" fmla="*/ 1437306 w 4829175"/>
                <a:gd name="connsiteY1319" fmla="*/ 1113953 h 6515100"/>
                <a:gd name="connsiteX1320" fmla="*/ 1259826 w 4829175"/>
                <a:gd name="connsiteY1320" fmla="*/ 1291433 h 6515100"/>
                <a:gd name="connsiteX1321" fmla="*/ 1523949 w 4829175"/>
                <a:gd name="connsiteY1321" fmla="*/ 1291433 h 6515100"/>
                <a:gd name="connsiteX1322" fmla="*/ 1613388 w 4829175"/>
                <a:gd name="connsiteY1322" fmla="*/ 1201994 h 6515100"/>
                <a:gd name="connsiteX1323" fmla="*/ 1794361 w 4829175"/>
                <a:gd name="connsiteY1323" fmla="*/ 1021021 h 6515100"/>
                <a:gd name="connsiteX1324" fmla="*/ 1523250 w 4829175"/>
                <a:gd name="connsiteY1324" fmla="*/ 750609 h 6515100"/>
                <a:gd name="connsiteX1325" fmla="*/ 710617 w 4829175"/>
                <a:gd name="connsiteY1325" fmla="*/ 750609 h 6515100"/>
                <a:gd name="connsiteX1326" fmla="*/ 712014 w 4829175"/>
                <a:gd name="connsiteY1326" fmla="*/ 752007 h 6515100"/>
                <a:gd name="connsiteX1327" fmla="*/ 981727 w 4829175"/>
                <a:gd name="connsiteY1327" fmla="*/ 1021021 h 6515100"/>
                <a:gd name="connsiteX1328" fmla="*/ 711316 w 4829175"/>
                <a:gd name="connsiteY1328" fmla="*/ 1292132 h 6515100"/>
                <a:gd name="connsiteX1329" fmla="*/ 975439 w 4829175"/>
                <a:gd name="connsiteY1329" fmla="*/ 1292132 h 6515100"/>
                <a:gd name="connsiteX1330" fmla="*/ 1245851 w 4829175"/>
                <a:gd name="connsiteY1330" fmla="*/ 1021021 h 6515100"/>
                <a:gd name="connsiteX1331" fmla="*/ 1240261 w 4829175"/>
                <a:gd name="connsiteY1331" fmla="*/ 1016130 h 6515100"/>
                <a:gd name="connsiteX1332" fmla="*/ 974740 w 4829175"/>
                <a:gd name="connsiteY1332" fmla="*/ 750609 h 6515100"/>
                <a:gd name="connsiteX1333" fmla="*/ 2906055 w 4829175"/>
                <a:gd name="connsiteY1333" fmla="*/ 749910 h 6515100"/>
                <a:gd name="connsiteX1334" fmla="*/ 3036720 w 4829175"/>
                <a:gd name="connsiteY1334" fmla="*/ 879177 h 6515100"/>
                <a:gd name="connsiteX1335" fmla="*/ 3177166 w 4829175"/>
                <a:gd name="connsiteY1335" fmla="*/ 1019623 h 6515100"/>
                <a:gd name="connsiteX1336" fmla="*/ 2906754 w 4829175"/>
                <a:gd name="connsiteY1336" fmla="*/ 1290734 h 6515100"/>
                <a:gd name="connsiteX1337" fmla="*/ 3170877 w 4829175"/>
                <a:gd name="connsiteY1337" fmla="*/ 1290734 h 6515100"/>
                <a:gd name="connsiteX1338" fmla="*/ 3441289 w 4829175"/>
                <a:gd name="connsiteY1338" fmla="*/ 1020322 h 6515100"/>
                <a:gd name="connsiteX1339" fmla="*/ 3170178 w 4829175"/>
                <a:gd name="connsiteY1339" fmla="*/ 749910 h 6515100"/>
                <a:gd name="connsiteX1340" fmla="*/ 3454565 w 4829175"/>
                <a:gd name="connsiteY1340" fmla="*/ 749211 h 6515100"/>
                <a:gd name="connsiteX1341" fmla="*/ 3725676 w 4829175"/>
                <a:gd name="connsiteY1341" fmla="*/ 1019623 h 6515100"/>
                <a:gd name="connsiteX1342" fmla="*/ 3455264 w 4829175"/>
                <a:gd name="connsiteY1342" fmla="*/ 1290734 h 6515100"/>
                <a:gd name="connsiteX1343" fmla="*/ 3719387 w 4829175"/>
                <a:gd name="connsiteY1343" fmla="*/ 1290734 h 6515100"/>
                <a:gd name="connsiteX1344" fmla="*/ 3989799 w 4829175"/>
                <a:gd name="connsiteY1344" fmla="*/ 1019623 h 6515100"/>
                <a:gd name="connsiteX1345" fmla="*/ 3718688 w 4829175"/>
                <a:gd name="connsiteY1345" fmla="*/ 749211 h 6515100"/>
                <a:gd name="connsiteX1346" fmla="*/ 4003075 w 4829175"/>
                <a:gd name="connsiteY1346" fmla="*/ 748512 h 6515100"/>
                <a:gd name="connsiteX1347" fmla="*/ 4274186 w 4829175"/>
                <a:gd name="connsiteY1347" fmla="*/ 1018924 h 6515100"/>
                <a:gd name="connsiteX1348" fmla="*/ 4003774 w 4829175"/>
                <a:gd name="connsiteY1348" fmla="*/ 1290035 h 6515100"/>
                <a:gd name="connsiteX1349" fmla="*/ 4202216 w 4829175"/>
                <a:gd name="connsiteY1349" fmla="*/ 1290035 h 6515100"/>
                <a:gd name="connsiteX1350" fmla="*/ 4267199 w 4829175"/>
                <a:gd name="connsiteY1350" fmla="*/ 1290035 h 6515100"/>
                <a:gd name="connsiteX1351" fmla="*/ 4538310 w 4829175"/>
                <a:gd name="connsiteY1351" fmla="*/ 1018924 h 6515100"/>
                <a:gd name="connsiteX1352" fmla="*/ 4404151 w 4829175"/>
                <a:gd name="connsiteY1352" fmla="*/ 885466 h 6515100"/>
                <a:gd name="connsiteX1353" fmla="*/ 4267199 w 4829175"/>
                <a:gd name="connsiteY1353" fmla="*/ 748512 h 6515100"/>
                <a:gd name="connsiteX1354" fmla="*/ 702930 w 4829175"/>
                <a:gd name="connsiteY1354" fmla="*/ 476704 h 6515100"/>
                <a:gd name="connsiteX1355" fmla="*/ 522656 w 4829175"/>
                <a:gd name="connsiteY1355" fmla="*/ 657677 h 6515100"/>
                <a:gd name="connsiteX1356" fmla="*/ 433217 w 4829175"/>
                <a:gd name="connsiteY1356" fmla="*/ 747814 h 6515100"/>
                <a:gd name="connsiteX1357" fmla="*/ 567375 w 4829175"/>
                <a:gd name="connsiteY1357" fmla="*/ 881273 h 6515100"/>
                <a:gd name="connsiteX1358" fmla="*/ 704328 w 4829175"/>
                <a:gd name="connsiteY1358" fmla="*/ 1018227 h 6515100"/>
                <a:gd name="connsiteX1359" fmla="*/ 968451 w 4829175"/>
                <a:gd name="connsiteY1359" fmla="*/ 1018227 h 6515100"/>
                <a:gd name="connsiteX1360" fmla="*/ 697340 w 4829175"/>
                <a:gd name="connsiteY1360" fmla="*/ 747814 h 6515100"/>
                <a:gd name="connsiteX1361" fmla="*/ 698738 w 4829175"/>
                <a:gd name="connsiteY1361" fmla="*/ 746417 h 6515100"/>
                <a:gd name="connsiteX1362" fmla="*/ 967054 w 4829175"/>
                <a:gd name="connsiteY1362" fmla="*/ 476704 h 6515100"/>
                <a:gd name="connsiteX1363" fmla="*/ 1252140 w 4829175"/>
                <a:gd name="connsiteY1363" fmla="*/ 476005 h 6515100"/>
                <a:gd name="connsiteX1364" fmla="*/ 981727 w 4829175"/>
                <a:gd name="connsiteY1364" fmla="*/ 747116 h 6515100"/>
                <a:gd name="connsiteX1365" fmla="*/ 1252838 w 4829175"/>
                <a:gd name="connsiteY1365" fmla="*/ 1017528 h 6515100"/>
                <a:gd name="connsiteX1366" fmla="*/ 1516962 w 4829175"/>
                <a:gd name="connsiteY1366" fmla="*/ 1017528 h 6515100"/>
                <a:gd name="connsiteX1367" fmla="*/ 1245851 w 4829175"/>
                <a:gd name="connsiteY1367" fmla="*/ 747116 h 6515100"/>
                <a:gd name="connsiteX1368" fmla="*/ 1516263 w 4829175"/>
                <a:gd name="connsiteY1368" fmla="*/ 476005 h 6515100"/>
                <a:gd name="connsiteX1369" fmla="*/ 2899067 w 4829175"/>
                <a:gd name="connsiteY1369" fmla="*/ 475306 h 6515100"/>
                <a:gd name="connsiteX1370" fmla="*/ 2628655 w 4829175"/>
                <a:gd name="connsiteY1370" fmla="*/ 746417 h 6515100"/>
                <a:gd name="connsiteX1371" fmla="*/ 2899766 w 4829175"/>
                <a:gd name="connsiteY1371" fmla="*/ 1016829 h 6515100"/>
                <a:gd name="connsiteX1372" fmla="*/ 3163191 w 4829175"/>
                <a:gd name="connsiteY1372" fmla="*/ 1016829 h 6515100"/>
                <a:gd name="connsiteX1373" fmla="*/ 3032527 w 4829175"/>
                <a:gd name="connsiteY1373" fmla="*/ 886863 h 6515100"/>
                <a:gd name="connsiteX1374" fmla="*/ 2892081 w 4829175"/>
                <a:gd name="connsiteY1374" fmla="*/ 746417 h 6515100"/>
                <a:gd name="connsiteX1375" fmla="*/ 3163191 w 4829175"/>
                <a:gd name="connsiteY1375" fmla="*/ 475306 h 6515100"/>
                <a:gd name="connsiteX1376" fmla="*/ 1799951 w 4829175"/>
                <a:gd name="connsiteY1376" fmla="*/ 475306 h 6515100"/>
                <a:gd name="connsiteX1377" fmla="*/ 1529539 w 4829175"/>
                <a:gd name="connsiteY1377" fmla="*/ 746417 h 6515100"/>
                <a:gd name="connsiteX1378" fmla="*/ 1800650 w 4829175"/>
                <a:gd name="connsiteY1378" fmla="*/ 1016829 h 6515100"/>
                <a:gd name="connsiteX1379" fmla="*/ 1802048 w 4829175"/>
                <a:gd name="connsiteY1379" fmla="*/ 1018227 h 6515100"/>
                <a:gd name="connsiteX1380" fmla="*/ 2066171 w 4829175"/>
                <a:gd name="connsiteY1380" fmla="*/ 1018227 h 6515100"/>
                <a:gd name="connsiteX1381" fmla="*/ 1934808 w 4829175"/>
                <a:gd name="connsiteY1381" fmla="*/ 886863 h 6515100"/>
                <a:gd name="connsiteX1382" fmla="*/ 1797155 w 4829175"/>
                <a:gd name="connsiteY1382" fmla="*/ 749211 h 6515100"/>
                <a:gd name="connsiteX1383" fmla="*/ 2066171 w 4829175"/>
                <a:gd name="connsiteY1383" fmla="*/ 475306 h 6515100"/>
                <a:gd name="connsiteX1384" fmla="*/ 3446879 w 4829175"/>
                <a:gd name="connsiteY1384" fmla="*/ 474607 h 6515100"/>
                <a:gd name="connsiteX1385" fmla="*/ 3176467 w 4829175"/>
                <a:gd name="connsiteY1385" fmla="*/ 745718 h 6515100"/>
                <a:gd name="connsiteX1386" fmla="*/ 3447578 w 4829175"/>
                <a:gd name="connsiteY1386" fmla="*/ 1016130 h 6515100"/>
                <a:gd name="connsiteX1387" fmla="*/ 3711701 w 4829175"/>
                <a:gd name="connsiteY1387" fmla="*/ 1016130 h 6515100"/>
                <a:gd name="connsiteX1388" fmla="*/ 3440590 w 4829175"/>
                <a:gd name="connsiteY1388" fmla="*/ 745718 h 6515100"/>
                <a:gd name="connsiteX1389" fmla="*/ 3625057 w 4829175"/>
                <a:gd name="connsiteY1389" fmla="*/ 561251 h 6515100"/>
                <a:gd name="connsiteX1390" fmla="*/ 3709605 w 4829175"/>
                <a:gd name="connsiteY1390" fmla="*/ 474607 h 6515100"/>
                <a:gd name="connsiteX1391" fmla="*/ 3995389 w 4829175"/>
                <a:gd name="connsiteY1391" fmla="*/ 473908 h 6515100"/>
                <a:gd name="connsiteX1392" fmla="*/ 3724977 w 4829175"/>
                <a:gd name="connsiteY1392" fmla="*/ 745019 h 6515100"/>
                <a:gd name="connsiteX1393" fmla="*/ 3996088 w 4829175"/>
                <a:gd name="connsiteY1393" fmla="*/ 1015431 h 6515100"/>
                <a:gd name="connsiteX1394" fmla="*/ 4260211 w 4829175"/>
                <a:gd name="connsiteY1394" fmla="*/ 1015431 h 6515100"/>
                <a:gd name="connsiteX1395" fmla="*/ 3989100 w 4829175"/>
                <a:gd name="connsiteY1395" fmla="*/ 745019 h 6515100"/>
                <a:gd name="connsiteX1396" fmla="*/ 3990498 w 4829175"/>
                <a:gd name="connsiteY1396" fmla="*/ 743621 h 6515100"/>
                <a:gd name="connsiteX1397" fmla="*/ 3989799 w 4829175"/>
                <a:gd name="connsiteY1397" fmla="*/ 743621 h 6515100"/>
                <a:gd name="connsiteX1398" fmla="*/ 4258116 w 4829175"/>
                <a:gd name="connsiteY1398" fmla="*/ 474607 h 6515100"/>
                <a:gd name="connsiteX1399" fmla="*/ 3999582 w 4829175"/>
                <a:gd name="connsiteY1399" fmla="*/ 474607 h 6515100"/>
                <a:gd name="connsiteX1400" fmla="*/ 4000979 w 4829175"/>
                <a:gd name="connsiteY1400" fmla="*/ 473908 h 6515100"/>
                <a:gd name="connsiteX1401" fmla="*/ 4543201 w 4829175"/>
                <a:gd name="connsiteY1401" fmla="*/ 473209 h 6515100"/>
                <a:gd name="connsiteX1402" fmla="*/ 4362227 w 4829175"/>
                <a:gd name="connsiteY1402" fmla="*/ 654183 h 6515100"/>
                <a:gd name="connsiteX1403" fmla="*/ 4362926 w 4829175"/>
                <a:gd name="connsiteY1403" fmla="*/ 654882 h 6515100"/>
                <a:gd name="connsiteX1404" fmla="*/ 4273487 w 4829175"/>
                <a:gd name="connsiteY1404" fmla="*/ 745019 h 6515100"/>
                <a:gd name="connsiteX1405" fmla="*/ 4407646 w 4829175"/>
                <a:gd name="connsiteY1405" fmla="*/ 878479 h 6515100"/>
                <a:gd name="connsiteX1406" fmla="*/ 4543899 w 4829175"/>
                <a:gd name="connsiteY1406" fmla="*/ 1014732 h 6515100"/>
                <a:gd name="connsiteX1407" fmla="*/ 4808023 w 4829175"/>
                <a:gd name="connsiteY1407" fmla="*/ 1014732 h 6515100"/>
                <a:gd name="connsiteX1408" fmla="*/ 4536912 w 4829175"/>
                <a:gd name="connsiteY1408" fmla="*/ 744320 h 6515100"/>
                <a:gd name="connsiteX1409" fmla="*/ 4807324 w 4829175"/>
                <a:gd name="connsiteY1409" fmla="*/ 473209 h 6515100"/>
                <a:gd name="connsiteX1410" fmla="*/ 2616078 w 4829175"/>
                <a:gd name="connsiteY1410" fmla="*/ 473209 h 6515100"/>
                <a:gd name="connsiteX1411" fmla="*/ 2349859 w 4829175"/>
                <a:gd name="connsiteY1411" fmla="*/ 476005 h 6515100"/>
                <a:gd name="connsiteX1412" fmla="*/ 2079447 w 4829175"/>
                <a:gd name="connsiteY1412" fmla="*/ 747116 h 6515100"/>
                <a:gd name="connsiteX1413" fmla="*/ 2350558 w 4829175"/>
                <a:gd name="connsiteY1413" fmla="*/ 1017528 h 6515100"/>
                <a:gd name="connsiteX1414" fmla="*/ 2614681 w 4829175"/>
                <a:gd name="connsiteY1414" fmla="*/ 1017528 h 6515100"/>
                <a:gd name="connsiteX1415" fmla="*/ 2343570 w 4829175"/>
                <a:gd name="connsiteY1415" fmla="*/ 747116 h 6515100"/>
                <a:gd name="connsiteX1416" fmla="*/ 161407 w 4829175"/>
                <a:gd name="connsiteY1416" fmla="*/ 203496 h 6515100"/>
                <a:gd name="connsiteX1417" fmla="*/ 432518 w 4829175"/>
                <a:gd name="connsiteY1417" fmla="*/ 473908 h 6515100"/>
                <a:gd name="connsiteX1418" fmla="*/ 429724 w 4829175"/>
                <a:gd name="connsiteY1418" fmla="*/ 476704 h 6515100"/>
                <a:gd name="connsiteX1419" fmla="*/ 339586 w 4829175"/>
                <a:gd name="connsiteY1419" fmla="*/ 567539 h 6515100"/>
                <a:gd name="connsiteX1420" fmla="*/ 162106 w 4829175"/>
                <a:gd name="connsiteY1420" fmla="*/ 744320 h 6515100"/>
                <a:gd name="connsiteX1421" fmla="*/ 426230 w 4829175"/>
                <a:gd name="connsiteY1421" fmla="*/ 744320 h 6515100"/>
                <a:gd name="connsiteX1422" fmla="*/ 515668 w 4829175"/>
                <a:gd name="connsiteY1422" fmla="*/ 654882 h 6515100"/>
                <a:gd name="connsiteX1423" fmla="*/ 696642 w 4829175"/>
                <a:gd name="connsiteY1423" fmla="*/ 473908 h 6515100"/>
                <a:gd name="connsiteX1424" fmla="*/ 425531 w 4829175"/>
                <a:gd name="connsiteY1424" fmla="*/ 203496 h 6515100"/>
                <a:gd name="connsiteX1425" fmla="*/ 710617 w 4829175"/>
                <a:gd name="connsiteY1425" fmla="*/ 202798 h 6515100"/>
                <a:gd name="connsiteX1426" fmla="*/ 840582 w 4829175"/>
                <a:gd name="connsiteY1426" fmla="*/ 332763 h 6515100"/>
                <a:gd name="connsiteX1427" fmla="*/ 981029 w 4829175"/>
                <a:gd name="connsiteY1427" fmla="*/ 472511 h 6515100"/>
                <a:gd name="connsiteX1428" fmla="*/ 710617 w 4829175"/>
                <a:gd name="connsiteY1428" fmla="*/ 743621 h 6515100"/>
                <a:gd name="connsiteX1429" fmla="*/ 974740 w 4829175"/>
                <a:gd name="connsiteY1429" fmla="*/ 743621 h 6515100"/>
                <a:gd name="connsiteX1430" fmla="*/ 1245851 w 4829175"/>
                <a:gd name="connsiteY1430" fmla="*/ 473209 h 6515100"/>
                <a:gd name="connsiteX1431" fmla="*/ 974740 w 4829175"/>
                <a:gd name="connsiteY1431" fmla="*/ 202798 h 6515100"/>
                <a:gd name="connsiteX1432" fmla="*/ 2906055 w 4829175"/>
                <a:gd name="connsiteY1432" fmla="*/ 202099 h 6515100"/>
                <a:gd name="connsiteX1433" fmla="*/ 3035322 w 4829175"/>
                <a:gd name="connsiteY1433" fmla="*/ 329968 h 6515100"/>
                <a:gd name="connsiteX1434" fmla="*/ 3035322 w 4829175"/>
                <a:gd name="connsiteY1434" fmla="*/ 330667 h 6515100"/>
                <a:gd name="connsiteX1435" fmla="*/ 3177166 w 4829175"/>
                <a:gd name="connsiteY1435" fmla="*/ 472511 h 6515100"/>
                <a:gd name="connsiteX1436" fmla="*/ 2906754 w 4829175"/>
                <a:gd name="connsiteY1436" fmla="*/ 743621 h 6515100"/>
                <a:gd name="connsiteX1437" fmla="*/ 3170178 w 4829175"/>
                <a:gd name="connsiteY1437" fmla="*/ 743621 h 6515100"/>
                <a:gd name="connsiteX1438" fmla="*/ 3440590 w 4829175"/>
                <a:gd name="connsiteY1438" fmla="*/ 472511 h 6515100"/>
                <a:gd name="connsiteX1439" fmla="*/ 3435000 w 4829175"/>
                <a:gd name="connsiteY1439" fmla="*/ 466921 h 6515100"/>
                <a:gd name="connsiteX1440" fmla="*/ 3434301 w 4829175"/>
                <a:gd name="connsiteY1440" fmla="*/ 466921 h 6515100"/>
                <a:gd name="connsiteX1441" fmla="*/ 3168781 w 4829175"/>
                <a:gd name="connsiteY1441" fmla="*/ 202099 h 6515100"/>
                <a:gd name="connsiteX1442" fmla="*/ 1808336 w 4829175"/>
                <a:gd name="connsiteY1442" fmla="*/ 202099 h 6515100"/>
                <a:gd name="connsiteX1443" fmla="*/ 1810426 w 4829175"/>
                <a:gd name="connsiteY1443" fmla="*/ 204887 h 6515100"/>
                <a:gd name="connsiteX1444" fmla="*/ 1809733 w 4829175"/>
                <a:gd name="connsiteY1444" fmla="*/ 204195 h 6515100"/>
                <a:gd name="connsiteX1445" fmla="*/ 1810432 w 4829175"/>
                <a:gd name="connsiteY1445" fmla="*/ 204894 h 6515100"/>
                <a:gd name="connsiteX1446" fmla="*/ 1810426 w 4829175"/>
                <a:gd name="connsiteY1446" fmla="*/ 204887 h 6515100"/>
                <a:gd name="connsiteX1447" fmla="*/ 2068965 w 4829175"/>
                <a:gd name="connsiteY1447" fmla="*/ 462729 h 6515100"/>
                <a:gd name="connsiteX1448" fmla="*/ 2078748 w 4829175"/>
                <a:gd name="connsiteY1448" fmla="*/ 471812 h 6515100"/>
                <a:gd name="connsiteX1449" fmla="*/ 2080844 w 4829175"/>
                <a:gd name="connsiteY1449" fmla="*/ 473908 h 6515100"/>
                <a:gd name="connsiteX1450" fmla="*/ 1816022 w 4829175"/>
                <a:gd name="connsiteY1450" fmla="*/ 743621 h 6515100"/>
                <a:gd name="connsiteX1451" fmla="*/ 2075254 w 4829175"/>
                <a:gd name="connsiteY1451" fmla="*/ 744320 h 6515100"/>
                <a:gd name="connsiteX1452" fmla="*/ 2344968 w 4829175"/>
                <a:gd name="connsiteY1452" fmla="*/ 473908 h 6515100"/>
                <a:gd name="connsiteX1453" fmla="*/ 2209412 w 4829175"/>
                <a:gd name="connsiteY1453" fmla="*/ 339051 h 6515100"/>
                <a:gd name="connsiteX1454" fmla="*/ 2192643 w 4829175"/>
                <a:gd name="connsiteY1454" fmla="*/ 322282 h 6515100"/>
                <a:gd name="connsiteX1455" fmla="*/ 2073158 w 4829175"/>
                <a:gd name="connsiteY1455" fmla="*/ 203496 h 6515100"/>
                <a:gd name="connsiteX1456" fmla="*/ 2068965 w 4829175"/>
                <a:gd name="connsiteY1456" fmla="*/ 202099 h 6515100"/>
                <a:gd name="connsiteX1457" fmla="*/ 1258428 w 4829175"/>
                <a:gd name="connsiteY1457" fmla="*/ 202099 h 6515100"/>
                <a:gd name="connsiteX1458" fmla="*/ 1529539 w 4829175"/>
                <a:gd name="connsiteY1458" fmla="*/ 472511 h 6515100"/>
                <a:gd name="connsiteX1459" fmla="*/ 1259127 w 4829175"/>
                <a:gd name="connsiteY1459" fmla="*/ 743621 h 6515100"/>
                <a:gd name="connsiteX1460" fmla="*/ 1523250 w 4829175"/>
                <a:gd name="connsiteY1460" fmla="*/ 743621 h 6515100"/>
                <a:gd name="connsiteX1461" fmla="*/ 1793662 w 4829175"/>
                <a:gd name="connsiteY1461" fmla="*/ 472511 h 6515100"/>
                <a:gd name="connsiteX1462" fmla="*/ 1522551 w 4829175"/>
                <a:gd name="connsiteY1462" fmla="*/ 202099 h 6515100"/>
                <a:gd name="connsiteX1463" fmla="*/ 2621668 w 4829175"/>
                <a:gd name="connsiteY1463" fmla="*/ 200701 h 6515100"/>
                <a:gd name="connsiteX1464" fmla="*/ 2358243 w 4829175"/>
                <a:gd name="connsiteY1464" fmla="*/ 201400 h 6515100"/>
                <a:gd name="connsiteX1465" fmla="*/ 2627259 w 4829175"/>
                <a:gd name="connsiteY1465" fmla="*/ 469716 h 6515100"/>
                <a:gd name="connsiteX1466" fmla="*/ 2626560 w 4829175"/>
                <a:gd name="connsiteY1466" fmla="*/ 470415 h 6515100"/>
                <a:gd name="connsiteX1467" fmla="*/ 2627957 w 4829175"/>
                <a:gd name="connsiteY1467" fmla="*/ 471812 h 6515100"/>
                <a:gd name="connsiteX1468" fmla="*/ 2357544 w 4829175"/>
                <a:gd name="connsiteY1468" fmla="*/ 742923 h 6515100"/>
                <a:gd name="connsiteX1469" fmla="*/ 2621668 w 4829175"/>
                <a:gd name="connsiteY1469" fmla="*/ 742923 h 6515100"/>
                <a:gd name="connsiteX1470" fmla="*/ 2711805 w 4829175"/>
                <a:gd name="connsiteY1470" fmla="*/ 652786 h 6515100"/>
                <a:gd name="connsiteX1471" fmla="*/ 2891382 w 4829175"/>
                <a:gd name="connsiteY1471" fmla="*/ 469716 h 6515100"/>
                <a:gd name="connsiteX1472" fmla="*/ 4001678 w 4829175"/>
                <a:gd name="connsiteY1472" fmla="*/ 200003 h 6515100"/>
                <a:gd name="connsiteX1473" fmla="*/ 4131644 w 4829175"/>
                <a:gd name="connsiteY1473" fmla="*/ 329269 h 6515100"/>
                <a:gd name="connsiteX1474" fmla="*/ 4272090 w 4829175"/>
                <a:gd name="connsiteY1474" fmla="*/ 469716 h 6515100"/>
                <a:gd name="connsiteX1475" fmla="*/ 4179158 w 4829175"/>
                <a:gd name="connsiteY1475" fmla="*/ 563347 h 6515100"/>
                <a:gd name="connsiteX1476" fmla="*/ 4179856 w 4829175"/>
                <a:gd name="connsiteY1476" fmla="*/ 564046 h 6515100"/>
                <a:gd name="connsiteX1477" fmla="*/ 4003075 w 4829175"/>
                <a:gd name="connsiteY1477" fmla="*/ 741525 h 6515100"/>
                <a:gd name="connsiteX1478" fmla="*/ 4265801 w 4829175"/>
                <a:gd name="connsiteY1478" fmla="*/ 741525 h 6515100"/>
                <a:gd name="connsiteX1479" fmla="*/ 4536213 w 4829175"/>
                <a:gd name="connsiteY1479" fmla="*/ 470415 h 6515100"/>
                <a:gd name="connsiteX1480" fmla="*/ 4265102 w 4829175"/>
                <a:gd name="connsiteY1480" fmla="*/ 200003 h 6515100"/>
                <a:gd name="connsiteX1481" fmla="*/ 3453167 w 4829175"/>
                <a:gd name="connsiteY1481" fmla="*/ 200003 h 6515100"/>
                <a:gd name="connsiteX1482" fmla="*/ 3724278 w 4829175"/>
                <a:gd name="connsiteY1482" fmla="*/ 470415 h 6515100"/>
                <a:gd name="connsiteX1483" fmla="*/ 3724977 w 4829175"/>
                <a:gd name="connsiteY1483" fmla="*/ 471113 h 6515100"/>
                <a:gd name="connsiteX1484" fmla="*/ 3454565 w 4829175"/>
                <a:gd name="connsiteY1484" fmla="*/ 742224 h 6515100"/>
                <a:gd name="connsiteX1485" fmla="*/ 3718688 w 4829175"/>
                <a:gd name="connsiteY1485" fmla="*/ 742224 h 6515100"/>
                <a:gd name="connsiteX1486" fmla="*/ 3808127 w 4829175"/>
                <a:gd name="connsiteY1486" fmla="*/ 652087 h 6515100"/>
                <a:gd name="connsiteX1487" fmla="*/ 3807428 w 4829175"/>
                <a:gd name="connsiteY1487" fmla="*/ 652087 h 6515100"/>
                <a:gd name="connsiteX1488" fmla="*/ 3988403 w 4829175"/>
                <a:gd name="connsiteY1488" fmla="*/ 471113 h 6515100"/>
                <a:gd name="connsiteX1489" fmla="*/ 3983511 w 4829175"/>
                <a:gd name="connsiteY1489" fmla="*/ 465523 h 6515100"/>
                <a:gd name="connsiteX1490" fmla="*/ 3717291 w 4829175"/>
                <a:gd name="connsiteY1490" fmla="*/ 200003 h 6515100"/>
                <a:gd name="connsiteX1491" fmla="*/ 348134 w 4829175"/>
                <a:gd name="connsiteY1491" fmla="*/ 0 h 6515100"/>
                <a:gd name="connsiteX1492" fmla="*/ 358615 w 4829175"/>
                <a:gd name="connsiteY1492" fmla="*/ 0 h 6515100"/>
                <a:gd name="connsiteX1493" fmla="*/ 162106 w 4829175"/>
                <a:gd name="connsiteY1493" fmla="*/ 196509 h 6515100"/>
                <a:gd name="connsiteX1494" fmla="*/ 426230 w 4829175"/>
                <a:gd name="connsiteY1494" fmla="*/ 196509 h 6515100"/>
                <a:gd name="connsiteX1495" fmla="*/ 622232 w 4829175"/>
                <a:gd name="connsiteY1495" fmla="*/ 0 h 6515100"/>
                <a:gd name="connsiteX1496" fmla="*/ 632006 w 4829175"/>
                <a:gd name="connsiteY1496" fmla="*/ 0 h 6515100"/>
                <a:gd name="connsiteX1497" fmla="*/ 432518 w 4829175"/>
                <a:gd name="connsiteY1497" fmla="*/ 200003 h 6515100"/>
                <a:gd name="connsiteX1498" fmla="*/ 704328 w 4829175"/>
                <a:gd name="connsiteY1498" fmla="*/ 470415 h 6515100"/>
                <a:gd name="connsiteX1499" fmla="*/ 967752 w 4829175"/>
                <a:gd name="connsiteY1499" fmla="*/ 470415 h 6515100"/>
                <a:gd name="connsiteX1500" fmla="*/ 837089 w 4829175"/>
                <a:gd name="connsiteY1500" fmla="*/ 340449 h 6515100"/>
                <a:gd name="connsiteX1501" fmla="*/ 696642 w 4829175"/>
                <a:gd name="connsiteY1501" fmla="*/ 200003 h 6515100"/>
                <a:gd name="connsiteX1502" fmla="*/ 896129 w 4829175"/>
                <a:gd name="connsiteY1502" fmla="*/ 0 h 6515100"/>
                <a:gd name="connsiteX1503" fmla="*/ 907318 w 4829175"/>
                <a:gd name="connsiteY1503" fmla="*/ 0 h 6515100"/>
                <a:gd name="connsiteX1504" fmla="*/ 711316 w 4829175"/>
                <a:gd name="connsiteY1504" fmla="*/ 196509 h 6515100"/>
                <a:gd name="connsiteX1505" fmla="*/ 974740 w 4829175"/>
                <a:gd name="connsiteY1505" fmla="*/ 196509 h 6515100"/>
                <a:gd name="connsiteX1506" fmla="*/ 1170742 w 4829175"/>
                <a:gd name="connsiteY1506" fmla="*/ 0 h 6515100"/>
                <a:gd name="connsiteX1507" fmla="*/ 1179819 w 4829175"/>
                <a:gd name="connsiteY1507" fmla="*/ 0 h 6515100"/>
                <a:gd name="connsiteX1508" fmla="*/ 981029 w 4829175"/>
                <a:gd name="connsiteY1508" fmla="*/ 199304 h 6515100"/>
                <a:gd name="connsiteX1509" fmla="*/ 1252140 w 4829175"/>
                <a:gd name="connsiteY1509" fmla="*/ 469716 h 6515100"/>
                <a:gd name="connsiteX1510" fmla="*/ 1516263 w 4829175"/>
                <a:gd name="connsiteY1510" fmla="*/ 469716 h 6515100"/>
                <a:gd name="connsiteX1511" fmla="*/ 1245152 w 4829175"/>
                <a:gd name="connsiteY1511" fmla="*/ 199304 h 6515100"/>
                <a:gd name="connsiteX1512" fmla="*/ 1443942 w 4829175"/>
                <a:gd name="connsiteY1512" fmla="*/ 0 h 6515100"/>
                <a:gd name="connsiteX1513" fmla="*/ 1453410 w 4829175"/>
                <a:gd name="connsiteY1513" fmla="*/ 0 h 6515100"/>
                <a:gd name="connsiteX1514" fmla="*/ 1436607 w 4829175"/>
                <a:gd name="connsiteY1514" fmla="*/ 16933 h 6515100"/>
                <a:gd name="connsiteX1515" fmla="*/ 1435908 w 4829175"/>
                <a:gd name="connsiteY1515" fmla="*/ 16933 h 6515100"/>
                <a:gd name="connsiteX1516" fmla="*/ 1258428 w 4829175"/>
                <a:gd name="connsiteY1516" fmla="*/ 195111 h 6515100"/>
                <a:gd name="connsiteX1517" fmla="*/ 1522551 w 4829175"/>
                <a:gd name="connsiteY1517" fmla="*/ 195111 h 6515100"/>
                <a:gd name="connsiteX1518" fmla="*/ 1717663 w 4829175"/>
                <a:gd name="connsiteY1518" fmla="*/ 0 h 6515100"/>
                <a:gd name="connsiteX1519" fmla="*/ 1728424 w 4829175"/>
                <a:gd name="connsiteY1519" fmla="*/ 0 h 6515100"/>
                <a:gd name="connsiteX1520" fmla="*/ 1620376 w 4829175"/>
                <a:gd name="connsiteY1520" fmla="*/ 108468 h 6515100"/>
                <a:gd name="connsiteX1521" fmla="*/ 1619677 w 4829175"/>
                <a:gd name="connsiteY1521" fmla="*/ 108468 h 6515100"/>
                <a:gd name="connsiteX1522" fmla="*/ 1529539 w 4829175"/>
                <a:gd name="connsiteY1522" fmla="*/ 198605 h 6515100"/>
                <a:gd name="connsiteX1523" fmla="*/ 1799951 w 4829175"/>
                <a:gd name="connsiteY1523" fmla="*/ 469716 h 6515100"/>
                <a:gd name="connsiteX1524" fmla="*/ 2064074 w 4829175"/>
                <a:gd name="connsiteY1524" fmla="*/ 469716 h 6515100"/>
                <a:gd name="connsiteX1525" fmla="*/ 1792964 w 4829175"/>
                <a:gd name="connsiteY1525" fmla="*/ 199304 h 6515100"/>
                <a:gd name="connsiteX1526" fmla="*/ 1977431 w 4829175"/>
                <a:gd name="connsiteY1526" fmla="*/ 14837 h 6515100"/>
                <a:gd name="connsiteX1527" fmla="*/ 1978130 w 4829175"/>
                <a:gd name="connsiteY1527" fmla="*/ 14837 h 6515100"/>
                <a:gd name="connsiteX1528" fmla="*/ 1992847 w 4829175"/>
                <a:gd name="connsiteY1528" fmla="*/ 0 h 6515100"/>
                <a:gd name="connsiteX1529" fmla="*/ 2002247 w 4829175"/>
                <a:gd name="connsiteY1529" fmla="*/ 0 h 6515100"/>
                <a:gd name="connsiteX1530" fmla="*/ 1808336 w 4829175"/>
                <a:gd name="connsiteY1530" fmla="*/ 194412 h 6515100"/>
                <a:gd name="connsiteX1531" fmla="*/ 2071761 w 4829175"/>
                <a:gd name="connsiteY1531" fmla="*/ 194412 h 6515100"/>
                <a:gd name="connsiteX1532" fmla="*/ 2266173 w 4829175"/>
                <a:gd name="connsiteY1532" fmla="*/ 0 h 6515100"/>
                <a:gd name="connsiteX1533" fmla="*/ 2277539 w 4829175"/>
                <a:gd name="connsiteY1533" fmla="*/ 0 h 6515100"/>
                <a:gd name="connsiteX1534" fmla="*/ 2078748 w 4829175"/>
                <a:gd name="connsiteY1534" fmla="*/ 199304 h 6515100"/>
                <a:gd name="connsiteX1535" fmla="*/ 2348461 w 4829175"/>
                <a:gd name="connsiteY1535" fmla="*/ 468319 h 6515100"/>
                <a:gd name="connsiteX1536" fmla="*/ 2611886 w 4829175"/>
                <a:gd name="connsiteY1536" fmla="*/ 468319 h 6515100"/>
                <a:gd name="connsiteX1537" fmla="*/ 2342872 w 4829175"/>
                <a:gd name="connsiteY1537" fmla="*/ 199304 h 6515100"/>
                <a:gd name="connsiteX1538" fmla="*/ 2343570 w 4829175"/>
                <a:gd name="connsiteY1538" fmla="*/ 198605 h 6515100"/>
                <a:gd name="connsiteX1539" fmla="*/ 2342173 w 4829175"/>
                <a:gd name="connsiteY1539" fmla="*/ 197208 h 6515100"/>
                <a:gd name="connsiteX1540" fmla="*/ 2538868 w 4829175"/>
                <a:gd name="connsiteY1540" fmla="*/ 0 h 6515100"/>
                <a:gd name="connsiteX1541" fmla="*/ 2552152 w 4829175"/>
                <a:gd name="connsiteY1541" fmla="*/ 0 h 6515100"/>
                <a:gd name="connsiteX1542" fmla="*/ 2358243 w 4829175"/>
                <a:gd name="connsiteY1542" fmla="*/ 194412 h 6515100"/>
                <a:gd name="connsiteX1543" fmla="*/ 2620271 w 4829175"/>
                <a:gd name="connsiteY1543" fmla="*/ 194412 h 6515100"/>
                <a:gd name="connsiteX1544" fmla="*/ 2814181 w 4829175"/>
                <a:gd name="connsiteY1544" fmla="*/ 0 h 6515100"/>
                <a:gd name="connsiteX1545" fmla="*/ 2825540 w 4829175"/>
                <a:gd name="connsiteY1545" fmla="*/ 0 h 6515100"/>
                <a:gd name="connsiteX1546" fmla="*/ 2628655 w 4829175"/>
                <a:gd name="connsiteY1546" fmla="*/ 197906 h 6515100"/>
                <a:gd name="connsiteX1547" fmla="*/ 2898368 w 4829175"/>
                <a:gd name="connsiteY1547" fmla="*/ 466921 h 6515100"/>
                <a:gd name="connsiteX1548" fmla="*/ 3163191 w 4829175"/>
                <a:gd name="connsiteY1548" fmla="*/ 468319 h 6515100"/>
                <a:gd name="connsiteX1549" fmla="*/ 2892081 w 4829175"/>
                <a:gd name="connsiteY1549" fmla="*/ 197906 h 6515100"/>
                <a:gd name="connsiteX1550" fmla="*/ 2890683 w 4829175"/>
                <a:gd name="connsiteY1550" fmla="*/ 196509 h 6515100"/>
                <a:gd name="connsiteX1551" fmla="*/ 3086683 w 4829175"/>
                <a:gd name="connsiteY1551" fmla="*/ 0 h 6515100"/>
                <a:gd name="connsiteX1552" fmla="*/ 3097556 w 4829175"/>
                <a:gd name="connsiteY1552" fmla="*/ 0 h 6515100"/>
                <a:gd name="connsiteX1553" fmla="*/ 3082137 w 4829175"/>
                <a:gd name="connsiteY1553" fmla="*/ 15536 h 6515100"/>
                <a:gd name="connsiteX1554" fmla="*/ 3082836 w 4829175"/>
                <a:gd name="connsiteY1554" fmla="*/ 16235 h 6515100"/>
                <a:gd name="connsiteX1555" fmla="*/ 2906754 w 4829175"/>
                <a:gd name="connsiteY1555" fmla="*/ 192317 h 6515100"/>
                <a:gd name="connsiteX1556" fmla="*/ 3103099 w 4829175"/>
                <a:gd name="connsiteY1556" fmla="*/ 192317 h 6515100"/>
                <a:gd name="connsiteX1557" fmla="*/ 3102401 w 4829175"/>
                <a:gd name="connsiteY1557" fmla="*/ 193714 h 6515100"/>
                <a:gd name="connsiteX1558" fmla="*/ 3168083 w 4829175"/>
                <a:gd name="connsiteY1558" fmla="*/ 193714 h 6515100"/>
                <a:gd name="connsiteX1559" fmla="*/ 3361298 w 4829175"/>
                <a:gd name="connsiteY1559" fmla="*/ 0 h 6515100"/>
                <a:gd name="connsiteX1560" fmla="*/ 3371863 w 4829175"/>
                <a:gd name="connsiteY1560" fmla="*/ 0 h 6515100"/>
                <a:gd name="connsiteX1561" fmla="*/ 3264508 w 4829175"/>
                <a:gd name="connsiteY1561" fmla="*/ 107769 h 6515100"/>
                <a:gd name="connsiteX1562" fmla="*/ 3265906 w 4829175"/>
                <a:gd name="connsiteY1562" fmla="*/ 108468 h 6515100"/>
                <a:gd name="connsiteX1563" fmla="*/ 3176467 w 4829175"/>
                <a:gd name="connsiteY1563" fmla="*/ 197906 h 6515100"/>
                <a:gd name="connsiteX1564" fmla="*/ 3446879 w 4829175"/>
                <a:gd name="connsiteY1564" fmla="*/ 467620 h 6515100"/>
                <a:gd name="connsiteX1565" fmla="*/ 3710303 w 4829175"/>
                <a:gd name="connsiteY1565" fmla="*/ 467620 h 6515100"/>
                <a:gd name="connsiteX1566" fmla="*/ 3439891 w 4829175"/>
                <a:gd name="connsiteY1566" fmla="*/ 197906 h 6515100"/>
                <a:gd name="connsiteX1567" fmla="*/ 3439193 w 4829175"/>
                <a:gd name="connsiteY1567" fmla="*/ 197208 h 6515100"/>
                <a:gd name="connsiteX1568" fmla="*/ 3635893 w 4829175"/>
                <a:gd name="connsiteY1568" fmla="*/ 0 h 6515100"/>
                <a:gd name="connsiteX1569" fmla="*/ 3646183 w 4829175"/>
                <a:gd name="connsiteY1569" fmla="*/ 0 h 6515100"/>
                <a:gd name="connsiteX1570" fmla="*/ 3453167 w 4829175"/>
                <a:gd name="connsiteY1570" fmla="*/ 193016 h 6515100"/>
                <a:gd name="connsiteX1571" fmla="*/ 3717291 w 4829175"/>
                <a:gd name="connsiteY1571" fmla="*/ 193016 h 6515100"/>
                <a:gd name="connsiteX1572" fmla="*/ 3910306 w 4829175"/>
                <a:gd name="connsiteY1572" fmla="*/ 0 h 6515100"/>
                <a:gd name="connsiteX1573" fmla="*/ 3919582 w 4829175"/>
                <a:gd name="connsiteY1573" fmla="*/ 0 h 6515100"/>
                <a:gd name="connsiteX1574" fmla="*/ 3723579 w 4829175"/>
                <a:gd name="connsiteY1574" fmla="*/ 196509 h 6515100"/>
                <a:gd name="connsiteX1575" fmla="*/ 3994690 w 4829175"/>
                <a:gd name="connsiteY1575" fmla="*/ 466921 h 6515100"/>
                <a:gd name="connsiteX1576" fmla="*/ 4258116 w 4829175"/>
                <a:gd name="connsiteY1576" fmla="*/ 466921 h 6515100"/>
                <a:gd name="connsiteX1577" fmla="*/ 4128150 w 4829175"/>
                <a:gd name="connsiteY1577" fmla="*/ 336956 h 6515100"/>
                <a:gd name="connsiteX1578" fmla="*/ 3987703 w 4829175"/>
                <a:gd name="connsiteY1578" fmla="*/ 196509 h 6515100"/>
                <a:gd name="connsiteX1579" fmla="*/ 4183705 w 4829175"/>
                <a:gd name="connsiteY1579" fmla="*/ 0 h 6515100"/>
                <a:gd name="connsiteX1580" fmla="*/ 4194197 w 4829175"/>
                <a:gd name="connsiteY1580" fmla="*/ 0 h 6515100"/>
                <a:gd name="connsiteX1581" fmla="*/ 4002377 w 4829175"/>
                <a:gd name="connsiteY1581" fmla="*/ 192317 h 6515100"/>
                <a:gd name="connsiteX1582" fmla="*/ 4265801 w 4829175"/>
                <a:gd name="connsiteY1582" fmla="*/ 192317 h 6515100"/>
                <a:gd name="connsiteX1583" fmla="*/ 4457622 w 4829175"/>
                <a:gd name="connsiteY1583" fmla="*/ 0 h 6515100"/>
                <a:gd name="connsiteX1584" fmla="*/ 4467396 w 4829175"/>
                <a:gd name="connsiteY1584" fmla="*/ 0 h 6515100"/>
                <a:gd name="connsiteX1585" fmla="*/ 4272090 w 4829175"/>
                <a:gd name="connsiteY1585" fmla="*/ 195810 h 6515100"/>
                <a:gd name="connsiteX1586" fmla="*/ 4543201 w 4829175"/>
                <a:gd name="connsiteY1586" fmla="*/ 466222 h 6515100"/>
                <a:gd name="connsiteX1587" fmla="*/ 4807324 w 4829175"/>
                <a:gd name="connsiteY1587" fmla="*/ 466222 h 6515100"/>
                <a:gd name="connsiteX1588" fmla="*/ 4536213 w 4829175"/>
                <a:gd name="connsiteY1588" fmla="*/ 195810 h 6515100"/>
                <a:gd name="connsiteX1589" fmla="*/ 4731518 w 4829175"/>
                <a:gd name="connsiteY1589" fmla="*/ 0 h 6515100"/>
                <a:gd name="connsiteX1590" fmla="*/ 4741806 w 4829175"/>
                <a:gd name="connsiteY1590" fmla="*/ 0 h 6515100"/>
                <a:gd name="connsiteX1591" fmla="*/ 4549489 w 4829175"/>
                <a:gd name="connsiteY1591" fmla="*/ 192317 h 6515100"/>
                <a:gd name="connsiteX1592" fmla="*/ 4813613 w 4829175"/>
                <a:gd name="connsiteY1592" fmla="*/ 192317 h 6515100"/>
                <a:gd name="connsiteX1593" fmla="*/ 4823396 w 4829175"/>
                <a:gd name="connsiteY1593" fmla="*/ 182534 h 6515100"/>
                <a:gd name="connsiteX1594" fmla="*/ 4823396 w 4829175"/>
                <a:gd name="connsiteY1594" fmla="*/ 193016 h 6515100"/>
                <a:gd name="connsiteX1595" fmla="*/ 4820600 w 4829175"/>
                <a:gd name="connsiteY1595" fmla="*/ 195810 h 6515100"/>
                <a:gd name="connsiteX1596" fmla="*/ 4823396 w 4829175"/>
                <a:gd name="connsiteY1596" fmla="*/ 198605 h 6515100"/>
                <a:gd name="connsiteX1597" fmla="*/ 4823396 w 4829175"/>
                <a:gd name="connsiteY1597" fmla="*/ 209086 h 6515100"/>
                <a:gd name="connsiteX1598" fmla="*/ 4814311 w 4829175"/>
                <a:gd name="connsiteY1598" fmla="*/ 200003 h 6515100"/>
                <a:gd name="connsiteX1599" fmla="*/ 4550188 w 4829175"/>
                <a:gd name="connsiteY1599" fmla="*/ 200003 h 6515100"/>
                <a:gd name="connsiteX1600" fmla="*/ 4821299 w 4829175"/>
                <a:gd name="connsiteY1600" fmla="*/ 470415 h 6515100"/>
                <a:gd name="connsiteX1601" fmla="*/ 4550887 w 4829175"/>
                <a:gd name="connsiteY1601" fmla="*/ 741525 h 6515100"/>
                <a:gd name="connsiteX1602" fmla="*/ 4815010 w 4829175"/>
                <a:gd name="connsiteY1602" fmla="*/ 741525 h 6515100"/>
                <a:gd name="connsiteX1603" fmla="*/ 4823396 w 4829175"/>
                <a:gd name="connsiteY1603" fmla="*/ 732442 h 6515100"/>
                <a:gd name="connsiteX1604" fmla="*/ 4823396 w 4829175"/>
                <a:gd name="connsiteY1604" fmla="*/ 742224 h 6515100"/>
                <a:gd name="connsiteX1605" fmla="*/ 4821299 w 4829175"/>
                <a:gd name="connsiteY1605" fmla="*/ 744320 h 6515100"/>
                <a:gd name="connsiteX1606" fmla="*/ 4823396 w 4829175"/>
                <a:gd name="connsiteY1606" fmla="*/ 746417 h 6515100"/>
                <a:gd name="connsiteX1607" fmla="*/ 4823396 w 4829175"/>
                <a:gd name="connsiteY1607" fmla="*/ 756898 h 6515100"/>
                <a:gd name="connsiteX1608" fmla="*/ 4814311 w 4829175"/>
                <a:gd name="connsiteY1608" fmla="*/ 747814 h 6515100"/>
                <a:gd name="connsiteX1609" fmla="*/ 4550188 w 4829175"/>
                <a:gd name="connsiteY1609" fmla="*/ 747814 h 6515100"/>
                <a:gd name="connsiteX1610" fmla="*/ 4821299 w 4829175"/>
                <a:gd name="connsiteY1610" fmla="*/ 1018227 h 6515100"/>
                <a:gd name="connsiteX1611" fmla="*/ 4821998 w 4829175"/>
                <a:gd name="connsiteY1611" fmla="*/ 1018924 h 6515100"/>
                <a:gd name="connsiteX1612" fmla="*/ 4551586 w 4829175"/>
                <a:gd name="connsiteY1612" fmla="*/ 1290035 h 6515100"/>
                <a:gd name="connsiteX1613" fmla="*/ 4815709 w 4829175"/>
                <a:gd name="connsiteY1613" fmla="*/ 1290035 h 6515100"/>
                <a:gd name="connsiteX1614" fmla="*/ 4823396 w 4829175"/>
                <a:gd name="connsiteY1614" fmla="*/ 1282349 h 6515100"/>
                <a:gd name="connsiteX1615" fmla="*/ 4823396 w 4829175"/>
                <a:gd name="connsiteY1615" fmla="*/ 1292831 h 6515100"/>
                <a:gd name="connsiteX1616" fmla="*/ 4822697 w 4829175"/>
                <a:gd name="connsiteY1616" fmla="*/ 1293530 h 6515100"/>
                <a:gd name="connsiteX1617" fmla="*/ 4823396 w 4829175"/>
                <a:gd name="connsiteY1617" fmla="*/ 1294228 h 6515100"/>
                <a:gd name="connsiteX1618" fmla="*/ 4823396 w 4829175"/>
                <a:gd name="connsiteY1618" fmla="*/ 1304010 h 6515100"/>
                <a:gd name="connsiteX1619" fmla="*/ 4815709 w 4829175"/>
                <a:gd name="connsiteY1619" fmla="*/ 1296324 h 6515100"/>
                <a:gd name="connsiteX1620" fmla="*/ 4551586 w 4829175"/>
                <a:gd name="connsiteY1620" fmla="*/ 1297023 h 6515100"/>
                <a:gd name="connsiteX1621" fmla="*/ 4823396 w 4829175"/>
                <a:gd name="connsiteY1621" fmla="*/ 1566736 h 6515100"/>
                <a:gd name="connsiteX1622" fmla="*/ 4552984 w 4829175"/>
                <a:gd name="connsiteY1622" fmla="*/ 1837847 h 6515100"/>
                <a:gd name="connsiteX1623" fmla="*/ 4817107 w 4829175"/>
                <a:gd name="connsiteY1623" fmla="*/ 1837847 h 6515100"/>
                <a:gd name="connsiteX1624" fmla="*/ 4824094 w 4829175"/>
                <a:gd name="connsiteY1624" fmla="*/ 1830859 h 6515100"/>
                <a:gd name="connsiteX1625" fmla="*/ 4824094 w 4829175"/>
                <a:gd name="connsiteY1625" fmla="*/ 1841341 h 6515100"/>
                <a:gd name="connsiteX1626" fmla="*/ 4824094 w 4829175"/>
                <a:gd name="connsiteY1626" fmla="*/ 1851822 h 6515100"/>
                <a:gd name="connsiteX1627" fmla="*/ 4817107 w 4829175"/>
                <a:gd name="connsiteY1627" fmla="*/ 1844834 h 6515100"/>
                <a:gd name="connsiteX1628" fmla="*/ 4552984 w 4829175"/>
                <a:gd name="connsiteY1628" fmla="*/ 1844834 h 6515100"/>
                <a:gd name="connsiteX1629" fmla="*/ 4824094 w 4829175"/>
                <a:gd name="connsiteY1629" fmla="*/ 2115246 h 6515100"/>
                <a:gd name="connsiteX1630" fmla="*/ 4821299 w 4829175"/>
                <a:gd name="connsiteY1630" fmla="*/ 2118042 h 6515100"/>
                <a:gd name="connsiteX1631" fmla="*/ 4731162 w 4829175"/>
                <a:gd name="connsiteY1631" fmla="*/ 2208877 h 6515100"/>
                <a:gd name="connsiteX1632" fmla="*/ 4553682 w 4829175"/>
                <a:gd name="connsiteY1632" fmla="*/ 2386357 h 6515100"/>
                <a:gd name="connsiteX1633" fmla="*/ 4817806 w 4829175"/>
                <a:gd name="connsiteY1633" fmla="*/ 2386357 h 6515100"/>
                <a:gd name="connsiteX1634" fmla="*/ 4824094 w 4829175"/>
                <a:gd name="connsiteY1634" fmla="*/ 2380068 h 6515100"/>
                <a:gd name="connsiteX1635" fmla="*/ 4824094 w 4829175"/>
                <a:gd name="connsiteY1635" fmla="*/ 2398934 h 6515100"/>
                <a:gd name="connsiteX1636" fmla="*/ 4817806 w 4829175"/>
                <a:gd name="connsiteY1636" fmla="*/ 2392646 h 6515100"/>
                <a:gd name="connsiteX1637" fmla="*/ 4553682 w 4829175"/>
                <a:gd name="connsiteY1637" fmla="*/ 2392646 h 6515100"/>
                <a:gd name="connsiteX1638" fmla="*/ 4824094 w 4829175"/>
                <a:gd name="connsiteY1638" fmla="*/ 2662359 h 6515100"/>
                <a:gd name="connsiteX1639" fmla="*/ 4824094 w 4829175"/>
                <a:gd name="connsiteY1639" fmla="*/ 2663757 h 6515100"/>
                <a:gd name="connsiteX1640" fmla="*/ 4554381 w 4829175"/>
                <a:gd name="connsiteY1640" fmla="*/ 2934169 h 6515100"/>
                <a:gd name="connsiteX1641" fmla="*/ 4817806 w 4829175"/>
                <a:gd name="connsiteY1641" fmla="*/ 2934169 h 6515100"/>
                <a:gd name="connsiteX1642" fmla="*/ 4823396 w 4829175"/>
                <a:gd name="connsiteY1642" fmla="*/ 2928579 h 6515100"/>
                <a:gd name="connsiteX1643" fmla="*/ 4823396 w 4829175"/>
                <a:gd name="connsiteY1643" fmla="*/ 2947445 h 6515100"/>
                <a:gd name="connsiteX1644" fmla="*/ 4817806 w 4829175"/>
                <a:gd name="connsiteY1644" fmla="*/ 2941855 h 6515100"/>
                <a:gd name="connsiteX1645" fmla="*/ 4554381 w 4829175"/>
                <a:gd name="connsiteY1645" fmla="*/ 2941855 h 6515100"/>
                <a:gd name="connsiteX1646" fmla="*/ 4684346 w 4829175"/>
                <a:gd name="connsiteY1646" fmla="*/ 3071820 h 6515100"/>
                <a:gd name="connsiteX1647" fmla="*/ 4823396 w 4829175"/>
                <a:gd name="connsiteY1647" fmla="*/ 3210869 h 6515100"/>
                <a:gd name="connsiteX1648" fmla="*/ 4823396 w 4829175"/>
                <a:gd name="connsiteY1648" fmla="*/ 3213665 h 6515100"/>
                <a:gd name="connsiteX1649" fmla="*/ 4554381 w 4829175"/>
                <a:gd name="connsiteY1649" fmla="*/ 3483378 h 6515100"/>
                <a:gd name="connsiteX1650" fmla="*/ 4818505 w 4829175"/>
                <a:gd name="connsiteY1650" fmla="*/ 3483378 h 6515100"/>
                <a:gd name="connsiteX1651" fmla="*/ 4823396 w 4829175"/>
                <a:gd name="connsiteY1651" fmla="*/ 3478487 h 6515100"/>
                <a:gd name="connsiteX1652" fmla="*/ 4823396 w 4829175"/>
                <a:gd name="connsiteY1652" fmla="*/ 3495256 h 6515100"/>
                <a:gd name="connsiteX1653" fmla="*/ 4818505 w 4829175"/>
                <a:gd name="connsiteY1653" fmla="*/ 3490365 h 6515100"/>
                <a:gd name="connsiteX1654" fmla="*/ 4554381 w 4829175"/>
                <a:gd name="connsiteY1654" fmla="*/ 3490365 h 6515100"/>
                <a:gd name="connsiteX1655" fmla="*/ 4555778 w 4829175"/>
                <a:gd name="connsiteY1655" fmla="*/ 3491762 h 6515100"/>
                <a:gd name="connsiteX1656" fmla="*/ 4823396 w 4829175"/>
                <a:gd name="connsiteY1656" fmla="*/ 3758681 h 6515100"/>
                <a:gd name="connsiteX1657" fmla="*/ 4823396 w 4829175"/>
                <a:gd name="connsiteY1657" fmla="*/ 3762174 h 6515100"/>
                <a:gd name="connsiteX1658" fmla="*/ 4555828 w 4829175"/>
                <a:gd name="connsiteY1658" fmla="*/ 4030438 h 6515100"/>
                <a:gd name="connsiteX1659" fmla="*/ 4817996 w 4829175"/>
                <a:gd name="connsiteY1659" fmla="*/ 4030438 h 6515100"/>
                <a:gd name="connsiteX1660" fmla="*/ 4828476 w 4829175"/>
                <a:gd name="connsiteY1660" fmla="*/ 4019957 h 6515100"/>
                <a:gd name="connsiteX1661" fmla="*/ 4828476 w 4829175"/>
                <a:gd name="connsiteY1661" fmla="*/ 4030438 h 6515100"/>
                <a:gd name="connsiteX1662" fmla="*/ 4824983 w 4829175"/>
                <a:gd name="connsiteY1662" fmla="*/ 4033931 h 6515100"/>
                <a:gd name="connsiteX1663" fmla="*/ 4828476 w 4829175"/>
                <a:gd name="connsiteY1663" fmla="*/ 4037426 h 6515100"/>
                <a:gd name="connsiteX1664" fmla="*/ 4828476 w 4829175"/>
                <a:gd name="connsiteY1664" fmla="*/ 4047906 h 6515100"/>
                <a:gd name="connsiteX1665" fmla="*/ 4823396 w 4829175"/>
                <a:gd name="connsiteY1665" fmla="*/ 4042826 h 6515100"/>
                <a:gd name="connsiteX1666" fmla="*/ 4823396 w 4829175"/>
                <a:gd name="connsiteY1666" fmla="*/ 4043068 h 6515100"/>
                <a:gd name="connsiteX1667" fmla="*/ 4819202 w 4829175"/>
                <a:gd name="connsiteY1667" fmla="*/ 4038876 h 6515100"/>
                <a:gd name="connsiteX1668" fmla="*/ 4555321 w 4829175"/>
                <a:gd name="connsiteY1668" fmla="*/ 4038876 h 6515100"/>
                <a:gd name="connsiteX1669" fmla="*/ 4555968 w 4829175"/>
                <a:gd name="connsiteY1669" fmla="*/ 4039522 h 6515100"/>
                <a:gd name="connsiteX1670" fmla="*/ 4825681 w 4829175"/>
                <a:gd name="connsiteY1670" fmla="*/ 4308536 h 6515100"/>
                <a:gd name="connsiteX1671" fmla="*/ 4554570 w 4829175"/>
                <a:gd name="connsiteY1671" fmla="*/ 4579647 h 6515100"/>
                <a:gd name="connsiteX1672" fmla="*/ 4818693 w 4829175"/>
                <a:gd name="connsiteY1672" fmla="*/ 4579647 h 6515100"/>
                <a:gd name="connsiteX1673" fmla="*/ 4828476 w 4829175"/>
                <a:gd name="connsiteY1673" fmla="*/ 4569864 h 6515100"/>
                <a:gd name="connsiteX1674" fmla="*/ 4828476 w 4829175"/>
                <a:gd name="connsiteY1674" fmla="*/ 4580346 h 6515100"/>
                <a:gd name="connsiteX1675" fmla="*/ 4825681 w 4829175"/>
                <a:gd name="connsiteY1675" fmla="*/ 4583140 h 6515100"/>
                <a:gd name="connsiteX1676" fmla="*/ 4828476 w 4829175"/>
                <a:gd name="connsiteY1676" fmla="*/ 4585936 h 6515100"/>
                <a:gd name="connsiteX1677" fmla="*/ 4828476 w 4829175"/>
                <a:gd name="connsiteY1677" fmla="*/ 4596417 h 6515100"/>
                <a:gd name="connsiteX1678" fmla="*/ 4819392 w 4829175"/>
                <a:gd name="connsiteY1678" fmla="*/ 4587334 h 6515100"/>
                <a:gd name="connsiteX1679" fmla="*/ 4555269 w 4829175"/>
                <a:gd name="connsiteY1679" fmla="*/ 4587334 h 6515100"/>
                <a:gd name="connsiteX1680" fmla="*/ 4826380 w 4829175"/>
                <a:gd name="connsiteY1680" fmla="*/ 4857746 h 6515100"/>
                <a:gd name="connsiteX1681" fmla="*/ 4555968 w 4829175"/>
                <a:gd name="connsiteY1681" fmla="*/ 5128855 h 6515100"/>
                <a:gd name="connsiteX1682" fmla="*/ 4820091 w 4829175"/>
                <a:gd name="connsiteY1682" fmla="*/ 5128855 h 6515100"/>
                <a:gd name="connsiteX1683" fmla="*/ 4828476 w 4829175"/>
                <a:gd name="connsiteY1683" fmla="*/ 5119772 h 6515100"/>
                <a:gd name="connsiteX1684" fmla="*/ 4828476 w 4829175"/>
                <a:gd name="connsiteY1684" fmla="*/ 5129554 h 6515100"/>
                <a:gd name="connsiteX1685" fmla="*/ 4826380 w 4829175"/>
                <a:gd name="connsiteY1685" fmla="*/ 5131651 h 6515100"/>
                <a:gd name="connsiteX1686" fmla="*/ 4828476 w 4829175"/>
                <a:gd name="connsiteY1686" fmla="*/ 5133747 h 6515100"/>
                <a:gd name="connsiteX1687" fmla="*/ 4828476 w 4829175"/>
                <a:gd name="connsiteY1687" fmla="*/ 5144228 h 6515100"/>
                <a:gd name="connsiteX1688" fmla="*/ 4819392 w 4829175"/>
                <a:gd name="connsiteY1688" fmla="*/ 5135144 h 6515100"/>
                <a:gd name="connsiteX1689" fmla="*/ 4555269 w 4829175"/>
                <a:gd name="connsiteY1689" fmla="*/ 5135144 h 6515100"/>
                <a:gd name="connsiteX1690" fmla="*/ 4826380 w 4829175"/>
                <a:gd name="connsiteY1690" fmla="*/ 5405557 h 6515100"/>
                <a:gd name="connsiteX1691" fmla="*/ 4827079 w 4829175"/>
                <a:gd name="connsiteY1691" fmla="*/ 5406255 h 6515100"/>
                <a:gd name="connsiteX1692" fmla="*/ 4556667 w 4829175"/>
                <a:gd name="connsiteY1692" fmla="*/ 5677366 h 6515100"/>
                <a:gd name="connsiteX1693" fmla="*/ 4820790 w 4829175"/>
                <a:gd name="connsiteY1693" fmla="*/ 5677366 h 6515100"/>
                <a:gd name="connsiteX1694" fmla="*/ 4828476 w 4829175"/>
                <a:gd name="connsiteY1694" fmla="*/ 5669679 h 6515100"/>
                <a:gd name="connsiteX1695" fmla="*/ 4828476 w 4829175"/>
                <a:gd name="connsiteY1695" fmla="*/ 5680161 h 6515100"/>
                <a:gd name="connsiteX1696" fmla="*/ 4827778 w 4829175"/>
                <a:gd name="connsiteY1696" fmla="*/ 5680860 h 6515100"/>
                <a:gd name="connsiteX1697" fmla="*/ 4828476 w 4829175"/>
                <a:gd name="connsiteY1697" fmla="*/ 5681559 h 6515100"/>
                <a:gd name="connsiteX1698" fmla="*/ 4828476 w 4829175"/>
                <a:gd name="connsiteY1698" fmla="*/ 5691341 h 6515100"/>
                <a:gd name="connsiteX1699" fmla="*/ 4820790 w 4829175"/>
                <a:gd name="connsiteY1699" fmla="*/ 5683654 h 6515100"/>
                <a:gd name="connsiteX1700" fmla="*/ 4556667 w 4829175"/>
                <a:gd name="connsiteY1700" fmla="*/ 5684353 h 6515100"/>
                <a:gd name="connsiteX1701" fmla="*/ 4828476 w 4829175"/>
                <a:gd name="connsiteY1701" fmla="*/ 5954066 h 6515100"/>
                <a:gd name="connsiteX1702" fmla="*/ 4558064 w 4829175"/>
                <a:gd name="connsiteY1702" fmla="*/ 6225177 h 6515100"/>
                <a:gd name="connsiteX1703" fmla="*/ 4822188 w 4829175"/>
                <a:gd name="connsiteY1703" fmla="*/ 6225177 h 6515100"/>
                <a:gd name="connsiteX1704" fmla="*/ 4829175 w 4829175"/>
                <a:gd name="connsiteY1704" fmla="*/ 6218190 h 6515100"/>
                <a:gd name="connsiteX1705" fmla="*/ 4829175 w 4829175"/>
                <a:gd name="connsiteY1705" fmla="*/ 6228671 h 6515100"/>
                <a:gd name="connsiteX1706" fmla="*/ 4829175 w 4829175"/>
                <a:gd name="connsiteY1706" fmla="*/ 6239152 h 6515100"/>
                <a:gd name="connsiteX1707" fmla="*/ 4822188 w 4829175"/>
                <a:gd name="connsiteY1707" fmla="*/ 6232165 h 6515100"/>
                <a:gd name="connsiteX1708" fmla="*/ 4558064 w 4829175"/>
                <a:gd name="connsiteY1708" fmla="*/ 6232165 h 6515100"/>
                <a:gd name="connsiteX1709" fmla="*/ 4829175 w 4829175"/>
                <a:gd name="connsiteY1709" fmla="*/ 6502577 h 6515100"/>
                <a:gd name="connsiteX1710" fmla="*/ 4826380 w 4829175"/>
                <a:gd name="connsiteY1710" fmla="*/ 6505372 h 6515100"/>
                <a:gd name="connsiteX1711" fmla="*/ 4816727 w 4829175"/>
                <a:gd name="connsiteY1711" fmla="*/ 6515100 h 6515100"/>
                <a:gd name="connsiteX1712" fmla="*/ 4806802 w 4829175"/>
                <a:gd name="connsiteY1712" fmla="*/ 6515100 h 6515100"/>
                <a:gd name="connsiteX1713" fmla="*/ 4815200 w 4829175"/>
                <a:gd name="connsiteY1713" fmla="*/ 6506770 h 6515100"/>
                <a:gd name="connsiteX1714" fmla="*/ 4551077 w 4829175"/>
                <a:gd name="connsiteY1714" fmla="*/ 6506770 h 6515100"/>
                <a:gd name="connsiteX1715" fmla="*/ 4542768 w 4829175"/>
                <a:gd name="connsiteY1715" fmla="*/ 6515100 h 6515100"/>
                <a:gd name="connsiteX1716" fmla="*/ 4531598 w 4829175"/>
                <a:gd name="connsiteY1716" fmla="*/ 6515100 h 6515100"/>
                <a:gd name="connsiteX1717" fmla="*/ 4544089 w 4829175"/>
                <a:gd name="connsiteY1717" fmla="*/ 6502577 h 6515100"/>
                <a:gd name="connsiteX1718" fmla="*/ 4539198 w 4829175"/>
                <a:gd name="connsiteY1718" fmla="*/ 6497686 h 6515100"/>
                <a:gd name="connsiteX1719" fmla="*/ 4273677 w 4829175"/>
                <a:gd name="connsiteY1719" fmla="*/ 6232165 h 6515100"/>
                <a:gd name="connsiteX1720" fmla="*/ 4009554 w 4829175"/>
                <a:gd name="connsiteY1720" fmla="*/ 6232165 h 6515100"/>
                <a:gd name="connsiteX1721" fmla="*/ 4010952 w 4829175"/>
                <a:gd name="connsiteY1721" fmla="*/ 6233562 h 6515100"/>
                <a:gd name="connsiteX1722" fmla="*/ 4279966 w 4829175"/>
                <a:gd name="connsiteY1722" fmla="*/ 6502577 h 6515100"/>
                <a:gd name="connsiteX1723" fmla="*/ 4267475 w 4829175"/>
                <a:gd name="connsiteY1723" fmla="*/ 6515100 h 6515100"/>
                <a:gd name="connsiteX1724" fmla="*/ 4259077 w 4829175"/>
                <a:gd name="connsiteY1724" fmla="*/ 6515100 h 6515100"/>
                <a:gd name="connsiteX1725" fmla="*/ 4266690 w 4829175"/>
                <a:gd name="connsiteY1725" fmla="*/ 6507468 h 6515100"/>
                <a:gd name="connsiteX1726" fmla="*/ 4002566 w 4829175"/>
                <a:gd name="connsiteY1726" fmla="*/ 6507468 h 6515100"/>
                <a:gd name="connsiteX1727" fmla="*/ 3994954 w 4829175"/>
                <a:gd name="connsiteY1727" fmla="*/ 6515100 h 6515100"/>
                <a:gd name="connsiteX1728" fmla="*/ 3983089 w 4829175"/>
                <a:gd name="connsiteY1728" fmla="*/ 6515100 h 6515100"/>
                <a:gd name="connsiteX1729" fmla="*/ 3996278 w 4829175"/>
                <a:gd name="connsiteY1729" fmla="*/ 6501878 h 6515100"/>
                <a:gd name="connsiteX1730" fmla="*/ 3862819 w 4829175"/>
                <a:gd name="connsiteY1730" fmla="*/ 6369115 h 6515100"/>
                <a:gd name="connsiteX1731" fmla="*/ 3865614 w 4829175"/>
                <a:gd name="connsiteY1731" fmla="*/ 6363527 h 6515100"/>
                <a:gd name="connsiteX1732" fmla="*/ 3864915 w 4829175"/>
                <a:gd name="connsiteY1732" fmla="*/ 6362829 h 6515100"/>
                <a:gd name="connsiteX1733" fmla="*/ 3865614 w 4829175"/>
                <a:gd name="connsiteY1733" fmla="*/ 6361432 h 6515100"/>
                <a:gd name="connsiteX1734" fmla="*/ 4002566 w 4829175"/>
                <a:gd name="connsiteY1734" fmla="*/ 6498385 h 6515100"/>
                <a:gd name="connsiteX1735" fmla="*/ 4266690 w 4829175"/>
                <a:gd name="connsiteY1735" fmla="*/ 6498385 h 6515100"/>
                <a:gd name="connsiteX1736" fmla="*/ 3995579 w 4829175"/>
                <a:gd name="connsiteY1736" fmla="*/ 6227973 h 6515100"/>
                <a:gd name="connsiteX1737" fmla="*/ 3996977 w 4829175"/>
                <a:gd name="connsiteY1737" fmla="*/ 6226575 h 6515100"/>
                <a:gd name="connsiteX1738" fmla="*/ 4265292 w 4829175"/>
                <a:gd name="connsiteY1738" fmla="*/ 5957561 h 6515100"/>
                <a:gd name="connsiteX1739" fmla="*/ 4066851 w 4829175"/>
                <a:gd name="connsiteY1739" fmla="*/ 5957561 h 6515100"/>
                <a:gd name="connsiteX1740" fmla="*/ 4070344 w 4829175"/>
                <a:gd name="connsiteY1740" fmla="*/ 5950573 h 6515100"/>
                <a:gd name="connsiteX1741" fmla="*/ 4265292 w 4829175"/>
                <a:gd name="connsiteY1741" fmla="*/ 5950573 h 6515100"/>
                <a:gd name="connsiteX1742" fmla="*/ 4135327 w 4829175"/>
                <a:gd name="connsiteY1742" fmla="*/ 5820608 h 6515100"/>
                <a:gd name="connsiteX1743" fmla="*/ 4138820 w 4829175"/>
                <a:gd name="connsiteY1743" fmla="*/ 5813620 h 6515100"/>
                <a:gd name="connsiteX1744" fmla="*/ 4279267 w 4829175"/>
                <a:gd name="connsiteY1744" fmla="*/ 5954066 h 6515100"/>
                <a:gd name="connsiteX1745" fmla="*/ 4008855 w 4829175"/>
                <a:gd name="connsiteY1745" fmla="*/ 6225177 h 6515100"/>
                <a:gd name="connsiteX1746" fmla="*/ 4272979 w 4829175"/>
                <a:gd name="connsiteY1746" fmla="*/ 6225177 h 6515100"/>
                <a:gd name="connsiteX1747" fmla="*/ 4543391 w 4829175"/>
                <a:gd name="connsiteY1747" fmla="*/ 5954066 h 6515100"/>
                <a:gd name="connsiteX1748" fmla="*/ 4272280 w 4829175"/>
                <a:gd name="connsiteY1748" fmla="*/ 5684353 h 6515100"/>
                <a:gd name="connsiteX1749" fmla="*/ 4203803 w 4829175"/>
                <a:gd name="connsiteY1749" fmla="*/ 5684353 h 6515100"/>
                <a:gd name="connsiteX1750" fmla="*/ 4008855 w 4829175"/>
                <a:gd name="connsiteY1750" fmla="*/ 5684353 h 6515100"/>
                <a:gd name="connsiteX1751" fmla="*/ 4138121 w 4829175"/>
                <a:gd name="connsiteY1751" fmla="*/ 5814319 h 6515100"/>
                <a:gd name="connsiteX1752" fmla="*/ 4134628 w 4829175"/>
                <a:gd name="connsiteY1752" fmla="*/ 5821306 h 6515100"/>
                <a:gd name="connsiteX1753" fmla="*/ 3994181 w 4829175"/>
                <a:gd name="connsiteY1753" fmla="*/ 5680860 h 6515100"/>
                <a:gd name="connsiteX1754" fmla="*/ 4264593 w 4829175"/>
                <a:gd name="connsiteY1754" fmla="*/ 5409749 h 6515100"/>
                <a:gd name="connsiteX1755" fmla="*/ 4000470 w 4829175"/>
                <a:gd name="connsiteY1755" fmla="*/ 5409749 h 6515100"/>
                <a:gd name="connsiteX1756" fmla="*/ 3730058 w 4829175"/>
                <a:gd name="connsiteY1756" fmla="*/ 5680860 h 6515100"/>
                <a:gd name="connsiteX1757" fmla="*/ 4001169 w 4829175"/>
                <a:gd name="connsiteY1757" fmla="*/ 5951272 h 6515100"/>
                <a:gd name="connsiteX1758" fmla="*/ 4069645 w 4829175"/>
                <a:gd name="connsiteY1758" fmla="*/ 5951272 h 6515100"/>
                <a:gd name="connsiteX1759" fmla="*/ 4066152 w 4829175"/>
                <a:gd name="connsiteY1759" fmla="*/ 5958259 h 6515100"/>
                <a:gd name="connsiteX1760" fmla="*/ 4001169 w 4829175"/>
                <a:gd name="connsiteY1760" fmla="*/ 5958259 h 6515100"/>
                <a:gd name="connsiteX1761" fmla="*/ 3820894 w 4829175"/>
                <a:gd name="connsiteY1761" fmla="*/ 6139233 h 6515100"/>
                <a:gd name="connsiteX1762" fmla="*/ 3731456 w 4829175"/>
                <a:gd name="connsiteY1762" fmla="*/ 6229370 h 6515100"/>
                <a:gd name="connsiteX1763" fmla="*/ 3864915 w 4829175"/>
                <a:gd name="connsiteY1763" fmla="*/ 6362829 h 6515100"/>
                <a:gd name="connsiteX1764" fmla="*/ 3862120 w 4829175"/>
                <a:gd name="connsiteY1764" fmla="*/ 6368418 h 6515100"/>
                <a:gd name="connsiteX1765" fmla="*/ 3862819 w 4829175"/>
                <a:gd name="connsiteY1765" fmla="*/ 6369115 h 6515100"/>
                <a:gd name="connsiteX1766" fmla="*/ 3862120 w 4829175"/>
                <a:gd name="connsiteY1766" fmla="*/ 6370515 h 6515100"/>
                <a:gd name="connsiteX1767" fmla="*/ 3725167 w 4829175"/>
                <a:gd name="connsiteY1767" fmla="*/ 6233562 h 6515100"/>
                <a:gd name="connsiteX1768" fmla="*/ 3461044 w 4829175"/>
                <a:gd name="connsiteY1768" fmla="*/ 6233562 h 6515100"/>
                <a:gd name="connsiteX1769" fmla="*/ 3732154 w 4829175"/>
                <a:gd name="connsiteY1769" fmla="*/ 6503974 h 6515100"/>
                <a:gd name="connsiteX1770" fmla="*/ 3721057 w 4829175"/>
                <a:gd name="connsiteY1770" fmla="*/ 6515100 h 6515100"/>
                <a:gd name="connsiteX1771" fmla="*/ 3710566 w 4829175"/>
                <a:gd name="connsiteY1771" fmla="*/ 6515100 h 6515100"/>
                <a:gd name="connsiteX1772" fmla="*/ 3718179 w 4829175"/>
                <a:gd name="connsiteY1772" fmla="*/ 6507468 h 6515100"/>
                <a:gd name="connsiteX1773" fmla="*/ 3454056 w 4829175"/>
                <a:gd name="connsiteY1773" fmla="*/ 6507468 h 6515100"/>
                <a:gd name="connsiteX1774" fmla="*/ 3446443 w 4829175"/>
                <a:gd name="connsiteY1774" fmla="*/ 6515100 h 6515100"/>
                <a:gd name="connsiteX1775" fmla="*/ 3437367 w 4829175"/>
                <a:gd name="connsiteY1775" fmla="*/ 6515100 h 6515100"/>
                <a:gd name="connsiteX1776" fmla="*/ 3447767 w 4829175"/>
                <a:gd name="connsiteY1776" fmla="*/ 6504673 h 6515100"/>
                <a:gd name="connsiteX1777" fmla="*/ 3176657 w 4829175"/>
                <a:gd name="connsiteY1777" fmla="*/ 6234261 h 6515100"/>
                <a:gd name="connsiteX1778" fmla="*/ 2912533 w 4829175"/>
                <a:gd name="connsiteY1778" fmla="*/ 6234261 h 6515100"/>
                <a:gd name="connsiteX1779" fmla="*/ 3183644 w 4829175"/>
                <a:gd name="connsiteY1779" fmla="*/ 6504673 h 6515100"/>
                <a:gd name="connsiteX1780" fmla="*/ 3173244 w 4829175"/>
                <a:gd name="connsiteY1780" fmla="*/ 6515100 h 6515100"/>
                <a:gd name="connsiteX1781" fmla="*/ 3163450 w 4829175"/>
                <a:gd name="connsiteY1781" fmla="*/ 6515100 h 6515100"/>
                <a:gd name="connsiteX1782" fmla="*/ 3169669 w 4829175"/>
                <a:gd name="connsiteY1782" fmla="*/ 6508865 h 6515100"/>
                <a:gd name="connsiteX1783" fmla="*/ 2905546 w 4829175"/>
                <a:gd name="connsiteY1783" fmla="*/ 6508865 h 6515100"/>
                <a:gd name="connsiteX1784" fmla="*/ 2899327 w 4829175"/>
                <a:gd name="connsiteY1784" fmla="*/ 6515100 h 6515100"/>
                <a:gd name="connsiteX1785" fmla="*/ 2889554 w 4829175"/>
                <a:gd name="connsiteY1785" fmla="*/ 6515100 h 6515100"/>
                <a:gd name="connsiteX1786" fmla="*/ 2899257 w 4829175"/>
                <a:gd name="connsiteY1786" fmla="*/ 6505372 h 6515100"/>
                <a:gd name="connsiteX1787" fmla="*/ 2628146 w 4829175"/>
                <a:gd name="connsiteY1787" fmla="*/ 6234960 h 6515100"/>
                <a:gd name="connsiteX1788" fmla="*/ 2364722 w 4829175"/>
                <a:gd name="connsiteY1788" fmla="*/ 6234960 h 6515100"/>
                <a:gd name="connsiteX1789" fmla="*/ 2494687 w 4829175"/>
                <a:gd name="connsiteY1789" fmla="*/ 6364925 h 6515100"/>
                <a:gd name="connsiteX1790" fmla="*/ 2635134 w 4829175"/>
                <a:gd name="connsiteY1790" fmla="*/ 6505372 h 6515100"/>
                <a:gd name="connsiteX1791" fmla="*/ 2625431 w 4829175"/>
                <a:gd name="connsiteY1791" fmla="*/ 6515100 h 6515100"/>
                <a:gd name="connsiteX1792" fmla="*/ 2614938 w 4829175"/>
                <a:gd name="connsiteY1792" fmla="*/ 6515100 h 6515100"/>
                <a:gd name="connsiteX1793" fmla="*/ 2620460 w 4829175"/>
                <a:gd name="connsiteY1793" fmla="*/ 6509564 h 6515100"/>
                <a:gd name="connsiteX1794" fmla="*/ 2357035 w 4829175"/>
                <a:gd name="connsiteY1794" fmla="*/ 6509564 h 6515100"/>
                <a:gd name="connsiteX1795" fmla="*/ 2351521 w 4829175"/>
                <a:gd name="connsiteY1795" fmla="*/ 6515100 h 6515100"/>
                <a:gd name="connsiteX1796" fmla="*/ 2341019 w 4829175"/>
                <a:gd name="connsiteY1796" fmla="*/ 6515100 h 6515100"/>
                <a:gd name="connsiteX1797" fmla="*/ 2350747 w 4829175"/>
                <a:gd name="connsiteY1797" fmla="*/ 6505372 h 6515100"/>
                <a:gd name="connsiteX1798" fmla="*/ 2079636 w 4829175"/>
                <a:gd name="connsiteY1798" fmla="*/ 6234960 h 6515100"/>
                <a:gd name="connsiteX1799" fmla="*/ 1815513 w 4829175"/>
                <a:gd name="connsiteY1799" fmla="*/ 6234960 h 6515100"/>
                <a:gd name="connsiteX1800" fmla="*/ 2086623 w 4829175"/>
                <a:gd name="connsiteY1800" fmla="*/ 6505372 h 6515100"/>
                <a:gd name="connsiteX1801" fmla="*/ 2083829 w 4829175"/>
                <a:gd name="connsiteY1801" fmla="*/ 6508166 h 6515100"/>
                <a:gd name="connsiteX1802" fmla="*/ 2076948 w 4829175"/>
                <a:gd name="connsiteY1802" fmla="*/ 6515100 h 6515100"/>
                <a:gd name="connsiteX1803" fmla="*/ 2067112 w 4829175"/>
                <a:gd name="connsiteY1803" fmla="*/ 6515100 h 6515100"/>
                <a:gd name="connsiteX1804" fmla="*/ 2072648 w 4829175"/>
                <a:gd name="connsiteY1804" fmla="*/ 6509564 h 6515100"/>
                <a:gd name="connsiteX1805" fmla="*/ 1808526 w 4829175"/>
                <a:gd name="connsiteY1805" fmla="*/ 6509564 h 6515100"/>
                <a:gd name="connsiteX1806" fmla="*/ 1803004 w 4829175"/>
                <a:gd name="connsiteY1806" fmla="*/ 6515100 h 6515100"/>
                <a:gd name="connsiteX1807" fmla="*/ 1792532 w 4829175"/>
                <a:gd name="connsiteY1807" fmla="*/ 6515100 h 6515100"/>
                <a:gd name="connsiteX1808" fmla="*/ 1801539 w 4829175"/>
                <a:gd name="connsiteY1808" fmla="*/ 6506071 h 6515100"/>
                <a:gd name="connsiteX1809" fmla="*/ 1796647 w 4829175"/>
                <a:gd name="connsiteY1809" fmla="*/ 6501179 h 6515100"/>
                <a:gd name="connsiteX1810" fmla="*/ 1531127 w 4829175"/>
                <a:gd name="connsiteY1810" fmla="*/ 6236358 h 6515100"/>
                <a:gd name="connsiteX1811" fmla="*/ 1267002 w 4829175"/>
                <a:gd name="connsiteY1811" fmla="*/ 6236358 h 6515100"/>
                <a:gd name="connsiteX1812" fmla="*/ 1267701 w 4829175"/>
                <a:gd name="connsiteY1812" fmla="*/ 6237056 h 6515100"/>
                <a:gd name="connsiteX1813" fmla="*/ 1268400 w 4829175"/>
                <a:gd name="connsiteY1813" fmla="*/ 6237056 h 6515100"/>
                <a:gd name="connsiteX1814" fmla="*/ 1537414 w 4829175"/>
                <a:gd name="connsiteY1814" fmla="*/ 6506071 h 6515100"/>
                <a:gd name="connsiteX1815" fmla="*/ 1528408 w 4829175"/>
                <a:gd name="connsiteY1815" fmla="*/ 6515100 h 6515100"/>
                <a:gd name="connsiteX1816" fmla="*/ 1520000 w 4829175"/>
                <a:gd name="connsiteY1816" fmla="*/ 6515100 h 6515100"/>
                <a:gd name="connsiteX1817" fmla="*/ 1524838 w 4829175"/>
                <a:gd name="connsiteY1817" fmla="*/ 6510263 h 6515100"/>
                <a:gd name="connsiteX1818" fmla="*/ 1260714 w 4829175"/>
                <a:gd name="connsiteY1818" fmla="*/ 6510263 h 6515100"/>
                <a:gd name="connsiteX1819" fmla="*/ 1255889 w 4829175"/>
                <a:gd name="connsiteY1819" fmla="*/ 6515100 h 6515100"/>
                <a:gd name="connsiteX1820" fmla="*/ 1243300 w 4829175"/>
                <a:gd name="connsiteY1820" fmla="*/ 6515100 h 6515100"/>
                <a:gd name="connsiteX1821" fmla="*/ 1252329 w 4829175"/>
                <a:gd name="connsiteY1821" fmla="*/ 6506071 h 6515100"/>
                <a:gd name="connsiteX1822" fmla="*/ 1119569 w 4829175"/>
                <a:gd name="connsiteY1822" fmla="*/ 6374009 h 6515100"/>
                <a:gd name="connsiteX1823" fmla="*/ 981219 w 4829175"/>
                <a:gd name="connsiteY1823" fmla="*/ 6235659 h 6515100"/>
                <a:gd name="connsiteX1824" fmla="*/ 717095 w 4829175"/>
                <a:gd name="connsiteY1824" fmla="*/ 6235659 h 6515100"/>
                <a:gd name="connsiteX1825" fmla="*/ 988206 w 4829175"/>
                <a:gd name="connsiteY1825" fmla="*/ 6505372 h 6515100"/>
                <a:gd name="connsiteX1826" fmla="*/ 985411 w 4829175"/>
                <a:gd name="connsiteY1826" fmla="*/ 6508166 h 6515100"/>
                <a:gd name="connsiteX1827" fmla="*/ 978530 w 4829175"/>
                <a:gd name="connsiteY1827" fmla="*/ 6515100 h 6515100"/>
                <a:gd name="connsiteX1828" fmla="*/ 969394 w 4829175"/>
                <a:gd name="connsiteY1828" fmla="*/ 6515100 h 6515100"/>
                <a:gd name="connsiteX1829" fmla="*/ 974930 w 4829175"/>
                <a:gd name="connsiteY1829" fmla="*/ 6509564 h 6515100"/>
                <a:gd name="connsiteX1830" fmla="*/ 716396 w 4829175"/>
                <a:gd name="connsiteY1830" fmla="*/ 6509564 h 6515100"/>
                <a:gd name="connsiteX1831" fmla="*/ 714941 w 4829175"/>
                <a:gd name="connsiteY1831" fmla="*/ 6508865 h 6515100"/>
                <a:gd name="connsiteX1832" fmla="*/ 716396 w 4829175"/>
                <a:gd name="connsiteY1832" fmla="*/ 6508865 h 6515100"/>
                <a:gd name="connsiteX1833" fmla="*/ 698928 w 4829175"/>
                <a:gd name="connsiteY1833" fmla="*/ 6500480 h 6515100"/>
                <a:gd name="connsiteX1834" fmla="*/ 700271 w 4829175"/>
                <a:gd name="connsiteY1834" fmla="*/ 6501824 h 6515100"/>
                <a:gd name="connsiteX1835" fmla="*/ 698928 w 4829175"/>
                <a:gd name="connsiteY1835" fmla="*/ 6501179 h 6515100"/>
                <a:gd name="connsiteX1836" fmla="*/ 433407 w 4829175"/>
                <a:gd name="connsiteY1836" fmla="*/ 6236358 h 6515100"/>
                <a:gd name="connsiteX1837" fmla="*/ 169284 w 4829175"/>
                <a:gd name="connsiteY1837" fmla="*/ 6236358 h 6515100"/>
                <a:gd name="connsiteX1838" fmla="*/ 170681 w 4829175"/>
                <a:gd name="connsiteY1838" fmla="*/ 6237754 h 6515100"/>
                <a:gd name="connsiteX1839" fmla="*/ 439696 w 4829175"/>
                <a:gd name="connsiteY1839" fmla="*/ 6506770 h 6515100"/>
                <a:gd name="connsiteX1840" fmla="*/ 431344 w 4829175"/>
                <a:gd name="connsiteY1840" fmla="*/ 6515100 h 6515100"/>
                <a:gd name="connsiteX1841" fmla="*/ 420908 w 4829175"/>
                <a:gd name="connsiteY1841" fmla="*/ 6515100 h 6515100"/>
                <a:gd name="connsiteX1842" fmla="*/ 425721 w 4829175"/>
                <a:gd name="connsiteY1842" fmla="*/ 6510263 h 6515100"/>
                <a:gd name="connsiteX1843" fmla="*/ 161597 w 4829175"/>
                <a:gd name="connsiteY1843" fmla="*/ 6510263 h 6515100"/>
                <a:gd name="connsiteX1844" fmla="*/ 156781 w 4829175"/>
                <a:gd name="connsiteY1844" fmla="*/ 6515100 h 6515100"/>
                <a:gd name="connsiteX1845" fmla="*/ 146978 w 4829175"/>
                <a:gd name="connsiteY1845" fmla="*/ 6515100 h 6515100"/>
                <a:gd name="connsiteX1846" fmla="*/ 155309 w 4829175"/>
                <a:gd name="connsiteY1846" fmla="*/ 6506770 h 6515100"/>
                <a:gd name="connsiteX1847" fmla="*/ 21150 w 4829175"/>
                <a:gd name="connsiteY1847" fmla="*/ 6373310 h 6515100"/>
                <a:gd name="connsiteX1848" fmla="*/ 5080 w 4829175"/>
                <a:gd name="connsiteY1848" fmla="*/ 6357239 h 6515100"/>
                <a:gd name="connsiteX1849" fmla="*/ 5080 w 4829175"/>
                <a:gd name="connsiteY1849" fmla="*/ 6347457 h 6515100"/>
                <a:gd name="connsiteX1850" fmla="*/ 24645 w 4829175"/>
                <a:gd name="connsiteY1850" fmla="*/ 6367022 h 6515100"/>
                <a:gd name="connsiteX1851" fmla="*/ 161597 w 4829175"/>
                <a:gd name="connsiteY1851" fmla="*/ 6503275 h 6515100"/>
                <a:gd name="connsiteX1852" fmla="*/ 425721 w 4829175"/>
                <a:gd name="connsiteY1852" fmla="*/ 6503275 h 6515100"/>
                <a:gd name="connsiteX1853" fmla="*/ 154610 w 4829175"/>
                <a:gd name="connsiteY1853" fmla="*/ 6232863 h 6515100"/>
                <a:gd name="connsiteX1854" fmla="*/ 156008 w 4829175"/>
                <a:gd name="connsiteY1854" fmla="*/ 6231466 h 6515100"/>
                <a:gd name="connsiteX1855" fmla="*/ 156706 w 4829175"/>
                <a:gd name="connsiteY1855" fmla="*/ 6231466 h 6515100"/>
                <a:gd name="connsiteX1856" fmla="*/ 425022 w 4829175"/>
                <a:gd name="connsiteY1856" fmla="*/ 5962452 h 6515100"/>
                <a:gd name="connsiteX1857" fmla="*/ 161597 w 4829175"/>
                <a:gd name="connsiteY1857" fmla="*/ 5962452 h 6515100"/>
                <a:gd name="connsiteX1858" fmla="*/ 5080 w 4829175"/>
                <a:gd name="connsiteY1858" fmla="*/ 6118969 h 6515100"/>
                <a:gd name="connsiteX1859" fmla="*/ 5080 w 4829175"/>
                <a:gd name="connsiteY1859" fmla="*/ 6108488 h 6515100"/>
                <a:gd name="connsiteX1860" fmla="*/ 154610 w 4829175"/>
                <a:gd name="connsiteY1860" fmla="*/ 5958957 h 6515100"/>
                <a:gd name="connsiteX1861" fmla="*/ 5080 w 4829175"/>
                <a:gd name="connsiteY1861" fmla="*/ 5809427 h 6515100"/>
                <a:gd name="connsiteX1862" fmla="*/ 5080 w 4829175"/>
                <a:gd name="connsiteY1862" fmla="*/ 5798947 h 6515100"/>
                <a:gd name="connsiteX1863" fmla="*/ 161597 w 4829175"/>
                <a:gd name="connsiteY1863" fmla="*/ 5954765 h 6515100"/>
                <a:gd name="connsiteX1864" fmla="*/ 425022 w 4829175"/>
                <a:gd name="connsiteY1864" fmla="*/ 5954765 h 6515100"/>
                <a:gd name="connsiteX1865" fmla="*/ 295057 w 4829175"/>
                <a:gd name="connsiteY1865" fmla="*/ 5824800 h 6515100"/>
                <a:gd name="connsiteX1866" fmla="*/ 154610 w 4829175"/>
                <a:gd name="connsiteY1866" fmla="*/ 5684353 h 6515100"/>
                <a:gd name="connsiteX1867" fmla="*/ 425022 w 4829175"/>
                <a:gd name="connsiteY1867" fmla="*/ 5413941 h 6515100"/>
                <a:gd name="connsiteX1868" fmla="*/ 160898 w 4829175"/>
                <a:gd name="connsiteY1868" fmla="*/ 5413941 h 6515100"/>
                <a:gd name="connsiteX1869" fmla="*/ 5080 w 4829175"/>
                <a:gd name="connsiteY1869" fmla="*/ 5569760 h 6515100"/>
                <a:gd name="connsiteX1870" fmla="*/ 5080 w 4829175"/>
                <a:gd name="connsiteY1870" fmla="*/ 5559279 h 6515100"/>
                <a:gd name="connsiteX1871" fmla="*/ 153911 w 4829175"/>
                <a:gd name="connsiteY1871" fmla="*/ 5410448 h 6515100"/>
                <a:gd name="connsiteX1872" fmla="*/ 5080 w 4829175"/>
                <a:gd name="connsiteY1872" fmla="*/ 5261616 h 6515100"/>
                <a:gd name="connsiteX1873" fmla="*/ 5080 w 4829175"/>
                <a:gd name="connsiteY1873" fmla="*/ 5251135 h 6515100"/>
                <a:gd name="connsiteX1874" fmla="*/ 160898 w 4829175"/>
                <a:gd name="connsiteY1874" fmla="*/ 5406255 h 6515100"/>
                <a:gd name="connsiteX1875" fmla="*/ 425022 w 4829175"/>
                <a:gd name="connsiteY1875" fmla="*/ 5406255 h 6515100"/>
                <a:gd name="connsiteX1876" fmla="*/ 153911 w 4829175"/>
                <a:gd name="connsiteY1876" fmla="*/ 5135843 h 6515100"/>
                <a:gd name="connsiteX1877" fmla="*/ 338378 w 4829175"/>
                <a:gd name="connsiteY1877" fmla="*/ 4951376 h 6515100"/>
                <a:gd name="connsiteX1878" fmla="*/ 424323 w 4829175"/>
                <a:gd name="connsiteY1878" fmla="*/ 4865431 h 6515100"/>
                <a:gd name="connsiteX1879" fmla="*/ 160200 w 4829175"/>
                <a:gd name="connsiteY1879" fmla="*/ 4865431 h 6515100"/>
                <a:gd name="connsiteX1880" fmla="*/ 5080 w 4829175"/>
                <a:gd name="connsiteY1880" fmla="*/ 5020552 h 6515100"/>
                <a:gd name="connsiteX1881" fmla="*/ 5080 w 4829175"/>
                <a:gd name="connsiteY1881" fmla="*/ 5010070 h 6515100"/>
                <a:gd name="connsiteX1882" fmla="*/ 153212 w 4829175"/>
                <a:gd name="connsiteY1882" fmla="*/ 4861239 h 6515100"/>
                <a:gd name="connsiteX1883" fmla="*/ 148321 w 4829175"/>
                <a:gd name="connsiteY1883" fmla="*/ 4856348 h 6515100"/>
                <a:gd name="connsiteX1884" fmla="*/ 5080 w 4829175"/>
                <a:gd name="connsiteY1884" fmla="*/ 4713804 h 6515100"/>
                <a:gd name="connsiteX1885" fmla="*/ 5080 w 4829175"/>
                <a:gd name="connsiteY1885" fmla="*/ 4704023 h 6515100"/>
                <a:gd name="connsiteX1886" fmla="*/ 160200 w 4829175"/>
                <a:gd name="connsiteY1886" fmla="*/ 4858443 h 6515100"/>
                <a:gd name="connsiteX1887" fmla="*/ 424323 w 4829175"/>
                <a:gd name="connsiteY1887" fmla="*/ 4857746 h 6515100"/>
                <a:gd name="connsiteX1888" fmla="*/ 153212 w 4829175"/>
                <a:gd name="connsiteY1888" fmla="*/ 4587334 h 6515100"/>
                <a:gd name="connsiteX1889" fmla="*/ 423624 w 4829175"/>
                <a:gd name="connsiteY1889" fmla="*/ 4316922 h 6515100"/>
                <a:gd name="connsiteX1890" fmla="*/ 159501 w 4829175"/>
                <a:gd name="connsiteY1890" fmla="*/ 4316922 h 6515100"/>
                <a:gd name="connsiteX1891" fmla="*/ 5080 w 4829175"/>
                <a:gd name="connsiteY1891" fmla="*/ 4471342 h 6515100"/>
                <a:gd name="connsiteX1892" fmla="*/ 5080 w 4829175"/>
                <a:gd name="connsiteY1892" fmla="*/ 4460862 h 6515100"/>
                <a:gd name="connsiteX1893" fmla="*/ 152513 w 4829175"/>
                <a:gd name="connsiteY1893" fmla="*/ 4312728 h 6515100"/>
                <a:gd name="connsiteX1894" fmla="*/ 5080 w 4829175"/>
                <a:gd name="connsiteY1894" fmla="*/ 4165993 h 6515100"/>
                <a:gd name="connsiteX1895" fmla="*/ 5080 w 4829175"/>
                <a:gd name="connsiteY1895" fmla="*/ 4155512 h 6515100"/>
                <a:gd name="connsiteX1896" fmla="*/ 159501 w 4829175"/>
                <a:gd name="connsiteY1896" fmla="*/ 4309235 h 6515100"/>
                <a:gd name="connsiteX1897" fmla="*/ 423624 w 4829175"/>
                <a:gd name="connsiteY1897" fmla="*/ 4309235 h 6515100"/>
                <a:gd name="connsiteX1898" fmla="*/ 152513 w 4829175"/>
                <a:gd name="connsiteY1898" fmla="*/ 4039522 h 6515100"/>
                <a:gd name="connsiteX1899" fmla="*/ 331391 w 4829175"/>
                <a:gd name="connsiteY1899" fmla="*/ 3860644 h 6515100"/>
                <a:gd name="connsiteX1900" fmla="*/ 331489 w 4829175"/>
                <a:gd name="connsiteY1900" fmla="*/ 3860644 h 6515100"/>
                <a:gd name="connsiteX1901" fmla="*/ 422038 w 4829175"/>
                <a:gd name="connsiteY1901" fmla="*/ 3769860 h 6515100"/>
                <a:gd name="connsiteX1902" fmla="*/ 225692 w 4829175"/>
                <a:gd name="connsiteY1902" fmla="*/ 3769860 h 6515100"/>
                <a:gd name="connsiteX1903" fmla="*/ 226391 w 4829175"/>
                <a:gd name="connsiteY1903" fmla="*/ 3768464 h 6515100"/>
                <a:gd name="connsiteX1904" fmla="*/ 158613 w 4829175"/>
                <a:gd name="connsiteY1904" fmla="*/ 3768464 h 6515100"/>
                <a:gd name="connsiteX1905" fmla="*/ 0 w 4829175"/>
                <a:gd name="connsiteY1905" fmla="*/ 3927075 h 6515100"/>
                <a:gd name="connsiteX1906" fmla="*/ 0 w 4829175"/>
                <a:gd name="connsiteY1906" fmla="*/ 3917294 h 6515100"/>
                <a:gd name="connsiteX1907" fmla="*/ 152324 w 4829175"/>
                <a:gd name="connsiteY1907" fmla="*/ 3764969 h 6515100"/>
                <a:gd name="connsiteX1908" fmla="*/ 0 w 4829175"/>
                <a:gd name="connsiteY1908" fmla="*/ 3613344 h 6515100"/>
                <a:gd name="connsiteX1909" fmla="*/ 0 w 4829175"/>
                <a:gd name="connsiteY1909" fmla="*/ 3602863 h 6515100"/>
                <a:gd name="connsiteX1910" fmla="*/ 159312 w 4829175"/>
                <a:gd name="connsiteY1910" fmla="*/ 3760776 h 6515100"/>
                <a:gd name="connsiteX1911" fmla="*/ 423435 w 4829175"/>
                <a:gd name="connsiteY1911" fmla="*/ 3760776 h 6515100"/>
                <a:gd name="connsiteX1912" fmla="*/ 294168 w 4829175"/>
                <a:gd name="connsiteY1912" fmla="*/ 3632209 h 6515100"/>
                <a:gd name="connsiteX1913" fmla="*/ 152324 w 4829175"/>
                <a:gd name="connsiteY1913" fmla="*/ 3491064 h 6515100"/>
                <a:gd name="connsiteX1914" fmla="*/ 336093 w 4829175"/>
                <a:gd name="connsiteY1914" fmla="*/ 3305898 h 6515100"/>
                <a:gd name="connsiteX1915" fmla="*/ 422038 w 4829175"/>
                <a:gd name="connsiteY1915" fmla="*/ 3219953 h 6515100"/>
                <a:gd name="connsiteX1916" fmla="*/ 157914 w 4829175"/>
                <a:gd name="connsiteY1916" fmla="*/ 3219953 h 6515100"/>
                <a:gd name="connsiteX1917" fmla="*/ 0 w 4829175"/>
                <a:gd name="connsiteY1917" fmla="*/ 3378566 h 6515100"/>
                <a:gd name="connsiteX1918" fmla="*/ 0 w 4829175"/>
                <a:gd name="connsiteY1918" fmla="*/ 3368084 h 6515100"/>
                <a:gd name="connsiteX1919" fmla="*/ 152324 w 4829175"/>
                <a:gd name="connsiteY1919" fmla="*/ 3216459 h 6515100"/>
                <a:gd name="connsiteX1920" fmla="*/ 146735 w 4829175"/>
                <a:gd name="connsiteY1920" fmla="*/ 3211568 h 6515100"/>
                <a:gd name="connsiteX1921" fmla="*/ 0 w 4829175"/>
                <a:gd name="connsiteY1921" fmla="*/ 3065532 h 6515100"/>
                <a:gd name="connsiteX1922" fmla="*/ 0 w 4829175"/>
                <a:gd name="connsiteY1922" fmla="*/ 3055052 h 6515100"/>
                <a:gd name="connsiteX1923" fmla="*/ 157914 w 4829175"/>
                <a:gd name="connsiteY1923" fmla="*/ 3212966 h 6515100"/>
                <a:gd name="connsiteX1924" fmla="*/ 422038 w 4829175"/>
                <a:gd name="connsiteY1924" fmla="*/ 3212966 h 6515100"/>
                <a:gd name="connsiteX1925" fmla="*/ 150927 w 4829175"/>
                <a:gd name="connsiteY1925" fmla="*/ 2942554 h 6515100"/>
                <a:gd name="connsiteX1926" fmla="*/ 421339 w 4829175"/>
                <a:gd name="connsiteY1926" fmla="*/ 2671443 h 6515100"/>
                <a:gd name="connsiteX1927" fmla="*/ 157215 w 4829175"/>
                <a:gd name="connsiteY1927" fmla="*/ 2671443 h 6515100"/>
                <a:gd name="connsiteX1928" fmla="*/ 0 w 4829175"/>
                <a:gd name="connsiteY1928" fmla="*/ 2829357 h 6515100"/>
                <a:gd name="connsiteX1929" fmla="*/ 0 w 4829175"/>
                <a:gd name="connsiteY1929" fmla="*/ 2818875 h 6515100"/>
                <a:gd name="connsiteX1930" fmla="*/ 150927 w 4829175"/>
                <a:gd name="connsiteY1930" fmla="*/ 2667949 h 6515100"/>
                <a:gd name="connsiteX1931" fmla="*/ 0 w 4829175"/>
                <a:gd name="connsiteY1931" fmla="*/ 2517721 h 6515100"/>
                <a:gd name="connsiteX1932" fmla="*/ 0 w 4829175"/>
                <a:gd name="connsiteY1932" fmla="*/ 2507939 h 6515100"/>
                <a:gd name="connsiteX1933" fmla="*/ 157914 w 4829175"/>
                <a:gd name="connsiteY1933" fmla="*/ 2664456 h 6515100"/>
                <a:gd name="connsiteX1934" fmla="*/ 422038 w 4829175"/>
                <a:gd name="connsiteY1934" fmla="*/ 2664456 h 6515100"/>
                <a:gd name="connsiteX1935" fmla="*/ 150927 w 4829175"/>
                <a:gd name="connsiteY1935" fmla="*/ 2394044 h 6515100"/>
                <a:gd name="connsiteX1936" fmla="*/ 420640 w 4829175"/>
                <a:gd name="connsiteY1936" fmla="*/ 2122933 h 6515100"/>
                <a:gd name="connsiteX1937" fmla="*/ 156517 w 4829175"/>
                <a:gd name="connsiteY1937" fmla="*/ 2122933 h 6515100"/>
                <a:gd name="connsiteX1938" fmla="*/ 0 w 4829175"/>
                <a:gd name="connsiteY1938" fmla="*/ 2280148 h 6515100"/>
                <a:gd name="connsiteX1939" fmla="*/ 0 w 4829175"/>
                <a:gd name="connsiteY1939" fmla="*/ 2269667 h 6515100"/>
                <a:gd name="connsiteX1940" fmla="*/ 150228 w 4829175"/>
                <a:gd name="connsiteY1940" fmla="*/ 2119439 h 6515100"/>
                <a:gd name="connsiteX1941" fmla="*/ 16070 w 4829175"/>
                <a:gd name="connsiteY1941" fmla="*/ 1985980 h 6515100"/>
                <a:gd name="connsiteX1942" fmla="*/ 0 w 4829175"/>
                <a:gd name="connsiteY1942" fmla="*/ 1969909 h 6515100"/>
                <a:gd name="connsiteX1943" fmla="*/ 0 w 4829175"/>
                <a:gd name="connsiteY1943" fmla="*/ 1960127 h 6515100"/>
                <a:gd name="connsiteX1944" fmla="*/ 19564 w 4829175"/>
                <a:gd name="connsiteY1944" fmla="*/ 1979691 h 6515100"/>
                <a:gd name="connsiteX1945" fmla="*/ 156517 w 4829175"/>
                <a:gd name="connsiteY1945" fmla="*/ 2115945 h 6515100"/>
                <a:gd name="connsiteX1946" fmla="*/ 420640 w 4829175"/>
                <a:gd name="connsiteY1946" fmla="*/ 2115945 h 6515100"/>
                <a:gd name="connsiteX1947" fmla="*/ 149529 w 4829175"/>
                <a:gd name="connsiteY1947" fmla="*/ 1845533 h 6515100"/>
                <a:gd name="connsiteX1948" fmla="*/ 150927 w 4829175"/>
                <a:gd name="connsiteY1948" fmla="*/ 1844135 h 6515100"/>
                <a:gd name="connsiteX1949" fmla="*/ 151626 w 4829175"/>
                <a:gd name="connsiteY1949" fmla="*/ 1844135 h 6515100"/>
                <a:gd name="connsiteX1950" fmla="*/ 419941 w 4829175"/>
                <a:gd name="connsiteY1950" fmla="*/ 1575121 h 6515100"/>
                <a:gd name="connsiteX1951" fmla="*/ 156517 w 4829175"/>
                <a:gd name="connsiteY1951" fmla="*/ 1575121 h 6515100"/>
                <a:gd name="connsiteX1952" fmla="*/ 0 w 4829175"/>
                <a:gd name="connsiteY1952" fmla="*/ 1731637 h 6515100"/>
                <a:gd name="connsiteX1953" fmla="*/ 0 w 4829175"/>
                <a:gd name="connsiteY1953" fmla="*/ 1721157 h 6515100"/>
                <a:gd name="connsiteX1954" fmla="*/ 149529 w 4829175"/>
                <a:gd name="connsiteY1954" fmla="*/ 1571627 h 6515100"/>
                <a:gd name="connsiteX1955" fmla="*/ 0 w 4829175"/>
                <a:gd name="connsiteY1955" fmla="*/ 1422098 h 6515100"/>
                <a:gd name="connsiteX1956" fmla="*/ 0 w 4829175"/>
                <a:gd name="connsiteY1956" fmla="*/ 1411617 h 6515100"/>
                <a:gd name="connsiteX1957" fmla="*/ 156517 w 4829175"/>
                <a:gd name="connsiteY1957" fmla="*/ 1567435 h 6515100"/>
                <a:gd name="connsiteX1958" fmla="*/ 419941 w 4829175"/>
                <a:gd name="connsiteY1958" fmla="*/ 1567435 h 6515100"/>
                <a:gd name="connsiteX1959" fmla="*/ 289976 w 4829175"/>
                <a:gd name="connsiteY1959" fmla="*/ 1437470 h 6515100"/>
                <a:gd name="connsiteX1960" fmla="*/ 149529 w 4829175"/>
                <a:gd name="connsiteY1960" fmla="*/ 1297023 h 6515100"/>
                <a:gd name="connsiteX1961" fmla="*/ 419941 w 4829175"/>
                <a:gd name="connsiteY1961" fmla="*/ 1026611 h 6515100"/>
                <a:gd name="connsiteX1962" fmla="*/ 155818 w 4829175"/>
                <a:gd name="connsiteY1962" fmla="*/ 1026611 h 6515100"/>
                <a:gd name="connsiteX1963" fmla="*/ 0 w 4829175"/>
                <a:gd name="connsiteY1963" fmla="*/ 1182428 h 6515100"/>
                <a:gd name="connsiteX1964" fmla="*/ 0 w 4829175"/>
                <a:gd name="connsiteY1964" fmla="*/ 1171948 h 6515100"/>
                <a:gd name="connsiteX1965" fmla="*/ 148830 w 4829175"/>
                <a:gd name="connsiteY1965" fmla="*/ 1023118 h 6515100"/>
                <a:gd name="connsiteX1966" fmla="*/ 0 w 4829175"/>
                <a:gd name="connsiteY1966" fmla="*/ 874286 h 6515100"/>
                <a:gd name="connsiteX1967" fmla="*/ 0 w 4829175"/>
                <a:gd name="connsiteY1967" fmla="*/ 863806 h 6515100"/>
                <a:gd name="connsiteX1968" fmla="*/ 155818 w 4829175"/>
                <a:gd name="connsiteY1968" fmla="*/ 1018924 h 6515100"/>
                <a:gd name="connsiteX1969" fmla="*/ 419941 w 4829175"/>
                <a:gd name="connsiteY1969" fmla="*/ 1018924 h 6515100"/>
                <a:gd name="connsiteX1970" fmla="*/ 148830 w 4829175"/>
                <a:gd name="connsiteY1970" fmla="*/ 748512 h 6515100"/>
                <a:gd name="connsiteX1971" fmla="*/ 333298 w 4829175"/>
                <a:gd name="connsiteY1971" fmla="*/ 564046 h 6515100"/>
                <a:gd name="connsiteX1972" fmla="*/ 419242 w 4829175"/>
                <a:gd name="connsiteY1972" fmla="*/ 478100 h 6515100"/>
                <a:gd name="connsiteX1973" fmla="*/ 155119 w 4829175"/>
                <a:gd name="connsiteY1973" fmla="*/ 478100 h 6515100"/>
                <a:gd name="connsiteX1974" fmla="*/ 0 w 4829175"/>
                <a:gd name="connsiteY1974" fmla="*/ 633220 h 6515100"/>
                <a:gd name="connsiteX1975" fmla="*/ 0 w 4829175"/>
                <a:gd name="connsiteY1975" fmla="*/ 622738 h 6515100"/>
                <a:gd name="connsiteX1976" fmla="*/ 148131 w 4829175"/>
                <a:gd name="connsiteY1976" fmla="*/ 473908 h 6515100"/>
                <a:gd name="connsiteX1977" fmla="*/ 143240 w 4829175"/>
                <a:gd name="connsiteY1977" fmla="*/ 469017 h 6515100"/>
                <a:gd name="connsiteX1978" fmla="*/ 0 w 4829175"/>
                <a:gd name="connsiteY1978" fmla="*/ 326475 h 6515100"/>
                <a:gd name="connsiteX1979" fmla="*/ 0 w 4829175"/>
                <a:gd name="connsiteY1979" fmla="*/ 316693 h 6515100"/>
                <a:gd name="connsiteX1980" fmla="*/ 155119 w 4829175"/>
                <a:gd name="connsiteY1980" fmla="*/ 471113 h 6515100"/>
                <a:gd name="connsiteX1981" fmla="*/ 419242 w 4829175"/>
                <a:gd name="connsiteY1981" fmla="*/ 470415 h 6515100"/>
                <a:gd name="connsiteX1982" fmla="*/ 148131 w 4829175"/>
                <a:gd name="connsiteY1982" fmla="*/ 200003 h 6515100"/>
                <a:gd name="connsiteX1983" fmla="*/ 73183 w 4829175"/>
                <a:gd name="connsiteY1983" fmla="*/ 0 h 6515100"/>
                <a:gd name="connsiteX1984" fmla="*/ 84011 w 4829175"/>
                <a:gd name="connsiteY1984" fmla="*/ 0 h 6515100"/>
                <a:gd name="connsiteX1985" fmla="*/ 0 w 4829175"/>
                <a:gd name="connsiteY1985" fmla="*/ 84011 h 6515100"/>
                <a:gd name="connsiteX1986" fmla="*/ 0 w 4829175"/>
                <a:gd name="connsiteY1986" fmla="*/ 73530 h 6515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Lst>
              <a:rect l="l" t="t" r="r" b="b"/>
              <a:pathLst>
                <a:path w="4829175" h="6515100">
                  <a:moveTo>
                    <a:pt x="700271" y="6501824"/>
                  </a:moveTo>
                  <a:lnTo>
                    <a:pt x="714941" y="6508865"/>
                  </a:lnTo>
                  <a:lnTo>
                    <a:pt x="710807" y="6508865"/>
                  </a:lnTo>
                  <a:lnTo>
                    <a:pt x="704588" y="6515100"/>
                  </a:lnTo>
                  <a:lnTo>
                    <a:pt x="694116" y="6515100"/>
                  </a:lnTo>
                  <a:lnTo>
                    <a:pt x="703819" y="6505372"/>
                  </a:lnTo>
                  <a:close/>
                  <a:moveTo>
                    <a:pt x="710108" y="5961753"/>
                  </a:moveTo>
                  <a:lnTo>
                    <a:pt x="439696" y="6232863"/>
                  </a:lnTo>
                  <a:lnTo>
                    <a:pt x="710807" y="6503275"/>
                  </a:lnTo>
                  <a:lnTo>
                    <a:pt x="974930" y="6503275"/>
                  </a:lnTo>
                  <a:lnTo>
                    <a:pt x="703819" y="6232863"/>
                  </a:lnTo>
                  <a:lnTo>
                    <a:pt x="974231" y="5961753"/>
                  </a:lnTo>
                  <a:close/>
                  <a:moveTo>
                    <a:pt x="1807827" y="5961054"/>
                  </a:moveTo>
                  <a:lnTo>
                    <a:pt x="1537414" y="6232165"/>
                  </a:lnTo>
                  <a:lnTo>
                    <a:pt x="1808526" y="6502577"/>
                  </a:lnTo>
                  <a:lnTo>
                    <a:pt x="2072648" y="6502577"/>
                  </a:lnTo>
                  <a:lnTo>
                    <a:pt x="1801539" y="6232165"/>
                  </a:lnTo>
                  <a:lnTo>
                    <a:pt x="2071951" y="5961054"/>
                  </a:lnTo>
                  <a:close/>
                  <a:moveTo>
                    <a:pt x="1257919" y="5961054"/>
                  </a:moveTo>
                  <a:lnTo>
                    <a:pt x="988206" y="6232165"/>
                  </a:lnTo>
                  <a:lnTo>
                    <a:pt x="1188744" y="6432703"/>
                  </a:lnTo>
                  <a:lnTo>
                    <a:pt x="1259317" y="6502577"/>
                  </a:lnTo>
                  <a:lnTo>
                    <a:pt x="1327793" y="6502577"/>
                  </a:lnTo>
                  <a:lnTo>
                    <a:pt x="1327094" y="6503974"/>
                  </a:lnTo>
                  <a:lnTo>
                    <a:pt x="1524139" y="6503974"/>
                  </a:lnTo>
                  <a:lnTo>
                    <a:pt x="1253028" y="6233562"/>
                  </a:lnTo>
                  <a:lnTo>
                    <a:pt x="1253727" y="6232863"/>
                  </a:lnTo>
                  <a:lnTo>
                    <a:pt x="1251631" y="6232165"/>
                  </a:lnTo>
                  <a:lnTo>
                    <a:pt x="1522043" y="5961054"/>
                  </a:lnTo>
                  <a:close/>
                  <a:moveTo>
                    <a:pt x="2904847" y="5960355"/>
                  </a:moveTo>
                  <a:lnTo>
                    <a:pt x="2634435" y="6231466"/>
                  </a:lnTo>
                  <a:lnTo>
                    <a:pt x="2905546" y="6501878"/>
                  </a:lnTo>
                  <a:lnTo>
                    <a:pt x="3169669" y="6501878"/>
                  </a:lnTo>
                  <a:lnTo>
                    <a:pt x="2898558" y="6231466"/>
                  </a:lnTo>
                  <a:lnTo>
                    <a:pt x="3168970" y="5960355"/>
                  </a:lnTo>
                  <a:close/>
                  <a:moveTo>
                    <a:pt x="2356338" y="5960355"/>
                  </a:moveTo>
                  <a:lnTo>
                    <a:pt x="2085925" y="6231466"/>
                  </a:lnTo>
                  <a:lnTo>
                    <a:pt x="2357035" y="6501878"/>
                  </a:lnTo>
                  <a:lnTo>
                    <a:pt x="2620460" y="6501878"/>
                  </a:lnTo>
                  <a:lnTo>
                    <a:pt x="2490495" y="6371913"/>
                  </a:lnTo>
                  <a:lnTo>
                    <a:pt x="2350049" y="6231466"/>
                  </a:lnTo>
                  <a:lnTo>
                    <a:pt x="2620460" y="5960355"/>
                  </a:lnTo>
                  <a:close/>
                  <a:moveTo>
                    <a:pt x="3453357" y="5959656"/>
                  </a:moveTo>
                  <a:lnTo>
                    <a:pt x="3182945" y="6230767"/>
                  </a:lnTo>
                  <a:lnTo>
                    <a:pt x="3454056" y="6500480"/>
                  </a:lnTo>
                  <a:lnTo>
                    <a:pt x="3718179" y="6500480"/>
                  </a:lnTo>
                  <a:lnTo>
                    <a:pt x="3447069" y="6230069"/>
                  </a:lnTo>
                  <a:lnTo>
                    <a:pt x="3631536" y="6045602"/>
                  </a:lnTo>
                  <a:lnTo>
                    <a:pt x="3717481" y="5959656"/>
                  </a:lnTo>
                  <a:close/>
                  <a:moveTo>
                    <a:pt x="4550378" y="5958259"/>
                  </a:moveTo>
                  <a:lnTo>
                    <a:pt x="4279966" y="6229370"/>
                  </a:lnTo>
                  <a:lnTo>
                    <a:pt x="4551077" y="6499083"/>
                  </a:lnTo>
                  <a:lnTo>
                    <a:pt x="4815200" y="6499083"/>
                  </a:lnTo>
                  <a:lnTo>
                    <a:pt x="4544089" y="6228671"/>
                  </a:lnTo>
                  <a:lnTo>
                    <a:pt x="4814501" y="5958259"/>
                  </a:lnTo>
                  <a:close/>
                  <a:moveTo>
                    <a:pt x="169284" y="5687847"/>
                  </a:moveTo>
                  <a:lnTo>
                    <a:pt x="299249" y="5817813"/>
                  </a:lnTo>
                  <a:lnTo>
                    <a:pt x="439696" y="5958259"/>
                  </a:lnTo>
                  <a:lnTo>
                    <a:pt x="169284" y="6229370"/>
                  </a:lnTo>
                  <a:lnTo>
                    <a:pt x="433407" y="6229370"/>
                  </a:lnTo>
                  <a:lnTo>
                    <a:pt x="703819" y="5958259"/>
                  </a:lnTo>
                  <a:lnTo>
                    <a:pt x="432708" y="5687847"/>
                  </a:lnTo>
                  <a:close/>
                  <a:moveTo>
                    <a:pt x="1814814" y="5687149"/>
                  </a:moveTo>
                  <a:lnTo>
                    <a:pt x="2085925" y="5957561"/>
                  </a:lnTo>
                  <a:lnTo>
                    <a:pt x="1815513" y="6227973"/>
                  </a:lnTo>
                  <a:lnTo>
                    <a:pt x="2079636" y="6227973"/>
                  </a:lnTo>
                  <a:lnTo>
                    <a:pt x="2350049" y="5957561"/>
                  </a:lnTo>
                  <a:lnTo>
                    <a:pt x="2078937" y="5687149"/>
                  </a:lnTo>
                  <a:close/>
                  <a:moveTo>
                    <a:pt x="717095" y="5687149"/>
                  </a:moveTo>
                  <a:lnTo>
                    <a:pt x="988206" y="5957561"/>
                  </a:lnTo>
                  <a:lnTo>
                    <a:pt x="717794" y="6228671"/>
                  </a:lnTo>
                  <a:lnTo>
                    <a:pt x="981917" y="6228671"/>
                  </a:lnTo>
                  <a:lnTo>
                    <a:pt x="1252329" y="5957561"/>
                  </a:lnTo>
                  <a:lnTo>
                    <a:pt x="981219" y="5687149"/>
                  </a:lnTo>
                  <a:close/>
                  <a:moveTo>
                    <a:pt x="2363324" y="5686450"/>
                  </a:moveTo>
                  <a:lnTo>
                    <a:pt x="2634435" y="5956862"/>
                  </a:lnTo>
                  <a:lnTo>
                    <a:pt x="2364722" y="6227973"/>
                  </a:lnTo>
                  <a:lnTo>
                    <a:pt x="2628146" y="6227973"/>
                  </a:lnTo>
                  <a:lnTo>
                    <a:pt x="2898558" y="5956862"/>
                  </a:lnTo>
                  <a:lnTo>
                    <a:pt x="2764401" y="5823402"/>
                  </a:lnTo>
                  <a:lnTo>
                    <a:pt x="2627447" y="5686450"/>
                  </a:lnTo>
                  <a:close/>
                  <a:moveTo>
                    <a:pt x="2911834" y="5685751"/>
                  </a:moveTo>
                  <a:lnTo>
                    <a:pt x="2913232" y="5687149"/>
                  </a:lnTo>
                  <a:lnTo>
                    <a:pt x="3182945" y="5956163"/>
                  </a:lnTo>
                  <a:lnTo>
                    <a:pt x="2912533" y="6226575"/>
                  </a:lnTo>
                  <a:lnTo>
                    <a:pt x="3176657" y="6226575"/>
                  </a:lnTo>
                  <a:lnTo>
                    <a:pt x="3447069" y="5956163"/>
                  </a:lnTo>
                  <a:lnTo>
                    <a:pt x="3441479" y="5951272"/>
                  </a:lnTo>
                  <a:lnTo>
                    <a:pt x="3175958" y="5685751"/>
                  </a:lnTo>
                  <a:close/>
                  <a:moveTo>
                    <a:pt x="1530428" y="5685751"/>
                  </a:moveTo>
                  <a:lnTo>
                    <a:pt x="1529030" y="5686450"/>
                  </a:lnTo>
                  <a:lnTo>
                    <a:pt x="1264907" y="5686450"/>
                  </a:lnTo>
                  <a:lnTo>
                    <a:pt x="1536018" y="5956862"/>
                  </a:lnTo>
                  <a:lnTo>
                    <a:pt x="1531824" y="5961054"/>
                  </a:lnTo>
                  <a:lnTo>
                    <a:pt x="1537414" y="5958259"/>
                  </a:lnTo>
                  <a:lnTo>
                    <a:pt x="1267002" y="6229370"/>
                  </a:lnTo>
                  <a:lnTo>
                    <a:pt x="1531127" y="6229370"/>
                  </a:lnTo>
                  <a:lnTo>
                    <a:pt x="1801539" y="5958259"/>
                  </a:lnTo>
                  <a:lnTo>
                    <a:pt x="1530428" y="5687847"/>
                  </a:lnTo>
                  <a:close/>
                  <a:moveTo>
                    <a:pt x="3459646" y="5685052"/>
                  </a:moveTo>
                  <a:lnTo>
                    <a:pt x="3730757" y="5955464"/>
                  </a:lnTo>
                  <a:lnTo>
                    <a:pt x="3727962" y="5958259"/>
                  </a:lnTo>
                  <a:lnTo>
                    <a:pt x="3637825" y="6049095"/>
                  </a:lnTo>
                  <a:lnTo>
                    <a:pt x="3460345" y="6225876"/>
                  </a:lnTo>
                  <a:lnTo>
                    <a:pt x="3724468" y="6225876"/>
                  </a:lnTo>
                  <a:lnTo>
                    <a:pt x="3813907" y="6136437"/>
                  </a:lnTo>
                  <a:lnTo>
                    <a:pt x="3994880" y="5955464"/>
                  </a:lnTo>
                  <a:lnTo>
                    <a:pt x="3723769" y="5685052"/>
                  </a:lnTo>
                  <a:close/>
                  <a:moveTo>
                    <a:pt x="1807128" y="5412543"/>
                  </a:moveTo>
                  <a:lnTo>
                    <a:pt x="1536716" y="5683654"/>
                  </a:lnTo>
                  <a:lnTo>
                    <a:pt x="1807827" y="5954066"/>
                  </a:lnTo>
                  <a:lnTo>
                    <a:pt x="2071951" y="5954066"/>
                  </a:lnTo>
                  <a:lnTo>
                    <a:pt x="1800840" y="5683654"/>
                  </a:lnTo>
                  <a:lnTo>
                    <a:pt x="2071252" y="5412543"/>
                  </a:lnTo>
                  <a:close/>
                  <a:moveTo>
                    <a:pt x="709409" y="5412543"/>
                  </a:moveTo>
                  <a:lnTo>
                    <a:pt x="438997" y="5683654"/>
                  </a:lnTo>
                  <a:lnTo>
                    <a:pt x="710108" y="5954066"/>
                  </a:lnTo>
                  <a:lnTo>
                    <a:pt x="974231" y="5954066"/>
                  </a:lnTo>
                  <a:lnTo>
                    <a:pt x="703120" y="5683654"/>
                  </a:lnTo>
                  <a:lnTo>
                    <a:pt x="972833" y="5412543"/>
                  </a:lnTo>
                  <a:close/>
                  <a:moveTo>
                    <a:pt x="2904148" y="5411845"/>
                  </a:moveTo>
                  <a:lnTo>
                    <a:pt x="2723874" y="5592120"/>
                  </a:lnTo>
                  <a:lnTo>
                    <a:pt x="2634435" y="5682258"/>
                  </a:lnTo>
                  <a:lnTo>
                    <a:pt x="2768593" y="5815716"/>
                  </a:lnTo>
                  <a:lnTo>
                    <a:pt x="2905546" y="5952669"/>
                  </a:lnTo>
                  <a:lnTo>
                    <a:pt x="3169669" y="5952669"/>
                  </a:lnTo>
                  <a:lnTo>
                    <a:pt x="2898558" y="5682258"/>
                  </a:lnTo>
                  <a:lnTo>
                    <a:pt x="2899956" y="5680860"/>
                  </a:lnTo>
                  <a:lnTo>
                    <a:pt x="3168271" y="5411845"/>
                  </a:lnTo>
                  <a:close/>
                  <a:moveTo>
                    <a:pt x="2355639" y="5411845"/>
                  </a:moveTo>
                  <a:lnTo>
                    <a:pt x="2085226" y="5682955"/>
                  </a:lnTo>
                  <a:lnTo>
                    <a:pt x="2356338" y="5953367"/>
                  </a:lnTo>
                  <a:lnTo>
                    <a:pt x="2620460" y="5953367"/>
                  </a:lnTo>
                  <a:lnTo>
                    <a:pt x="2349350" y="5682955"/>
                  </a:lnTo>
                  <a:lnTo>
                    <a:pt x="2533816" y="5498489"/>
                  </a:lnTo>
                  <a:lnTo>
                    <a:pt x="2619762" y="5412543"/>
                  </a:lnTo>
                  <a:lnTo>
                    <a:pt x="2361229" y="5412543"/>
                  </a:lnTo>
                  <a:close/>
                  <a:moveTo>
                    <a:pt x="1257919" y="5411845"/>
                  </a:moveTo>
                  <a:lnTo>
                    <a:pt x="987507" y="5682955"/>
                  </a:lnTo>
                  <a:lnTo>
                    <a:pt x="1258618" y="5953367"/>
                  </a:lnTo>
                  <a:lnTo>
                    <a:pt x="1522741" y="5953367"/>
                  </a:lnTo>
                  <a:lnTo>
                    <a:pt x="1251631" y="5682955"/>
                  </a:lnTo>
                  <a:lnTo>
                    <a:pt x="1436098" y="5498489"/>
                  </a:lnTo>
                  <a:lnTo>
                    <a:pt x="1522043" y="5411845"/>
                  </a:lnTo>
                  <a:close/>
                  <a:moveTo>
                    <a:pt x="3452658" y="5411147"/>
                  </a:moveTo>
                  <a:lnTo>
                    <a:pt x="3182246" y="5682258"/>
                  </a:lnTo>
                  <a:lnTo>
                    <a:pt x="3453357" y="5952669"/>
                  </a:lnTo>
                  <a:lnTo>
                    <a:pt x="3717481" y="5952669"/>
                  </a:lnTo>
                  <a:lnTo>
                    <a:pt x="3446370" y="5682258"/>
                  </a:lnTo>
                  <a:lnTo>
                    <a:pt x="3716782" y="5411147"/>
                  </a:lnTo>
                  <a:close/>
                  <a:moveTo>
                    <a:pt x="4549679" y="5409749"/>
                  </a:moveTo>
                  <a:lnTo>
                    <a:pt x="4279267" y="5680860"/>
                  </a:lnTo>
                  <a:lnTo>
                    <a:pt x="4550378" y="5951272"/>
                  </a:lnTo>
                  <a:lnTo>
                    <a:pt x="4814501" y="5951272"/>
                  </a:lnTo>
                  <a:lnTo>
                    <a:pt x="4543391" y="5680860"/>
                  </a:lnTo>
                  <a:lnTo>
                    <a:pt x="4727858" y="5495694"/>
                  </a:lnTo>
                  <a:lnTo>
                    <a:pt x="4727159" y="5494995"/>
                  </a:lnTo>
                  <a:lnTo>
                    <a:pt x="4812405" y="5409749"/>
                  </a:lnTo>
                  <a:close/>
                  <a:moveTo>
                    <a:pt x="167886" y="5139337"/>
                  </a:moveTo>
                  <a:lnTo>
                    <a:pt x="438997" y="5409749"/>
                  </a:lnTo>
                  <a:lnTo>
                    <a:pt x="169284" y="5680860"/>
                  </a:lnTo>
                  <a:lnTo>
                    <a:pt x="432708" y="5680860"/>
                  </a:lnTo>
                  <a:lnTo>
                    <a:pt x="703120" y="5409749"/>
                  </a:lnTo>
                  <a:lnTo>
                    <a:pt x="568962" y="5276290"/>
                  </a:lnTo>
                  <a:lnTo>
                    <a:pt x="432009" y="5139337"/>
                  </a:lnTo>
                  <a:close/>
                  <a:moveTo>
                    <a:pt x="1814116" y="5138638"/>
                  </a:moveTo>
                  <a:lnTo>
                    <a:pt x="1942683" y="5267207"/>
                  </a:lnTo>
                  <a:lnTo>
                    <a:pt x="2084528" y="5409050"/>
                  </a:lnTo>
                  <a:lnTo>
                    <a:pt x="1814116" y="5680161"/>
                  </a:lnTo>
                  <a:lnTo>
                    <a:pt x="2078239" y="5680161"/>
                  </a:lnTo>
                  <a:lnTo>
                    <a:pt x="2348651" y="5409050"/>
                  </a:lnTo>
                  <a:lnTo>
                    <a:pt x="2343759" y="5404159"/>
                  </a:lnTo>
                  <a:lnTo>
                    <a:pt x="2078239" y="5138638"/>
                  </a:lnTo>
                  <a:close/>
                  <a:moveTo>
                    <a:pt x="2362625" y="5137939"/>
                  </a:moveTo>
                  <a:lnTo>
                    <a:pt x="2633736" y="5407653"/>
                  </a:lnTo>
                  <a:lnTo>
                    <a:pt x="2630942" y="5410448"/>
                  </a:lnTo>
                  <a:lnTo>
                    <a:pt x="2540804" y="5501283"/>
                  </a:lnTo>
                  <a:lnTo>
                    <a:pt x="2363324" y="5678763"/>
                  </a:lnTo>
                  <a:lnTo>
                    <a:pt x="2627447" y="5678763"/>
                  </a:lnTo>
                  <a:lnTo>
                    <a:pt x="2716886" y="5589325"/>
                  </a:lnTo>
                  <a:lnTo>
                    <a:pt x="2897859" y="5408351"/>
                  </a:lnTo>
                  <a:lnTo>
                    <a:pt x="2626749" y="5137939"/>
                  </a:lnTo>
                  <a:close/>
                  <a:moveTo>
                    <a:pt x="1264208" y="5137939"/>
                  </a:moveTo>
                  <a:lnTo>
                    <a:pt x="1535319" y="5407653"/>
                  </a:lnTo>
                  <a:lnTo>
                    <a:pt x="1532523" y="5410448"/>
                  </a:lnTo>
                  <a:lnTo>
                    <a:pt x="1442387" y="5501283"/>
                  </a:lnTo>
                  <a:lnTo>
                    <a:pt x="1264907" y="5678763"/>
                  </a:lnTo>
                  <a:lnTo>
                    <a:pt x="1529030" y="5678763"/>
                  </a:lnTo>
                  <a:lnTo>
                    <a:pt x="1618469" y="5589325"/>
                  </a:lnTo>
                  <a:lnTo>
                    <a:pt x="1799442" y="5408351"/>
                  </a:lnTo>
                  <a:lnTo>
                    <a:pt x="1528331" y="5137939"/>
                  </a:lnTo>
                  <a:close/>
                  <a:moveTo>
                    <a:pt x="715697" y="5137939"/>
                  </a:moveTo>
                  <a:lnTo>
                    <a:pt x="717095" y="5139337"/>
                  </a:lnTo>
                  <a:lnTo>
                    <a:pt x="986808" y="5408351"/>
                  </a:lnTo>
                  <a:lnTo>
                    <a:pt x="716396" y="5679462"/>
                  </a:lnTo>
                  <a:lnTo>
                    <a:pt x="980520" y="5679462"/>
                  </a:lnTo>
                  <a:lnTo>
                    <a:pt x="1250932" y="5408351"/>
                  </a:lnTo>
                  <a:lnTo>
                    <a:pt x="1245342" y="5403460"/>
                  </a:lnTo>
                  <a:lnTo>
                    <a:pt x="979821" y="5137939"/>
                  </a:lnTo>
                  <a:close/>
                  <a:moveTo>
                    <a:pt x="2911136" y="5137241"/>
                  </a:moveTo>
                  <a:lnTo>
                    <a:pt x="3041801" y="5266508"/>
                  </a:lnTo>
                  <a:lnTo>
                    <a:pt x="3182246" y="5406954"/>
                  </a:lnTo>
                  <a:lnTo>
                    <a:pt x="2911834" y="5678065"/>
                  </a:lnTo>
                  <a:lnTo>
                    <a:pt x="3175958" y="5678065"/>
                  </a:lnTo>
                  <a:lnTo>
                    <a:pt x="3446370" y="5407653"/>
                  </a:lnTo>
                  <a:lnTo>
                    <a:pt x="3175259" y="5137241"/>
                  </a:lnTo>
                  <a:close/>
                  <a:moveTo>
                    <a:pt x="3459646" y="5136542"/>
                  </a:moveTo>
                  <a:lnTo>
                    <a:pt x="3730757" y="5406954"/>
                  </a:lnTo>
                  <a:lnTo>
                    <a:pt x="3460345" y="5678065"/>
                  </a:lnTo>
                  <a:lnTo>
                    <a:pt x="3724468" y="5678065"/>
                  </a:lnTo>
                  <a:lnTo>
                    <a:pt x="3994880" y="5406954"/>
                  </a:lnTo>
                  <a:lnTo>
                    <a:pt x="3723769" y="5136542"/>
                  </a:lnTo>
                  <a:close/>
                  <a:moveTo>
                    <a:pt x="4008156" y="5135843"/>
                  </a:moveTo>
                  <a:lnTo>
                    <a:pt x="4279267" y="5406255"/>
                  </a:lnTo>
                  <a:lnTo>
                    <a:pt x="4008855" y="5677366"/>
                  </a:lnTo>
                  <a:lnTo>
                    <a:pt x="4207297" y="5677366"/>
                  </a:lnTo>
                  <a:lnTo>
                    <a:pt x="4272280" y="5677366"/>
                  </a:lnTo>
                  <a:lnTo>
                    <a:pt x="4543391" y="5406255"/>
                  </a:lnTo>
                  <a:lnTo>
                    <a:pt x="4409232" y="5272797"/>
                  </a:lnTo>
                  <a:lnTo>
                    <a:pt x="4272280" y="5135843"/>
                  </a:lnTo>
                  <a:close/>
                  <a:moveTo>
                    <a:pt x="708011" y="4864034"/>
                  </a:moveTo>
                  <a:lnTo>
                    <a:pt x="527737" y="5045007"/>
                  </a:lnTo>
                  <a:lnTo>
                    <a:pt x="438298" y="5135144"/>
                  </a:lnTo>
                  <a:lnTo>
                    <a:pt x="572456" y="5268603"/>
                  </a:lnTo>
                  <a:lnTo>
                    <a:pt x="709409" y="5405557"/>
                  </a:lnTo>
                  <a:lnTo>
                    <a:pt x="973532" y="5405557"/>
                  </a:lnTo>
                  <a:lnTo>
                    <a:pt x="702421" y="5135144"/>
                  </a:lnTo>
                  <a:lnTo>
                    <a:pt x="703819" y="5133747"/>
                  </a:lnTo>
                  <a:lnTo>
                    <a:pt x="972135" y="4864034"/>
                  </a:lnTo>
                  <a:close/>
                  <a:moveTo>
                    <a:pt x="1257220" y="4863335"/>
                  </a:moveTo>
                  <a:lnTo>
                    <a:pt x="986808" y="5134446"/>
                  </a:lnTo>
                  <a:lnTo>
                    <a:pt x="1257919" y="5404858"/>
                  </a:lnTo>
                  <a:lnTo>
                    <a:pt x="1522043" y="5404858"/>
                  </a:lnTo>
                  <a:lnTo>
                    <a:pt x="1250932" y="5134446"/>
                  </a:lnTo>
                  <a:lnTo>
                    <a:pt x="1521344" y="4863335"/>
                  </a:lnTo>
                  <a:close/>
                  <a:moveTo>
                    <a:pt x="2904148" y="4862636"/>
                  </a:moveTo>
                  <a:lnTo>
                    <a:pt x="2633736" y="5133747"/>
                  </a:lnTo>
                  <a:lnTo>
                    <a:pt x="2904847" y="5404159"/>
                  </a:lnTo>
                  <a:lnTo>
                    <a:pt x="3168271" y="5404159"/>
                  </a:lnTo>
                  <a:lnTo>
                    <a:pt x="3037607" y="5274193"/>
                  </a:lnTo>
                  <a:lnTo>
                    <a:pt x="2897162" y="5133747"/>
                  </a:lnTo>
                  <a:lnTo>
                    <a:pt x="3168271" y="4862636"/>
                  </a:lnTo>
                  <a:close/>
                  <a:moveTo>
                    <a:pt x="1805032" y="4862636"/>
                  </a:moveTo>
                  <a:lnTo>
                    <a:pt x="1534620" y="5133747"/>
                  </a:lnTo>
                  <a:lnTo>
                    <a:pt x="1805731" y="5404159"/>
                  </a:lnTo>
                  <a:lnTo>
                    <a:pt x="1807128" y="5405557"/>
                  </a:lnTo>
                  <a:lnTo>
                    <a:pt x="2071252" y="5405557"/>
                  </a:lnTo>
                  <a:lnTo>
                    <a:pt x="1939889" y="5274193"/>
                  </a:lnTo>
                  <a:lnTo>
                    <a:pt x="1802236" y="5136542"/>
                  </a:lnTo>
                  <a:lnTo>
                    <a:pt x="2071252" y="4862636"/>
                  </a:lnTo>
                  <a:close/>
                  <a:moveTo>
                    <a:pt x="3451960" y="4861938"/>
                  </a:moveTo>
                  <a:lnTo>
                    <a:pt x="3181548" y="5133048"/>
                  </a:lnTo>
                  <a:lnTo>
                    <a:pt x="3452658" y="5403460"/>
                  </a:lnTo>
                  <a:lnTo>
                    <a:pt x="3716782" y="5403460"/>
                  </a:lnTo>
                  <a:lnTo>
                    <a:pt x="3445671" y="5133048"/>
                  </a:lnTo>
                  <a:lnTo>
                    <a:pt x="3630138" y="4948581"/>
                  </a:lnTo>
                  <a:lnTo>
                    <a:pt x="3714686" y="4861938"/>
                  </a:lnTo>
                  <a:close/>
                  <a:moveTo>
                    <a:pt x="4000470" y="4861239"/>
                  </a:moveTo>
                  <a:lnTo>
                    <a:pt x="3730058" y="5132350"/>
                  </a:lnTo>
                  <a:lnTo>
                    <a:pt x="4001169" y="5402762"/>
                  </a:lnTo>
                  <a:lnTo>
                    <a:pt x="4265292" y="5402762"/>
                  </a:lnTo>
                  <a:lnTo>
                    <a:pt x="3994181" y="5132350"/>
                  </a:lnTo>
                  <a:lnTo>
                    <a:pt x="3995579" y="5130952"/>
                  </a:lnTo>
                  <a:lnTo>
                    <a:pt x="3994880" y="5130952"/>
                  </a:lnTo>
                  <a:lnTo>
                    <a:pt x="4263197" y="4861938"/>
                  </a:lnTo>
                  <a:lnTo>
                    <a:pt x="4004663" y="4861938"/>
                  </a:lnTo>
                  <a:lnTo>
                    <a:pt x="4006060" y="4861239"/>
                  </a:lnTo>
                  <a:close/>
                  <a:moveTo>
                    <a:pt x="4548281" y="4860540"/>
                  </a:moveTo>
                  <a:lnTo>
                    <a:pt x="4367308" y="5041513"/>
                  </a:lnTo>
                  <a:lnTo>
                    <a:pt x="4368007" y="5042212"/>
                  </a:lnTo>
                  <a:lnTo>
                    <a:pt x="4278568" y="5132350"/>
                  </a:lnTo>
                  <a:lnTo>
                    <a:pt x="4412727" y="5265809"/>
                  </a:lnTo>
                  <a:lnTo>
                    <a:pt x="4548980" y="5402063"/>
                  </a:lnTo>
                  <a:lnTo>
                    <a:pt x="4813104" y="5402063"/>
                  </a:lnTo>
                  <a:lnTo>
                    <a:pt x="4541993" y="5131651"/>
                  </a:lnTo>
                  <a:lnTo>
                    <a:pt x="4812405" y="4860540"/>
                  </a:lnTo>
                  <a:close/>
                  <a:moveTo>
                    <a:pt x="2621159" y="4860540"/>
                  </a:moveTo>
                  <a:lnTo>
                    <a:pt x="2354940" y="4863335"/>
                  </a:lnTo>
                  <a:lnTo>
                    <a:pt x="2084528" y="5134446"/>
                  </a:lnTo>
                  <a:lnTo>
                    <a:pt x="2355639" y="5404858"/>
                  </a:lnTo>
                  <a:lnTo>
                    <a:pt x="2619762" y="5404858"/>
                  </a:lnTo>
                  <a:lnTo>
                    <a:pt x="2348651" y="5134446"/>
                  </a:lnTo>
                  <a:close/>
                  <a:moveTo>
                    <a:pt x="166488" y="4590827"/>
                  </a:moveTo>
                  <a:lnTo>
                    <a:pt x="437599" y="4861239"/>
                  </a:lnTo>
                  <a:lnTo>
                    <a:pt x="434805" y="4864034"/>
                  </a:lnTo>
                  <a:lnTo>
                    <a:pt x="344667" y="4954870"/>
                  </a:lnTo>
                  <a:lnTo>
                    <a:pt x="167187" y="5131651"/>
                  </a:lnTo>
                  <a:lnTo>
                    <a:pt x="431311" y="5131651"/>
                  </a:lnTo>
                  <a:lnTo>
                    <a:pt x="520749" y="5042212"/>
                  </a:lnTo>
                  <a:lnTo>
                    <a:pt x="701722" y="4861239"/>
                  </a:lnTo>
                  <a:lnTo>
                    <a:pt x="430612" y="4590827"/>
                  </a:lnTo>
                  <a:close/>
                  <a:moveTo>
                    <a:pt x="715697" y="4590128"/>
                  </a:moveTo>
                  <a:lnTo>
                    <a:pt x="845663" y="4720093"/>
                  </a:lnTo>
                  <a:lnTo>
                    <a:pt x="986109" y="4859841"/>
                  </a:lnTo>
                  <a:lnTo>
                    <a:pt x="715697" y="5130952"/>
                  </a:lnTo>
                  <a:lnTo>
                    <a:pt x="979821" y="5130952"/>
                  </a:lnTo>
                  <a:lnTo>
                    <a:pt x="1250932" y="4860540"/>
                  </a:lnTo>
                  <a:lnTo>
                    <a:pt x="979821" y="4590128"/>
                  </a:lnTo>
                  <a:close/>
                  <a:moveTo>
                    <a:pt x="2911136" y="4589429"/>
                  </a:moveTo>
                  <a:lnTo>
                    <a:pt x="3040403" y="4717299"/>
                  </a:lnTo>
                  <a:lnTo>
                    <a:pt x="3040403" y="4717998"/>
                  </a:lnTo>
                  <a:lnTo>
                    <a:pt x="3182246" y="4859841"/>
                  </a:lnTo>
                  <a:lnTo>
                    <a:pt x="2911834" y="5130952"/>
                  </a:lnTo>
                  <a:lnTo>
                    <a:pt x="3175259" y="5130952"/>
                  </a:lnTo>
                  <a:lnTo>
                    <a:pt x="3445671" y="4859841"/>
                  </a:lnTo>
                  <a:lnTo>
                    <a:pt x="3440081" y="4854251"/>
                  </a:lnTo>
                  <a:lnTo>
                    <a:pt x="3439382" y="4854251"/>
                  </a:lnTo>
                  <a:lnTo>
                    <a:pt x="3173862" y="4589429"/>
                  </a:lnTo>
                  <a:close/>
                  <a:moveTo>
                    <a:pt x="1813417" y="4589429"/>
                  </a:moveTo>
                  <a:lnTo>
                    <a:pt x="1815507" y="4592217"/>
                  </a:lnTo>
                  <a:lnTo>
                    <a:pt x="1814814" y="4591526"/>
                  </a:lnTo>
                  <a:lnTo>
                    <a:pt x="1815513" y="4592225"/>
                  </a:lnTo>
                  <a:lnTo>
                    <a:pt x="1815507" y="4592217"/>
                  </a:lnTo>
                  <a:lnTo>
                    <a:pt x="2074046" y="4850059"/>
                  </a:lnTo>
                  <a:lnTo>
                    <a:pt x="2083829" y="4859142"/>
                  </a:lnTo>
                  <a:lnTo>
                    <a:pt x="2085925" y="4861239"/>
                  </a:lnTo>
                  <a:lnTo>
                    <a:pt x="1821102" y="5130952"/>
                  </a:lnTo>
                  <a:lnTo>
                    <a:pt x="2080335" y="5131651"/>
                  </a:lnTo>
                  <a:lnTo>
                    <a:pt x="2350049" y="4861239"/>
                  </a:lnTo>
                  <a:lnTo>
                    <a:pt x="2214493" y="4726382"/>
                  </a:lnTo>
                  <a:lnTo>
                    <a:pt x="2197724" y="4709612"/>
                  </a:lnTo>
                  <a:lnTo>
                    <a:pt x="2078239" y="4590827"/>
                  </a:lnTo>
                  <a:lnTo>
                    <a:pt x="2074046" y="4589429"/>
                  </a:lnTo>
                  <a:close/>
                  <a:moveTo>
                    <a:pt x="1263509" y="4589429"/>
                  </a:moveTo>
                  <a:lnTo>
                    <a:pt x="1534620" y="4859841"/>
                  </a:lnTo>
                  <a:lnTo>
                    <a:pt x="1264208" y="5130952"/>
                  </a:lnTo>
                  <a:lnTo>
                    <a:pt x="1528331" y="5130952"/>
                  </a:lnTo>
                  <a:lnTo>
                    <a:pt x="1798743" y="4859841"/>
                  </a:lnTo>
                  <a:lnTo>
                    <a:pt x="1527632" y="4589429"/>
                  </a:lnTo>
                  <a:close/>
                  <a:moveTo>
                    <a:pt x="2626749" y="4588031"/>
                  </a:moveTo>
                  <a:lnTo>
                    <a:pt x="2363324" y="4588730"/>
                  </a:lnTo>
                  <a:lnTo>
                    <a:pt x="2632339" y="4857047"/>
                  </a:lnTo>
                  <a:lnTo>
                    <a:pt x="2631641" y="4857746"/>
                  </a:lnTo>
                  <a:lnTo>
                    <a:pt x="2633038" y="4859142"/>
                  </a:lnTo>
                  <a:lnTo>
                    <a:pt x="2362625" y="5130253"/>
                  </a:lnTo>
                  <a:lnTo>
                    <a:pt x="2626749" y="5130253"/>
                  </a:lnTo>
                  <a:lnTo>
                    <a:pt x="2716886" y="5040116"/>
                  </a:lnTo>
                  <a:lnTo>
                    <a:pt x="2896463" y="4857047"/>
                  </a:lnTo>
                  <a:close/>
                  <a:moveTo>
                    <a:pt x="4006759" y="4587334"/>
                  </a:moveTo>
                  <a:lnTo>
                    <a:pt x="4136725" y="4716600"/>
                  </a:lnTo>
                  <a:lnTo>
                    <a:pt x="4277171" y="4857047"/>
                  </a:lnTo>
                  <a:lnTo>
                    <a:pt x="4184238" y="4950678"/>
                  </a:lnTo>
                  <a:lnTo>
                    <a:pt x="4184937" y="4951376"/>
                  </a:lnTo>
                  <a:lnTo>
                    <a:pt x="4008156" y="5128855"/>
                  </a:lnTo>
                  <a:lnTo>
                    <a:pt x="4270882" y="5128855"/>
                  </a:lnTo>
                  <a:lnTo>
                    <a:pt x="4541294" y="4857746"/>
                  </a:lnTo>
                  <a:lnTo>
                    <a:pt x="4270183" y="4587334"/>
                  </a:lnTo>
                  <a:close/>
                  <a:moveTo>
                    <a:pt x="3458248" y="4587334"/>
                  </a:moveTo>
                  <a:lnTo>
                    <a:pt x="3729359" y="4857746"/>
                  </a:lnTo>
                  <a:lnTo>
                    <a:pt x="3730058" y="4858443"/>
                  </a:lnTo>
                  <a:lnTo>
                    <a:pt x="3459646" y="5129554"/>
                  </a:lnTo>
                  <a:lnTo>
                    <a:pt x="3723769" y="5129554"/>
                  </a:lnTo>
                  <a:lnTo>
                    <a:pt x="3813208" y="5039418"/>
                  </a:lnTo>
                  <a:lnTo>
                    <a:pt x="3812509" y="5039418"/>
                  </a:lnTo>
                  <a:lnTo>
                    <a:pt x="3993483" y="4858443"/>
                  </a:lnTo>
                  <a:lnTo>
                    <a:pt x="3988591" y="4852854"/>
                  </a:lnTo>
                  <a:lnTo>
                    <a:pt x="3722372" y="4587334"/>
                  </a:lnTo>
                  <a:close/>
                  <a:moveTo>
                    <a:pt x="708011" y="4316223"/>
                  </a:moveTo>
                  <a:lnTo>
                    <a:pt x="437599" y="4587334"/>
                  </a:lnTo>
                  <a:lnTo>
                    <a:pt x="709409" y="4857746"/>
                  </a:lnTo>
                  <a:lnTo>
                    <a:pt x="972833" y="4857746"/>
                  </a:lnTo>
                  <a:lnTo>
                    <a:pt x="842169" y="4727779"/>
                  </a:lnTo>
                  <a:lnTo>
                    <a:pt x="701722" y="4587334"/>
                  </a:lnTo>
                  <a:lnTo>
                    <a:pt x="972135" y="4316223"/>
                  </a:lnTo>
                  <a:close/>
                  <a:moveTo>
                    <a:pt x="2354241" y="4315524"/>
                  </a:moveTo>
                  <a:lnTo>
                    <a:pt x="2083829" y="4586635"/>
                  </a:lnTo>
                  <a:lnTo>
                    <a:pt x="2353542" y="4855649"/>
                  </a:lnTo>
                  <a:lnTo>
                    <a:pt x="2616967" y="4855649"/>
                  </a:lnTo>
                  <a:lnTo>
                    <a:pt x="2347952" y="4586635"/>
                  </a:lnTo>
                  <a:lnTo>
                    <a:pt x="2348651" y="4585936"/>
                  </a:lnTo>
                  <a:lnTo>
                    <a:pt x="2347254" y="4584538"/>
                  </a:lnTo>
                  <a:lnTo>
                    <a:pt x="2615569" y="4315524"/>
                  </a:lnTo>
                  <a:close/>
                  <a:moveTo>
                    <a:pt x="1256521" y="4315524"/>
                  </a:moveTo>
                  <a:lnTo>
                    <a:pt x="986109" y="4586635"/>
                  </a:lnTo>
                  <a:lnTo>
                    <a:pt x="1257220" y="4857047"/>
                  </a:lnTo>
                  <a:lnTo>
                    <a:pt x="1521344" y="4857047"/>
                  </a:lnTo>
                  <a:lnTo>
                    <a:pt x="1250233" y="4586635"/>
                  </a:lnTo>
                  <a:lnTo>
                    <a:pt x="1520645" y="4315524"/>
                  </a:lnTo>
                  <a:lnTo>
                    <a:pt x="1392775" y="4315524"/>
                  </a:lnTo>
                  <a:close/>
                  <a:moveTo>
                    <a:pt x="1805731" y="4314825"/>
                  </a:moveTo>
                  <a:lnTo>
                    <a:pt x="1625456" y="4495798"/>
                  </a:lnTo>
                  <a:lnTo>
                    <a:pt x="1624758" y="4495798"/>
                  </a:lnTo>
                  <a:lnTo>
                    <a:pt x="1534620" y="4585936"/>
                  </a:lnTo>
                  <a:lnTo>
                    <a:pt x="1805032" y="4857047"/>
                  </a:lnTo>
                  <a:lnTo>
                    <a:pt x="2069155" y="4857047"/>
                  </a:lnTo>
                  <a:lnTo>
                    <a:pt x="1798044" y="4586635"/>
                  </a:lnTo>
                  <a:lnTo>
                    <a:pt x="1982512" y="4402167"/>
                  </a:lnTo>
                  <a:lnTo>
                    <a:pt x="1983211" y="4402167"/>
                  </a:lnTo>
                  <a:lnTo>
                    <a:pt x="2069155" y="4315524"/>
                  </a:lnTo>
                  <a:lnTo>
                    <a:pt x="1810622" y="4315524"/>
                  </a:lnTo>
                  <a:close/>
                  <a:moveTo>
                    <a:pt x="3450563" y="4313427"/>
                  </a:moveTo>
                  <a:lnTo>
                    <a:pt x="3269589" y="4495099"/>
                  </a:lnTo>
                  <a:lnTo>
                    <a:pt x="3270986" y="4495798"/>
                  </a:lnTo>
                  <a:lnTo>
                    <a:pt x="3181548" y="4585237"/>
                  </a:lnTo>
                  <a:lnTo>
                    <a:pt x="3451960" y="4854950"/>
                  </a:lnTo>
                  <a:lnTo>
                    <a:pt x="3715384" y="4854950"/>
                  </a:lnTo>
                  <a:lnTo>
                    <a:pt x="3444972" y="4585237"/>
                  </a:lnTo>
                  <a:lnTo>
                    <a:pt x="3444274" y="4584538"/>
                  </a:lnTo>
                  <a:lnTo>
                    <a:pt x="3714686" y="4313427"/>
                  </a:lnTo>
                  <a:close/>
                  <a:moveTo>
                    <a:pt x="2904847" y="4313427"/>
                  </a:moveTo>
                  <a:lnTo>
                    <a:pt x="2908341" y="4314825"/>
                  </a:lnTo>
                  <a:lnTo>
                    <a:pt x="2902751" y="4314825"/>
                  </a:lnTo>
                  <a:lnTo>
                    <a:pt x="2633736" y="4585237"/>
                  </a:lnTo>
                  <a:lnTo>
                    <a:pt x="2903449" y="4854251"/>
                  </a:lnTo>
                  <a:lnTo>
                    <a:pt x="3168271" y="4855649"/>
                  </a:lnTo>
                  <a:lnTo>
                    <a:pt x="2897162" y="4585237"/>
                  </a:lnTo>
                  <a:lnTo>
                    <a:pt x="2895764" y="4583839"/>
                  </a:lnTo>
                  <a:lnTo>
                    <a:pt x="3164778" y="4314126"/>
                  </a:lnTo>
                  <a:lnTo>
                    <a:pt x="2967035" y="4314126"/>
                  </a:lnTo>
                  <a:lnTo>
                    <a:pt x="2967733" y="4313427"/>
                  </a:lnTo>
                  <a:close/>
                  <a:moveTo>
                    <a:pt x="3999073" y="4312728"/>
                  </a:moveTo>
                  <a:lnTo>
                    <a:pt x="3728660" y="4583839"/>
                  </a:lnTo>
                  <a:lnTo>
                    <a:pt x="3999771" y="4854251"/>
                  </a:lnTo>
                  <a:lnTo>
                    <a:pt x="4263197" y="4854251"/>
                  </a:lnTo>
                  <a:lnTo>
                    <a:pt x="4133230" y="4724286"/>
                  </a:lnTo>
                  <a:lnTo>
                    <a:pt x="3992783" y="4583839"/>
                  </a:lnTo>
                  <a:lnTo>
                    <a:pt x="4263197" y="4312728"/>
                  </a:lnTo>
                  <a:close/>
                  <a:moveTo>
                    <a:pt x="4547584" y="4312030"/>
                  </a:moveTo>
                  <a:lnTo>
                    <a:pt x="4277171" y="4583140"/>
                  </a:lnTo>
                  <a:lnTo>
                    <a:pt x="4548281" y="4853552"/>
                  </a:lnTo>
                  <a:lnTo>
                    <a:pt x="4812405" y="4853552"/>
                  </a:lnTo>
                  <a:lnTo>
                    <a:pt x="4541294" y="4583140"/>
                  </a:lnTo>
                  <a:lnTo>
                    <a:pt x="4811706" y="4312030"/>
                  </a:lnTo>
                  <a:close/>
                  <a:moveTo>
                    <a:pt x="717155" y="4044465"/>
                  </a:moveTo>
                  <a:lnTo>
                    <a:pt x="986808" y="4312728"/>
                  </a:lnTo>
                  <a:lnTo>
                    <a:pt x="716396" y="4583839"/>
                  </a:lnTo>
                  <a:lnTo>
                    <a:pt x="979821" y="4583839"/>
                  </a:lnTo>
                  <a:lnTo>
                    <a:pt x="1250233" y="4312728"/>
                  </a:lnTo>
                  <a:lnTo>
                    <a:pt x="1116075" y="4179269"/>
                  </a:lnTo>
                  <a:lnTo>
                    <a:pt x="1019702" y="4082896"/>
                  </a:lnTo>
                  <a:lnTo>
                    <a:pt x="1018761" y="4082896"/>
                  </a:lnTo>
                  <a:lnTo>
                    <a:pt x="980330" y="4044465"/>
                  </a:lnTo>
                  <a:close/>
                  <a:moveTo>
                    <a:pt x="168395" y="4044465"/>
                  </a:moveTo>
                  <a:lnTo>
                    <a:pt x="206127" y="4082197"/>
                  </a:lnTo>
                  <a:lnTo>
                    <a:pt x="205772" y="4082197"/>
                  </a:lnTo>
                  <a:lnTo>
                    <a:pt x="437599" y="4313427"/>
                  </a:lnTo>
                  <a:lnTo>
                    <a:pt x="167187" y="4583839"/>
                  </a:lnTo>
                  <a:lnTo>
                    <a:pt x="431311" y="4583839"/>
                  </a:lnTo>
                  <a:lnTo>
                    <a:pt x="701722" y="4312728"/>
                  </a:lnTo>
                  <a:lnTo>
                    <a:pt x="470596" y="4082197"/>
                  </a:lnTo>
                  <a:lnTo>
                    <a:pt x="470250" y="4082197"/>
                  </a:lnTo>
                  <a:lnTo>
                    <a:pt x="432518" y="4044465"/>
                  </a:lnTo>
                  <a:close/>
                  <a:moveTo>
                    <a:pt x="1816265" y="4043766"/>
                  </a:moveTo>
                  <a:lnTo>
                    <a:pt x="1942683" y="4170186"/>
                  </a:lnTo>
                  <a:lnTo>
                    <a:pt x="2083829" y="4310632"/>
                  </a:lnTo>
                  <a:lnTo>
                    <a:pt x="1813417" y="4581743"/>
                  </a:lnTo>
                  <a:lnTo>
                    <a:pt x="2076842" y="4581743"/>
                  </a:lnTo>
                  <a:lnTo>
                    <a:pt x="2347254" y="4311331"/>
                  </a:lnTo>
                  <a:lnTo>
                    <a:pt x="2214493" y="4178570"/>
                  </a:lnTo>
                  <a:lnTo>
                    <a:pt x="2214493" y="4177872"/>
                  </a:lnTo>
                  <a:lnTo>
                    <a:pt x="2119736" y="4083594"/>
                  </a:lnTo>
                  <a:lnTo>
                    <a:pt x="2116480" y="4083594"/>
                  </a:lnTo>
                  <a:lnTo>
                    <a:pt x="2076652" y="4043766"/>
                  </a:lnTo>
                  <a:close/>
                  <a:moveTo>
                    <a:pt x="1266369" y="4043766"/>
                  </a:moveTo>
                  <a:lnTo>
                    <a:pt x="1534620" y="4310632"/>
                  </a:lnTo>
                  <a:lnTo>
                    <a:pt x="1531824" y="4313427"/>
                  </a:lnTo>
                  <a:lnTo>
                    <a:pt x="1441688" y="4404264"/>
                  </a:lnTo>
                  <a:lnTo>
                    <a:pt x="1440989" y="4404264"/>
                  </a:lnTo>
                  <a:lnTo>
                    <a:pt x="1263509" y="4582442"/>
                  </a:lnTo>
                  <a:lnTo>
                    <a:pt x="1527632" y="4582442"/>
                  </a:lnTo>
                  <a:lnTo>
                    <a:pt x="1798044" y="4312030"/>
                  </a:lnTo>
                  <a:lnTo>
                    <a:pt x="1793153" y="4307139"/>
                  </a:lnTo>
                  <a:lnTo>
                    <a:pt x="1795249" y="4307838"/>
                  </a:lnTo>
                  <a:lnTo>
                    <a:pt x="1569718" y="4082896"/>
                  </a:lnTo>
                  <a:lnTo>
                    <a:pt x="1567271" y="4082896"/>
                  </a:lnTo>
                  <a:lnTo>
                    <a:pt x="1528141" y="4043766"/>
                  </a:lnTo>
                  <a:close/>
                  <a:moveTo>
                    <a:pt x="2363377" y="4043068"/>
                  </a:moveTo>
                  <a:lnTo>
                    <a:pt x="2630942" y="4310632"/>
                  </a:lnTo>
                  <a:lnTo>
                    <a:pt x="2632339" y="4312030"/>
                  </a:lnTo>
                  <a:lnTo>
                    <a:pt x="2363324" y="4581743"/>
                  </a:lnTo>
                  <a:lnTo>
                    <a:pt x="2625352" y="4581743"/>
                  </a:lnTo>
                  <a:lnTo>
                    <a:pt x="2895065" y="4311331"/>
                  </a:lnTo>
                  <a:lnTo>
                    <a:pt x="2890873" y="4307139"/>
                  </a:lnTo>
                  <a:lnTo>
                    <a:pt x="2892968" y="4307838"/>
                  </a:lnTo>
                  <a:lnTo>
                    <a:pt x="2668140" y="4083594"/>
                  </a:lnTo>
                  <a:lnTo>
                    <a:pt x="2666387" y="4083594"/>
                  </a:lnTo>
                  <a:lnTo>
                    <a:pt x="2625861" y="4043068"/>
                  </a:lnTo>
                  <a:close/>
                  <a:moveTo>
                    <a:pt x="2911879" y="4041670"/>
                  </a:moveTo>
                  <a:lnTo>
                    <a:pt x="3179452" y="4309934"/>
                  </a:lnTo>
                  <a:lnTo>
                    <a:pt x="3087218" y="4402866"/>
                  </a:lnTo>
                  <a:lnTo>
                    <a:pt x="3087917" y="4403565"/>
                  </a:lnTo>
                  <a:lnTo>
                    <a:pt x="2911834" y="4579647"/>
                  </a:lnTo>
                  <a:lnTo>
                    <a:pt x="3108180" y="4579647"/>
                  </a:lnTo>
                  <a:lnTo>
                    <a:pt x="3107481" y="4581045"/>
                  </a:lnTo>
                  <a:lnTo>
                    <a:pt x="3173163" y="4581045"/>
                  </a:lnTo>
                  <a:lnTo>
                    <a:pt x="3443575" y="4309934"/>
                  </a:lnTo>
                  <a:lnTo>
                    <a:pt x="3215951" y="4082896"/>
                  </a:lnTo>
                  <a:lnTo>
                    <a:pt x="3215596" y="4082896"/>
                  </a:lnTo>
                  <a:lnTo>
                    <a:pt x="3174371" y="4041670"/>
                  </a:lnTo>
                  <a:close/>
                  <a:moveTo>
                    <a:pt x="3459004" y="4040971"/>
                  </a:moveTo>
                  <a:lnTo>
                    <a:pt x="3728660" y="4309934"/>
                  </a:lnTo>
                  <a:lnTo>
                    <a:pt x="3458248" y="4580346"/>
                  </a:lnTo>
                  <a:lnTo>
                    <a:pt x="3722372" y="4580346"/>
                  </a:lnTo>
                  <a:lnTo>
                    <a:pt x="3992783" y="4309934"/>
                  </a:lnTo>
                  <a:lnTo>
                    <a:pt x="3765160" y="4082896"/>
                  </a:lnTo>
                  <a:lnTo>
                    <a:pt x="3764107" y="4082896"/>
                  </a:lnTo>
                  <a:lnTo>
                    <a:pt x="3722183" y="4040971"/>
                  </a:lnTo>
                  <a:close/>
                  <a:moveTo>
                    <a:pt x="4007520" y="4040272"/>
                  </a:moveTo>
                  <a:lnTo>
                    <a:pt x="4277869" y="4308536"/>
                  </a:lnTo>
                  <a:lnTo>
                    <a:pt x="4007457" y="4579647"/>
                  </a:lnTo>
                  <a:lnTo>
                    <a:pt x="4270882" y="4579647"/>
                  </a:lnTo>
                  <a:lnTo>
                    <a:pt x="4541294" y="4308536"/>
                  </a:lnTo>
                  <a:lnTo>
                    <a:pt x="4407136" y="4175077"/>
                  </a:lnTo>
                  <a:lnTo>
                    <a:pt x="4314482" y="4082896"/>
                  </a:lnTo>
                  <a:lnTo>
                    <a:pt x="4313316" y="4082896"/>
                  </a:lnTo>
                  <a:lnTo>
                    <a:pt x="4270692" y="4040272"/>
                  </a:lnTo>
                  <a:close/>
                  <a:moveTo>
                    <a:pt x="2354051" y="3769161"/>
                  </a:moveTo>
                  <a:lnTo>
                    <a:pt x="2084461" y="4039450"/>
                  </a:lnTo>
                  <a:lnTo>
                    <a:pt x="2353542" y="4307838"/>
                  </a:lnTo>
                  <a:lnTo>
                    <a:pt x="2616967" y="4307838"/>
                  </a:lnTo>
                  <a:lnTo>
                    <a:pt x="2392140" y="4083594"/>
                  </a:lnTo>
                  <a:lnTo>
                    <a:pt x="2391783" y="4083594"/>
                  </a:lnTo>
                  <a:lnTo>
                    <a:pt x="2347762" y="4039573"/>
                  </a:lnTo>
                  <a:lnTo>
                    <a:pt x="2347884" y="4039452"/>
                  </a:lnTo>
                  <a:lnTo>
                    <a:pt x="2347254" y="4038823"/>
                  </a:lnTo>
                  <a:lnTo>
                    <a:pt x="2347952" y="4038124"/>
                  </a:lnTo>
                  <a:lnTo>
                    <a:pt x="2346555" y="4036727"/>
                  </a:lnTo>
                  <a:lnTo>
                    <a:pt x="2521938" y="3860644"/>
                  </a:lnTo>
                  <a:lnTo>
                    <a:pt x="2526691" y="3860644"/>
                  </a:lnTo>
                  <a:lnTo>
                    <a:pt x="2532230" y="3855106"/>
                  </a:lnTo>
                  <a:lnTo>
                    <a:pt x="2618174" y="3769161"/>
                  </a:lnTo>
                  <a:close/>
                  <a:moveTo>
                    <a:pt x="1804842" y="3769161"/>
                  </a:moveTo>
                  <a:lnTo>
                    <a:pt x="1535948" y="4038751"/>
                  </a:lnTo>
                  <a:lnTo>
                    <a:pt x="1805731" y="4307838"/>
                  </a:lnTo>
                  <a:lnTo>
                    <a:pt x="2069155" y="4307838"/>
                  </a:lnTo>
                  <a:lnTo>
                    <a:pt x="1939190" y="4177872"/>
                  </a:lnTo>
                  <a:lnTo>
                    <a:pt x="1844912" y="4083594"/>
                  </a:lnTo>
                  <a:lnTo>
                    <a:pt x="1841875" y="4083594"/>
                  </a:lnTo>
                  <a:lnTo>
                    <a:pt x="1798553" y="4040272"/>
                  </a:lnTo>
                  <a:lnTo>
                    <a:pt x="1800069" y="4038752"/>
                  </a:lnTo>
                  <a:lnTo>
                    <a:pt x="1798743" y="4037426"/>
                  </a:lnTo>
                  <a:lnTo>
                    <a:pt x="1974825" y="3860644"/>
                  </a:lnTo>
                  <a:lnTo>
                    <a:pt x="1977718" y="3860644"/>
                  </a:lnTo>
                  <a:lnTo>
                    <a:pt x="2068965" y="3769161"/>
                  </a:lnTo>
                  <a:close/>
                  <a:moveTo>
                    <a:pt x="1257031" y="3769161"/>
                  </a:moveTo>
                  <a:lnTo>
                    <a:pt x="987788" y="4039100"/>
                  </a:lnTo>
                  <a:lnTo>
                    <a:pt x="1257220" y="4307838"/>
                  </a:lnTo>
                  <a:lnTo>
                    <a:pt x="1519946" y="4307838"/>
                  </a:lnTo>
                  <a:lnTo>
                    <a:pt x="1294422" y="4082896"/>
                  </a:lnTo>
                  <a:lnTo>
                    <a:pt x="1293365" y="4082896"/>
                  </a:lnTo>
                  <a:lnTo>
                    <a:pt x="1250742" y="4040272"/>
                  </a:lnTo>
                  <a:lnTo>
                    <a:pt x="1251213" y="4039800"/>
                  </a:lnTo>
                  <a:lnTo>
                    <a:pt x="1249534" y="4038124"/>
                  </a:lnTo>
                  <a:lnTo>
                    <a:pt x="1250932" y="4036727"/>
                  </a:lnTo>
                  <a:lnTo>
                    <a:pt x="1426315" y="3860644"/>
                  </a:lnTo>
                  <a:lnTo>
                    <a:pt x="1429907" y="3860644"/>
                  </a:lnTo>
                  <a:lnTo>
                    <a:pt x="1521154" y="3769161"/>
                  </a:lnTo>
                  <a:close/>
                  <a:moveTo>
                    <a:pt x="709219" y="3769161"/>
                  </a:moveTo>
                  <a:lnTo>
                    <a:pt x="438807" y="4040272"/>
                  </a:lnTo>
                  <a:lnTo>
                    <a:pt x="480732" y="4082197"/>
                  </a:lnTo>
                  <a:lnTo>
                    <a:pt x="480499" y="4082197"/>
                  </a:lnTo>
                  <a:lnTo>
                    <a:pt x="708011" y="4308536"/>
                  </a:lnTo>
                  <a:lnTo>
                    <a:pt x="972135" y="4308536"/>
                  </a:lnTo>
                  <a:lnTo>
                    <a:pt x="745211" y="4082197"/>
                  </a:lnTo>
                  <a:lnTo>
                    <a:pt x="744855" y="4082197"/>
                  </a:lnTo>
                  <a:lnTo>
                    <a:pt x="702930" y="4040272"/>
                  </a:lnTo>
                  <a:lnTo>
                    <a:pt x="703053" y="4040149"/>
                  </a:lnTo>
                  <a:lnTo>
                    <a:pt x="701024" y="4038124"/>
                  </a:lnTo>
                  <a:lnTo>
                    <a:pt x="878504" y="3860644"/>
                  </a:lnTo>
                  <a:lnTo>
                    <a:pt x="882095" y="3860644"/>
                  </a:lnTo>
                  <a:lnTo>
                    <a:pt x="973342" y="3769161"/>
                  </a:lnTo>
                  <a:close/>
                  <a:moveTo>
                    <a:pt x="3451072" y="3767066"/>
                  </a:moveTo>
                  <a:lnTo>
                    <a:pt x="3181135" y="4037702"/>
                  </a:lnTo>
                  <a:lnTo>
                    <a:pt x="3312910" y="4168788"/>
                  </a:lnTo>
                  <a:lnTo>
                    <a:pt x="3312910" y="4169487"/>
                  </a:lnTo>
                  <a:lnTo>
                    <a:pt x="3450563" y="4306440"/>
                  </a:lnTo>
                  <a:lnTo>
                    <a:pt x="3714686" y="4306440"/>
                  </a:lnTo>
                  <a:lnTo>
                    <a:pt x="3490444" y="4082197"/>
                  </a:lnTo>
                  <a:lnTo>
                    <a:pt x="3489503" y="4082197"/>
                  </a:lnTo>
                  <a:lnTo>
                    <a:pt x="3444084" y="4036779"/>
                  </a:lnTo>
                  <a:lnTo>
                    <a:pt x="3444556" y="4036310"/>
                  </a:lnTo>
                  <a:lnTo>
                    <a:pt x="3444274" y="4036028"/>
                  </a:lnTo>
                  <a:lnTo>
                    <a:pt x="3618959" y="3860644"/>
                  </a:lnTo>
                  <a:lnTo>
                    <a:pt x="3621132" y="3860644"/>
                  </a:lnTo>
                  <a:lnTo>
                    <a:pt x="3715195" y="3767066"/>
                  </a:lnTo>
                  <a:close/>
                  <a:moveTo>
                    <a:pt x="3999582" y="3766367"/>
                  </a:moveTo>
                  <a:lnTo>
                    <a:pt x="3729642" y="4037004"/>
                  </a:lnTo>
                  <a:lnTo>
                    <a:pt x="3999073" y="4305741"/>
                  </a:lnTo>
                  <a:lnTo>
                    <a:pt x="4263197" y="4305741"/>
                  </a:lnTo>
                  <a:lnTo>
                    <a:pt x="4039076" y="4082197"/>
                  </a:lnTo>
                  <a:lnTo>
                    <a:pt x="4038711" y="4082197"/>
                  </a:lnTo>
                  <a:lnTo>
                    <a:pt x="3992595" y="4036080"/>
                  </a:lnTo>
                  <a:lnTo>
                    <a:pt x="3992717" y="4035958"/>
                  </a:lnTo>
                  <a:lnTo>
                    <a:pt x="3992086" y="4035329"/>
                  </a:lnTo>
                  <a:lnTo>
                    <a:pt x="4166770" y="3860644"/>
                  </a:lnTo>
                  <a:lnTo>
                    <a:pt x="4168939" y="3860644"/>
                  </a:lnTo>
                  <a:lnTo>
                    <a:pt x="4263706" y="3766367"/>
                  </a:lnTo>
                  <a:close/>
                  <a:moveTo>
                    <a:pt x="4547394" y="3765668"/>
                  </a:moveTo>
                  <a:lnTo>
                    <a:pt x="4277804" y="4035954"/>
                  </a:lnTo>
                  <a:lnTo>
                    <a:pt x="4410630" y="4168089"/>
                  </a:lnTo>
                  <a:lnTo>
                    <a:pt x="4547584" y="4305042"/>
                  </a:lnTo>
                  <a:lnTo>
                    <a:pt x="4811706" y="4305042"/>
                  </a:lnTo>
                  <a:lnTo>
                    <a:pt x="4588162" y="4081498"/>
                  </a:lnTo>
                  <a:lnTo>
                    <a:pt x="4587920" y="4081498"/>
                  </a:lnTo>
                  <a:lnTo>
                    <a:pt x="4541105" y="4035381"/>
                  </a:lnTo>
                  <a:lnTo>
                    <a:pt x="4541576" y="4034912"/>
                  </a:lnTo>
                  <a:lnTo>
                    <a:pt x="4541294" y="4034630"/>
                  </a:lnTo>
                  <a:lnTo>
                    <a:pt x="4542692" y="4033233"/>
                  </a:lnTo>
                  <a:lnTo>
                    <a:pt x="4714582" y="3860644"/>
                  </a:lnTo>
                  <a:lnTo>
                    <a:pt x="4716295" y="3860644"/>
                  </a:lnTo>
                  <a:lnTo>
                    <a:pt x="4811517" y="3765668"/>
                  </a:lnTo>
                  <a:close/>
                  <a:moveTo>
                    <a:pt x="1264018" y="3493858"/>
                  </a:moveTo>
                  <a:lnTo>
                    <a:pt x="1535828" y="3763572"/>
                  </a:lnTo>
                  <a:lnTo>
                    <a:pt x="1266165" y="4033931"/>
                  </a:lnTo>
                  <a:lnTo>
                    <a:pt x="1527632" y="4033931"/>
                  </a:lnTo>
                  <a:lnTo>
                    <a:pt x="1700221" y="3860644"/>
                  </a:lnTo>
                  <a:lnTo>
                    <a:pt x="1702878" y="3860644"/>
                  </a:lnTo>
                  <a:lnTo>
                    <a:pt x="1799252" y="3764270"/>
                  </a:lnTo>
                  <a:lnTo>
                    <a:pt x="1665094" y="3630811"/>
                  </a:lnTo>
                  <a:lnTo>
                    <a:pt x="1528141" y="3493858"/>
                  </a:lnTo>
                  <a:close/>
                  <a:moveTo>
                    <a:pt x="715508" y="3493858"/>
                  </a:moveTo>
                  <a:lnTo>
                    <a:pt x="986618" y="3764270"/>
                  </a:lnTo>
                  <a:lnTo>
                    <a:pt x="716955" y="4034630"/>
                  </a:lnTo>
                  <a:lnTo>
                    <a:pt x="979122" y="4034630"/>
                  </a:lnTo>
                  <a:lnTo>
                    <a:pt x="1067862" y="3945192"/>
                  </a:lnTo>
                  <a:lnTo>
                    <a:pt x="1152410" y="3860644"/>
                  </a:lnTo>
                  <a:lnTo>
                    <a:pt x="1154616" y="3860644"/>
                  </a:lnTo>
                  <a:lnTo>
                    <a:pt x="1250742" y="3764270"/>
                  </a:lnTo>
                  <a:lnTo>
                    <a:pt x="979631" y="3493858"/>
                  </a:lnTo>
                  <a:close/>
                  <a:moveTo>
                    <a:pt x="165601" y="3493858"/>
                  </a:moveTo>
                  <a:lnTo>
                    <a:pt x="436711" y="3764270"/>
                  </a:lnTo>
                  <a:lnTo>
                    <a:pt x="438108" y="3764969"/>
                  </a:lnTo>
                  <a:lnTo>
                    <a:pt x="169094" y="4034682"/>
                  </a:lnTo>
                  <a:lnTo>
                    <a:pt x="365440" y="4034682"/>
                  </a:lnTo>
                  <a:lnTo>
                    <a:pt x="365116" y="4035329"/>
                  </a:lnTo>
                  <a:lnTo>
                    <a:pt x="430612" y="4035329"/>
                  </a:lnTo>
                  <a:lnTo>
                    <a:pt x="604598" y="3860644"/>
                  </a:lnTo>
                  <a:lnTo>
                    <a:pt x="606802" y="3860644"/>
                  </a:lnTo>
                  <a:lnTo>
                    <a:pt x="701533" y="3765668"/>
                  </a:lnTo>
                  <a:lnTo>
                    <a:pt x="430423" y="3495256"/>
                  </a:lnTo>
                  <a:lnTo>
                    <a:pt x="362644" y="3493858"/>
                  </a:lnTo>
                  <a:close/>
                  <a:moveTo>
                    <a:pt x="2361039" y="3493160"/>
                  </a:moveTo>
                  <a:lnTo>
                    <a:pt x="2631451" y="3762174"/>
                  </a:lnTo>
                  <a:lnTo>
                    <a:pt x="2628655" y="3764969"/>
                  </a:lnTo>
                  <a:lnTo>
                    <a:pt x="2538519" y="3855806"/>
                  </a:lnTo>
                  <a:lnTo>
                    <a:pt x="2361789" y="4032535"/>
                  </a:lnTo>
                  <a:lnTo>
                    <a:pt x="2624653" y="4032535"/>
                  </a:lnTo>
                  <a:lnTo>
                    <a:pt x="2795844" y="3860644"/>
                  </a:lnTo>
                  <a:lnTo>
                    <a:pt x="2797802" y="3860644"/>
                  </a:lnTo>
                  <a:lnTo>
                    <a:pt x="2895574" y="3762873"/>
                  </a:lnTo>
                  <a:lnTo>
                    <a:pt x="2625162" y="3493160"/>
                  </a:lnTo>
                  <a:close/>
                  <a:moveTo>
                    <a:pt x="1812528" y="3493160"/>
                  </a:moveTo>
                  <a:lnTo>
                    <a:pt x="1813926" y="3494557"/>
                  </a:lnTo>
                  <a:lnTo>
                    <a:pt x="2083639" y="3763572"/>
                  </a:lnTo>
                  <a:lnTo>
                    <a:pt x="1814673" y="4033233"/>
                  </a:lnTo>
                  <a:lnTo>
                    <a:pt x="2076143" y="4033233"/>
                  </a:lnTo>
                  <a:lnTo>
                    <a:pt x="2248033" y="3860644"/>
                  </a:lnTo>
                  <a:lnTo>
                    <a:pt x="2250940" y="3860644"/>
                  </a:lnTo>
                  <a:lnTo>
                    <a:pt x="2347762" y="3763572"/>
                  </a:lnTo>
                  <a:lnTo>
                    <a:pt x="2342173" y="3758681"/>
                  </a:lnTo>
                  <a:lnTo>
                    <a:pt x="2076652" y="3493160"/>
                  </a:lnTo>
                  <a:close/>
                  <a:moveTo>
                    <a:pt x="4005871" y="3491064"/>
                  </a:moveTo>
                  <a:lnTo>
                    <a:pt x="4277680" y="3760776"/>
                  </a:lnTo>
                  <a:lnTo>
                    <a:pt x="4008016" y="4031137"/>
                  </a:lnTo>
                  <a:lnTo>
                    <a:pt x="4270183" y="4031137"/>
                  </a:lnTo>
                  <a:lnTo>
                    <a:pt x="4359622" y="3941698"/>
                  </a:lnTo>
                  <a:lnTo>
                    <a:pt x="4440676" y="3860644"/>
                  </a:lnTo>
                  <a:lnTo>
                    <a:pt x="4441937" y="3860644"/>
                  </a:lnTo>
                  <a:lnTo>
                    <a:pt x="4541105" y="3761476"/>
                  </a:lnTo>
                  <a:lnTo>
                    <a:pt x="4406947" y="3628017"/>
                  </a:lnTo>
                  <a:lnTo>
                    <a:pt x="4269994" y="3491064"/>
                  </a:lnTo>
                  <a:close/>
                  <a:moveTo>
                    <a:pt x="3721484" y="3490365"/>
                  </a:moveTo>
                  <a:lnTo>
                    <a:pt x="3457360" y="3491064"/>
                  </a:lnTo>
                  <a:lnTo>
                    <a:pt x="3728471" y="3761476"/>
                  </a:lnTo>
                  <a:lnTo>
                    <a:pt x="3458808" y="4031836"/>
                  </a:lnTo>
                  <a:lnTo>
                    <a:pt x="3721674" y="4031836"/>
                  </a:lnTo>
                  <a:lnTo>
                    <a:pt x="3892166" y="3859946"/>
                  </a:lnTo>
                  <a:lnTo>
                    <a:pt x="3893935" y="3859946"/>
                  </a:lnTo>
                  <a:lnTo>
                    <a:pt x="3992595" y="3760776"/>
                  </a:lnTo>
                  <a:close/>
                  <a:moveTo>
                    <a:pt x="707821" y="3220651"/>
                  </a:moveTo>
                  <a:lnTo>
                    <a:pt x="437409" y="3491762"/>
                  </a:lnTo>
                  <a:lnTo>
                    <a:pt x="570170" y="3623824"/>
                  </a:lnTo>
                  <a:lnTo>
                    <a:pt x="708520" y="3761476"/>
                  </a:lnTo>
                  <a:lnTo>
                    <a:pt x="972643" y="3761476"/>
                  </a:lnTo>
                  <a:lnTo>
                    <a:pt x="701533" y="3491064"/>
                  </a:lnTo>
                  <a:lnTo>
                    <a:pt x="971945" y="3220651"/>
                  </a:lnTo>
                  <a:close/>
                  <a:moveTo>
                    <a:pt x="1256332" y="3219953"/>
                  </a:moveTo>
                  <a:lnTo>
                    <a:pt x="985920" y="3491064"/>
                  </a:lnTo>
                  <a:lnTo>
                    <a:pt x="1257031" y="3761476"/>
                  </a:lnTo>
                  <a:lnTo>
                    <a:pt x="1521154" y="3760776"/>
                  </a:lnTo>
                  <a:lnTo>
                    <a:pt x="1250043" y="3490365"/>
                  </a:lnTo>
                  <a:lnTo>
                    <a:pt x="1434510" y="3305898"/>
                  </a:lnTo>
                  <a:lnTo>
                    <a:pt x="1520455" y="3219953"/>
                  </a:lnTo>
                  <a:close/>
                  <a:moveTo>
                    <a:pt x="1804143" y="3219255"/>
                  </a:moveTo>
                  <a:lnTo>
                    <a:pt x="1623869" y="3400228"/>
                  </a:lnTo>
                  <a:lnTo>
                    <a:pt x="1534430" y="3490365"/>
                  </a:lnTo>
                  <a:lnTo>
                    <a:pt x="1668588" y="3623824"/>
                  </a:lnTo>
                  <a:lnTo>
                    <a:pt x="1805541" y="3760776"/>
                  </a:lnTo>
                  <a:lnTo>
                    <a:pt x="2069664" y="3760078"/>
                  </a:lnTo>
                  <a:lnTo>
                    <a:pt x="1798553" y="3489666"/>
                  </a:lnTo>
                  <a:lnTo>
                    <a:pt x="1799951" y="3488269"/>
                  </a:lnTo>
                  <a:lnTo>
                    <a:pt x="2068266" y="3219255"/>
                  </a:lnTo>
                  <a:close/>
                  <a:moveTo>
                    <a:pt x="2353352" y="3218555"/>
                  </a:moveTo>
                  <a:lnTo>
                    <a:pt x="2082940" y="3489666"/>
                  </a:lnTo>
                  <a:lnTo>
                    <a:pt x="2354051" y="3760078"/>
                  </a:lnTo>
                  <a:lnTo>
                    <a:pt x="2618174" y="3760078"/>
                  </a:lnTo>
                  <a:lnTo>
                    <a:pt x="2347064" y="3489666"/>
                  </a:lnTo>
                  <a:lnTo>
                    <a:pt x="2617476" y="3218555"/>
                  </a:lnTo>
                  <a:close/>
                  <a:moveTo>
                    <a:pt x="3449674" y="3217158"/>
                  </a:moveTo>
                  <a:lnTo>
                    <a:pt x="3179262" y="3488269"/>
                  </a:lnTo>
                  <a:lnTo>
                    <a:pt x="3450373" y="3758681"/>
                  </a:lnTo>
                  <a:lnTo>
                    <a:pt x="3714496" y="3758681"/>
                  </a:lnTo>
                  <a:lnTo>
                    <a:pt x="3443385" y="3488269"/>
                  </a:lnTo>
                  <a:lnTo>
                    <a:pt x="3713797" y="3217158"/>
                  </a:lnTo>
                  <a:close/>
                  <a:moveTo>
                    <a:pt x="3998184" y="3216459"/>
                  </a:moveTo>
                  <a:lnTo>
                    <a:pt x="3727772" y="3487570"/>
                  </a:lnTo>
                  <a:lnTo>
                    <a:pt x="3998883" y="3757982"/>
                  </a:lnTo>
                  <a:lnTo>
                    <a:pt x="4263007" y="3757283"/>
                  </a:lnTo>
                  <a:lnTo>
                    <a:pt x="3991896" y="3486871"/>
                  </a:lnTo>
                  <a:lnTo>
                    <a:pt x="4176362" y="3302404"/>
                  </a:lnTo>
                  <a:lnTo>
                    <a:pt x="4177062" y="3302404"/>
                  </a:lnTo>
                  <a:lnTo>
                    <a:pt x="4262308" y="3216459"/>
                  </a:lnTo>
                  <a:close/>
                  <a:moveTo>
                    <a:pt x="4546695" y="3215760"/>
                  </a:moveTo>
                  <a:lnTo>
                    <a:pt x="4366420" y="3396734"/>
                  </a:lnTo>
                  <a:lnTo>
                    <a:pt x="4365722" y="3396734"/>
                  </a:lnTo>
                  <a:lnTo>
                    <a:pt x="4276282" y="3486871"/>
                  </a:lnTo>
                  <a:lnTo>
                    <a:pt x="4410440" y="3620330"/>
                  </a:lnTo>
                  <a:lnTo>
                    <a:pt x="4547394" y="3757283"/>
                  </a:lnTo>
                  <a:lnTo>
                    <a:pt x="4811517" y="3757283"/>
                  </a:lnTo>
                  <a:lnTo>
                    <a:pt x="4540406" y="3486871"/>
                  </a:lnTo>
                  <a:lnTo>
                    <a:pt x="4542503" y="3485473"/>
                  </a:lnTo>
                  <a:lnTo>
                    <a:pt x="4810119" y="3215760"/>
                  </a:lnTo>
                  <a:close/>
                  <a:moveTo>
                    <a:pt x="1263319" y="2946047"/>
                  </a:moveTo>
                  <a:lnTo>
                    <a:pt x="1534430" y="3215760"/>
                  </a:lnTo>
                  <a:lnTo>
                    <a:pt x="1531636" y="3218555"/>
                  </a:lnTo>
                  <a:lnTo>
                    <a:pt x="1441498" y="3309391"/>
                  </a:lnTo>
                  <a:lnTo>
                    <a:pt x="1264018" y="3486871"/>
                  </a:lnTo>
                  <a:lnTo>
                    <a:pt x="1528141" y="3486871"/>
                  </a:lnTo>
                  <a:lnTo>
                    <a:pt x="1617580" y="3397432"/>
                  </a:lnTo>
                  <a:lnTo>
                    <a:pt x="1798553" y="3216459"/>
                  </a:lnTo>
                  <a:lnTo>
                    <a:pt x="1527442" y="2946047"/>
                  </a:lnTo>
                  <a:close/>
                  <a:moveTo>
                    <a:pt x="714809" y="2946047"/>
                  </a:moveTo>
                  <a:lnTo>
                    <a:pt x="843377" y="3074615"/>
                  </a:lnTo>
                  <a:lnTo>
                    <a:pt x="985221" y="3216459"/>
                  </a:lnTo>
                  <a:lnTo>
                    <a:pt x="714809" y="3487570"/>
                  </a:lnTo>
                  <a:lnTo>
                    <a:pt x="978932" y="3487570"/>
                  </a:lnTo>
                  <a:lnTo>
                    <a:pt x="1249344" y="3216459"/>
                  </a:lnTo>
                  <a:lnTo>
                    <a:pt x="1244453" y="3211568"/>
                  </a:lnTo>
                  <a:lnTo>
                    <a:pt x="978932" y="2946047"/>
                  </a:lnTo>
                  <a:close/>
                  <a:moveTo>
                    <a:pt x="164902" y="2946047"/>
                  </a:moveTo>
                  <a:lnTo>
                    <a:pt x="436013" y="3215760"/>
                  </a:lnTo>
                  <a:lnTo>
                    <a:pt x="433217" y="3218555"/>
                  </a:lnTo>
                  <a:lnTo>
                    <a:pt x="343079" y="3309391"/>
                  </a:lnTo>
                  <a:lnTo>
                    <a:pt x="165601" y="3486871"/>
                  </a:lnTo>
                  <a:lnTo>
                    <a:pt x="429724" y="3486871"/>
                  </a:lnTo>
                  <a:lnTo>
                    <a:pt x="519162" y="3397432"/>
                  </a:lnTo>
                  <a:lnTo>
                    <a:pt x="700136" y="3216459"/>
                  </a:lnTo>
                  <a:lnTo>
                    <a:pt x="429025" y="2946047"/>
                  </a:lnTo>
                  <a:close/>
                  <a:moveTo>
                    <a:pt x="2908151" y="2945348"/>
                  </a:moveTo>
                  <a:lnTo>
                    <a:pt x="3179262" y="3215760"/>
                  </a:lnTo>
                  <a:lnTo>
                    <a:pt x="2908850" y="3486871"/>
                  </a:lnTo>
                  <a:lnTo>
                    <a:pt x="3107292" y="3486871"/>
                  </a:lnTo>
                  <a:lnTo>
                    <a:pt x="3103798" y="3493858"/>
                  </a:lnTo>
                  <a:lnTo>
                    <a:pt x="2908850" y="3493858"/>
                  </a:lnTo>
                  <a:lnTo>
                    <a:pt x="3038815" y="3623824"/>
                  </a:lnTo>
                  <a:lnTo>
                    <a:pt x="3035322" y="3630811"/>
                  </a:lnTo>
                  <a:lnTo>
                    <a:pt x="2894875" y="3490365"/>
                  </a:lnTo>
                  <a:lnTo>
                    <a:pt x="3165287" y="3219255"/>
                  </a:lnTo>
                  <a:lnTo>
                    <a:pt x="2901164" y="3219255"/>
                  </a:lnTo>
                  <a:lnTo>
                    <a:pt x="2630752" y="3490365"/>
                  </a:lnTo>
                  <a:lnTo>
                    <a:pt x="2901863" y="3760776"/>
                  </a:lnTo>
                  <a:lnTo>
                    <a:pt x="2970339" y="3760776"/>
                  </a:lnTo>
                  <a:lnTo>
                    <a:pt x="2966846" y="3767764"/>
                  </a:lnTo>
                  <a:lnTo>
                    <a:pt x="2901863" y="3767764"/>
                  </a:lnTo>
                  <a:lnTo>
                    <a:pt x="2721588" y="3948738"/>
                  </a:lnTo>
                  <a:lnTo>
                    <a:pt x="2633317" y="4037700"/>
                  </a:lnTo>
                  <a:lnTo>
                    <a:pt x="2902751" y="4306440"/>
                  </a:lnTo>
                  <a:lnTo>
                    <a:pt x="3165477" y="4306440"/>
                  </a:lnTo>
                  <a:lnTo>
                    <a:pt x="3036210" y="4177174"/>
                  </a:lnTo>
                  <a:lnTo>
                    <a:pt x="3036909" y="4176475"/>
                  </a:lnTo>
                  <a:lnTo>
                    <a:pt x="2942163" y="4082197"/>
                  </a:lnTo>
                  <a:lnTo>
                    <a:pt x="2940992" y="4082197"/>
                  </a:lnTo>
                  <a:lnTo>
                    <a:pt x="2896273" y="4037478"/>
                  </a:lnTo>
                  <a:lnTo>
                    <a:pt x="2896745" y="4037005"/>
                  </a:lnTo>
                  <a:lnTo>
                    <a:pt x="2895764" y="4036028"/>
                  </a:lnTo>
                  <a:lnTo>
                    <a:pt x="3070448" y="3860644"/>
                  </a:lnTo>
                  <a:lnTo>
                    <a:pt x="3072651" y="3860644"/>
                  </a:lnTo>
                  <a:lnTo>
                    <a:pt x="3165986" y="3767066"/>
                  </a:lnTo>
                  <a:lnTo>
                    <a:pt x="2967543" y="3767066"/>
                  </a:lnTo>
                  <a:lnTo>
                    <a:pt x="2971038" y="3760078"/>
                  </a:lnTo>
                  <a:lnTo>
                    <a:pt x="3165986" y="3760078"/>
                  </a:lnTo>
                  <a:lnTo>
                    <a:pt x="3036021" y="3630113"/>
                  </a:lnTo>
                  <a:lnTo>
                    <a:pt x="3039514" y="3623126"/>
                  </a:lnTo>
                  <a:lnTo>
                    <a:pt x="3179961" y="3763572"/>
                  </a:lnTo>
                  <a:lnTo>
                    <a:pt x="2912388" y="4031836"/>
                  </a:lnTo>
                  <a:lnTo>
                    <a:pt x="3173163" y="4031836"/>
                  </a:lnTo>
                  <a:lnTo>
                    <a:pt x="3262601" y="3942397"/>
                  </a:lnTo>
                  <a:lnTo>
                    <a:pt x="3344354" y="3860644"/>
                  </a:lnTo>
                  <a:lnTo>
                    <a:pt x="3347262" y="3860644"/>
                  </a:lnTo>
                  <a:lnTo>
                    <a:pt x="3444084" y="3763572"/>
                  </a:lnTo>
                  <a:lnTo>
                    <a:pt x="3172973" y="3493858"/>
                  </a:lnTo>
                  <a:lnTo>
                    <a:pt x="3104497" y="3493858"/>
                  </a:lnTo>
                  <a:lnTo>
                    <a:pt x="3107990" y="3486871"/>
                  </a:lnTo>
                  <a:lnTo>
                    <a:pt x="3172973" y="3486871"/>
                  </a:lnTo>
                  <a:lnTo>
                    <a:pt x="3443385" y="3215760"/>
                  </a:lnTo>
                  <a:lnTo>
                    <a:pt x="3309227" y="3082301"/>
                  </a:lnTo>
                  <a:lnTo>
                    <a:pt x="3172275" y="2945348"/>
                  </a:lnTo>
                  <a:close/>
                  <a:moveTo>
                    <a:pt x="1811829" y="2944649"/>
                  </a:moveTo>
                  <a:lnTo>
                    <a:pt x="1941795" y="3074615"/>
                  </a:lnTo>
                  <a:lnTo>
                    <a:pt x="2082940" y="3215061"/>
                  </a:lnTo>
                  <a:lnTo>
                    <a:pt x="1812528" y="3486172"/>
                  </a:lnTo>
                  <a:lnTo>
                    <a:pt x="2076652" y="3486172"/>
                  </a:lnTo>
                  <a:lnTo>
                    <a:pt x="2347064" y="3215061"/>
                  </a:lnTo>
                  <a:lnTo>
                    <a:pt x="2075953" y="2944649"/>
                  </a:lnTo>
                  <a:close/>
                  <a:moveTo>
                    <a:pt x="2360340" y="2943952"/>
                  </a:moveTo>
                  <a:lnTo>
                    <a:pt x="2631451" y="3214364"/>
                  </a:lnTo>
                  <a:lnTo>
                    <a:pt x="2361039" y="3485473"/>
                  </a:lnTo>
                  <a:lnTo>
                    <a:pt x="2625162" y="3485473"/>
                  </a:lnTo>
                  <a:lnTo>
                    <a:pt x="2895574" y="3214364"/>
                  </a:lnTo>
                  <a:lnTo>
                    <a:pt x="2624463" y="2943952"/>
                  </a:lnTo>
                  <a:close/>
                  <a:moveTo>
                    <a:pt x="4005871" y="2943253"/>
                  </a:moveTo>
                  <a:lnTo>
                    <a:pt x="4275584" y="3212267"/>
                  </a:lnTo>
                  <a:lnTo>
                    <a:pt x="4272789" y="3215061"/>
                  </a:lnTo>
                  <a:lnTo>
                    <a:pt x="4182652" y="3305898"/>
                  </a:lnTo>
                  <a:lnTo>
                    <a:pt x="4181952" y="3305898"/>
                  </a:lnTo>
                  <a:lnTo>
                    <a:pt x="4005172" y="3483378"/>
                  </a:lnTo>
                  <a:lnTo>
                    <a:pt x="4269295" y="3483378"/>
                  </a:lnTo>
                  <a:lnTo>
                    <a:pt x="4358734" y="3393939"/>
                  </a:lnTo>
                  <a:lnTo>
                    <a:pt x="4359432" y="3393939"/>
                  </a:lnTo>
                  <a:lnTo>
                    <a:pt x="4541105" y="3213665"/>
                  </a:lnTo>
                  <a:lnTo>
                    <a:pt x="4269994" y="2943253"/>
                  </a:lnTo>
                  <a:close/>
                  <a:moveTo>
                    <a:pt x="3457360" y="2943253"/>
                  </a:moveTo>
                  <a:lnTo>
                    <a:pt x="3458059" y="2943952"/>
                  </a:lnTo>
                  <a:lnTo>
                    <a:pt x="3458758" y="2943952"/>
                  </a:lnTo>
                  <a:lnTo>
                    <a:pt x="3727772" y="3212966"/>
                  </a:lnTo>
                  <a:lnTo>
                    <a:pt x="3457360" y="3484077"/>
                  </a:lnTo>
                  <a:lnTo>
                    <a:pt x="3721484" y="3484077"/>
                  </a:lnTo>
                  <a:lnTo>
                    <a:pt x="3991896" y="3213665"/>
                  </a:lnTo>
                  <a:lnTo>
                    <a:pt x="3987005" y="3208074"/>
                  </a:lnTo>
                  <a:lnTo>
                    <a:pt x="3721484" y="2943253"/>
                  </a:lnTo>
                  <a:close/>
                  <a:moveTo>
                    <a:pt x="1255633" y="2671443"/>
                  </a:moveTo>
                  <a:lnTo>
                    <a:pt x="985221" y="2942554"/>
                  </a:lnTo>
                  <a:lnTo>
                    <a:pt x="1256332" y="3212966"/>
                  </a:lnTo>
                  <a:lnTo>
                    <a:pt x="1520455" y="3212966"/>
                  </a:lnTo>
                  <a:lnTo>
                    <a:pt x="1249344" y="2942554"/>
                  </a:lnTo>
                  <a:lnTo>
                    <a:pt x="1519757" y="2671443"/>
                  </a:lnTo>
                  <a:close/>
                  <a:moveTo>
                    <a:pt x="1804143" y="2670744"/>
                  </a:moveTo>
                  <a:lnTo>
                    <a:pt x="1533731" y="2941855"/>
                  </a:lnTo>
                  <a:lnTo>
                    <a:pt x="1805541" y="3212267"/>
                  </a:lnTo>
                  <a:lnTo>
                    <a:pt x="2068965" y="3212267"/>
                  </a:lnTo>
                  <a:lnTo>
                    <a:pt x="1938301" y="3082301"/>
                  </a:lnTo>
                  <a:lnTo>
                    <a:pt x="1797854" y="2941855"/>
                  </a:lnTo>
                  <a:lnTo>
                    <a:pt x="2068266" y="2670744"/>
                  </a:lnTo>
                  <a:close/>
                  <a:moveTo>
                    <a:pt x="705027" y="2670744"/>
                  </a:moveTo>
                  <a:lnTo>
                    <a:pt x="434615" y="2941855"/>
                  </a:lnTo>
                  <a:lnTo>
                    <a:pt x="705726" y="3212267"/>
                  </a:lnTo>
                  <a:lnTo>
                    <a:pt x="774202" y="3212267"/>
                  </a:lnTo>
                  <a:lnTo>
                    <a:pt x="773503" y="3213665"/>
                  </a:lnTo>
                  <a:lnTo>
                    <a:pt x="971247" y="3213665"/>
                  </a:lnTo>
                  <a:lnTo>
                    <a:pt x="839884" y="3082301"/>
                  </a:lnTo>
                  <a:lnTo>
                    <a:pt x="699437" y="2941855"/>
                  </a:lnTo>
                  <a:lnTo>
                    <a:pt x="968451" y="2672142"/>
                  </a:lnTo>
                  <a:lnTo>
                    <a:pt x="772105" y="2672142"/>
                  </a:lnTo>
                  <a:lnTo>
                    <a:pt x="772804" y="2670744"/>
                  </a:lnTo>
                  <a:close/>
                  <a:moveTo>
                    <a:pt x="2352653" y="2670045"/>
                  </a:moveTo>
                  <a:lnTo>
                    <a:pt x="2082241" y="2941156"/>
                  </a:lnTo>
                  <a:lnTo>
                    <a:pt x="2353352" y="3211568"/>
                  </a:lnTo>
                  <a:lnTo>
                    <a:pt x="2617476" y="3211568"/>
                  </a:lnTo>
                  <a:lnTo>
                    <a:pt x="2346365" y="2941156"/>
                  </a:lnTo>
                  <a:lnTo>
                    <a:pt x="2616777" y="2670045"/>
                  </a:lnTo>
                  <a:close/>
                  <a:moveTo>
                    <a:pt x="3998184" y="2667949"/>
                  </a:moveTo>
                  <a:lnTo>
                    <a:pt x="3727772" y="2939060"/>
                  </a:lnTo>
                  <a:lnTo>
                    <a:pt x="3998883" y="3209471"/>
                  </a:lnTo>
                  <a:lnTo>
                    <a:pt x="4263007" y="3209471"/>
                  </a:lnTo>
                  <a:lnTo>
                    <a:pt x="3991896" y="2939060"/>
                  </a:lnTo>
                  <a:lnTo>
                    <a:pt x="4262308" y="2667949"/>
                  </a:lnTo>
                  <a:close/>
                  <a:moveTo>
                    <a:pt x="4546695" y="2667250"/>
                  </a:moveTo>
                  <a:lnTo>
                    <a:pt x="4276282" y="2938360"/>
                  </a:lnTo>
                  <a:lnTo>
                    <a:pt x="4547394" y="3208772"/>
                  </a:lnTo>
                  <a:lnTo>
                    <a:pt x="4810818" y="3208772"/>
                  </a:lnTo>
                  <a:lnTo>
                    <a:pt x="4680852" y="3078808"/>
                  </a:lnTo>
                  <a:lnTo>
                    <a:pt x="4540406" y="2938360"/>
                  </a:lnTo>
                  <a:lnTo>
                    <a:pt x="4810818" y="2667250"/>
                  </a:lnTo>
                  <a:close/>
                  <a:moveTo>
                    <a:pt x="164203" y="2397537"/>
                  </a:moveTo>
                  <a:lnTo>
                    <a:pt x="435314" y="2667949"/>
                  </a:lnTo>
                  <a:lnTo>
                    <a:pt x="164902" y="2939060"/>
                  </a:lnTo>
                  <a:lnTo>
                    <a:pt x="429025" y="2939060"/>
                  </a:lnTo>
                  <a:lnTo>
                    <a:pt x="699437" y="2667949"/>
                  </a:lnTo>
                  <a:lnTo>
                    <a:pt x="428326" y="2397537"/>
                  </a:lnTo>
                  <a:close/>
                  <a:moveTo>
                    <a:pt x="1811131" y="2396838"/>
                  </a:moveTo>
                  <a:lnTo>
                    <a:pt x="2082940" y="2667250"/>
                  </a:lnTo>
                  <a:lnTo>
                    <a:pt x="1812528" y="2938360"/>
                  </a:lnTo>
                  <a:lnTo>
                    <a:pt x="2075953" y="2938360"/>
                  </a:lnTo>
                  <a:lnTo>
                    <a:pt x="2346365" y="2667250"/>
                  </a:lnTo>
                  <a:lnTo>
                    <a:pt x="2212208" y="2533791"/>
                  </a:lnTo>
                  <a:lnTo>
                    <a:pt x="2075254" y="2396838"/>
                  </a:lnTo>
                  <a:close/>
                  <a:moveTo>
                    <a:pt x="1262620" y="2396838"/>
                  </a:moveTo>
                  <a:lnTo>
                    <a:pt x="1533731" y="2667250"/>
                  </a:lnTo>
                  <a:lnTo>
                    <a:pt x="1263319" y="2938360"/>
                  </a:lnTo>
                  <a:lnTo>
                    <a:pt x="1527442" y="2938360"/>
                  </a:lnTo>
                  <a:lnTo>
                    <a:pt x="1797854" y="2667250"/>
                  </a:lnTo>
                  <a:lnTo>
                    <a:pt x="1526744" y="2396838"/>
                  </a:lnTo>
                  <a:close/>
                  <a:moveTo>
                    <a:pt x="2359641" y="2396139"/>
                  </a:moveTo>
                  <a:lnTo>
                    <a:pt x="2361039" y="2397537"/>
                  </a:lnTo>
                  <a:lnTo>
                    <a:pt x="2629354" y="2665853"/>
                  </a:lnTo>
                  <a:lnTo>
                    <a:pt x="2358942" y="2936964"/>
                  </a:lnTo>
                  <a:lnTo>
                    <a:pt x="2623065" y="2936964"/>
                  </a:lnTo>
                  <a:lnTo>
                    <a:pt x="2893477" y="2665853"/>
                  </a:lnTo>
                  <a:lnTo>
                    <a:pt x="2888586" y="2660962"/>
                  </a:lnTo>
                  <a:lnTo>
                    <a:pt x="2906055" y="2669346"/>
                  </a:lnTo>
                  <a:lnTo>
                    <a:pt x="2900465" y="2669346"/>
                  </a:lnTo>
                  <a:lnTo>
                    <a:pt x="2630053" y="2940457"/>
                  </a:lnTo>
                  <a:lnTo>
                    <a:pt x="2901164" y="3210869"/>
                  </a:lnTo>
                  <a:lnTo>
                    <a:pt x="3165287" y="3210869"/>
                  </a:lnTo>
                  <a:lnTo>
                    <a:pt x="2894875" y="2939758"/>
                  </a:lnTo>
                  <a:lnTo>
                    <a:pt x="3079343" y="2755292"/>
                  </a:lnTo>
                  <a:lnTo>
                    <a:pt x="3165287" y="2669346"/>
                  </a:lnTo>
                  <a:lnTo>
                    <a:pt x="2906754" y="2669346"/>
                  </a:lnTo>
                  <a:lnTo>
                    <a:pt x="2889285" y="2660962"/>
                  </a:lnTo>
                  <a:lnTo>
                    <a:pt x="2623764" y="2396139"/>
                  </a:lnTo>
                  <a:close/>
                  <a:moveTo>
                    <a:pt x="713412" y="2396139"/>
                  </a:moveTo>
                  <a:lnTo>
                    <a:pt x="844775" y="2527503"/>
                  </a:lnTo>
                  <a:lnTo>
                    <a:pt x="985221" y="2667949"/>
                  </a:lnTo>
                  <a:lnTo>
                    <a:pt x="716206" y="2937662"/>
                  </a:lnTo>
                  <a:lnTo>
                    <a:pt x="912552" y="2937662"/>
                  </a:lnTo>
                  <a:lnTo>
                    <a:pt x="911853" y="2939060"/>
                  </a:lnTo>
                  <a:lnTo>
                    <a:pt x="978932" y="2939060"/>
                  </a:lnTo>
                  <a:lnTo>
                    <a:pt x="1248646" y="2667949"/>
                  </a:lnTo>
                  <a:lnTo>
                    <a:pt x="1113090" y="2533092"/>
                  </a:lnTo>
                  <a:lnTo>
                    <a:pt x="1094923" y="2514926"/>
                  </a:lnTo>
                  <a:lnTo>
                    <a:pt x="977535" y="2398236"/>
                  </a:lnTo>
                  <a:lnTo>
                    <a:pt x="909058" y="2398236"/>
                  </a:lnTo>
                  <a:lnTo>
                    <a:pt x="909757" y="2396838"/>
                  </a:lnTo>
                  <a:close/>
                  <a:moveTo>
                    <a:pt x="2907452" y="2394742"/>
                  </a:moveTo>
                  <a:lnTo>
                    <a:pt x="3178563" y="2665154"/>
                  </a:lnTo>
                  <a:lnTo>
                    <a:pt x="3175769" y="2667949"/>
                  </a:lnTo>
                  <a:lnTo>
                    <a:pt x="3085631" y="2758785"/>
                  </a:lnTo>
                  <a:lnTo>
                    <a:pt x="2908151" y="2936265"/>
                  </a:lnTo>
                  <a:lnTo>
                    <a:pt x="3172275" y="2936265"/>
                  </a:lnTo>
                  <a:lnTo>
                    <a:pt x="3262412" y="2846826"/>
                  </a:lnTo>
                  <a:lnTo>
                    <a:pt x="3442687" y="2665154"/>
                  </a:lnTo>
                  <a:lnTo>
                    <a:pt x="3171576" y="2394742"/>
                  </a:lnTo>
                  <a:close/>
                  <a:moveTo>
                    <a:pt x="4004473" y="2394044"/>
                  </a:moveTo>
                  <a:lnTo>
                    <a:pt x="4275584" y="2663757"/>
                  </a:lnTo>
                  <a:lnTo>
                    <a:pt x="4005172" y="2934868"/>
                  </a:lnTo>
                  <a:lnTo>
                    <a:pt x="4269295" y="2934868"/>
                  </a:lnTo>
                  <a:lnTo>
                    <a:pt x="4539707" y="2664456"/>
                  </a:lnTo>
                  <a:lnTo>
                    <a:pt x="4268597" y="2394044"/>
                  </a:lnTo>
                  <a:close/>
                  <a:moveTo>
                    <a:pt x="1255633" y="2122933"/>
                  </a:moveTo>
                  <a:lnTo>
                    <a:pt x="985221" y="2394044"/>
                  </a:lnTo>
                  <a:lnTo>
                    <a:pt x="1117282" y="2526105"/>
                  </a:lnTo>
                  <a:lnTo>
                    <a:pt x="1255633" y="2664456"/>
                  </a:lnTo>
                  <a:lnTo>
                    <a:pt x="1519757" y="2664456"/>
                  </a:lnTo>
                  <a:lnTo>
                    <a:pt x="1248646" y="2394044"/>
                  </a:lnTo>
                  <a:lnTo>
                    <a:pt x="1519757" y="2122933"/>
                  </a:lnTo>
                  <a:close/>
                  <a:moveTo>
                    <a:pt x="2351955" y="2122234"/>
                  </a:moveTo>
                  <a:lnTo>
                    <a:pt x="2171680" y="2303207"/>
                  </a:lnTo>
                  <a:lnTo>
                    <a:pt x="2170981" y="2303207"/>
                  </a:lnTo>
                  <a:lnTo>
                    <a:pt x="2081543" y="2392646"/>
                  </a:lnTo>
                  <a:lnTo>
                    <a:pt x="2215701" y="2526804"/>
                  </a:lnTo>
                  <a:lnTo>
                    <a:pt x="2352653" y="2663058"/>
                  </a:lnTo>
                  <a:lnTo>
                    <a:pt x="2616078" y="2663058"/>
                  </a:lnTo>
                  <a:lnTo>
                    <a:pt x="2344968" y="2392646"/>
                  </a:lnTo>
                  <a:lnTo>
                    <a:pt x="2346365" y="2391248"/>
                  </a:lnTo>
                  <a:lnTo>
                    <a:pt x="2347064" y="2391248"/>
                  </a:lnTo>
                  <a:lnTo>
                    <a:pt x="2615379" y="2122234"/>
                  </a:lnTo>
                  <a:close/>
                  <a:moveTo>
                    <a:pt x="1803445" y="2122234"/>
                  </a:moveTo>
                  <a:lnTo>
                    <a:pt x="1533032" y="2393345"/>
                  </a:lnTo>
                  <a:lnTo>
                    <a:pt x="1803445" y="2663058"/>
                  </a:lnTo>
                  <a:lnTo>
                    <a:pt x="2067568" y="2663058"/>
                  </a:lnTo>
                  <a:lnTo>
                    <a:pt x="1796458" y="2392646"/>
                  </a:lnTo>
                  <a:lnTo>
                    <a:pt x="1980924" y="2208178"/>
                  </a:lnTo>
                  <a:lnTo>
                    <a:pt x="1981623" y="2208178"/>
                  </a:lnTo>
                  <a:lnTo>
                    <a:pt x="2067568" y="2122234"/>
                  </a:lnTo>
                  <a:close/>
                  <a:moveTo>
                    <a:pt x="2900465" y="2121535"/>
                  </a:moveTo>
                  <a:lnTo>
                    <a:pt x="2630053" y="2392646"/>
                  </a:lnTo>
                  <a:lnTo>
                    <a:pt x="2901164" y="2663058"/>
                  </a:lnTo>
                  <a:lnTo>
                    <a:pt x="3165287" y="2663058"/>
                  </a:lnTo>
                  <a:lnTo>
                    <a:pt x="2894176" y="2392646"/>
                  </a:lnTo>
                  <a:lnTo>
                    <a:pt x="3164588" y="2121535"/>
                  </a:lnTo>
                  <a:close/>
                  <a:moveTo>
                    <a:pt x="3997486" y="2120137"/>
                  </a:moveTo>
                  <a:lnTo>
                    <a:pt x="3727074" y="2391248"/>
                  </a:lnTo>
                  <a:lnTo>
                    <a:pt x="3998184" y="2661660"/>
                  </a:lnTo>
                  <a:lnTo>
                    <a:pt x="4262308" y="2661660"/>
                  </a:lnTo>
                  <a:lnTo>
                    <a:pt x="3991197" y="2391248"/>
                  </a:lnTo>
                  <a:lnTo>
                    <a:pt x="4261609" y="2120137"/>
                  </a:lnTo>
                  <a:close/>
                  <a:moveTo>
                    <a:pt x="4545996" y="2119439"/>
                  </a:moveTo>
                  <a:lnTo>
                    <a:pt x="4275584" y="2390549"/>
                  </a:lnTo>
                  <a:lnTo>
                    <a:pt x="4545996" y="2660263"/>
                  </a:lnTo>
                  <a:lnTo>
                    <a:pt x="4810119" y="2660263"/>
                  </a:lnTo>
                  <a:lnTo>
                    <a:pt x="4539009" y="2389851"/>
                  </a:lnTo>
                  <a:lnTo>
                    <a:pt x="4723476" y="2205384"/>
                  </a:lnTo>
                  <a:lnTo>
                    <a:pt x="4810119" y="2119439"/>
                  </a:lnTo>
                  <a:close/>
                  <a:moveTo>
                    <a:pt x="1261921" y="1849027"/>
                  </a:moveTo>
                  <a:lnTo>
                    <a:pt x="1262620" y="1849725"/>
                  </a:lnTo>
                  <a:lnTo>
                    <a:pt x="1263319" y="1849725"/>
                  </a:lnTo>
                  <a:lnTo>
                    <a:pt x="1532333" y="2118740"/>
                  </a:lnTo>
                  <a:lnTo>
                    <a:pt x="1261921" y="2389851"/>
                  </a:lnTo>
                  <a:lnTo>
                    <a:pt x="1526046" y="2389851"/>
                  </a:lnTo>
                  <a:lnTo>
                    <a:pt x="1796458" y="2118740"/>
                  </a:lnTo>
                  <a:lnTo>
                    <a:pt x="1791566" y="2113849"/>
                  </a:lnTo>
                  <a:lnTo>
                    <a:pt x="1526046" y="1849027"/>
                  </a:lnTo>
                  <a:close/>
                  <a:moveTo>
                    <a:pt x="164203" y="1849027"/>
                  </a:moveTo>
                  <a:lnTo>
                    <a:pt x="165601" y="1850424"/>
                  </a:lnTo>
                  <a:lnTo>
                    <a:pt x="434615" y="2119439"/>
                  </a:lnTo>
                  <a:lnTo>
                    <a:pt x="164203" y="2389152"/>
                  </a:lnTo>
                  <a:lnTo>
                    <a:pt x="428326" y="2389152"/>
                  </a:lnTo>
                  <a:lnTo>
                    <a:pt x="698738" y="2118042"/>
                  </a:lnTo>
                  <a:lnTo>
                    <a:pt x="695191" y="2114493"/>
                  </a:lnTo>
                  <a:lnTo>
                    <a:pt x="709860" y="2121535"/>
                  </a:lnTo>
                  <a:lnTo>
                    <a:pt x="705726" y="2121535"/>
                  </a:lnTo>
                  <a:lnTo>
                    <a:pt x="435314" y="2392646"/>
                  </a:lnTo>
                  <a:lnTo>
                    <a:pt x="706425" y="2663058"/>
                  </a:lnTo>
                  <a:lnTo>
                    <a:pt x="970548" y="2663058"/>
                  </a:lnTo>
                  <a:lnTo>
                    <a:pt x="699437" y="2392646"/>
                  </a:lnTo>
                  <a:lnTo>
                    <a:pt x="883903" y="2208178"/>
                  </a:lnTo>
                  <a:lnTo>
                    <a:pt x="969849" y="2122234"/>
                  </a:lnTo>
                  <a:lnTo>
                    <a:pt x="711316" y="2122234"/>
                  </a:lnTo>
                  <a:lnTo>
                    <a:pt x="709860" y="2121535"/>
                  </a:lnTo>
                  <a:lnTo>
                    <a:pt x="711316" y="2121535"/>
                  </a:lnTo>
                  <a:lnTo>
                    <a:pt x="693847" y="2113150"/>
                  </a:lnTo>
                  <a:lnTo>
                    <a:pt x="695191" y="2114493"/>
                  </a:lnTo>
                  <a:lnTo>
                    <a:pt x="693847" y="2113849"/>
                  </a:lnTo>
                  <a:lnTo>
                    <a:pt x="428326" y="1849027"/>
                  </a:lnTo>
                  <a:close/>
                  <a:moveTo>
                    <a:pt x="712014" y="1848328"/>
                  </a:moveTo>
                  <a:lnTo>
                    <a:pt x="983125" y="2118042"/>
                  </a:lnTo>
                  <a:lnTo>
                    <a:pt x="980330" y="2120836"/>
                  </a:lnTo>
                  <a:lnTo>
                    <a:pt x="890192" y="2211673"/>
                  </a:lnTo>
                  <a:lnTo>
                    <a:pt x="712713" y="2389152"/>
                  </a:lnTo>
                  <a:lnTo>
                    <a:pt x="976837" y="2389152"/>
                  </a:lnTo>
                  <a:lnTo>
                    <a:pt x="1066275" y="2299714"/>
                  </a:lnTo>
                  <a:lnTo>
                    <a:pt x="1247249" y="2118740"/>
                  </a:lnTo>
                  <a:lnTo>
                    <a:pt x="1114488" y="1986679"/>
                  </a:lnTo>
                  <a:lnTo>
                    <a:pt x="976138" y="1848328"/>
                  </a:lnTo>
                  <a:close/>
                  <a:moveTo>
                    <a:pt x="2359641" y="1847630"/>
                  </a:moveTo>
                  <a:lnTo>
                    <a:pt x="2489606" y="1977595"/>
                  </a:lnTo>
                  <a:lnTo>
                    <a:pt x="2630053" y="2118042"/>
                  </a:lnTo>
                  <a:lnTo>
                    <a:pt x="2359641" y="2389152"/>
                  </a:lnTo>
                  <a:lnTo>
                    <a:pt x="2623764" y="2389152"/>
                  </a:lnTo>
                  <a:lnTo>
                    <a:pt x="2894176" y="2118042"/>
                  </a:lnTo>
                  <a:lnTo>
                    <a:pt x="2623065" y="1847630"/>
                  </a:lnTo>
                  <a:close/>
                  <a:moveTo>
                    <a:pt x="1810432" y="1847630"/>
                  </a:moveTo>
                  <a:lnTo>
                    <a:pt x="2081543" y="2118042"/>
                  </a:lnTo>
                  <a:lnTo>
                    <a:pt x="2078748" y="2120836"/>
                  </a:lnTo>
                  <a:lnTo>
                    <a:pt x="1988611" y="2211673"/>
                  </a:lnTo>
                  <a:lnTo>
                    <a:pt x="1987912" y="2211673"/>
                  </a:lnTo>
                  <a:lnTo>
                    <a:pt x="1811131" y="2389152"/>
                  </a:lnTo>
                  <a:lnTo>
                    <a:pt x="2074555" y="2388454"/>
                  </a:lnTo>
                  <a:lnTo>
                    <a:pt x="2163994" y="2299015"/>
                  </a:lnTo>
                  <a:lnTo>
                    <a:pt x="2164693" y="2299015"/>
                  </a:lnTo>
                  <a:lnTo>
                    <a:pt x="2345666" y="2118042"/>
                  </a:lnTo>
                  <a:lnTo>
                    <a:pt x="2074555" y="1847630"/>
                  </a:lnTo>
                  <a:close/>
                  <a:moveTo>
                    <a:pt x="2907452" y="1846931"/>
                  </a:moveTo>
                  <a:lnTo>
                    <a:pt x="3178563" y="2117343"/>
                  </a:lnTo>
                  <a:lnTo>
                    <a:pt x="2908151" y="2388454"/>
                  </a:lnTo>
                  <a:lnTo>
                    <a:pt x="3172275" y="2388454"/>
                  </a:lnTo>
                  <a:lnTo>
                    <a:pt x="3442687" y="2117343"/>
                  </a:lnTo>
                  <a:lnTo>
                    <a:pt x="3171576" y="1846931"/>
                  </a:lnTo>
                  <a:close/>
                  <a:moveTo>
                    <a:pt x="4004473" y="1844834"/>
                  </a:moveTo>
                  <a:lnTo>
                    <a:pt x="4005871" y="1846232"/>
                  </a:lnTo>
                  <a:lnTo>
                    <a:pt x="4274885" y="2115246"/>
                  </a:lnTo>
                  <a:lnTo>
                    <a:pt x="4004473" y="2386357"/>
                  </a:lnTo>
                  <a:lnTo>
                    <a:pt x="4268597" y="2386357"/>
                  </a:lnTo>
                  <a:lnTo>
                    <a:pt x="4539009" y="2115246"/>
                  </a:lnTo>
                  <a:lnTo>
                    <a:pt x="4534118" y="2110355"/>
                  </a:lnTo>
                  <a:lnTo>
                    <a:pt x="4268597" y="1844834"/>
                  </a:lnTo>
                  <a:close/>
                  <a:moveTo>
                    <a:pt x="705027" y="1574422"/>
                  </a:moveTo>
                  <a:lnTo>
                    <a:pt x="434615" y="1845533"/>
                  </a:lnTo>
                  <a:lnTo>
                    <a:pt x="705726" y="2115945"/>
                  </a:lnTo>
                  <a:lnTo>
                    <a:pt x="969849" y="2115945"/>
                  </a:lnTo>
                  <a:lnTo>
                    <a:pt x="698738" y="1845533"/>
                  </a:lnTo>
                  <a:lnTo>
                    <a:pt x="969150" y="1574422"/>
                  </a:lnTo>
                  <a:close/>
                  <a:moveTo>
                    <a:pt x="1802746" y="1573723"/>
                  </a:moveTo>
                  <a:lnTo>
                    <a:pt x="1532333" y="1844834"/>
                  </a:lnTo>
                  <a:lnTo>
                    <a:pt x="1803445" y="2115246"/>
                  </a:lnTo>
                  <a:lnTo>
                    <a:pt x="2067568" y="2115246"/>
                  </a:lnTo>
                  <a:lnTo>
                    <a:pt x="1796458" y="1844834"/>
                  </a:lnTo>
                  <a:lnTo>
                    <a:pt x="2066870" y="1573723"/>
                  </a:lnTo>
                  <a:close/>
                  <a:moveTo>
                    <a:pt x="1252838" y="1573723"/>
                  </a:moveTo>
                  <a:lnTo>
                    <a:pt x="983125" y="1844834"/>
                  </a:lnTo>
                  <a:lnTo>
                    <a:pt x="1183663" y="2045372"/>
                  </a:lnTo>
                  <a:lnTo>
                    <a:pt x="1254236" y="2115246"/>
                  </a:lnTo>
                  <a:lnTo>
                    <a:pt x="1322712" y="2115246"/>
                  </a:lnTo>
                  <a:lnTo>
                    <a:pt x="1322014" y="2116644"/>
                  </a:lnTo>
                  <a:lnTo>
                    <a:pt x="1519058" y="2116644"/>
                  </a:lnTo>
                  <a:lnTo>
                    <a:pt x="1247947" y="1846232"/>
                  </a:lnTo>
                  <a:lnTo>
                    <a:pt x="1248646" y="1845533"/>
                  </a:lnTo>
                  <a:lnTo>
                    <a:pt x="1246550" y="1844834"/>
                  </a:lnTo>
                  <a:lnTo>
                    <a:pt x="1516962" y="1573723"/>
                  </a:lnTo>
                  <a:close/>
                  <a:moveTo>
                    <a:pt x="2899766" y="1573024"/>
                  </a:moveTo>
                  <a:lnTo>
                    <a:pt x="2629354" y="1844135"/>
                  </a:lnTo>
                  <a:lnTo>
                    <a:pt x="2900465" y="2114547"/>
                  </a:lnTo>
                  <a:lnTo>
                    <a:pt x="3164588" y="2114547"/>
                  </a:lnTo>
                  <a:lnTo>
                    <a:pt x="2893477" y="1844135"/>
                  </a:lnTo>
                  <a:lnTo>
                    <a:pt x="3163889" y="1573024"/>
                  </a:lnTo>
                  <a:close/>
                  <a:moveTo>
                    <a:pt x="2351257" y="1573024"/>
                  </a:moveTo>
                  <a:lnTo>
                    <a:pt x="2080844" y="1844135"/>
                  </a:lnTo>
                  <a:lnTo>
                    <a:pt x="2351955" y="2114547"/>
                  </a:lnTo>
                  <a:lnTo>
                    <a:pt x="2615379" y="2114547"/>
                  </a:lnTo>
                  <a:lnTo>
                    <a:pt x="2485414" y="1984582"/>
                  </a:lnTo>
                  <a:lnTo>
                    <a:pt x="2344968" y="1844135"/>
                  </a:lnTo>
                  <a:lnTo>
                    <a:pt x="2615379" y="1573024"/>
                  </a:lnTo>
                  <a:close/>
                  <a:moveTo>
                    <a:pt x="3448276" y="1572326"/>
                  </a:moveTo>
                  <a:lnTo>
                    <a:pt x="3177864" y="1843436"/>
                  </a:lnTo>
                  <a:lnTo>
                    <a:pt x="3448975" y="2113150"/>
                  </a:lnTo>
                  <a:lnTo>
                    <a:pt x="3713099" y="2113150"/>
                  </a:lnTo>
                  <a:lnTo>
                    <a:pt x="3441988" y="1842739"/>
                  </a:lnTo>
                  <a:lnTo>
                    <a:pt x="3626455" y="1658271"/>
                  </a:lnTo>
                  <a:lnTo>
                    <a:pt x="3712400" y="1572326"/>
                  </a:lnTo>
                  <a:close/>
                  <a:moveTo>
                    <a:pt x="4545297" y="1570929"/>
                  </a:moveTo>
                  <a:lnTo>
                    <a:pt x="4274885" y="1842040"/>
                  </a:lnTo>
                  <a:lnTo>
                    <a:pt x="4545996" y="2111753"/>
                  </a:lnTo>
                  <a:lnTo>
                    <a:pt x="4810119" y="2111753"/>
                  </a:lnTo>
                  <a:lnTo>
                    <a:pt x="4539009" y="1841341"/>
                  </a:lnTo>
                  <a:lnTo>
                    <a:pt x="4809421" y="1570929"/>
                  </a:lnTo>
                  <a:close/>
                  <a:moveTo>
                    <a:pt x="164203" y="1300517"/>
                  </a:moveTo>
                  <a:lnTo>
                    <a:pt x="294168" y="1430482"/>
                  </a:lnTo>
                  <a:lnTo>
                    <a:pt x="434615" y="1570929"/>
                  </a:lnTo>
                  <a:lnTo>
                    <a:pt x="164203" y="1842040"/>
                  </a:lnTo>
                  <a:lnTo>
                    <a:pt x="428326" y="1842040"/>
                  </a:lnTo>
                  <a:lnTo>
                    <a:pt x="698738" y="1570929"/>
                  </a:lnTo>
                  <a:lnTo>
                    <a:pt x="427627" y="1300517"/>
                  </a:lnTo>
                  <a:close/>
                  <a:moveTo>
                    <a:pt x="1809733" y="1299818"/>
                  </a:moveTo>
                  <a:lnTo>
                    <a:pt x="2080844" y="1570230"/>
                  </a:lnTo>
                  <a:lnTo>
                    <a:pt x="1810432" y="1840642"/>
                  </a:lnTo>
                  <a:lnTo>
                    <a:pt x="2074555" y="1840642"/>
                  </a:lnTo>
                  <a:lnTo>
                    <a:pt x="2344968" y="1570230"/>
                  </a:lnTo>
                  <a:lnTo>
                    <a:pt x="2073856" y="1299818"/>
                  </a:lnTo>
                  <a:close/>
                  <a:moveTo>
                    <a:pt x="712014" y="1299818"/>
                  </a:moveTo>
                  <a:lnTo>
                    <a:pt x="983125" y="1570230"/>
                  </a:lnTo>
                  <a:lnTo>
                    <a:pt x="712713" y="1841341"/>
                  </a:lnTo>
                  <a:lnTo>
                    <a:pt x="976837" y="1841341"/>
                  </a:lnTo>
                  <a:lnTo>
                    <a:pt x="1247249" y="1570230"/>
                  </a:lnTo>
                  <a:lnTo>
                    <a:pt x="976138" y="1299818"/>
                  </a:lnTo>
                  <a:close/>
                  <a:moveTo>
                    <a:pt x="2358243" y="1299119"/>
                  </a:moveTo>
                  <a:lnTo>
                    <a:pt x="2629354" y="1569531"/>
                  </a:lnTo>
                  <a:lnTo>
                    <a:pt x="2359641" y="1840642"/>
                  </a:lnTo>
                  <a:lnTo>
                    <a:pt x="2623065" y="1840642"/>
                  </a:lnTo>
                  <a:lnTo>
                    <a:pt x="2893477" y="1569531"/>
                  </a:lnTo>
                  <a:lnTo>
                    <a:pt x="2759320" y="1436072"/>
                  </a:lnTo>
                  <a:lnTo>
                    <a:pt x="2622367" y="1299119"/>
                  </a:lnTo>
                  <a:close/>
                  <a:moveTo>
                    <a:pt x="2906754" y="1298421"/>
                  </a:moveTo>
                  <a:lnTo>
                    <a:pt x="2908151" y="1299818"/>
                  </a:lnTo>
                  <a:lnTo>
                    <a:pt x="3177864" y="1568832"/>
                  </a:lnTo>
                  <a:lnTo>
                    <a:pt x="2907452" y="1839244"/>
                  </a:lnTo>
                  <a:lnTo>
                    <a:pt x="3171576" y="1839244"/>
                  </a:lnTo>
                  <a:lnTo>
                    <a:pt x="3441988" y="1568832"/>
                  </a:lnTo>
                  <a:lnTo>
                    <a:pt x="3436398" y="1563941"/>
                  </a:lnTo>
                  <a:lnTo>
                    <a:pt x="3170877" y="1298421"/>
                  </a:lnTo>
                  <a:close/>
                  <a:moveTo>
                    <a:pt x="1525347" y="1298421"/>
                  </a:moveTo>
                  <a:lnTo>
                    <a:pt x="1523949" y="1299119"/>
                  </a:lnTo>
                  <a:lnTo>
                    <a:pt x="1259826" y="1299119"/>
                  </a:lnTo>
                  <a:lnTo>
                    <a:pt x="1530937" y="1569531"/>
                  </a:lnTo>
                  <a:lnTo>
                    <a:pt x="1526744" y="1573723"/>
                  </a:lnTo>
                  <a:lnTo>
                    <a:pt x="1532333" y="1570929"/>
                  </a:lnTo>
                  <a:lnTo>
                    <a:pt x="1261921" y="1842040"/>
                  </a:lnTo>
                  <a:lnTo>
                    <a:pt x="1526046" y="1842040"/>
                  </a:lnTo>
                  <a:lnTo>
                    <a:pt x="1796458" y="1570929"/>
                  </a:lnTo>
                  <a:lnTo>
                    <a:pt x="1525347" y="1300517"/>
                  </a:lnTo>
                  <a:close/>
                  <a:moveTo>
                    <a:pt x="3454565" y="1297722"/>
                  </a:moveTo>
                  <a:lnTo>
                    <a:pt x="3725676" y="1568134"/>
                  </a:lnTo>
                  <a:lnTo>
                    <a:pt x="3722882" y="1570929"/>
                  </a:lnTo>
                  <a:lnTo>
                    <a:pt x="3632744" y="1661764"/>
                  </a:lnTo>
                  <a:lnTo>
                    <a:pt x="3455264" y="1838545"/>
                  </a:lnTo>
                  <a:lnTo>
                    <a:pt x="3719387" y="1838545"/>
                  </a:lnTo>
                  <a:lnTo>
                    <a:pt x="3808826" y="1749107"/>
                  </a:lnTo>
                  <a:lnTo>
                    <a:pt x="3989799" y="1568134"/>
                  </a:lnTo>
                  <a:lnTo>
                    <a:pt x="3718688" y="1297722"/>
                  </a:lnTo>
                  <a:close/>
                  <a:moveTo>
                    <a:pt x="1802048" y="1025213"/>
                  </a:moveTo>
                  <a:lnTo>
                    <a:pt x="1531636" y="1296324"/>
                  </a:lnTo>
                  <a:lnTo>
                    <a:pt x="1802746" y="1566736"/>
                  </a:lnTo>
                  <a:lnTo>
                    <a:pt x="2066870" y="1566736"/>
                  </a:lnTo>
                  <a:lnTo>
                    <a:pt x="1795759" y="1296324"/>
                  </a:lnTo>
                  <a:lnTo>
                    <a:pt x="2066171" y="1025213"/>
                  </a:lnTo>
                  <a:close/>
                  <a:moveTo>
                    <a:pt x="704328" y="1025213"/>
                  </a:moveTo>
                  <a:lnTo>
                    <a:pt x="433916" y="1296324"/>
                  </a:lnTo>
                  <a:lnTo>
                    <a:pt x="705027" y="1566736"/>
                  </a:lnTo>
                  <a:lnTo>
                    <a:pt x="969150" y="1566736"/>
                  </a:lnTo>
                  <a:lnTo>
                    <a:pt x="698039" y="1296324"/>
                  </a:lnTo>
                  <a:lnTo>
                    <a:pt x="967752" y="1025213"/>
                  </a:lnTo>
                  <a:close/>
                  <a:moveTo>
                    <a:pt x="2899067" y="1024514"/>
                  </a:moveTo>
                  <a:lnTo>
                    <a:pt x="2718793" y="1204790"/>
                  </a:lnTo>
                  <a:lnTo>
                    <a:pt x="2629354" y="1294927"/>
                  </a:lnTo>
                  <a:lnTo>
                    <a:pt x="2763512" y="1428386"/>
                  </a:lnTo>
                  <a:lnTo>
                    <a:pt x="2900465" y="1565338"/>
                  </a:lnTo>
                  <a:lnTo>
                    <a:pt x="3164588" y="1565338"/>
                  </a:lnTo>
                  <a:lnTo>
                    <a:pt x="2893477" y="1294927"/>
                  </a:lnTo>
                  <a:lnTo>
                    <a:pt x="2894875" y="1293530"/>
                  </a:lnTo>
                  <a:lnTo>
                    <a:pt x="3163191" y="1024514"/>
                  </a:lnTo>
                  <a:close/>
                  <a:moveTo>
                    <a:pt x="2350558" y="1024514"/>
                  </a:moveTo>
                  <a:lnTo>
                    <a:pt x="2080145" y="1295625"/>
                  </a:lnTo>
                  <a:lnTo>
                    <a:pt x="2351257" y="1566037"/>
                  </a:lnTo>
                  <a:lnTo>
                    <a:pt x="2615379" y="1566037"/>
                  </a:lnTo>
                  <a:lnTo>
                    <a:pt x="2344269" y="1295625"/>
                  </a:lnTo>
                  <a:lnTo>
                    <a:pt x="2528736" y="1111159"/>
                  </a:lnTo>
                  <a:lnTo>
                    <a:pt x="2614681" y="1025213"/>
                  </a:lnTo>
                  <a:lnTo>
                    <a:pt x="2356148" y="1025213"/>
                  </a:lnTo>
                  <a:close/>
                  <a:moveTo>
                    <a:pt x="1252838" y="1024514"/>
                  </a:moveTo>
                  <a:lnTo>
                    <a:pt x="982426" y="1295625"/>
                  </a:lnTo>
                  <a:lnTo>
                    <a:pt x="1253537" y="1566037"/>
                  </a:lnTo>
                  <a:lnTo>
                    <a:pt x="1517660" y="1566037"/>
                  </a:lnTo>
                  <a:lnTo>
                    <a:pt x="1246550" y="1295625"/>
                  </a:lnTo>
                  <a:lnTo>
                    <a:pt x="1431017" y="1111159"/>
                  </a:lnTo>
                  <a:lnTo>
                    <a:pt x="1516962" y="1024514"/>
                  </a:lnTo>
                  <a:close/>
                  <a:moveTo>
                    <a:pt x="3447578" y="1023816"/>
                  </a:moveTo>
                  <a:lnTo>
                    <a:pt x="3177166" y="1294927"/>
                  </a:lnTo>
                  <a:lnTo>
                    <a:pt x="3448276" y="1565338"/>
                  </a:lnTo>
                  <a:lnTo>
                    <a:pt x="3712400" y="1565338"/>
                  </a:lnTo>
                  <a:lnTo>
                    <a:pt x="3441289" y="1294927"/>
                  </a:lnTo>
                  <a:lnTo>
                    <a:pt x="3711701" y="1023816"/>
                  </a:lnTo>
                  <a:close/>
                  <a:moveTo>
                    <a:pt x="4544598" y="1022419"/>
                  </a:moveTo>
                  <a:lnTo>
                    <a:pt x="4274186" y="1293530"/>
                  </a:lnTo>
                  <a:lnTo>
                    <a:pt x="4545297" y="1563941"/>
                  </a:lnTo>
                  <a:lnTo>
                    <a:pt x="4809421" y="1563941"/>
                  </a:lnTo>
                  <a:lnTo>
                    <a:pt x="4538310" y="1293530"/>
                  </a:lnTo>
                  <a:lnTo>
                    <a:pt x="4722777" y="1108363"/>
                  </a:lnTo>
                  <a:lnTo>
                    <a:pt x="4722078" y="1107664"/>
                  </a:lnTo>
                  <a:lnTo>
                    <a:pt x="4807324" y="1022419"/>
                  </a:lnTo>
                  <a:close/>
                  <a:moveTo>
                    <a:pt x="3995389" y="1022419"/>
                  </a:moveTo>
                  <a:lnTo>
                    <a:pt x="3724977" y="1293530"/>
                  </a:lnTo>
                  <a:lnTo>
                    <a:pt x="3996088" y="1563941"/>
                  </a:lnTo>
                  <a:lnTo>
                    <a:pt x="4064564" y="1563941"/>
                  </a:lnTo>
                  <a:lnTo>
                    <a:pt x="4061071" y="1570929"/>
                  </a:lnTo>
                  <a:lnTo>
                    <a:pt x="3996088" y="1570929"/>
                  </a:lnTo>
                  <a:lnTo>
                    <a:pt x="3815814" y="1751902"/>
                  </a:lnTo>
                  <a:lnTo>
                    <a:pt x="3726375" y="1842040"/>
                  </a:lnTo>
                  <a:lnTo>
                    <a:pt x="3859834" y="1975498"/>
                  </a:lnTo>
                  <a:lnTo>
                    <a:pt x="3857039" y="1981088"/>
                  </a:lnTo>
                  <a:lnTo>
                    <a:pt x="3857739" y="1981785"/>
                  </a:lnTo>
                  <a:lnTo>
                    <a:pt x="3857039" y="1983185"/>
                  </a:lnTo>
                  <a:lnTo>
                    <a:pt x="3720086" y="1846232"/>
                  </a:lnTo>
                  <a:lnTo>
                    <a:pt x="3455963" y="1846232"/>
                  </a:lnTo>
                  <a:lnTo>
                    <a:pt x="3727074" y="2116644"/>
                  </a:lnTo>
                  <a:lnTo>
                    <a:pt x="3456662" y="2387755"/>
                  </a:lnTo>
                  <a:lnTo>
                    <a:pt x="3654754" y="2387755"/>
                  </a:lnTo>
                  <a:lnTo>
                    <a:pt x="3652309" y="2392646"/>
                  </a:lnTo>
                  <a:lnTo>
                    <a:pt x="3652658" y="2392646"/>
                  </a:lnTo>
                  <a:lnTo>
                    <a:pt x="3651610" y="2394742"/>
                  </a:lnTo>
                  <a:lnTo>
                    <a:pt x="3456662" y="2394742"/>
                  </a:lnTo>
                  <a:lnTo>
                    <a:pt x="3586394" y="2524475"/>
                  </a:lnTo>
                  <a:lnTo>
                    <a:pt x="3583832" y="2529598"/>
                  </a:lnTo>
                  <a:lnTo>
                    <a:pt x="3584065" y="2529831"/>
                  </a:lnTo>
                  <a:lnTo>
                    <a:pt x="3583133" y="2531695"/>
                  </a:lnTo>
                  <a:lnTo>
                    <a:pt x="3442687" y="2391248"/>
                  </a:lnTo>
                  <a:lnTo>
                    <a:pt x="3713099" y="2120137"/>
                  </a:lnTo>
                  <a:lnTo>
                    <a:pt x="3448975" y="2120137"/>
                  </a:lnTo>
                  <a:lnTo>
                    <a:pt x="3178563" y="2391248"/>
                  </a:lnTo>
                  <a:lnTo>
                    <a:pt x="3448975" y="2662359"/>
                  </a:lnTo>
                  <a:lnTo>
                    <a:pt x="3517452" y="2662359"/>
                  </a:lnTo>
                  <a:lnTo>
                    <a:pt x="3513958" y="2669346"/>
                  </a:lnTo>
                  <a:lnTo>
                    <a:pt x="3448975" y="2669346"/>
                  </a:lnTo>
                  <a:lnTo>
                    <a:pt x="3268701" y="2850320"/>
                  </a:lnTo>
                  <a:lnTo>
                    <a:pt x="3179262" y="2939758"/>
                  </a:lnTo>
                  <a:lnTo>
                    <a:pt x="3312721" y="3073916"/>
                  </a:lnTo>
                  <a:lnTo>
                    <a:pt x="3451072" y="3207376"/>
                  </a:lnTo>
                  <a:lnTo>
                    <a:pt x="3715195" y="3207376"/>
                  </a:lnTo>
                  <a:lnTo>
                    <a:pt x="3444084" y="2936964"/>
                  </a:lnTo>
                  <a:lnTo>
                    <a:pt x="3445482" y="2935566"/>
                  </a:lnTo>
                  <a:lnTo>
                    <a:pt x="3713797" y="2666552"/>
                  </a:lnTo>
                  <a:lnTo>
                    <a:pt x="3515356" y="2666552"/>
                  </a:lnTo>
                  <a:lnTo>
                    <a:pt x="3518849" y="2659564"/>
                  </a:lnTo>
                  <a:lnTo>
                    <a:pt x="3713797" y="2659564"/>
                  </a:lnTo>
                  <a:lnTo>
                    <a:pt x="3584065" y="2529831"/>
                  </a:lnTo>
                  <a:lnTo>
                    <a:pt x="3586627" y="2524708"/>
                  </a:lnTo>
                  <a:lnTo>
                    <a:pt x="3586394" y="2524475"/>
                  </a:lnTo>
                  <a:lnTo>
                    <a:pt x="3587326" y="2522611"/>
                  </a:lnTo>
                  <a:lnTo>
                    <a:pt x="3727772" y="2663058"/>
                  </a:lnTo>
                  <a:lnTo>
                    <a:pt x="3457360" y="2934169"/>
                  </a:lnTo>
                  <a:lnTo>
                    <a:pt x="3721484" y="2934169"/>
                  </a:lnTo>
                  <a:lnTo>
                    <a:pt x="3991896" y="2663058"/>
                  </a:lnTo>
                  <a:lnTo>
                    <a:pt x="3720785" y="2392646"/>
                  </a:lnTo>
                  <a:lnTo>
                    <a:pt x="3652658" y="2392646"/>
                  </a:lnTo>
                  <a:lnTo>
                    <a:pt x="3655103" y="2387755"/>
                  </a:lnTo>
                  <a:lnTo>
                    <a:pt x="3654754" y="2387755"/>
                  </a:lnTo>
                  <a:lnTo>
                    <a:pt x="3655802" y="2385658"/>
                  </a:lnTo>
                  <a:lnTo>
                    <a:pt x="3720785" y="2385658"/>
                  </a:lnTo>
                  <a:lnTo>
                    <a:pt x="3991197" y="2114547"/>
                  </a:lnTo>
                  <a:lnTo>
                    <a:pt x="3857739" y="1981785"/>
                  </a:lnTo>
                  <a:lnTo>
                    <a:pt x="3860533" y="1976197"/>
                  </a:lnTo>
                  <a:lnTo>
                    <a:pt x="3859834" y="1975498"/>
                  </a:lnTo>
                  <a:lnTo>
                    <a:pt x="3860533" y="1974101"/>
                  </a:lnTo>
                  <a:lnTo>
                    <a:pt x="3997486" y="2111054"/>
                  </a:lnTo>
                  <a:lnTo>
                    <a:pt x="4261609" y="2111054"/>
                  </a:lnTo>
                  <a:lnTo>
                    <a:pt x="3990498" y="1840642"/>
                  </a:lnTo>
                  <a:lnTo>
                    <a:pt x="3991896" y="1839244"/>
                  </a:lnTo>
                  <a:lnTo>
                    <a:pt x="4260211" y="1570230"/>
                  </a:lnTo>
                  <a:lnTo>
                    <a:pt x="4061770" y="1570230"/>
                  </a:lnTo>
                  <a:lnTo>
                    <a:pt x="4065263" y="1563243"/>
                  </a:lnTo>
                  <a:lnTo>
                    <a:pt x="4260211" y="1563243"/>
                  </a:lnTo>
                  <a:lnTo>
                    <a:pt x="4130246" y="1433278"/>
                  </a:lnTo>
                  <a:lnTo>
                    <a:pt x="4133739" y="1426290"/>
                  </a:lnTo>
                  <a:lnTo>
                    <a:pt x="4274186" y="1566736"/>
                  </a:lnTo>
                  <a:lnTo>
                    <a:pt x="4003774" y="1837847"/>
                  </a:lnTo>
                  <a:lnTo>
                    <a:pt x="4267898" y="1837847"/>
                  </a:lnTo>
                  <a:lnTo>
                    <a:pt x="4538310" y="1566736"/>
                  </a:lnTo>
                  <a:lnTo>
                    <a:pt x="4267199" y="1297023"/>
                  </a:lnTo>
                  <a:lnTo>
                    <a:pt x="4198723" y="1297023"/>
                  </a:lnTo>
                  <a:lnTo>
                    <a:pt x="4003774" y="1297023"/>
                  </a:lnTo>
                  <a:lnTo>
                    <a:pt x="4133040" y="1426989"/>
                  </a:lnTo>
                  <a:lnTo>
                    <a:pt x="4129547" y="1433975"/>
                  </a:lnTo>
                  <a:lnTo>
                    <a:pt x="3989100" y="1293530"/>
                  </a:lnTo>
                  <a:lnTo>
                    <a:pt x="4259512" y="1022419"/>
                  </a:lnTo>
                  <a:close/>
                  <a:moveTo>
                    <a:pt x="162805" y="752007"/>
                  </a:moveTo>
                  <a:lnTo>
                    <a:pt x="433916" y="1022419"/>
                  </a:lnTo>
                  <a:lnTo>
                    <a:pt x="164203" y="1293530"/>
                  </a:lnTo>
                  <a:lnTo>
                    <a:pt x="427627" y="1293530"/>
                  </a:lnTo>
                  <a:lnTo>
                    <a:pt x="698039" y="1022419"/>
                  </a:lnTo>
                  <a:lnTo>
                    <a:pt x="563881" y="888959"/>
                  </a:lnTo>
                  <a:lnTo>
                    <a:pt x="426928" y="752007"/>
                  </a:lnTo>
                  <a:close/>
                  <a:moveTo>
                    <a:pt x="1809035" y="751308"/>
                  </a:moveTo>
                  <a:lnTo>
                    <a:pt x="1937603" y="879876"/>
                  </a:lnTo>
                  <a:lnTo>
                    <a:pt x="2079447" y="1021720"/>
                  </a:lnTo>
                  <a:lnTo>
                    <a:pt x="1809035" y="1292831"/>
                  </a:lnTo>
                  <a:lnTo>
                    <a:pt x="2073158" y="1292831"/>
                  </a:lnTo>
                  <a:lnTo>
                    <a:pt x="2343570" y="1021720"/>
                  </a:lnTo>
                  <a:lnTo>
                    <a:pt x="2338678" y="1016829"/>
                  </a:lnTo>
                  <a:lnTo>
                    <a:pt x="2073158" y="751308"/>
                  </a:lnTo>
                  <a:close/>
                  <a:moveTo>
                    <a:pt x="2357544" y="750609"/>
                  </a:moveTo>
                  <a:lnTo>
                    <a:pt x="2628655" y="1020322"/>
                  </a:lnTo>
                  <a:lnTo>
                    <a:pt x="2625861" y="1023118"/>
                  </a:lnTo>
                  <a:lnTo>
                    <a:pt x="2535723" y="1113953"/>
                  </a:lnTo>
                  <a:lnTo>
                    <a:pt x="2358243" y="1291433"/>
                  </a:lnTo>
                  <a:lnTo>
                    <a:pt x="2622367" y="1291433"/>
                  </a:lnTo>
                  <a:lnTo>
                    <a:pt x="2711805" y="1201994"/>
                  </a:lnTo>
                  <a:lnTo>
                    <a:pt x="2892779" y="1021021"/>
                  </a:lnTo>
                  <a:lnTo>
                    <a:pt x="2621668" y="750609"/>
                  </a:lnTo>
                  <a:close/>
                  <a:moveTo>
                    <a:pt x="1259127" y="750609"/>
                  </a:moveTo>
                  <a:lnTo>
                    <a:pt x="1530238" y="1020322"/>
                  </a:lnTo>
                  <a:lnTo>
                    <a:pt x="1527442" y="1023118"/>
                  </a:lnTo>
                  <a:lnTo>
                    <a:pt x="1437306" y="1113953"/>
                  </a:lnTo>
                  <a:lnTo>
                    <a:pt x="1259826" y="1291433"/>
                  </a:lnTo>
                  <a:lnTo>
                    <a:pt x="1523949" y="1291433"/>
                  </a:lnTo>
                  <a:lnTo>
                    <a:pt x="1613388" y="1201994"/>
                  </a:lnTo>
                  <a:lnTo>
                    <a:pt x="1794361" y="1021021"/>
                  </a:lnTo>
                  <a:lnTo>
                    <a:pt x="1523250" y="750609"/>
                  </a:lnTo>
                  <a:close/>
                  <a:moveTo>
                    <a:pt x="710617" y="750609"/>
                  </a:moveTo>
                  <a:lnTo>
                    <a:pt x="712014" y="752007"/>
                  </a:lnTo>
                  <a:lnTo>
                    <a:pt x="981727" y="1021021"/>
                  </a:lnTo>
                  <a:lnTo>
                    <a:pt x="711316" y="1292132"/>
                  </a:lnTo>
                  <a:lnTo>
                    <a:pt x="975439" y="1292132"/>
                  </a:lnTo>
                  <a:lnTo>
                    <a:pt x="1245851" y="1021021"/>
                  </a:lnTo>
                  <a:lnTo>
                    <a:pt x="1240261" y="1016130"/>
                  </a:lnTo>
                  <a:lnTo>
                    <a:pt x="974740" y="750609"/>
                  </a:lnTo>
                  <a:close/>
                  <a:moveTo>
                    <a:pt x="2906055" y="749910"/>
                  </a:moveTo>
                  <a:lnTo>
                    <a:pt x="3036720" y="879177"/>
                  </a:lnTo>
                  <a:lnTo>
                    <a:pt x="3177166" y="1019623"/>
                  </a:lnTo>
                  <a:lnTo>
                    <a:pt x="2906754" y="1290734"/>
                  </a:lnTo>
                  <a:lnTo>
                    <a:pt x="3170877" y="1290734"/>
                  </a:lnTo>
                  <a:lnTo>
                    <a:pt x="3441289" y="1020322"/>
                  </a:lnTo>
                  <a:lnTo>
                    <a:pt x="3170178" y="749910"/>
                  </a:lnTo>
                  <a:close/>
                  <a:moveTo>
                    <a:pt x="3454565" y="749211"/>
                  </a:moveTo>
                  <a:lnTo>
                    <a:pt x="3725676" y="1019623"/>
                  </a:lnTo>
                  <a:lnTo>
                    <a:pt x="3455264" y="1290734"/>
                  </a:lnTo>
                  <a:lnTo>
                    <a:pt x="3719387" y="1290734"/>
                  </a:lnTo>
                  <a:lnTo>
                    <a:pt x="3989799" y="1019623"/>
                  </a:lnTo>
                  <a:lnTo>
                    <a:pt x="3718688" y="749211"/>
                  </a:lnTo>
                  <a:close/>
                  <a:moveTo>
                    <a:pt x="4003075" y="748512"/>
                  </a:moveTo>
                  <a:lnTo>
                    <a:pt x="4274186" y="1018924"/>
                  </a:lnTo>
                  <a:lnTo>
                    <a:pt x="4003774" y="1290035"/>
                  </a:lnTo>
                  <a:lnTo>
                    <a:pt x="4202216" y="1290035"/>
                  </a:lnTo>
                  <a:lnTo>
                    <a:pt x="4267199" y="1290035"/>
                  </a:lnTo>
                  <a:lnTo>
                    <a:pt x="4538310" y="1018924"/>
                  </a:lnTo>
                  <a:lnTo>
                    <a:pt x="4404151" y="885466"/>
                  </a:lnTo>
                  <a:lnTo>
                    <a:pt x="4267199" y="748512"/>
                  </a:lnTo>
                  <a:close/>
                  <a:moveTo>
                    <a:pt x="702930" y="476704"/>
                  </a:moveTo>
                  <a:lnTo>
                    <a:pt x="522656" y="657677"/>
                  </a:lnTo>
                  <a:lnTo>
                    <a:pt x="433217" y="747814"/>
                  </a:lnTo>
                  <a:lnTo>
                    <a:pt x="567375" y="881273"/>
                  </a:lnTo>
                  <a:lnTo>
                    <a:pt x="704328" y="1018227"/>
                  </a:lnTo>
                  <a:lnTo>
                    <a:pt x="968451" y="1018227"/>
                  </a:lnTo>
                  <a:lnTo>
                    <a:pt x="697340" y="747814"/>
                  </a:lnTo>
                  <a:lnTo>
                    <a:pt x="698738" y="746417"/>
                  </a:lnTo>
                  <a:lnTo>
                    <a:pt x="967054" y="476704"/>
                  </a:lnTo>
                  <a:close/>
                  <a:moveTo>
                    <a:pt x="1252140" y="476005"/>
                  </a:moveTo>
                  <a:lnTo>
                    <a:pt x="981727" y="747116"/>
                  </a:lnTo>
                  <a:lnTo>
                    <a:pt x="1252838" y="1017528"/>
                  </a:lnTo>
                  <a:lnTo>
                    <a:pt x="1516962" y="1017528"/>
                  </a:lnTo>
                  <a:lnTo>
                    <a:pt x="1245851" y="747116"/>
                  </a:lnTo>
                  <a:lnTo>
                    <a:pt x="1516263" y="476005"/>
                  </a:lnTo>
                  <a:close/>
                  <a:moveTo>
                    <a:pt x="2899067" y="475306"/>
                  </a:moveTo>
                  <a:lnTo>
                    <a:pt x="2628655" y="746417"/>
                  </a:lnTo>
                  <a:lnTo>
                    <a:pt x="2899766" y="1016829"/>
                  </a:lnTo>
                  <a:lnTo>
                    <a:pt x="3163191" y="1016829"/>
                  </a:lnTo>
                  <a:lnTo>
                    <a:pt x="3032527" y="886863"/>
                  </a:lnTo>
                  <a:lnTo>
                    <a:pt x="2892081" y="746417"/>
                  </a:lnTo>
                  <a:lnTo>
                    <a:pt x="3163191" y="475306"/>
                  </a:lnTo>
                  <a:close/>
                  <a:moveTo>
                    <a:pt x="1799951" y="475306"/>
                  </a:moveTo>
                  <a:lnTo>
                    <a:pt x="1529539" y="746417"/>
                  </a:lnTo>
                  <a:lnTo>
                    <a:pt x="1800650" y="1016829"/>
                  </a:lnTo>
                  <a:lnTo>
                    <a:pt x="1802048" y="1018227"/>
                  </a:lnTo>
                  <a:lnTo>
                    <a:pt x="2066171" y="1018227"/>
                  </a:lnTo>
                  <a:lnTo>
                    <a:pt x="1934808" y="886863"/>
                  </a:lnTo>
                  <a:lnTo>
                    <a:pt x="1797155" y="749211"/>
                  </a:lnTo>
                  <a:lnTo>
                    <a:pt x="2066171" y="475306"/>
                  </a:lnTo>
                  <a:close/>
                  <a:moveTo>
                    <a:pt x="3446879" y="474607"/>
                  </a:moveTo>
                  <a:lnTo>
                    <a:pt x="3176467" y="745718"/>
                  </a:lnTo>
                  <a:lnTo>
                    <a:pt x="3447578" y="1016130"/>
                  </a:lnTo>
                  <a:lnTo>
                    <a:pt x="3711701" y="1016130"/>
                  </a:lnTo>
                  <a:lnTo>
                    <a:pt x="3440590" y="745718"/>
                  </a:lnTo>
                  <a:lnTo>
                    <a:pt x="3625057" y="561251"/>
                  </a:lnTo>
                  <a:lnTo>
                    <a:pt x="3709605" y="474607"/>
                  </a:lnTo>
                  <a:close/>
                  <a:moveTo>
                    <a:pt x="3995389" y="473908"/>
                  </a:moveTo>
                  <a:lnTo>
                    <a:pt x="3724977" y="745019"/>
                  </a:lnTo>
                  <a:lnTo>
                    <a:pt x="3996088" y="1015431"/>
                  </a:lnTo>
                  <a:lnTo>
                    <a:pt x="4260211" y="1015431"/>
                  </a:lnTo>
                  <a:lnTo>
                    <a:pt x="3989100" y="745019"/>
                  </a:lnTo>
                  <a:lnTo>
                    <a:pt x="3990498" y="743621"/>
                  </a:lnTo>
                  <a:lnTo>
                    <a:pt x="3989799" y="743621"/>
                  </a:lnTo>
                  <a:lnTo>
                    <a:pt x="4258116" y="474607"/>
                  </a:lnTo>
                  <a:lnTo>
                    <a:pt x="3999582" y="474607"/>
                  </a:lnTo>
                  <a:lnTo>
                    <a:pt x="4000979" y="473908"/>
                  </a:lnTo>
                  <a:close/>
                  <a:moveTo>
                    <a:pt x="4543201" y="473209"/>
                  </a:moveTo>
                  <a:lnTo>
                    <a:pt x="4362227" y="654183"/>
                  </a:lnTo>
                  <a:lnTo>
                    <a:pt x="4362926" y="654882"/>
                  </a:lnTo>
                  <a:lnTo>
                    <a:pt x="4273487" y="745019"/>
                  </a:lnTo>
                  <a:lnTo>
                    <a:pt x="4407646" y="878479"/>
                  </a:lnTo>
                  <a:lnTo>
                    <a:pt x="4543899" y="1014732"/>
                  </a:lnTo>
                  <a:lnTo>
                    <a:pt x="4808023" y="1014732"/>
                  </a:lnTo>
                  <a:lnTo>
                    <a:pt x="4536912" y="744320"/>
                  </a:lnTo>
                  <a:lnTo>
                    <a:pt x="4807324" y="473209"/>
                  </a:lnTo>
                  <a:close/>
                  <a:moveTo>
                    <a:pt x="2616078" y="473209"/>
                  </a:moveTo>
                  <a:lnTo>
                    <a:pt x="2349859" y="476005"/>
                  </a:lnTo>
                  <a:lnTo>
                    <a:pt x="2079447" y="747116"/>
                  </a:lnTo>
                  <a:lnTo>
                    <a:pt x="2350558" y="1017528"/>
                  </a:lnTo>
                  <a:lnTo>
                    <a:pt x="2614681" y="1017528"/>
                  </a:lnTo>
                  <a:lnTo>
                    <a:pt x="2343570" y="747116"/>
                  </a:lnTo>
                  <a:close/>
                  <a:moveTo>
                    <a:pt x="161407" y="203496"/>
                  </a:moveTo>
                  <a:lnTo>
                    <a:pt x="432518" y="473908"/>
                  </a:lnTo>
                  <a:lnTo>
                    <a:pt x="429724" y="476704"/>
                  </a:lnTo>
                  <a:lnTo>
                    <a:pt x="339586" y="567539"/>
                  </a:lnTo>
                  <a:lnTo>
                    <a:pt x="162106" y="744320"/>
                  </a:lnTo>
                  <a:lnTo>
                    <a:pt x="426230" y="744320"/>
                  </a:lnTo>
                  <a:lnTo>
                    <a:pt x="515668" y="654882"/>
                  </a:lnTo>
                  <a:lnTo>
                    <a:pt x="696642" y="473908"/>
                  </a:lnTo>
                  <a:lnTo>
                    <a:pt x="425531" y="203496"/>
                  </a:lnTo>
                  <a:close/>
                  <a:moveTo>
                    <a:pt x="710617" y="202798"/>
                  </a:moveTo>
                  <a:lnTo>
                    <a:pt x="840582" y="332763"/>
                  </a:lnTo>
                  <a:lnTo>
                    <a:pt x="981029" y="472511"/>
                  </a:lnTo>
                  <a:lnTo>
                    <a:pt x="710617" y="743621"/>
                  </a:lnTo>
                  <a:lnTo>
                    <a:pt x="974740" y="743621"/>
                  </a:lnTo>
                  <a:lnTo>
                    <a:pt x="1245851" y="473209"/>
                  </a:lnTo>
                  <a:lnTo>
                    <a:pt x="974740" y="202798"/>
                  </a:lnTo>
                  <a:close/>
                  <a:moveTo>
                    <a:pt x="2906055" y="202099"/>
                  </a:moveTo>
                  <a:lnTo>
                    <a:pt x="3035322" y="329968"/>
                  </a:lnTo>
                  <a:lnTo>
                    <a:pt x="3035322" y="330667"/>
                  </a:lnTo>
                  <a:lnTo>
                    <a:pt x="3177166" y="472511"/>
                  </a:lnTo>
                  <a:lnTo>
                    <a:pt x="2906754" y="743621"/>
                  </a:lnTo>
                  <a:lnTo>
                    <a:pt x="3170178" y="743621"/>
                  </a:lnTo>
                  <a:lnTo>
                    <a:pt x="3440590" y="472511"/>
                  </a:lnTo>
                  <a:lnTo>
                    <a:pt x="3435000" y="466921"/>
                  </a:lnTo>
                  <a:lnTo>
                    <a:pt x="3434301" y="466921"/>
                  </a:lnTo>
                  <a:lnTo>
                    <a:pt x="3168781" y="202099"/>
                  </a:lnTo>
                  <a:close/>
                  <a:moveTo>
                    <a:pt x="1808336" y="202099"/>
                  </a:moveTo>
                  <a:lnTo>
                    <a:pt x="1810426" y="204887"/>
                  </a:lnTo>
                  <a:lnTo>
                    <a:pt x="1809733" y="204195"/>
                  </a:lnTo>
                  <a:lnTo>
                    <a:pt x="1810432" y="204894"/>
                  </a:lnTo>
                  <a:lnTo>
                    <a:pt x="1810426" y="204887"/>
                  </a:lnTo>
                  <a:lnTo>
                    <a:pt x="2068965" y="462729"/>
                  </a:lnTo>
                  <a:lnTo>
                    <a:pt x="2078748" y="471812"/>
                  </a:lnTo>
                  <a:lnTo>
                    <a:pt x="2080844" y="473908"/>
                  </a:lnTo>
                  <a:lnTo>
                    <a:pt x="1816022" y="743621"/>
                  </a:lnTo>
                  <a:lnTo>
                    <a:pt x="2075254" y="744320"/>
                  </a:lnTo>
                  <a:lnTo>
                    <a:pt x="2344968" y="473908"/>
                  </a:lnTo>
                  <a:lnTo>
                    <a:pt x="2209412" y="339051"/>
                  </a:lnTo>
                  <a:lnTo>
                    <a:pt x="2192643" y="322282"/>
                  </a:lnTo>
                  <a:lnTo>
                    <a:pt x="2073158" y="203496"/>
                  </a:lnTo>
                  <a:lnTo>
                    <a:pt x="2068965" y="202099"/>
                  </a:lnTo>
                  <a:close/>
                  <a:moveTo>
                    <a:pt x="1258428" y="202099"/>
                  </a:moveTo>
                  <a:lnTo>
                    <a:pt x="1529539" y="472511"/>
                  </a:lnTo>
                  <a:lnTo>
                    <a:pt x="1259127" y="743621"/>
                  </a:lnTo>
                  <a:lnTo>
                    <a:pt x="1523250" y="743621"/>
                  </a:lnTo>
                  <a:lnTo>
                    <a:pt x="1793662" y="472511"/>
                  </a:lnTo>
                  <a:lnTo>
                    <a:pt x="1522551" y="202099"/>
                  </a:lnTo>
                  <a:close/>
                  <a:moveTo>
                    <a:pt x="2621668" y="200701"/>
                  </a:moveTo>
                  <a:lnTo>
                    <a:pt x="2358243" y="201400"/>
                  </a:lnTo>
                  <a:lnTo>
                    <a:pt x="2627259" y="469716"/>
                  </a:lnTo>
                  <a:lnTo>
                    <a:pt x="2626560" y="470415"/>
                  </a:lnTo>
                  <a:lnTo>
                    <a:pt x="2627957" y="471812"/>
                  </a:lnTo>
                  <a:lnTo>
                    <a:pt x="2357544" y="742923"/>
                  </a:lnTo>
                  <a:lnTo>
                    <a:pt x="2621668" y="742923"/>
                  </a:lnTo>
                  <a:lnTo>
                    <a:pt x="2711805" y="652786"/>
                  </a:lnTo>
                  <a:lnTo>
                    <a:pt x="2891382" y="469716"/>
                  </a:lnTo>
                  <a:close/>
                  <a:moveTo>
                    <a:pt x="4001678" y="200003"/>
                  </a:moveTo>
                  <a:lnTo>
                    <a:pt x="4131644" y="329269"/>
                  </a:lnTo>
                  <a:lnTo>
                    <a:pt x="4272090" y="469716"/>
                  </a:lnTo>
                  <a:lnTo>
                    <a:pt x="4179158" y="563347"/>
                  </a:lnTo>
                  <a:lnTo>
                    <a:pt x="4179856" y="564046"/>
                  </a:lnTo>
                  <a:lnTo>
                    <a:pt x="4003075" y="741525"/>
                  </a:lnTo>
                  <a:lnTo>
                    <a:pt x="4265801" y="741525"/>
                  </a:lnTo>
                  <a:lnTo>
                    <a:pt x="4536213" y="470415"/>
                  </a:lnTo>
                  <a:lnTo>
                    <a:pt x="4265102" y="200003"/>
                  </a:lnTo>
                  <a:close/>
                  <a:moveTo>
                    <a:pt x="3453167" y="200003"/>
                  </a:moveTo>
                  <a:lnTo>
                    <a:pt x="3724278" y="470415"/>
                  </a:lnTo>
                  <a:lnTo>
                    <a:pt x="3724977" y="471113"/>
                  </a:lnTo>
                  <a:lnTo>
                    <a:pt x="3454565" y="742224"/>
                  </a:lnTo>
                  <a:lnTo>
                    <a:pt x="3718688" y="742224"/>
                  </a:lnTo>
                  <a:lnTo>
                    <a:pt x="3808127" y="652087"/>
                  </a:lnTo>
                  <a:lnTo>
                    <a:pt x="3807428" y="652087"/>
                  </a:lnTo>
                  <a:lnTo>
                    <a:pt x="3988403" y="471113"/>
                  </a:lnTo>
                  <a:lnTo>
                    <a:pt x="3983511" y="465523"/>
                  </a:lnTo>
                  <a:lnTo>
                    <a:pt x="3717291" y="200003"/>
                  </a:lnTo>
                  <a:close/>
                  <a:moveTo>
                    <a:pt x="348134" y="0"/>
                  </a:moveTo>
                  <a:lnTo>
                    <a:pt x="358615" y="0"/>
                  </a:lnTo>
                  <a:lnTo>
                    <a:pt x="162106" y="196509"/>
                  </a:lnTo>
                  <a:lnTo>
                    <a:pt x="426230" y="196509"/>
                  </a:lnTo>
                  <a:lnTo>
                    <a:pt x="622232" y="0"/>
                  </a:lnTo>
                  <a:lnTo>
                    <a:pt x="632006" y="0"/>
                  </a:lnTo>
                  <a:lnTo>
                    <a:pt x="432518" y="200003"/>
                  </a:lnTo>
                  <a:lnTo>
                    <a:pt x="704328" y="470415"/>
                  </a:lnTo>
                  <a:lnTo>
                    <a:pt x="967752" y="470415"/>
                  </a:lnTo>
                  <a:lnTo>
                    <a:pt x="837089" y="340449"/>
                  </a:lnTo>
                  <a:lnTo>
                    <a:pt x="696642" y="200003"/>
                  </a:lnTo>
                  <a:lnTo>
                    <a:pt x="896129" y="0"/>
                  </a:lnTo>
                  <a:lnTo>
                    <a:pt x="907318" y="0"/>
                  </a:lnTo>
                  <a:lnTo>
                    <a:pt x="711316" y="196509"/>
                  </a:lnTo>
                  <a:lnTo>
                    <a:pt x="974740" y="196509"/>
                  </a:lnTo>
                  <a:lnTo>
                    <a:pt x="1170742" y="0"/>
                  </a:lnTo>
                  <a:lnTo>
                    <a:pt x="1179819" y="0"/>
                  </a:lnTo>
                  <a:lnTo>
                    <a:pt x="981029" y="199304"/>
                  </a:lnTo>
                  <a:lnTo>
                    <a:pt x="1252140" y="469716"/>
                  </a:lnTo>
                  <a:lnTo>
                    <a:pt x="1516263" y="469716"/>
                  </a:lnTo>
                  <a:lnTo>
                    <a:pt x="1245152" y="199304"/>
                  </a:lnTo>
                  <a:lnTo>
                    <a:pt x="1443942" y="0"/>
                  </a:lnTo>
                  <a:lnTo>
                    <a:pt x="1453410" y="0"/>
                  </a:lnTo>
                  <a:lnTo>
                    <a:pt x="1436607" y="16933"/>
                  </a:lnTo>
                  <a:lnTo>
                    <a:pt x="1435908" y="16933"/>
                  </a:lnTo>
                  <a:lnTo>
                    <a:pt x="1258428" y="195111"/>
                  </a:lnTo>
                  <a:lnTo>
                    <a:pt x="1522551" y="195111"/>
                  </a:lnTo>
                  <a:lnTo>
                    <a:pt x="1717663" y="0"/>
                  </a:lnTo>
                  <a:lnTo>
                    <a:pt x="1728424" y="0"/>
                  </a:lnTo>
                  <a:lnTo>
                    <a:pt x="1620376" y="108468"/>
                  </a:lnTo>
                  <a:lnTo>
                    <a:pt x="1619677" y="108468"/>
                  </a:lnTo>
                  <a:lnTo>
                    <a:pt x="1529539" y="198605"/>
                  </a:lnTo>
                  <a:lnTo>
                    <a:pt x="1799951" y="469716"/>
                  </a:lnTo>
                  <a:lnTo>
                    <a:pt x="2064074" y="469716"/>
                  </a:lnTo>
                  <a:lnTo>
                    <a:pt x="1792964" y="199304"/>
                  </a:lnTo>
                  <a:lnTo>
                    <a:pt x="1977431" y="14837"/>
                  </a:lnTo>
                  <a:lnTo>
                    <a:pt x="1978130" y="14837"/>
                  </a:lnTo>
                  <a:lnTo>
                    <a:pt x="1992847" y="0"/>
                  </a:lnTo>
                  <a:lnTo>
                    <a:pt x="2002247" y="0"/>
                  </a:lnTo>
                  <a:lnTo>
                    <a:pt x="1808336" y="194412"/>
                  </a:lnTo>
                  <a:lnTo>
                    <a:pt x="2071761" y="194412"/>
                  </a:lnTo>
                  <a:lnTo>
                    <a:pt x="2266173" y="0"/>
                  </a:lnTo>
                  <a:lnTo>
                    <a:pt x="2277539" y="0"/>
                  </a:lnTo>
                  <a:lnTo>
                    <a:pt x="2078748" y="199304"/>
                  </a:lnTo>
                  <a:lnTo>
                    <a:pt x="2348461" y="468319"/>
                  </a:lnTo>
                  <a:lnTo>
                    <a:pt x="2611886" y="468319"/>
                  </a:lnTo>
                  <a:lnTo>
                    <a:pt x="2342872" y="199304"/>
                  </a:lnTo>
                  <a:lnTo>
                    <a:pt x="2343570" y="198605"/>
                  </a:lnTo>
                  <a:lnTo>
                    <a:pt x="2342173" y="197208"/>
                  </a:lnTo>
                  <a:lnTo>
                    <a:pt x="2538868" y="0"/>
                  </a:lnTo>
                  <a:lnTo>
                    <a:pt x="2552152" y="0"/>
                  </a:lnTo>
                  <a:lnTo>
                    <a:pt x="2358243" y="194412"/>
                  </a:lnTo>
                  <a:lnTo>
                    <a:pt x="2620271" y="194412"/>
                  </a:lnTo>
                  <a:lnTo>
                    <a:pt x="2814181" y="0"/>
                  </a:lnTo>
                  <a:lnTo>
                    <a:pt x="2825540" y="0"/>
                  </a:lnTo>
                  <a:lnTo>
                    <a:pt x="2628655" y="197906"/>
                  </a:lnTo>
                  <a:lnTo>
                    <a:pt x="2898368" y="466921"/>
                  </a:lnTo>
                  <a:lnTo>
                    <a:pt x="3163191" y="468319"/>
                  </a:lnTo>
                  <a:lnTo>
                    <a:pt x="2892081" y="197906"/>
                  </a:lnTo>
                  <a:lnTo>
                    <a:pt x="2890683" y="196509"/>
                  </a:lnTo>
                  <a:lnTo>
                    <a:pt x="3086683" y="0"/>
                  </a:lnTo>
                  <a:lnTo>
                    <a:pt x="3097556" y="0"/>
                  </a:lnTo>
                  <a:lnTo>
                    <a:pt x="3082137" y="15536"/>
                  </a:lnTo>
                  <a:lnTo>
                    <a:pt x="3082836" y="16235"/>
                  </a:lnTo>
                  <a:lnTo>
                    <a:pt x="2906754" y="192317"/>
                  </a:lnTo>
                  <a:lnTo>
                    <a:pt x="3103099" y="192317"/>
                  </a:lnTo>
                  <a:lnTo>
                    <a:pt x="3102401" y="193714"/>
                  </a:lnTo>
                  <a:lnTo>
                    <a:pt x="3168083" y="193714"/>
                  </a:lnTo>
                  <a:lnTo>
                    <a:pt x="3361298" y="0"/>
                  </a:lnTo>
                  <a:lnTo>
                    <a:pt x="3371863" y="0"/>
                  </a:lnTo>
                  <a:lnTo>
                    <a:pt x="3264508" y="107769"/>
                  </a:lnTo>
                  <a:lnTo>
                    <a:pt x="3265906" y="108468"/>
                  </a:lnTo>
                  <a:lnTo>
                    <a:pt x="3176467" y="197906"/>
                  </a:lnTo>
                  <a:lnTo>
                    <a:pt x="3446879" y="467620"/>
                  </a:lnTo>
                  <a:lnTo>
                    <a:pt x="3710303" y="467620"/>
                  </a:lnTo>
                  <a:lnTo>
                    <a:pt x="3439891" y="197906"/>
                  </a:lnTo>
                  <a:lnTo>
                    <a:pt x="3439193" y="197208"/>
                  </a:lnTo>
                  <a:lnTo>
                    <a:pt x="3635893" y="0"/>
                  </a:lnTo>
                  <a:lnTo>
                    <a:pt x="3646183" y="0"/>
                  </a:lnTo>
                  <a:lnTo>
                    <a:pt x="3453167" y="193016"/>
                  </a:lnTo>
                  <a:lnTo>
                    <a:pt x="3717291" y="193016"/>
                  </a:lnTo>
                  <a:lnTo>
                    <a:pt x="3910306" y="0"/>
                  </a:lnTo>
                  <a:lnTo>
                    <a:pt x="3919582" y="0"/>
                  </a:lnTo>
                  <a:lnTo>
                    <a:pt x="3723579" y="196509"/>
                  </a:lnTo>
                  <a:lnTo>
                    <a:pt x="3994690" y="466921"/>
                  </a:lnTo>
                  <a:lnTo>
                    <a:pt x="4258116" y="466921"/>
                  </a:lnTo>
                  <a:lnTo>
                    <a:pt x="4128150" y="336956"/>
                  </a:lnTo>
                  <a:lnTo>
                    <a:pt x="3987703" y="196509"/>
                  </a:lnTo>
                  <a:lnTo>
                    <a:pt x="4183705" y="0"/>
                  </a:lnTo>
                  <a:lnTo>
                    <a:pt x="4194197" y="0"/>
                  </a:lnTo>
                  <a:lnTo>
                    <a:pt x="4002377" y="192317"/>
                  </a:lnTo>
                  <a:lnTo>
                    <a:pt x="4265801" y="192317"/>
                  </a:lnTo>
                  <a:lnTo>
                    <a:pt x="4457622" y="0"/>
                  </a:lnTo>
                  <a:lnTo>
                    <a:pt x="4467396" y="0"/>
                  </a:lnTo>
                  <a:lnTo>
                    <a:pt x="4272090" y="195810"/>
                  </a:lnTo>
                  <a:lnTo>
                    <a:pt x="4543201" y="466222"/>
                  </a:lnTo>
                  <a:lnTo>
                    <a:pt x="4807324" y="466222"/>
                  </a:lnTo>
                  <a:lnTo>
                    <a:pt x="4536213" y="195810"/>
                  </a:lnTo>
                  <a:lnTo>
                    <a:pt x="4731518" y="0"/>
                  </a:lnTo>
                  <a:lnTo>
                    <a:pt x="4741806" y="0"/>
                  </a:lnTo>
                  <a:lnTo>
                    <a:pt x="4549489" y="192317"/>
                  </a:lnTo>
                  <a:lnTo>
                    <a:pt x="4813613" y="192317"/>
                  </a:lnTo>
                  <a:lnTo>
                    <a:pt x="4823396" y="182534"/>
                  </a:lnTo>
                  <a:lnTo>
                    <a:pt x="4823396" y="193016"/>
                  </a:lnTo>
                  <a:lnTo>
                    <a:pt x="4820600" y="195810"/>
                  </a:lnTo>
                  <a:lnTo>
                    <a:pt x="4823396" y="198605"/>
                  </a:lnTo>
                  <a:lnTo>
                    <a:pt x="4823396" y="209086"/>
                  </a:lnTo>
                  <a:lnTo>
                    <a:pt x="4814311" y="200003"/>
                  </a:lnTo>
                  <a:lnTo>
                    <a:pt x="4550188" y="200003"/>
                  </a:lnTo>
                  <a:lnTo>
                    <a:pt x="4821299" y="470415"/>
                  </a:lnTo>
                  <a:lnTo>
                    <a:pt x="4550887" y="741525"/>
                  </a:lnTo>
                  <a:lnTo>
                    <a:pt x="4815010" y="741525"/>
                  </a:lnTo>
                  <a:lnTo>
                    <a:pt x="4823396" y="732442"/>
                  </a:lnTo>
                  <a:lnTo>
                    <a:pt x="4823396" y="742224"/>
                  </a:lnTo>
                  <a:lnTo>
                    <a:pt x="4821299" y="744320"/>
                  </a:lnTo>
                  <a:lnTo>
                    <a:pt x="4823396" y="746417"/>
                  </a:lnTo>
                  <a:lnTo>
                    <a:pt x="4823396" y="756898"/>
                  </a:lnTo>
                  <a:lnTo>
                    <a:pt x="4814311" y="747814"/>
                  </a:lnTo>
                  <a:lnTo>
                    <a:pt x="4550188" y="747814"/>
                  </a:lnTo>
                  <a:lnTo>
                    <a:pt x="4821299" y="1018227"/>
                  </a:lnTo>
                  <a:lnTo>
                    <a:pt x="4821998" y="1018924"/>
                  </a:lnTo>
                  <a:lnTo>
                    <a:pt x="4551586" y="1290035"/>
                  </a:lnTo>
                  <a:lnTo>
                    <a:pt x="4815709" y="1290035"/>
                  </a:lnTo>
                  <a:lnTo>
                    <a:pt x="4823396" y="1282349"/>
                  </a:lnTo>
                  <a:lnTo>
                    <a:pt x="4823396" y="1292831"/>
                  </a:lnTo>
                  <a:lnTo>
                    <a:pt x="4822697" y="1293530"/>
                  </a:lnTo>
                  <a:lnTo>
                    <a:pt x="4823396" y="1294228"/>
                  </a:lnTo>
                  <a:lnTo>
                    <a:pt x="4823396" y="1304010"/>
                  </a:lnTo>
                  <a:lnTo>
                    <a:pt x="4815709" y="1296324"/>
                  </a:lnTo>
                  <a:lnTo>
                    <a:pt x="4551586" y="1297023"/>
                  </a:lnTo>
                  <a:lnTo>
                    <a:pt x="4823396" y="1566736"/>
                  </a:lnTo>
                  <a:lnTo>
                    <a:pt x="4552984" y="1837847"/>
                  </a:lnTo>
                  <a:lnTo>
                    <a:pt x="4817107" y="1837847"/>
                  </a:lnTo>
                  <a:lnTo>
                    <a:pt x="4824094" y="1830859"/>
                  </a:lnTo>
                  <a:lnTo>
                    <a:pt x="4824094" y="1841341"/>
                  </a:lnTo>
                  <a:lnTo>
                    <a:pt x="4824094" y="1851822"/>
                  </a:lnTo>
                  <a:lnTo>
                    <a:pt x="4817107" y="1844834"/>
                  </a:lnTo>
                  <a:lnTo>
                    <a:pt x="4552984" y="1844834"/>
                  </a:lnTo>
                  <a:lnTo>
                    <a:pt x="4824094" y="2115246"/>
                  </a:lnTo>
                  <a:lnTo>
                    <a:pt x="4821299" y="2118042"/>
                  </a:lnTo>
                  <a:lnTo>
                    <a:pt x="4731162" y="2208877"/>
                  </a:lnTo>
                  <a:lnTo>
                    <a:pt x="4553682" y="2386357"/>
                  </a:lnTo>
                  <a:lnTo>
                    <a:pt x="4817806" y="2386357"/>
                  </a:lnTo>
                  <a:lnTo>
                    <a:pt x="4824094" y="2380068"/>
                  </a:lnTo>
                  <a:lnTo>
                    <a:pt x="4824094" y="2398934"/>
                  </a:lnTo>
                  <a:lnTo>
                    <a:pt x="4817806" y="2392646"/>
                  </a:lnTo>
                  <a:lnTo>
                    <a:pt x="4553682" y="2392646"/>
                  </a:lnTo>
                  <a:lnTo>
                    <a:pt x="4824094" y="2662359"/>
                  </a:lnTo>
                  <a:lnTo>
                    <a:pt x="4824094" y="2663757"/>
                  </a:lnTo>
                  <a:lnTo>
                    <a:pt x="4554381" y="2934169"/>
                  </a:lnTo>
                  <a:lnTo>
                    <a:pt x="4817806" y="2934169"/>
                  </a:lnTo>
                  <a:lnTo>
                    <a:pt x="4823396" y="2928579"/>
                  </a:lnTo>
                  <a:lnTo>
                    <a:pt x="4823396" y="2947445"/>
                  </a:lnTo>
                  <a:lnTo>
                    <a:pt x="4817806" y="2941855"/>
                  </a:lnTo>
                  <a:lnTo>
                    <a:pt x="4554381" y="2941855"/>
                  </a:lnTo>
                  <a:lnTo>
                    <a:pt x="4684346" y="3071820"/>
                  </a:lnTo>
                  <a:lnTo>
                    <a:pt x="4823396" y="3210869"/>
                  </a:lnTo>
                  <a:lnTo>
                    <a:pt x="4823396" y="3213665"/>
                  </a:lnTo>
                  <a:lnTo>
                    <a:pt x="4554381" y="3483378"/>
                  </a:lnTo>
                  <a:lnTo>
                    <a:pt x="4818505" y="3483378"/>
                  </a:lnTo>
                  <a:lnTo>
                    <a:pt x="4823396" y="3478487"/>
                  </a:lnTo>
                  <a:lnTo>
                    <a:pt x="4823396" y="3495256"/>
                  </a:lnTo>
                  <a:lnTo>
                    <a:pt x="4818505" y="3490365"/>
                  </a:lnTo>
                  <a:lnTo>
                    <a:pt x="4554381" y="3490365"/>
                  </a:lnTo>
                  <a:lnTo>
                    <a:pt x="4555778" y="3491762"/>
                  </a:lnTo>
                  <a:lnTo>
                    <a:pt x="4823396" y="3758681"/>
                  </a:lnTo>
                  <a:lnTo>
                    <a:pt x="4823396" y="3762174"/>
                  </a:lnTo>
                  <a:lnTo>
                    <a:pt x="4555828" y="4030438"/>
                  </a:lnTo>
                  <a:lnTo>
                    <a:pt x="4817996" y="4030438"/>
                  </a:lnTo>
                  <a:lnTo>
                    <a:pt x="4828476" y="4019957"/>
                  </a:lnTo>
                  <a:lnTo>
                    <a:pt x="4828476" y="4030438"/>
                  </a:lnTo>
                  <a:lnTo>
                    <a:pt x="4824983" y="4033931"/>
                  </a:lnTo>
                  <a:lnTo>
                    <a:pt x="4828476" y="4037426"/>
                  </a:lnTo>
                  <a:lnTo>
                    <a:pt x="4828476" y="4047906"/>
                  </a:lnTo>
                  <a:lnTo>
                    <a:pt x="4823396" y="4042826"/>
                  </a:lnTo>
                  <a:lnTo>
                    <a:pt x="4823396" y="4043068"/>
                  </a:lnTo>
                  <a:lnTo>
                    <a:pt x="4819202" y="4038876"/>
                  </a:lnTo>
                  <a:lnTo>
                    <a:pt x="4555321" y="4038876"/>
                  </a:lnTo>
                  <a:lnTo>
                    <a:pt x="4555968" y="4039522"/>
                  </a:lnTo>
                  <a:lnTo>
                    <a:pt x="4825681" y="4308536"/>
                  </a:lnTo>
                  <a:lnTo>
                    <a:pt x="4554570" y="4579647"/>
                  </a:lnTo>
                  <a:lnTo>
                    <a:pt x="4818693" y="4579647"/>
                  </a:lnTo>
                  <a:lnTo>
                    <a:pt x="4828476" y="4569864"/>
                  </a:lnTo>
                  <a:lnTo>
                    <a:pt x="4828476" y="4580346"/>
                  </a:lnTo>
                  <a:lnTo>
                    <a:pt x="4825681" y="4583140"/>
                  </a:lnTo>
                  <a:lnTo>
                    <a:pt x="4828476" y="4585936"/>
                  </a:lnTo>
                  <a:lnTo>
                    <a:pt x="4828476" y="4596417"/>
                  </a:lnTo>
                  <a:lnTo>
                    <a:pt x="4819392" y="4587334"/>
                  </a:lnTo>
                  <a:lnTo>
                    <a:pt x="4555269" y="4587334"/>
                  </a:lnTo>
                  <a:lnTo>
                    <a:pt x="4826380" y="4857746"/>
                  </a:lnTo>
                  <a:lnTo>
                    <a:pt x="4555968" y="5128855"/>
                  </a:lnTo>
                  <a:lnTo>
                    <a:pt x="4820091" y="5128855"/>
                  </a:lnTo>
                  <a:lnTo>
                    <a:pt x="4828476" y="5119772"/>
                  </a:lnTo>
                  <a:lnTo>
                    <a:pt x="4828476" y="5129554"/>
                  </a:lnTo>
                  <a:lnTo>
                    <a:pt x="4826380" y="5131651"/>
                  </a:lnTo>
                  <a:lnTo>
                    <a:pt x="4828476" y="5133747"/>
                  </a:lnTo>
                  <a:lnTo>
                    <a:pt x="4828476" y="5144228"/>
                  </a:lnTo>
                  <a:lnTo>
                    <a:pt x="4819392" y="5135144"/>
                  </a:lnTo>
                  <a:lnTo>
                    <a:pt x="4555269" y="5135144"/>
                  </a:lnTo>
                  <a:lnTo>
                    <a:pt x="4826380" y="5405557"/>
                  </a:lnTo>
                  <a:lnTo>
                    <a:pt x="4827079" y="5406255"/>
                  </a:lnTo>
                  <a:lnTo>
                    <a:pt x="4556667" y="5677366"/>
                  </a:lnTo>
                  <a:lnTo>
                    <a:pt x="4820790" y="5677366"/>
                  </a:lnTo>
                  <a:lnTo>
                    <a:pt x="4828476" y="5669679"/>
                  </a:lnTo>
                  <a:lnTo>
                    <a:pt x="4828476" y="5680161"/>
                  </a:lnTo>
                  <a:lnTo>
                    <a:pt x="4827778" y="5680860"/>
                  </a:lnTo>
                  <a:lnTo>
                    <a:pt x="4828476" y="5681559"/>
                  </a:lnTo>
                  <a:lnTo>
                    <a:pt x="4828476" y="5691341"/>
                  </a:lnTo>
                  <a:lnTo>
                    <a:pt x="4820790" y="5683654"/>
                  </a:lnTo>
                  <a:lnTo>
                    <a:pt x="4556667" y="5684353"/>
                  </a:lnTo>
                  <a:lnTo>
                    <a:pt x="4828476" y="5954066"/>
                  </a:lnTo>
                  <a:lnTo>
                    <a:pt x="4558064" y="6225177"/>
                  </a:lnTo>
                  <a:lnTo>
                    <a:pt x="4822188" y="6225177"/>
                  </a:lnTo>
                  <a:lnTo>
                    <a:pt x="4829175" y="6218190"/>
                  </a:lnTo>
                  <a:lnTo>
                    <a:pt x="4829175" y="6228671"/>
                  </a:lnTo>
                  <a:lnTo>
                    <a:pt x="4829175" y="6239152"/>
                  </a:lnTo>
                  <a:lnTo>
                    <a:pt x="4822188" y="6232165"/>
                  </a:lnTo>
                  <a:lnTo>
                    <a:pt x="4558064" y="6232165"/>
                  </a:lnTo>
                  <a:lnTo>
                    <a:pt x="4829175" y="6502577"/>
                  </a:lnTo>
                  <a:lnTo>
                    <a:pt x="4826380" y="6505372"/>
                  </a:lnTo>
                  <a:lnTo>
                    <a:pt x="4816727" y="6515100"/>
                  </a:lnTo>
                  <a:lnTo>
                    <a:pt x="4806802" y="6515100"/>
                  </a:lnTo>
                  <a:lnTo>
                    <a:pt x="4815200" y="6506770"/>
                  </a:lnTo>
                  <a:lnTo>
                    <a:pt x="4551077" y="6506770"/>
                  </a:lnTo>
                  <a:lnTo>
                    <a:pt x="4542768" y="6515100"/>
                  </a:lnTo>
                  <a:lnTo>
                    <a:pt x="4531598" y="6515100"/>
                  </a:lnTo>
                  <a:lnTo>
                    <a:pt x="4544089" y="6502577"/>
                  </a:lnTo>
                  <a:lnTo>
                    <a:pt x="4539198" y="6497686"/>
                  </a:lnTo>
                  <a:lnTo>
                    <a:pt x="4273677" y="6232165"/>
                  </a:lnTo>
                  <a:lnTo>
                    <a:pt x="4009554" y="6232165"/>
                  </a:lnTo>
                  <a:lnTo>
                    <a:pt x="4010952" y="6233562"/>
                  </a:lnTo>
                  <a:lnTo>
                    <a:pt x="4279966" y="6502577"/>
                  </a:lnTo>
                  <a:lnTo>
                    <a:pt x="4267475" y="6515100"/>
                  </a:lnTo>
                  <a:lnTo>
                    <a:pt x="4259077" y="6515100"/>
                  </a:lnTo>
                  <a:lnTo>
                    <a:pt x="4266690" y="6507468"/>
                  </a:lnTo>
                  <a:lnTo>
                    <a:pt x="4002566" y="6507468"/>
                  </a:lnTo>
                  <a:lnTo>
                    <a:pt x="3994954" y="6515100"/>
                  </a:lnTo>
                  <a:lnTo>
                    <a:pt x="3983089" y="6515100"/>
                  </a:lnTo>
                  <a:lnTo>
                    <a:pt x="3996278" y="6501878"/>
                  </a:lnTo>
                  <a:lnTo>
                    <a:pt x="3862819" y="6369115"/>
                  </a:lnTo>
                  <a:lnTo>
                    <a:pt x="3865614" y="6363527"/>
                  </a:lnTo>
                  <a:lnTo>
                    <a:pt x="3864915" y="6362829"/>
                  </a:lnTo>
                  <a:lnTo>
                    <a:pt x="3865614" y="6361432"/>
                  </a:lnTo>
                  <a:lnTo>
                    <a:pt x="4002566" y="6498385"/>
                  </a:lnTo>
                  <a:lnTo>
                    <a:pt x="4266690" y="6498385"/>
                  </a:lnTo>
                  <a:lnTo>
                    <a:pt x="3995579" y="6227973"/>
                  </a:lnTo>
                  <a:lnTo>
                    <a:pt x="3996977" y="6226575"/>
                  </a:lnTo>
                  <a:lnTo>
                    <a:pt x="4265292" y="5957561"/>
                  </a:lnTo>
                  <a:lnTo>
                    <a:pt x="4066851" y="5957561"/>
                  </a:lnTo>
                  <a:lnTo>
                    <a:pt x="4070344" y="5950573"/>
                  </a:lnTo>
                  <a:lnTo>
                    <a:pt x="4265292" y="5950573"/>
                  </a:lnTo>
                  <a:lnTo>
                    <a:pt x="4135327" y="5820608"/>
                  </a:lnTo>
                  <a:lnTo>
                    <a:pt x="4138820" y="5813620"/>
                  </a:lnTo>
                  <a:lnTo>
                    <a:pt x="4279267" y="5954066"/>
                  </a:lnTo>
                  <a:lnTo>
                    <a:pt x="4008855" y="6225177"/>
                  </a:lnTo>
                  <a:lnTo>
                    <a:pt x="4272979" y="6225177"/>
                  </a:lnTo>
                  <a:lnTo>
                    <a:pt x="4543391" y="5954066"/>
                  </a:lnTo>
                  <a:lnTo>
                    <a:pt x="4272280" y="5684353"/>
                  </a:lnTo>
                  <a:lnTo>
                    <a:pt x="4203803" y="5684353"/>
                  </a:lnTo>
                  <a:lnTo>
                    <a:pt x="4008855" y="5684353"/>
                  </a:lnTo>
                  <a:lnTo>
                    <a:pt x="4138121" y="5814319"/>
                  </a:lnTo>
                  <a:lnTo>
                    <a:pt x="4134628" y="5821306"/>
                  </a:lnTo>
                  <a:lnTo>
                    <a:pt x="3994181" y="5680860"/>
                  </a:lnTo>
                  <a:lnTo>
                    <a:pt x="4264593" y="5409749"/>
                  </a:lnTo>
                  <a:lnTo>
                    <a:pt x="4000470" y="5409749"/>
                  </a:lnTo>
                  <a:lnTo>
                    <a:pt x="3730058" y="5680860"/>
                  </a:lnTo>
                  <a:lnTo>
                    <a:pt x="4001169" y="5951272"/>
                  </a:lnTo>
                  <a:lnTo>
                    <a:pt x="4069645" y="5951272"/>
                  </a:lnTo>
                  <a:lnTo>
                    <a:pt x="4066152" y="5958259"/>
                  </a:lnTo>
                  <a:lnTo>
                    <a:pt x="4001169" y="5958259"/>
                  </a:lnTo>
                  <a:lnTo>
                    <a:pt x="3820894" y="6139233"/>
                  </a:lnTo>
                  <a:lnTo>
                    <a:pt x="3731456" y="6229370"/>
                  </a:lnTo>
                  <a:lnTo>
                    <a:pt x="3864915" y="6362829"/>
                  </a:lnTo>
                  <a:lnTo>
                    <a:pt x="3862120" y="6368418"/>
                  </a:lnTo>
                  <a:lnTo>
                    <a:pt x="3862819" y="6369115"/>
                  </a:lnTo>
                  <a:lnTo>
                    <a:pt x="3862120" y="6370515"/>
                  </a:lnTo>
                  <a:lnTo>
                    <a:pt x="3725167" y="6233562"/>
                  </a:lnTo>
                  <a:lnTo>
                    <a:pt x="3461044" y="6233562"/>
                  </a:lnTo>
                  <a:lnTo>
                    <a:pt x="3732154" y="6503974"/>
                  </a:lnTo>
                  <a:lnTo>
                    <a:pt x="3721057" y="6515100"/>
                  </a:lnTo>
                  <a:lnTo>
                    <a:pt x="3710566" y="6515100"/>
                  </a:lnTo>
                  <a:lnTo>
                    <a:pt x="3718179" y="6507468"/>
                  </a:lnTo>
                  <a:lnTo>
                    <a:pt x="3454056" y="6507468"/>
                  </a:lnTo>
                  <a:lnTo>
                    <a:pt x="3446443" y="6515100"/>
                  </a:lnTo>
                  <a:lnTo>
                    <a:pt x="3437367" y="6515100"/>
                  </a:lnTo>
                  <a:lnTo>
                    <a:pt x="3447767" y="6504673"/>
                  </a:lnTo>
                  <a:lnTo>
                    <a:pt x="3176657" y="6234261"/>
                  </a:lnTo>
                  <a:lnTo>
                    <a:pt x="2912533" y="6234261"/>
                  </a:lnTo>
                  <a:lnTo>
                    <a:pt x="3183644" y="6504673"/>
                  </a:lnTo>
                  <a:lnTo>
                    <a:pt x="3173244" y="6515100"/>
                  </a:lnTo>
                  <a:lnTo>
                    <a:pt x="3163450" y="6515100"/>
                  </a:lnTo>
                  <a:lnTo>
                    <a:pt x="3169669" y="6508865"/>
                  </a:lnTo>
                  <a:lnTo>
                    <a:pt x="2905546" y="6508865"/>
                  </a:lnTo>
                  <a:lnTo>
                    <a:pt x="2899327" y="6515100"/>
                  </a:lnTo>
                  <a:lnTo>
                    <a:pt x="2889554" y="6515100"/>
                  </a:lnTo>
                  <a:lnTo>
                    <a:pt x="2899257" y="6505372"/>
                  </a:lnTo>
                  <a:lnTo>
                    <a:pt x="2628146" y="6234960"/>
                  </a:lnTo>
                  <a:lnTo>
                    <a:pt x="2364722" y="6234960"/>
                  </a:lnTo>
                  <a:lnTo>
                    <a:pt x="2494687" y="6364925"/>
                  </a:lnTo>
                  <a:lnTo>
                    <a:pt x="2635134" y="6505372"/>
                  </a:lnTo>
                  <a:lnTo>
                    <a:pt x="2625431" y="6515100"/>
                  </a:lnTo>
                  <a:lnTo>
                    <a:pt x="2614938" y="6515100"/>
                  </a:lnTo>
                  <a:lnTo>
                    <a:pt x="2620460" y="6509564"/>
                  </a:lnTo>
                  <a:lnTo>
                    <a:pt x="2357035" y="6509564"/>
                  </a:lnTo>
                  <a:lnTo>
                    <a:pt x="2351521" y="6515100"/>
                  </a:lnTo>
                  <a:lnTo>
                    <a:pt x="2341019" y="6515100"/>
                  </a:lnTo>
                  <a:lnTo>
                    <a:pt x="2350747" y="6505372"/>
                  </a:lnTo>
                  <a:lnTo>
                    <a:pt x="2079636" y="6234960"/>
                  </a:lnTo>
                  <a:lnTo>
                    <a:pt x="1815513" y="6234960"/>
                  </a:lnTo>
                  <a:lnTo>
                    <a:pt x="2086623" y="6505372"/>
                  </a:lnTo>
                  <a:lnTo>
                    <a:pt x="2083829" y="6508166"/>
                  </a:lnTo>
                  <a:lnTo>
                    <a:pt x="2076948" y="6515100"/>
                  </a:lnTo>
                  <a:lnTo>
                    <a:pt x="2067112" y="6515100"/>
                  </a:lnTo>
                  <a:lnTo>
                    <a:pt x="2072648" y="6509564"/>
                  </a:lnTo>
                  <a:lnTo>
                    <a:pt x="1808526" y="6509564"/>
                  </a:lnTo>
                  <a:lnTo>
                    <a:pt x="1803004" y="6515100"/>
                  </a:lnTo>
                  <a:lnTo>
                    <a:pt x="1792532" y="6515100"/>
                  </a:lnTo>
                  <a:lnTo>
                    <a:pt x="1801539" y="6506071"/>
                  </a:lnTo>
                  <a:lnTo>
                    <a:pt x="1796647" y="6501179"/>
                  </a:lnTo>
                  <a:lnTo>
                    <a:pt x="1531127" y="6236358"/>
                  </a:lnTo>
                  <a:lnTo>
                    <a:pt x="1267002" y="6236358"/>
                  </a:lnTo>
                  <a:lnTo>
                    <a:pt x="1267701" y="6237056"/>
                  </a:lnTo>
                  <a:lnTo>
                    <a:pt x="1268400" y="6237056"/>
                  </a:lnTo>
                  <a:lnTo>
                    <a:pt x="1537414" y="6506071"/>
                  </a:lnTo>
                  <a:lnTo>
                    <a:pt x="1528408" y="6515100"/>
                  </a:lnTo>
                  <a:lnTo>
                    <a:pt x="1520000" y="6515100"/>
                  </a:lnTo>
                  <a:lnTo>
                    <a:pt x="1524838" y="6510263"/>
                  </a:lnTo>
                  <a:lnTo>
                    <a:pt x="1260714" y="6510263"/>
                  </a:lnTo>
                  <a:lnTo>
                    <a:pt x="1255889" y="6515100"/>
                  </a:lnTo>
                  <a:lnTo>
                    <a:pt x="1243300" y="6515100"/>
                  </a:lnTo>
                  <a:lnTo>
                    <a:pt x="1252329" y="6506071"/>
                  </a:lnTo>
                  <a:lnTo>
                    <a:pt x="1119569" y="6374009"/>
                  </a:lnTo>
                  <a:lnTo>
                    <a:pt x="981219" y="6235659"/>
                  </a:lnTo>
                  <a:lnTo>
                    <a:pt x="717095" y="6235659"/>
                  </a:lnTo>
                  <a:lnTo>
                    <a:pt x="988206" y="6505372"/>
                  </a:lnTo>
                  <a:lnTo>
                    <a:pt x="985411" y="6508166"/>
                  </a:lnTo>
                  <a:lnTo>
                    <a:pt x="978530" y="6515100"/>
                  </a:lnTo>
                  <a:lnTo>
                    <a:pt x="969394" y="6515100"/>
                  </a:lnTo>
                  <a:lnTo>
                    <a:pt x="974930" y="6509564"/>
                  </a:lnTo>
                  <a:lnTo>
                    <a:pt x="716396" y="6509564"/>
                  </a:lnTo>
                  <a:lnTo>
                    <a:pt x="714941" y="6508865"/>
                  </a:lnTo>
                  <a:lnTo>
                    <a:pt x="716396" y="6508865"/>
                  </a:lnTo>
                  <a:lnTo>
                    <a:pt x="698928" y="6500480"/>
                  </a:lnTo>
                  <a:lnTo>
                    <a:pt x="700271" y="6501824"/>
                  </a:lnTo>
                  <a:lnTo>
                    <a:pt x="698928" y="6501179"/>
                  </a:lnTo>
                  <a:lnTo>
                    <a:pt x="433407" y="6236358"/>
                  </a:lnTo>
                  <a:lnTo>
                    <a:pt x="169284" y="6236358"/>
                  </a:lnTo>
                  <a:lnTo>
                    <a:pt x="170681" y="6237754"/>
                  </a:lnTo>
                  <a:lnTo>
                    <a:pt x="439696" y="6506770"/>
                  </a:lnTo>
                  <a:lnTo>
                    <a:pt x="431344" y="6515100"/>
                  </a:lnTo>
                  <a:lnTo>
                    <a:pt x="420908" y="6515100"/>
                  </a:lnTo>
                  <a:lnTo>
                    <a:pt x="425721" y="6510263"/>
                  </a:lnTo>
                  <a:lnTo>
                    <a:pt x="161597" y="6510263"/>
                  </a:lnTo>
                  <a:lnTo>
                    <a:pt x="156781" y="6515100"/>
                  </a:lnTo>
                  <a:lnTo>
                    <a:pt x="146978" y="6515100"/>
                  </a:lnTo>
                  <a:lnTo>
                    <a:pt x="155309" y="6506770"/>
                  </a:lnTo>
                  <a:lnTo>
                    <a:pt x="21150" y="6373310"/>
                  </a:lnTo>
                  <a:lnTo>
                    <a:pt x="5080" y="6357239"/>
                  </a:lnTo>
                  <a:lnTo>
                    <a:pt x="5080" y="6347457"/>
                  </a:lnTo>
                  <a:lnTo>
                    <a:pt x="24645" y="6367022"/>
                  </a:lnTo>
                  <a:lnTo>
                    <a:pt x="161597" y="6503275"/>
                  </a:lnTo>
                  <a:lnTo>
                    <a:pt x="425721" y="6503275"/>
                  </a:lnTo>
                  <a:lnTo>
                    <a:pt x="154610" y="6232863"/>
                  </a:lnTo>
                  <a:lnTo>
                    <a:pt x="156008" y="6231466"/>
                  </a:lnTo>
                  <a:lnTo>
                    <a:pt x="156706" y="6231466"/>
                  </a:lnTo>
                  <a:lnTo>
                    <a:pt x="425022" y="5962452"/>
                  </a:lnTo>
                  <a:lnTo>
                    <a:pt x="161597" y="5962452"/>
                  </a:lnTo>
                  <a:lnTo>
                    <a:pt x="5080" y="6118969"/>
                  </a:lnTo>
                  <a:lnTo>
                    <a:pt x="5080" y="6108488"/>
                  </a:lnTo>
                  <a:lnTo>
                    <a:pt x="154610" y="5958957"/>
                  </a:lnTo>
                  <a:lnTo>
                    <a:pt x="5080" y="5809427"/>
                  </a:lnTo>
                  <a:lnTo>
                    <a:pt x="5080" y="5798947"/>
                  </a:lnTo>
                  <a:lnTo>
                    <a:pt x="161597" y="5954765"/>
                  </a:lnTo>
                  <a:lnTo>
                    <a:pt x="425022" y="5954765"/>
                  </a:lnTo>
                  <a:lnTo>
                    <a:pt x="295057" y="5824800"/>
                  </a:lnTo>
                  <a:lnTo>
                    <a:pt x="154610" y="5684353"/>
                  </a:lnTo>
                  <a:lnTo>
                    <a:pt x="425022" y="5413941"/>
                  </a:lnTo>
                  <a:lnTo>
                    <a:pt x="160898" y="5413941"/>
                  </a:lnTo>
                  <a:lnTo>
                    <a:pt x="5080" y="5569760"/>
                  </a:lnTo>
                  <a:lnTo>
                    <a:pt x="5080" y="5559279"/>
                  </a:lnTo>
                  <a:lnTo>
                    <a:pt x="153911" y="5410448"/>
                  </a:lnTo>
                  <a:lnTo>
                    <a:pt x="5080" y="5261616"/>
                  </a:lnTo>
                  <a:lnTo>
                    <a:pt x="5080" y="5251135"/>
                  </a:lnTo>
                  <a:lnTo>
                    <a:pt x="160898" y="5406255"/>
                  </a:lnTo>
                  <a:lnTo>
                    <a:pt x="425022" y="5406255"/>
                  </a:lnTo>
                  <a:lnTo>
                    <a:pt x="153911" y="5135843"/>
                  </a:lnTo>
                  <a:lnTo>
                    <a:pt x="338378" y="4951376"/>
                  </a:lnTo>
                  <a:lnTo>
                    <a:pt x="424323" y="4865431"/>
                  </a:lnTo>
                  <a:lnTo>
                    <a:pt x="160200" y="4865431"/>
                  </a:lnTo>
                  <a:lnTo>
                    <a:pt x="5080" y="5020552"/>
                  </a:lnTo>
                  <a:lnTo>
                    <a:pt x="5080" y="5010070"/>
                  </a:lnTo>
                  <a:lnTo>
                    <a:pt x="153212" y="4861239"/>
                  </a:lnTo>
                  <a:lnTo>
                    <a:pt x="148321" y="4856348"/>
                  </a:lnTo>
                  <a:lnTo>
                    <a:pt x="5080" y="4713804"/>
                  </a:lnTo>
                  <a:lnTo>
                    <a:pt x="5080" y="4704023"/>
                  </a:lnTo>
                  <a:lnTo>
                    <a:pt x="160200" y="4858443"/>
                  </a:lnTo>
                  <a:lnTo>
                    <a:pt x="424323" y="4857746"/>
                  </a:lnTo>
                  <a:lnTo>
                    <a:pt x="153212" y="4587334"/>
                  </a:lnTo>
                  <a:lnTo>
                    <a:pt x="423624" y="4316922"/>
                  </a:lnTo>
                  <a:lnTo>
                    <a:pt x="159501" y="4316922"/>
                  </a:lnTo>
                  <a:lnTo>
                    <a:pt x="5080" y="4471342"/>
                  </a:lnTo>
                  <a:lnTo>
                    <a:pt x="5080" y="4460862"/>
                  </a:lnTo>
                  <a:lnTo>
                    <a:pt x="152513" y="4312728"/>
                  </a:lnTo>
                  <a:lnTo>
                    <a:pt x="5080" y="4165993"/>
                  </a:lnTo>
                  <a:lnTo>
                    <a:pt x="5080" y="4155512"/>
                  </a:lnTo>
                  <a:lnTo>
                    <a:pt x="159501" y="4309235"/>
                  </a:lnTo>
                  <a:lnTo>
                    <a:pt x="423624" y="4309235"/>
                  </a:lnTo>
                  <a:lnTo>
                    <a:pt x="152513" y="4039522"/>
                  </a:lnTo>
                  <a:lnTo>
                    <a:pt x="331391" y="3860644"/>
                  </a:lnTo>
                  <a:lnTo>
                    <a:pt x="331489" y="3860644"/>
                  </a:lnTo>
                  <a:lnTo>
                    <a:pt x="422038" y="3769860"/>
                  </a:lnTo>
                  <a:lnTo>
                    <a:pt x="225692" y="3769860"/>
                  </a:lnTo>
                  <a:lnTo>
                    <a:pt x="226391" y="3768464"/>
                  </a:lnTo>
                  <a:lnTo>
                    <a:pt x="158613" y="3768464"/>
                  </a:lnTo>
                  <a:lnTo>
                    <a:pt x="0" y="3927075"/>
                  </a:lnTo>
                  <a:lnTo>
                    <a:pt x="0" y="3917294"/>
                  </a:lnTo>
                  <a:lnTo>
                    <a:pt x="152324" y="3764969"/>
                  </a:lnTo>
                  <a:lnTo>
                    <a:pt x="0" y="3613344"/>
                  </a:lnTo>
                  <a:lnTo>
                    <a:pt x="0" y="3602863"/>
                  </a:lnTo>
                  <a:lnTo>
                    <a:pt x="159312" y="3760776"/>
                  </a:lnTo>
                  <a:lnTo>
                    <a:pt x="423435" y="3760776"/>
                  </a:lnTo>
                  <a:lnTo>
                    <a:pt x="294168" y="3632209"/>
                  </a:lnTo>
                  <a:lnTo>
                    <a:pt x="152324" y="3491064"/>
                  </a:lnTo>
                  <a:lnTo>
                    <a:pt x="336093" y="3305898"/>
                  </a:lnTo>
                  <a:lnTo>
                    <a:pt x="422038" y="3219953"/>
                  </a:lnTo>
                  <a:lnTo>
                    <a:pt x="157914" y="3219953"/>
                  </a:lnTo>
                  <a:lnTo>
                    <a:pt x="0" y="3378566"/>
                  </a:lnTo>
                  <a:lnTo>
                    <a:pt x="0" y="3368084"/>
                  </a:lnTo>
                  <a:lnTo>
                    <a:pt x="152324" y="3216459"/>
                  </a:lnTo>
                  <a:lnTo>
                    <a:pt x="146735" y="3211568"/>
                  </a:lnTo>
                  <a:lnTo>
                    <a:pt x="0" y="3065532"/>
                  </a:lnTo>
                  <a:lnTo>
                    <a:pt x="0" y="3055052"/>
                  </a:lnTo>
                  <a:lnTo>
                    <a:pt x="157914" y="3212966"/>
                  </a:lnTo>
                  <a:lnTo>
                    <a:pt x="422038" y="3212966"/>
                  </a:lnTo>
                  <a:lnTo>
                    <a:pt x="150927" y="2942554"/>
                  </a:lnTo>
                  <a:lnTo>
                    <a:pt x="421339" y="2671443"/>
                  </a:lnTo>
                  <a:lnTo>
                    <a:pt x="157215" y="2671443"/>
                  </a:lnTo>
                  <a:lnTo>
                    <a:pt x="0" y="2829357"/>
                  </a:lnTo>
                  <a:lnTo>
                    <a:pt x="0" y="2818875"/>
                  </a:lnTo>
                  <a:lnTo>
                    <a:pt x="150927" y="2667949"/>
                  </a:lnTo>
                  <a:lnTo>
                    <a:pt x="0" y="2517721"/>
                  </a:lnTo>
                  <a:lnTo>
                    <a:pt x="0" y="2507939"/>
                  </a:lnTo>
                  <a:lnTo>
                    <a:pt x="157914" y="2664456"/>
                  </a:lnTo>
                  <a:lnTo>
                    <a:pt x="422038" y="2664456"/>
                  </a:lnTo>
                  <a:lnTo>
                    <a:pt x="150927" y="2394044"/>
                  </a:lnTo>
                  <a:lnTo>
                    <a:pt x="420640" y="2122933"/>
                  </a:lnTo>
                  <a:lnTo>
                    <a:pt x="156517" y="2122933"/>
                  </a:lnTo>
                  <a:lnTo>
                    <a:pt x="0" y="2280148"/>
                  </a:lnTo>
                  <a:lnTo>
                    <a:pt x="0" y="2269667"/>
                  </a:lnTo>
                  <a:lnTo>
                    <a:pt x="150228" y="2119439"/>
                  </a:lnTo>
                  <a:lnTo>
                    <a:pt x="16070" y="1985980"/>
                  </a:lnTo>
                  <a:lnTo>
                    <a:pt x="0" y="1969909"/>
                  </a:lnTo>
                  <a:lnTo>
                    <a:pt x="0" y="1960127"/>
                  </a:lnTo>
                  <a:lnTo>
                    <a:pt x="19564" y="1979691"/>
                  </a:lnTo>
                  <a:lnTo>
                    <a:pt x="156517" y="2115945"/>
                  </a:lnTo>
                  <a:lnTo>
                    <a:pt x="420640" y="2115945"/>
                  </a:lnTo>
                  <a:lnTo>
                    <a:pt x="149529" y="1845533"/>
                  </a:lnTo>
                  <a:lnTo>
                    <a:pt x="150927" y="1844135"/>
                  </a:lnTo>
                  <a:lnTo>
                    <a:pt x="151626" y="1844135"/>
                  </a:lnTo>
                  <a:lnTo>
                    <a:pt x="419941" y="1575121"/>
                  </a:lnTo>
                  <a:lnTo>
                    <a:pt x="156517" y="1575121"/>
                  </a:lnTo>
                  <a:lnTo>
                    <a:pt x="0" y="1731637"/>
                  </a:lnTo>
                  <a:lnTo>
                    <a:pt x="0" y="1721157"/>
                  </a:lnTo>
                  <a:lnTo>
                    <a:pt x="149529" y="1571627"/>
                  </a:lnTo>
                  <a:lnTo>
                    <a:pt x="0" y="1422098"/>
                  </a:lnTo>
                  <a:lnTo>
                    <a:pt x="0" y="1411617"/>
                  </a:lnTo>
                  <a:lnTo>
                    <a:pt x="156517" y="1567435"/>
                  </a:lnTo>
                  <a:lnTo>
                    <a:pt x="419941" y="1567435"/>
                  </a:lnTo>
                  <a:lnTo>
                    <a:pt x="289976" y="1437470"/>
                  </a:lnTo>
                  <a:lnTo>
                    <a:pt x="149529" y="1297023"/>
                  </a:lnTo>
                  <a:lnTo>
                    <a:pt x="419941" y="1026611"/>
                  </a:lnTo>
                  <a:lnTo>
                    <a:pt x="155818" y="1026611"/>
                  </a:lnTo>
                  <a:lnTo>
                    <a:pt x="0" y="1182428"/>
                  </a:lnTo>
                  <a:lnTo>
                    <a:pt x="0" y="1171948"/>
                  </a:lnTo>
                  <a:lnTo>
                    <a:pt x="148830" y="1023118"/>
                  </a:lnTo>
                  <a:lnTo>
                    <a:pt x="0" y="874286"/>
                  </a:lnTo>
                  <a:lnTo>
                    <a:pt x="0" y="863806"/>
                  </a:lnTo>
                  <a:lnTo>
                    <a:pt x="155818" y="1018924"/>
                  </a:lnTo>
                  <a:lnTo>
                    <a:pt x="419941" y="1018924"/>
                  </a:lnTo>
                  <a:lnTo>
                    <a:pt x="148830" y="748512"/>
                  </a:lnTo>
                  <a:lnTo>
                    <a:pt x="333298" y="564046"/>
                  </a:lnTo>
                  <a:lnTo>
                    <a:pt x="419242" y="478100"/>
                  </a:lnTo>
                  <a:lnTo>
                    <a:pt x="155119" y="478100"/>
                  </a:lnTo>
                  <a:lnTo>
                    <a:pt x="0" y="633220"/>
                  </a:lnTo>
                  <a:lnTo>
                    <a:pt x="0" y="622738"/>
                  </a:lnTo>
                  <a:lnTo>
                    <a:pt x="148131" y="473908"/>
                  </a:lnTo>
                  <a:lnTo>
                    <a:pt x="143240" y="469017"/>
                  </a:lnTo>
                  <a:lnTo>
                    <a:pt x="0" y="326475"/>
                  </a:lnTo>
                  <a:lnTo>
                    <a:pt x="0" y="316693"/>
                  </a:lnTo>
                  <a:lnTo>
                    <a:pt x="155119" y="471113"/>
                  </a:lnTo>
                  <a:lnTo>
                    <a:pt x="419242" y="470415"/>
                  </a:lnTo>
                  <a:lnTo>
                    <a:pt x="148131" y="200003"/>
                  </a:lnTo>
                  <a:close/>
                  <a:moveTo>
                    <a:pt x="73183" y="0"/>
                  </a:moveTo>
                  <a:lnTo>
                    <a:pt x="84011" y="0"/>
                  </a:lnTo>
                  <a:lnTo>
                    <a:pt x="0" y="84011"/>
                  </a:lnTo>
                  <a:lnTo>
                    <a:pt x="0" y="7353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48" name="Rectangle 47">
              <a:extLst>
                <a:ext uri="{FF2B5EF4-FFF2-40B4-BE49-F238E27FC236}">
                  <a16:creationId xmlns:a16="http://schemas.microsoft.com/office/drawing/2014/main" id="{D3E491C1-2A10-4D23-AA47-35BCE699C6A2}"/>
                </a:ext>
              </a:extLst>
            </p:cNvPr>
            <p:cNvSpPr/>
            <p:nvPr/>
          </p:nvSpPr>
          <p:spPr>
            <a:xfrm>
              <a:off x="1846833" y="0"/>
              <a:ext cx="4829175" cy="6515100"/>
            </a:xfrm>
            <a:prstGeom prst="rect">
              <a:avLst/>
            </a:prstGeom>
            <a:gradFill flip="none" rotWithShape="1">
              <a:gsLst>
                <a:gs pos="7000">
                  <a:schemeClr val="bg1"/>
                </a:gs>
                <a:gs pos="100000">
                  <a:schemeClr val="bg1">
                    <a:shade val="100000"/>
                    <a:satMod val="115000"/>
                    <a:alpha val="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0000"/>
                </a:solidFill>
              </a:endParaRPr>
            </a:p>
          </p:txBody>
        </p:sp>
      </p:grpSp>
      <p:sp>
        <p:nvSpPr>
          <p:cNvPr id="12" name="Rectangle 11" hidden="1">
            <a:extLst>
              <a:ext uri="{FF2B5EF4-FFF2-40B4-BE49-F238E27FC236}">
                <a16:creationId xmlns:a16="http://schemas.microsoft.com/office/drawing/2014/main" id="{973AAAEC-9F7B-4DD5-AEA0-3F8785B5D5C3}"/>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2" name="Picture Placeholder 10">
            <a:extLst>
              <a:ext uri="{FF2B5EF4-FFF2-40B4-BE49-F238E27FC236}">
                <a16:creationId xmlns:a16="http://schemas.microsoft.com/office/drawing/2014/main" id="{F14320BE-7859-4F4C-BBE7-0F4AC7F100A8}"/>
              </a:ext>
            </a:extLst>
          </p:cNvPr>
          <p:cNvSpPr>
            <a:spLocks noGrp="1"/>
          </p:cNvSpPr>
          <p:nvPr>
            <p:ph type="pic" sz="quarter" idx="10" hasCustomPrompt="1"/>
          </p:nvPr>
        </p:nvSpPr>
        <p:spPr>
          <a:xfrm>
            <a:off x="609601" y="1323044"/>
            <a:ext cx="685800" cy="914400"/>
          </a:xfrm>
          <a:solidFill>
            <a:schemeClr val="bg1"/>
          </a:solidFill>
          <a:effectLst>
            <a:outerShdw dist="76200" dir="2700000" algn="tl" rotWithShape="0">
              <a:schemeClr val="tx2">
                <a:lumMod val="60000"/>
                <a:lumOff val="40000"/>
              </a:schemeClr>
            </a:outerShdw>
          </a:effectLst>
        </p:spPr>
        <p:txBody>
          <a:bodyPr anchor="ctr"/>
          <a:lstStyle>
            <a:lvl1pPr marL="0" indent="0" algn="ctr">
              <a:buFont typeface="Arial" panose="020B0604020202020204" pitchFamily="34" charset="0"/>
              <a:buNone/>
              <a:defRPr sz="1400">
                <a:solidFill>
                  <a:schemeClr val="bg1"/>
                </a:solidFill>
              </a:defRPr>
            </a:lvl1pPr>
          </a:lstStyle>
          <a:p>
            <a:r>
              <a:rPr lang="en-US" dirty="0"/>
              <a:t>Click to insert pic</a:t>
            </a:r>
          </a:p>
        </p:txBody>
      </p:sp>
      <p:sp>
        <p:nvSpPr>
          <p:cNvPr id="23" name="Picture Placeholder 10">
            <a:extLst>
              <a:ext uri="{FF2B5EF4-FFF2-40B4-BE49-F238E27FC236}">
                <a16:creationId xmlns:a16="http://schemas.microsoft.com/office/drawing/2014/main" id="{3CAE88BC-331D-4E6C-AFCB-2DDD06BBC165}"/>
              </a:ext>
            </a:extLst>
          </p:cNvPr>
          <p:cNvSpPr>
            <a:spLocks noGrp="1"/>
          </p:cNvSpPr>
          <p:nvPr>
            <p:ph type="pic" sz="quarter" idx="11" hasCustomPrompt="1"/>
          </p:nvPr>
        </p:nvSpPr>
        <p:spPr>
          <a:xfrm>
            <a:off x="609601" y="2610945"/>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24" name="Picture Placeholder 10">
            <a:extLst>
              <a:ext uri="{FF2B5EF4-FFF2-40B4-BE49-F238E27FC236}">
                <a16:creationId xmlns:a16="http://schemas.microsoft.com/office/drawing/2014/main" id="{5B4D3486-AC55-4EB1-8096-BD2C753C316F}"/>
              </a:ext>
            </a:extLst>
          </p:cNvPr>
          <p:cNvSpPr>
            <a:spLocks noGrp="1"/>
          </p:cNvSpPr>
          <p:nvPr>
            <p:ph type="pic" sz="quarter" idx="12" hasCustomPrompt="1"/>
          </p:nvPr>
        </p:nvSpPr>
        <p:spPr>
          <a:xfrm>
            <a:off x="609601" y="3898846"/>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25" name="Picture Placeholder 10">
            <a:extLst>
              <a:ext uri="{FF2B5EF4-FFF2-40B4-BE49-F238E27FC236}">
                <a16:creationId xmlns:a16="http://schemas.microsoft.com/office/drawing/2014/main" id="{D9CA1906-117D-42D2-AC1F-353CB4661082}"/>
              </a:ext>
            </a:extLst>
          </p:cNvPr>
          <p:cNvSpPr>
            <a:spLocks noGrp="1"/>
          </p:cNvSpPr>
          <p:nvPr>
            <p:ph type="pic" sz="quarter" idx="13" hasCustomPrompt="1"/>
          </p:nvPr>
        </p:nvSpPr>
        <p:spPr>
          <a:xfrm>
            <a:off x="609601" y="5186747"/>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10" name="Title 9">
            <a:extLst>
              <a:ext uri="{FF2B5EF4-FFF2-40B4-BE49-F238E27FC236}">
                <a16:creationId xmlns:a16="http://schemas.microsoft.com/office/drawing/2014/main" id="{1E52470F-8620-434E-B590-9ED41A1B426F}"/>
              </a:ext>
            </a:extLst>
          </p:cNvPr>
          <p:cNvSpPr>
            <a:spLocks noGrp="1"/>
          </p:cNvSpPr>
          <p:nvPr>
            <p:ph type="title"/>
          </p:nvPr>
        </p:nvSpPr>
        <p:spPr>
          <a:xfrm>
            <a:off x="609602" y="12035"/>
            <a:ext cx="8946033" cy="769215"/>
          </a:xfrm>
        </p:spPr>
        <p:txBody>
          <a:bodyPr vert="horz"/>
          <a:lstStyle/>
          <a:p>
            <a:r>
              <a:rPr lang="en-US" dirty="0"/>
              <a:t>Click to edit Master title style</a:t>
            </a:r>
          </a:p>
        </p:txBody>
      </p:sp>
      <p:sp>
        <p:nvSpPr>
          <p:cNvPr id="36" name="Picture Placeholder 10">
            <a:extLst>
              <a:ext uri="{FF2B5EF4-FFF2-40B4-BE49-F238E27FC236}">
                <a16:creationId xmlns:a16="http://schemas.microsoft.com/office/drawing/2014/main" id="{B1A25632-D6B2-419A-BF7D-F22B570BBC9D}"/>
              </a:ext>
            </a:extLst>
          </p:cNvPr>
          <p:cNvSpPr>
            <a:spLocks noGrp="1"/>
          </p:cNvSpPr>
          <p:nvPr>
            <p:ph type="pic" sz="quarter" idx="14" hasCustomPrompt="1"/>
          </p:nvPr>
        </p:nvSpPr>
        <p:spPr>
          <a:xfrm>
            <a:off x="3591612" y="1323044"/>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37" name="Picture Placeholder 10">
            <a:extLst>
              <a:ext uri="{FF2B5EF4-FFF2-40B4-BE49-F238E27FC236}">
                <a16:creationId xmlns:a16="http://schemas.microsoft.com/office/drawing/2014/main" id="{C9F144ED-2CBE-4C7B-A9DA-4755DA1FC8DA}"/>
              </a:ext>
            </a:extLst>
          </p:cNvPr>
          <p:cNvSpPr>
            <a:spLocks noGrp="1"/>
          </p:cNvSpPr>
          <p:nvPr>
            <p:ph type="pic" sz="quarter" idx="15" hasCustomPrompt="1"/>
          </p:nvPr>
        </p:nvSpPr>
        <p:spPr>
          <a:xfrm>
            <a:off x="3591612" y="2610945"/>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38" name="Picture Placeholder 10">
            <a:extLst>
              <a:ext uri="{FF2B5EF4-FFF2-40B4-BE49-F238E27FC236}">
                <a16:creationId xmlns:a16="http://schemas.microsoft.com/office/drawing/2014/main" id="{31308774-E22F-4C23-BF30-F8131490AF49}"/>
              </a:ext>
            </a:extLst>
          </p:cNvPr>
          <p:cNvSpPr>
            <a:spLocks noGrp="1"/>
          </p:cNvSpPr>
          <p:nvPr>
            <p:ph type="pic" sz="quarter" idx="16" hasCustomPrompt="1"/>
          </p:nvPr>
        </p:nvSpPr>
        <p:spPr>
          <a:xfrm>
            <a:off x="3591612" y="3898846"/>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39" name="Picture Placeholder 10">
            <a:extLst>
              <a:ext uri="{FF2B5EF4-FFF2-40B4-BE49-F238E27FC236}">
                <a16:creationId xmlns:a16="http://schemas.microsoft.com/office/drawing/2014/main" id="{5C1D7FE9-1446-4DCA-8EE4-F77FE6B65EBA}"/>
              </a:ext>
            </a:extLst>
          </p:cNvPr>
          <p:cNvSpPr>
            <a:spLocks noGrp="1"/>
          </p:cNvSpPr>
          <p:nvPr>
            <p:ph type="pic" sz="quarter" idx="17" hasCustomPrompt="1"/>
          </p:nvPr>
        </p:nvSpPr>
        <p:spPr>
          <a:xfrm>
            <a:off x="3591612" y="5186747"/>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4" name="Picture Placeholder 10">
            <a:extLst>
              <a:ext uri="{FF2B5EF4-FFF2-40B4-BE49-F238E27FC236}">
                <a16:creationId xmlns:a16="http://schemas.microsoft.com/office/drawing/2014/main" id="{55F41F64-1DB6-4516-8BA9-3F703F96FEFD}"/>
              </a:ext>
            </a:extLst>
          </p:cNvPr>
          <p:cNvSpPr>
            <a:spLocks noGrp="1"/>
          </p:cNvSpPr>
          <p:nvPr>
            <p:ph type="pic" sz="quarter" idx="18" hasCustomPrompt="1"/>
          </p:nvPr>
        </p:nvSpPr>
        <p:spPr>
          <a:xfrm>
            <a:off x="6573623" y="1323044"/>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5" name="Picture Placeholder 10">
            <a:extLst>
              <a:ext uri="{FF2B5EF4-FFF2-40B4-BE49-F238E27FC236}">
                <a16:creationId xmlns:a16="http://schemas.microsoft.com/office/drawing/2014/main" id="{8762B3C8-59D5-4751-98FD-C03A4FAB4D47}"/>
              </a:ext>
            </a:extLst>
          </p:cNvPr>
          <p:cNvSpPr>
            <a:spLocks noGrp="1"/>
          </p:cNvSpPr>
          <p:nvPr>
            <p:ph type="pic" sz="quarter" idx="19" hasCustomPrompt="1"/>
          </p:nvPr>
        </p:nvSpPr>
        <p:spPr>
          <a:xfrm>
            <a:off x="6573623" y="2610945"/>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6" name="Picture Placeholder 10">
            <a:extLst>
              <a:ext uri="{FF2B5EF4-FFF2-40B4-BE49-F238E27FC236}">
                <a16:creationId xmlns:a16="http://schemas.microsoft.com/office/drawing/2014/main" id="{4192F5A5-81A9-41FA-A509-D6EC39063B37}"/>
              </a:ext>
            </a:extLst>
          </p:cNvPr>
          <p:cNvSpPr>
            <a:spLocks noGrp="1"/>
          </p:cNvSpPr>
          <p:nvPr>
            <p:ph type="pic" sz="quarter" idx="20" hasCustomPrompt="1"/>
          </p:nvPr>
        </p:nvSpPr>
        <p:spPr>
          <a:xfrm>
            <a:off x="6573623" y="3898846"/>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7" name="Picture Placeholder 10">
            <a:extLst>
              <a:ext uri="{FF2B5EF4-FFF2-40B4-BE49-F238E27FC236}">
                <a16:creationId xmlns:a16="http://schemas.microsoft.com/office/drawing/2014/main" id="{7C54DD85-A1A8-4123-A60A-9A396E762B46}"/>
              </a:ext>
            </a:extLst>
          </p:cNvPr>
          <p:cNvSpPr>
            <a:spLocks noGrp="1"/>
          </p:cNvSpPr>
          <p:nvPr>
            <p:ph type="pic" sz="quarter" idx="21" hasCustomPrompt="1"/>
          </p:nvPr>
        </p:nvSpPr>
        <p:spPr>
          <a:xfrm>
            <a:off x="6573623" y="5186747"/>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9" name="Picture Placeholder 10">
            <a:extLst>
              <a:ext uri="{FF2B5EF4-FFF2-40B4-BE49-F238E27FC236}">
                <a16:creationId xmlns:a16="http://schemas.microsoft.com/office/drawing/2014/main" id="{E2A7E878-049A-4790-B01D-F86066842F86}"/>
              </a:ext>
            </a:extLst>
          </p:cNvPr>
          <p:cNvSpPr>
            <a:spLocks noGrp="1"/>
          </p:cNvSpPr>
          <p:nvPr>
            <p:ph type="pic" sz="quarter" idx="22" hasCustomPrompt="1"/>
          </p:nvPr>
        </p:nvSpPr>
        <p:spPr>
          <a:xfrm>
            <a:off x="9555635" y="1323044"/>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50" name="Picture Placeholder 10">
            <a:extLst>
              <a:ext uri="{FF2B5EF4-FFF2-40B4-BE49-F238E27FC236}">
                <a16:creationId xmlns:a16="http://schemas.microsoft.com/office/drawing/2014/main" id="{F6AE2336-3CE9-434E-9B3B-71D21278A280}"/>
              </a:ext>
            </a:extLst>
          </p:cNvPr>
          <p:cNvSpPr>
            <a:spLocks noGrp="1"/>
          </p:cNvSpPr>
          <p:nvPr>
            <p:ph type="pic" sz="quarter" idx="23" hasCustomPrompt="1"/>
          </p:nvPr>
        </p:nvSpPr>
        <p:spPr>
          <a:xfrm>
            <a:off x="9555635" y="2610945"/>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51" name="Picture Placeholder 10">
            <a:extLst>
              <a:ext uri="{FF2B5EF4-FFF2-40B4-BE49-F238E27FC236}">
                <a16:creationId xmlns:a16="http://schemas.microsoft.com/office/drawing/2014/main" id="{3A9E8B7E-E88A-4EB4-B558-385B58F4743C}"/>
              </a:ext>
            </a:extLst>
          </p:cNvPr>
          <p:cNvSpPr>
            <a:spLocks noGrp="1"/>
          </p:cNvSpPr>
          <p:nvPr>
            <p:ph type="pic" sz="quarter" idx="24" hasCustomPrompt="1"/>
          </p:nvPr>
        </p:nvSpPr>
        <p:spPr>
          <a:xfrm>
            <a:off x="9555635" y="3898846"/>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52" name="Picture Placeholder 10">
            <a:extLst>
              <a:ext uri="{FF2B5EF4-FFF2-40B4-BE49-F238E27FC236}">
                <a16:creationId xmlns:a16="http://schemas.microsoft.com/office/drawing/2014/main" id="{21803631-E6D1-4B58-8955-6FC040D0A472}"/>
              </a:ext>
            </a:extLst>
          </p:cNvPr>
          <p:cNvSpPr>
            <a:spLocks noGrp="1"/>
          </p:cNvSpPr>
          <p:nvPr>
            <p:ph type="pic" sz="quarter" idx="25" hasCustomPrompt="1"/>
          </p:nvPr>
        </p:nvSpPr>
        <p:spPr>
          <a:xfrm>
            <a:off x="9555635" y="5186747"/>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Tree>
    <p:extLst>
      <p:ext uri="{BB962C8B-B14F-4D97-AF65-F5344CB8AC3E}">
        <p14:creationId xmlns:p14="http://schemas.microsoft.com/office/powerpoint/2010/main" val="2486249101"/>
      </p:ext>
    </p:extLst>
  </p:cSld>
  <p:clrMapOvr>
    <a:masterClrMapping/>
  </p:clrMapOvr>
  <p:extLst>
    <p:ext uri="{DCECCB84-F9BA-43D5-87BE-67443E8EF086}">
      <p15:sldGuideLst xmlns:p15="http://schemas.microsoft.com/office/powerpoint/2012/main">
        <p15:guide id="3" orient="horz" pos="2160">
          <p15:clr>
            <a:srgbClr val="FBAE40"/>
          </p15:clr>
        </p15:guide>
        <p15:guide id="4" pos="732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6_Introductions 8up">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2581065000"/>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54704A3-041F-48C7-A3A4-4799E1771912}"/>
              </a:ext>
            </a:extLst>
          </p:cNvPr>
          <p:cNvSpPr/>
          <p:nvPr userDrawn="1"/>
        </p:nvSpPr>
        <p:spPr>
          <a:xfrm>
            <a:off x="9335730" y="-1"/>
            <a:ext cx="2856271" cy="65105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30" name="Group 29">
            <a:extLst>
              <a:ext uri="{FF2B5EF4-FFF2-40B4-BE49-F238E27FC236}">
                <a16:creationId xmlns:a16="http://schemas.microsoft.com/office/drawing/2014/main" id="{C387E408-6B3E-4AD1-80E5-3AD5AA76B2E0}"/>
              </a:ext>
            </a:extLst>
          </p:cNvPr>
          <p:cNvGrpSpPr/>
          <p:nvPr userDrawn="1"/>
        </p:nvGrpSpPr>
        <p:grpSpPr>
          <a:xfrm>
            <a:off x="0" y="42672"/>
            <a:ext cx="6676008" cy="6457188"/>
            <a:chOff x="0" y="0"/>
            <a:chExt cx="6676008" cy="6515100"/>
          </a:xfrm>
        </p:grpSpPr>
        <p:sp>
          <p:nvSpPr>
            <p:cNvPr id="31" name="Freeform: Shape 30">
              <a:extLst>
                <a:ext uri="{FF2B5EF4-FFF2-40B4-BE49-F238E27FC236}">
                  <a16:creationId xmlns:a16="http://schemas.microsoft.com/office/drawing/2014/main" id="{9FC786FB-6EA8-44F9-937E-B72B8FD05680}"/>
                </a:ext>
              </a:extLst>
            </p:cNvPr>
            <p:cNvSpPr/>
            <p:nvPr/>
          </p:nvSpPr>
          <p:spPr>
            <a:xfrm>
              <a:off x="0" y="0"/>
              <a:ext cx="4829175" cy="6515100"/>
            </a:xfrm>
            <a:custGeom>
              <a:avLst/>
              <a:gdLst>
                <a:gd name="connsiteX0" fmla="*/ 700271 w 4829175"/>
                <a:gd name="connsiteY0" fmla="*/ 6501824 h 6515100"/>
                <a:gd name="connsiteX1" fmla="*/ 714941 w 4829175"/>
                <a:gd name="connsiteY1" fmla="*/ 6508865 h 6515100"/>
                <a:gd name="connsiteX2" fmla="*/ 710807 w 4829175"/>
                <a:gd name="connsiteY2" fmla="*/ 6508865 h 6515100"/>
                <a:gd name="connsiteX3" fmla="*/ 704588 w 4829175"/>
                <a:gd name="connsiteY3" fmla="*/ 6515100 h 6515100"/>
                <a:gd name="connsiteX4" fmla="*/ 694116 w 4829175"/>
                <a:gd name="connsiteY4" fmla="*/ 6515100 h 6515100"/>
                <a:gd name="connsiteX5" fmla="*/ 703819 w 4829175"/>
                <a:gd name="connsiteY5" fmla="*/ 6505372 h 6515100"/>
                <a:gd name="connsiteX6" fmla="*/ 710108 w 4829175"/>
                <a:gd name="connsiteY6" fmla="*/ 5961753 h 6515100"/>
                <a:gd name="connsiteX7" fmla="*/ 439696 w 4829175"/>
                <a:gd name="connsiteY7" fmla="*/ 6232863 h 6515100"/>
                <a:gd name="connsiteX8" fmla="*/ 710807 w 4829175"/>
                <a:gd name="connsiteY8" fmla="*/ 6503275 h 6515100"/>
                <a:gd name="connsiteX9" fmla="*/ 974930 w 4829175"/>
                <a:gd name="connsiteY9" fmla="*/ 6503275 h 6515100"/>
                <a:gd name="connsiteX10" fmla="*/ 703819 w 4829175"/>
                <a:gd name="connsiteY10" fmla="*/ 6232863 h 6515100"/>
                <a:gd name="connsiteX11" fmla="*/ 974231 w 4829175"/>
                <a:gd name="connsiteY11" fmla="*/ 5961753 h 6515100"/>
                <a:gd name="connsiteX12" fmla="*/ 1807827 w 4829175"/>
                <a:gd name="connsiteY12" fmla="*/ 5961054 h 6515100"/>
                <a:gd name="connsiteX13" fmla="*/ 1537414 w 4829175"/>
                <a:gd name="connsiteY13" fmla="*/ 6232165 h 6515100"/>
                <a:gd name="connsiteX14" fmla="*/ 1808526 w 4829175"/>
                <a:gd name="connsiteY14" fmla="*/ 6502577 h 6515100"/>
                <a:gd name="connsiteX15" fmla="*/ 2072648 w 4829175"/>
                <a:gd name="connsiteY15" fmla="*/ 6502577 h 6515100"/>
                <a:gd name="connsiteX16" fmla="*/ 1801539 w 4829175"/>
                <a:gd name="connsiteY16" fmla="*/ 6232165 h 6515100"/>
                <a:gd name="connsiteX17" fmla="*/ 2071951 w 4829175"/>
                <a:gd name="connsiteY17" fmla="*/ 5961054 h 6515100"/>
                <a:gd name="connsiteX18" fmla="*/ 1257919 w 4829175"/>
                <a:gd name="connsiteY18" fmla="*/ 5961054 h 6515100"/>
                <a:gd name="connsiteX19" fmla="*/ 988206 w 4829175"/>
                <a:gd name="connsiteY19" fmla="*/ 6232165 h 6515100"/>
                <a:gd name="connsiteX20" fmla="*/ 1188744 w 4829175"/>
                <a:gd name="connsiteY20" fmla="*/ 6432703 h 6515100"/>
                <a:gd name="connsiteX21" fmla="*/ 1259317 w 4829175"/>
                <a:gd name="connsiteY21" fmla="*/ 6502577 h 6515100"/>
                <a:gd name="connsiteX22" fmla="*/ 1327793 w 4829175"/>
                <a:gd name="connsiteY22" fmla="*/ 6502577 h 6515100"/>
                <a:gd name="connsiteX23" fmla="*/ 1327094 w 4829175"/>
                <a:gd name="connsiteY23" fmla="*/ 6503974 h 6515100"/>
                <a:gd name="connsiteX24" fmla="*/ 1524139 w 4829175"/>
                <a:gd name="connsiteY24" fmla="*/ 6503974 h 6515100"/>
                <a:gd name="connsiteX25" fmla="*/ 1253028 w 4829175"/>
                <a:gd name="connsiteY25" fmla="*/ 6233562 h 6515100"/>
                <a:gd name="connsiteX26" fmla="*/ 1253727 w 4829175"/>
                <a:gd name="connsiteY26" fmla="*/ 6232863 h 6515100"/>
                <a:gd name="connsiteX27" fmla="*/ 1251631 w 4829175"/>
                <a:gd name="connsiteY27" fmla="*/ 6232165 h 6515100"/>
                <a:gd name="connsiteX28" fmla="*/ 1522043 w 4829175"/>
                <a:gd name="connsiteY28" fmla="*/ 5961054 h 6515100"/>
                <a:gd name="connsiteX29" fmla="*/ 2904847 w 4829175"/>
                <a:gd name="connsiteY29" fmla="*/ 5960355 h 6515100"/>
                <a:gd name="connsiteX30" fmla="*/ 2634435 w 4829175"/>
                <a:gd name="connsiteY30" fmla="*/ 6231466 h 6515100"/>
                <a:gd name="connsiteX31" fmla="*/ 2905546 w 4829175"/>
                <a:gd name="connsiteY31" fmla="*/ 6501878 h 6515100"/>
                <a:gd name="connsiteX32" fmla="*/ 3169669 w 4829175"/>
                <a:gd name="connsiteY32" fmla="*/ 6501878 h 6515100"/>
                <a:gd name="connsiteX33" fmla="*/ 2898558 w 4829175"/>
                <a:gd name="connsiteY33" fmla="*/ 6231466 h 6515100"/>
                <a:gd name="connsiteX34" fmla="*/ 3168970 w 4829175"/>
                <a:gd name="connsiteY34" fmla="*/ 5960355 h 6515100"/>
                <a:gd name="connsiteX35" fmla="*/ 2356338 w 4829175"/>
                <a:gd name="connsiteY35" fmla="*/ 5960355 h 6515100"/>
                <a:gd name="connsiteX36" fmla="*/ 2085925 w 4829175"/>
                <a:gd name="connsiteY36" fmla="*/ 6231466 h 6515100"/>
                <a:gd name="connsiteX37" fmla="*/ 2357035 w 4829175"/>
                <a:gd name="connsiteY37" fmla="*/ 6501878 h 6515100"/>
                <a:gd name="connsiteX38" fmla="*/ 2620460 w 4829175"/>
                <a:gd name="connsiteY38" fmla="*/ 6501878 h 6515100"/>
                <a:gd name="connsiteX39" fmla="*/ 2490495 w 4829175"/>
                <a:gd name="connsiteY39" fmla="*/ 6371913 h 6515100"/>
                <a:gd name="connsiteX40" fmla="*/ 2350049 w 4829175"/>
                <a:gd name="connsiteY40" fmla="*/ 6231466 h 6515100"/>
                <a:gd name="connsiteX41" fmla="*/ 2620460 w 4829175"/>
                <a:gd name="connsiteY41" fmla="*/ 5960355 h 6515100"/>
                <a:gd name="connsiteX42" fmla="*/ 3453357 w 4829175"/>
                <a:gd name="connsiteY42" fmla="*/ 5959656 h 6515100"/>
                <a:gd name="connsiteX43" fmla="*/ 3182945 w 4829175"/>
                <a:gd name="connsiteY43" fmla="*/ 6230767 h 6515100"/>
                <a:gd name="connsiteX44" fmla="*/ 3454056 w 4829175"/>
                <a:gd name="connsiteY44" fmla="*/ 6500480 h 6515100"/>
                <a:gd name="connsiteX45" fmla="*/ 3718179 w 4829175"/>
                <a:gd name="connsiteY45" fmla="*/ 6500480 h 6515100"/>
                <a:gd name="connsiteX46" fmla="*/ 3447069 w 4829175"/>
                <a:gd name="connsiteY46" fmla="*/ 6230069 h 6515100"/>
                <a:gd name="connsiteX47" fmla="*/ 3631536 w 4829175"/>
                <a:gd name="connsiteY47" fmla="*/ 6045602 h 6515100"/>
                <a:gd name="connsiteX48" fmla="*/ 3717481 w 4829175"/>
                <a:gd name="connsiteY48" fmla="*/ 5959656 h 6515100"/>
                <a:gd name="connsiteX49" fmla="*/ 4550378 w 4829175"/>
                <a:gd name="connsiteY49" fmla="*/ 5958259 h 6515100"/>
                <a:gd name="connsiteX50" fmla="*/ 4279966 w 4829175"/>
                <a:gd name="connsiteY50" fmla="*/ 6229370 h 6515100"/>
                <a:gd name="connsiteX51" fmla="*/ 4551077 w 4829175"/>
                <a:gd name="connsiteY51" fmla="*/ 6499083 h 6515100"/>
                <a:gd name="connsiteX52" fmla="*/ 4815200 w 4829175"/>
                <a:gd name="connsiteY52" fmla="*/ 6499083 h 6515100"/>
                <a:gd name="connsiteX53" fmla="*/ 4544089 w 4829175"/>
                <a:gd name="connsiteY53" fmla="*/ 6228671 h 6515100"/>
                <a:gd name="connsiteX54" fmla="*/ 4814501 w 4829175"/>
                <a:gd name="connsiteY54" fmla="*/ 5958259 h 6515100"/>
                <a:gd name="connsiteX55" fmla="*/ 169284 w 4829175"/>
                <a:gd name="connsiteY55" fmla="*/ 5687847 h 6515100"/>
                <a:gd name="connsiteX56" fmla="*/ 299249 w 4829175"/>
                <a:gd name="connsiteY56" fmla="*/ 5817813 h 6515100"/>
                <a:gd name="connsiteX57" fmla="*/ 439696 w 4829175"/>
                <a:gd name="connsiteY57" fmla="*/ 5958259 h 6515100"/>
                <a:gd name="connsiteX58" fmla="*/ 169284 w 4829175"/>
                <a:gd name="connsiteY58" fmla="*/ 6229370 h 6515100"/>
                <a:gd name="connsiteX59" fmla="*/ 433407 w 4829175"/>
                <a:gd name="connsiteY59" fmla="*/ 6229370 h 6515100"/>
                <a:gd name="connsiteX60" fmla="*/ 703819 w 4829175"/>
                <a:gd name="connsiteY60" fmla="*/ 5958259 h 6515100"/>
                <a:gd name="connsiteX61" fmla="*/ 432708 w 4829175"/>
                <a:gd name="connsiteY61" fmla="*/ 5687847 h 6515100"/>
                <a:gd name="connsiteX62" fmla="*/ 1814814 w 4829175"/>
                <a:gd name="connsiteY62" fmla="*/ 5687149 h 6515100"/>
                <a:gd name="connsiteX63" fmla="*/ 2085925 w 4829175"/>
                <a:gd name="connsiteY63" fmla="*/ 5957561 h 6515100"/>
                <a:gd name="connsiteX64" fmla="*/ 1815513 w 4829175"/>
                <a:gd name="connsiteY64" fmla="*/ 6227973 h 6515100"/>
                <a:gd name="connsiteX65" fmla="*/ 2079636 w 4829175"/>
                <a:gd name="connsiteY65" fmla="*/ 6227973 h 6515100"/>
                <a:gd name="connsiteX66" fmla="*/ 2350049 w 4829175"/>
                <a:gd name="connsiteY66" fmla="*/ 5957561 h 6515100"/>
                <a:gd name="connsiteX67" fmla="*/ 2078937 w 4829175"/>
                <a:gd name="connsiteY67" fmla="*/ 5687149 h 6515100"/>
                <a:gd name="connsiteX68" fmla="*/ 717095 w 4829175"/>
                <a:gd name="connsiteY68" fmla="*/ 5687149 h 6515100"/>
                <a:gd name="connsiteX69" fmla="*/ 988206 w 4829175"/>
                <a:gd name="connsiteY69" fmla="*/ 5957561 h 6515100"/>
                <a:gd name="connsiteX70" fmla="*/ 717794 w 4829175"/>
                <a:gd name="connsiteY70" fmla="*/ 6228671 h 6515100"/>
                <a:gd name="connsiteX71" fmla="*/ 981917 w 4829175"/>
                <a:gd name="connsiteY71" fmla="*/ 6228671 h 6515100"/>
                <a:gd name="connsiteX72" fmla="*/ 1252329 w 4829175"/>
                <a:gd name="connsiteY72" fmla="*/ 5957561 h 6515100"/>
                <a:gd name="connsiteX73" fmla="*/ 981219 w 4829175"/>
                <a:gd name="connsiteY73" fmla="*/ 5687149 h 6515100"/>
                <a:gd name="connsiteX74" fmla="*/ 2363324 w 4829175"/>
                <a:gd name="connsiteY74" fmla="*/ 5686450 h 6515100"/>
                <a:gd name="connsiteX75" fmla="*/ 2634435 w 4829175"/>
                <a:gd name="connsiteY75" fmla="*/ 5956862 h 6515100"/>
                <a:gd name="connsiteX76" fmla="*/ 2364722 w 4829175"/>
                <a:gd name="connsiteY76" fmla="*/ 6227973 h 6515100"/>
                <a:gd name="connsiteX77" fmla="*/ 2628146 w 4829175"/>
                <a:gd name="connsiteY77" fmla="*/ 6227973 h 6515100"/>
                <a:gd name="connsiteX78" fmla="*/ 2898558 w 4829175"/>
                <a:gd name="connsiteY78" fmla="*/ 5956862 h 6515100"/>
                <a:gd name="connsiteX79" fmla="*/ 2764401 w 4829175"/>
                <a:gd name="connsiteY79" fmla="*/ 5823402 h 6515100"/>
                <a:gd name="connsiteX80" fmla="*/ 2627447 w 4829175"/>
                <a:gd name="connsiteY80" fmla="*/ 5686450 h 6515100"/>
                <a:gd name="connsiteX81" fmla="*/ 2911834 w 4829175"/>
                <a:gd name="connsiteY81" fmla="*/ 5685751 h 6515100"/>
                <a:gd name="connsiteX82" fmla="*/ 2913232 w 4829175"/>
                <a:gd name="connsiteY82" fmla="*/ 5687149 h 6515100"/>
                <a:gd name="connsiteX83" fmla="*/ 3182945 w 4829175"/>
                <a:gd name="connsiteY83" fmla="*/ 5956163 h 6515100"/>
                <a:gd name="connsiteX84" fmla="*/ 2912533 w 4829175"/>
                <a:gd name="connsiteY84" fmla="*/ 6226575 h 6515100"/>
                <a:gd name="connsiteX85" fmla="*/ 3176657 w 4829175"/>
                <a:gd name="connsiteY85" fmla="*/ 6226575 h 6515100"/>
                <a:gd name="connsiteX86" fmla="*/ 3447069 w 4829175"/>
                <a:gd name="connsiteY86" fmla="*/ 5956163 h 6515100"/>
                <a:gd name="connsiteX87" fmla="*/ 3441479 w 4829175"/>
                <a:gd name="connsiteY87" fmla="*/ 5951272 h 6515100"/>
                <a:gd name="connsiteX88" fmla="*/ 3175958 w 4829175"/>
                <a:gd name="connsiteY88" fmla="*/ 5685751 h 6515100"/>
                <a:gd name="connsiteX89" fmla="*/ 1530428 w 4829175"/>
                <a:gd name="connsiteY89" fmla="*/ 5685751 h 6515100"/>
                <a:gd name="connsiteX90" fmla="*/ 1529030 w 4829175"/>
                <a:gd name="connsiteY90" fmla="*/ 5686450 h 6515100"/>
                <a:gd name="connsiteX91" fmla="*/ 1264907 w 4829175"/>
                <a:gd name="connsiteY91" fmla="*/ 5686450 h 6515100"/>
                <a:gd name="connsiteX92" fmla="*/ 1536018 w 4829175"/>
                <a:gd name="connsiteY92" fmla="*/ 5956862 h 6515100"/>
                <a:gd name="connsiteX93" fmla="*/ 1531824 w 4829175"/>
                <a:gd name="connsiteY93" fmla="*/ 5961054 h 6515100"/>
                <a:gd name="connsiteX94" fmla="*/ 1537414 w 4829175"/>
                <a:gd name="connsiteY94" fmla="*/ 5958259 h 6515100"/>
                <a:gd name="connsiteX95" fmla="*/ 1267002 w 4829175"/>
                <a:gd name="connsiteY95" fmla="*/ 6229370 h 6515100"/>
                <a:gd name="connsiteX96" fmla="*/ 1531127 w 4829175"/>
                <a:gd name="connsiteY96" fmla="*/ 6229370 h 6515100"/>
                <a:gd name="connsiteX97" fmla="*/ 1801539 w 4829175"/>
                <a:gd name="connsiteY97" fmla="*/ 5958259 h 6515100"/>
                <a:gd name="connsiteX98" fmla="*/ 1530428 w 4829175"/>
                <a:gd name="connsiteY98" fmla="*/ 5687847 h 6515100"/>
                <a:gd name="connsiteX99" fmla="*/ 3459646 w 4829175"/>
                <a:gd name="connsiteY99" fmla="*/ 5685052 h 6515100"/>
                <a:gd name="connsiteX100" fmla="*/ 3730757 w 4829175"/>
                <a:gd name="connsiteY100" fmla="*/ 5955464 h 6515100"/>
                <a:gd name="connsiteX101" fmla="*/ 3727962 w 4829175"/>
                <a:gd name="connsiteY101" fmla="*/ 5958259 h 6515100"/>
                <a:gd name="connsiteX102" fmla="*/ 3637825 w 4829175"/>
                <a:gd name="connsiteY102" fmla="*/ 6049095 h 6515100"/>
                <a:gd name="connsiteX103" fmla="*/ 3460345 w 4829175"/>
                <a:gd name="connsiteY103" fmla="*/ 6225876 h 6515100"/>
                <a:gd name="connsiteX104" fmla="*/ 3724468 w 4829175"/>
                <a:gd name="connsiteY104" fmla="*/ 6225876 h 6515100"/>
                <a:gd name="connsiteX105" fmla="*/ 3813907 w 4829175"/>
                <a:gd name="connsiteY105" fmla="*/ 6136437 h 6515100"/>
                <a:gd name="connsiteX106" fmla="*/ 3994880 w 4829175"/>
                <a:gd name="connsiteY106" fmla="*/ 5955464 h 6515100"/>
                <a:gd name="connsiteX107" fmla="*/ 3723769 w 4829175"/>
                <a:gd name="connsiteY107" fmla="*/ 5685052 h 6515100"/>
                <a:gd name="connsiteX108" fmla="*/ 1807128 w 4829175"/>
                <a:gd name="connsiteY108" fmla="*/ 5412543 h 6515100"/>
                <a:gd name="connsiteX109" fmla="*/ 1536716 w 4829175"/>
                <a:gd name="connsiteY109" fmla="*/ 5683654 h 6515100"/>
                <a:gd name="connsiteX110" fmla="*/ 1807827 w 4829175"/>
                <a:gd name="connsiteY110" fmla="*/ 5954066 h 6515100"/>
                <a:gd name="connsiteX111" fmla="*/ 2071951 w 4829175"/>
                <a:gd name="connsiteY111" fmla="*/ 5954066 h 6515100"/>
                <a:gd name="connsiteX112" fmla="*/ 1800840 w 4829175"/>
                <a:gd name="connsiteY112" fmla="*/ 5683654 h 6515100"/>
                <a:gd name="connsiteX113" fmla="*/ 2071252 w 4829175"/>
                <a:gd name="connsiteY113" fmla="*/ 5412543 h 6515100"/>
                <a:gd name="connsiteX114" fmla="*/ 709409 w 4829175"/>
                <a:gd name="connsiteY114" fmla="*/ 5412543 h 6515100"/>
                <a:gd name="connsiteX115" fmla="*/ 438997 w 4829175"/>
                <a:gd name="connsiteY115" fmla="*/ 5683654 h 6515100"/>
                <a:gd name="connsiteX116" fmla="*/ 710108 w 4829175"/>
                <a:gd name="connsiteY116" fmla="*/ 5954066 h 6515100"/>
                <a:gd name="connsiteX117" fmla="*/ 974231 w 4829175"/>
                <a:gd name="connsiteY117" fmla="*/ 5954066 h 6515100"/>
                <a:gd name="connsiteX118" fmla="*/ 703120 w 4829175"/>
                <a:gd name="connsiteY118" fmla="*/ 5683654 h 6515100"/>
                <a:gd name="connsiteX119" fmla="*/ 972833 w 4829175"/>
                <a:gd name="connsiteY119" fmla="*/ 5412543 h 6515100"/>
                <a:gd name="connsiteX120" fmla="*/ 2904148 w 4829175"/>
                <a:gd name="connsiteY120" fmla="*/ 5411845 h 6515100"/>
                <a:gd name="connsiteX121" fmla="*/ 2723874 w 4829175"/>
                <a:gd name="connsiteY121" fmla="*/ 5592120 h 6515100"/>
                <a:gd name="connsiteX122" fmla="*/ 2634435 w 4829175"/>
                <a:gd name="connsiteY122" fmla="*/ 5682258 h 6515100"/>
                <a:gd name="connsiteX123" fmla="*/ 2768593 w 4829175"/>
                <a:gd name="connsiteY123" fmla="*/ 5815716 h 6515100"/>
                <a:gd name="connsiteX124" fmla="*/ 2905546 w 4829175"/>
                <a:gd name="connsiteY124" fmla="*/ 5952669 h 6515100"/>
                <a:gd name="connsiteX125" fmla="*/ 3169669 w 4829175"/>
                <a:gd name="connsiteY125" fmla="*/ 5952669 h 6515100"/>
                <a:gd name="connsiteX126" fmla="*/ 2898558 w 4829175"/>
                <a:gd name="connsiteY126" fmla="*/ 5682258 h 6515100"/>
                <a:gd name="connsiteX127" fmla="*/ 2899956 w 4829175"/>
                <a:gd name="connsiteY127" fmla="*/ 5680860 h 6515100"/>
                <a:gd name="connsiteX128" fmla="*/ 3168271 w 4829175"/>
                <a:gd name="connsiteY128" fmla="*/ 5411845 h 6515100"/>
                <a:gd name="connsiteX129" fmla="*/ 2355639 w 4829175"/>
                <a:gd name="connsiteY129" fmla="*/ 5411845 h 6515100"/>
                <a:gd name="connsiteX130" fmla="*/ 2085226 w 4829175"/>
                <a:gd name="connsiteY130" fmla="*/ 5682955 h 6515100"/>
                <a:gd name="connsiteX131" fmla="*/ 2356338 w 4829175"/>
                <a:gd name="connsiteY131" fmla="*/ 5953367 h 6515100"/>
                <a:gd name="connsiteX132" fmla="*/ 2620460 w 4829175"/>
                <a:gd name="connsiteY132" fmla="*/ 5953367 h 6515100"/>
                <a:gd name="connsiteX133" fmla="*/ 2349350 w 4829175"/>
                <a:gd name="connsiteY133" fmla="*/ 5682955 h 6515100"/>
                <a:gd name="connsiteX134" fmla="*/ 2533816 w 4829175"/>
                <a:gd name="connsiteY134" fmla="*/ 5498489 h 6515100"/>
                <a:gd name="connsiteX135" fmla="*/ 2619762 w 4829175"/>
                <a:gd name="connsiteY135" fmla="*/ 5412543 h 6515100"/>
                <a:gd name="connsiteX136" fmla="*/ 2361229 w 4829175"/>
                <a:gd name="connsiteY136" fmla="*/ 5412543 h 6515100"/>
                <a:gd name="connsiteX137" fmla="*/ 1257919 w 4829175"/>
                <a:gd name="connsiteY137" fmla="*/ 5411845 h 6515100"/>
                <a:gd name="connsiteX138" fmla="*/ 987507 w 4829175"/>
                <a:gd name="connsiteY138" fmla="*/ 5682955 h 6515100"/>
                <a:gd name="connsiteX139" fmla="*/ 1258618 w 4829175"/>
                <a:gd name="connsiteY139" fmla="*/ 5953367 h 6515100"/>
                <a:gd name="connsiteX140" fmla="*/ 1522741 w 4829175"/>
                <a:gd name="connsiteY140" fmla="*/ 5953367 h 6515100"/>
                <a:gd name="connsiteX141" fmla="*/ 1251631 w 4829175"/>
                <a:gd name="connsiteY141" fmla="*/ 5682955 h 6515100"/>
                <a:gd name="connsiteX142" fmla="*/ 1436098 w 4829175"/>
                <a:gd name="connsiteY142" fmla="*/ 5498489 h 6515100"/>
                <a:gd name="connsiteX143" fmla="*/ 1522043 w 4829175"/>
                <a:gd name="connsiteY143" fmla="*/ 5411845 h 6515100"/>
                <a:gd name="connsiteX144" fmla="*/ 3452658 w 4829175"/>
                <a:gd name="connsiteY144" fmla="*/ 5411147 h 6515100"/>
                <a:gd name="connsiteX145" fmla="*/ 3182246 w 4829175"/>
                <a:gd name="connsiteY145" fmla="*/ 5682258 h 6515100"/>
                <a:gd name="connsiteX146" fmla="*/ 3453357 w 4829175"/>
                <a:gd name="connsiteY146" fmla="*/ 5952669 h 6515100"/>
                <a:gd name="connsiteX147" fmla="*/ 3717481 w 4829175"/>
                <a:gd name="connsiteY147" fmla="*/ 5952669 h 6515100"/>
                <a:gd name="connsiteX148" fmla="*/ 3446370 w 4829175"/>
                <a:gd name="connsiteY148" fmla="*/ 5682258 h 6515100"/>
                <a:gd name="connsiteX149" fmla="*/ 3716782 w 4829175"/>
                <a:gd name="connsiteY149" fmla="*/ 5411147 h 6515100"/>
                <a:gd name="connsiteX150" fmla="*/ 4549679 w 4829175"/>
                <a:gd name="connsiteY150" fmla="*/ 5409749 h 6515100"/>
                <a:gd name="connsiteX151" fmla="*/ 4279267 w 4829175"/>
                <a:gd name="connsiteY151" fmla="*/ 5680860 h 6515100"/>
                <a:gd name="connsiteX152" fmla="*/ 4550378 w 4829175"/>
                <a:gd name="connsiteY152" fmla="*/ 5951272 h 6515100"/>
                <a:gd name="connsiteX153" fmla="*/ 4814501 w 4829175"/>
                <a:gd name="connsiteY153" fmla="*/ 5951272 h 6515100"/>
                <a:gd name="connsiteX154" fmla="*/ 4543391 w 4829175"/>
                <a:gd name="connsiteY154" fmla="*/ 5680860 h 6515100"/>
                <a:gd name="connsiteX155" fmla="*/ 4727858 w 4829175"/>
                <a:gd name="connsiteY155" fmla="*/ 5495694 h 6515100"/>
                <a:gd name="connsiteX156" fmla="*/ 4727159 w 4829175"/>
                <a:gd name="connsiteY156" fmla="*/ 5494995 h 6515100"/>
                <a:gd name="connsiteX157" fmla="*/ 4812405 w 4829175"/>
                <a:gd name="connsiteY157" fmla="*/ 5409749 h 6515100"/>
                <a:gd name="connsiteX158" fmla="*/ 167886 w 4829175"/>
                <a:gd name="connsiteY158" fmla="*/ 5139337 h 6515100"/>
                <a:gd name="connsiteX159" fmla="*/ 438997 w 4829175"/>
                <a:gd name="connsiteY159" fmla="*/ 5409749 h 6515100"/>
                <a:gd name="connsiteX160" fmla="*/ 169284 w 4829175"/>
                <a:gd name="connsiteY160" fmla="*/ 5680860 h 6515100"/>
                <a:gd name="connsiteX161" fmla="*/ 432708 w 4829175"/>
                <a:gd name="connsiteY161" fmla="*/ 5680860 h 6515100"/>
                <a:gd name="connsiteX162" fmla="*/ 703120 w 4829175"/>
                <a:gd name="connsiteY162" fmla="*/ 5409749 h 6515100"/>
                <a:gd name="connsiteX163" fmla="*/ 568962 w 4829175"/>
                <a:gd name="connsiteY163" fmla="*/ 5276290 h 6515100"/>
                <a:gd name="connsiteX164" fmla="*/ 432009 w 4829175"/>
                <a:gd name="connsiteY164" fmla="*/ 5139337 h 6515100"/>
                <a:gd name="connsiteX165" fmla="*/ 1814116 w 4829175"/>
                <a:gd name="connsiteY165" fmla="*/ 5138638 h 6515100"/>
                <a:gd name="connsiteX166" fmla="*/ 1942683 w 4829175"/>
                <a:gd name="connsiteY166" fmla="*/ 5267207 h 6515100"/>
                <a:gd name="connsiteX167" fmla="*/ 2084528 w 4829175"/>
                <a:gd name="connsiteY167" fmla="*/ 5409050 h 6515100"/>
                <a:gd name="connsiteX168" fmla="*/ 1814116 w 4829175"/>
                <a:gd name="connsiteY168" fmla="*/ 5680161 h 6515100"/>
                <a:gd name="connsiteX169" fmla="*/ 2078239 w 4829175"/>
                <a:gd name="connsiteY169" fmla="*/ 5680161 h 6515100"/>
                <a:gd name="connsiteX170" fmla="*/ 2348651 w 4829175"/>
                <a:gd name="connsiteY170" fmla="*/ 5409050 h 6515100"/>
                <a:gd name="connsiteX171" fmla="*/ 2343759 w 4829175"/>
                <a:gd name="connsiteY171" fmla="*/ 5404159 h 6515100"/>
                <a:gd name="connsiteX172" fmla="*/ 2078239 w 4829175"/>
                <a:gd name="connsiteY172" fmla="*/ 5138638 h 6515100"/>
                <a:gd name="connsiteX173" fmla="*/ 2362625 w 4829175"/>
                <a:gd name="connsiteY173" fmla="*/ 5137939 h 6515100"/>
                <a:gd name="connsiteX174" fmla="*/ 2633736 w 4829175"/>
                <a:gd name="connsiteY174" fmla="*/ 5407653 h 6515100"/>
                <a:gd name="connsiteX175" fmla="*/ 2630942 w 4829175"/>
                <a:gd name="connsiteY175" fmla="*/ 5410448 h 6515100"/>
                <a:gd name="connsiteX176" fmla="*/ 2540804 w 4829175"/>
                <a:gd name="connsiteY176" fmla="*/ 5501283 h 6515100"/>
                <a:gd name="connsiteX177" fmla="*/ 2363324 w 4829175"/>
                <a:gd name="connsiteY177" fmla="*/ 5678763 h 6515100"/>
                <a:gd name="connsiteX178" fmla="*/ 2627447 w 4829175"/>
                <a:gd name="connsiteY178" fmla="*/ 5678763 h 6515100"/>
                <a:gd name="connsiteX179" fmla="*/ 2716886 w 4829175"/>
                <a:gd name="connsiteY179" fmla="*/ 5589325 h 6515100"/>
                <a:gd name="connsiteX180" fmla="*/ 2897859 w 4829175"/>
                <a:gd name="connsiteY180" fmla="*/ 5408351 h 6515100"/>
                <a:gd name="connsiteX181" fmla="*/ 2626749 w 4829175"/>
                <a:gd name="connsiteY181" fmla="*/ 5137939 h 6515100"/>
                <a:gd name="connsiteX182" fmla="*/ 1264208 w 4829175"/>
                <a:gd name="connsiteY182" fmla="*/ 5137939 h 6515100"/>
                <a:gd name="connsiteX183" fmla="*/ 1535319 w 4829175"/>
                <a:gd name="connsiteY183" fmla="*/ 5407653 h 6515100"/>
                <a:gd name="connsiteX184" fmla="*/ 1532523 w 4829175"/>
                <a:gd name="connsiteY184" fmla="*/ 5410448 h 6515100"/>
                <a:gd name="connsiteX185" fmla="*/ 1442387 w 4829175"/>
                <a:gd name="connsiteY185" fmla="*/ 5501283 h 6515100"/>
                <a:gd name="connsiteX186" fmla="*/ 1264907 w 4829175"/>
                <a:gd name="connsiteY186" fmla="*/ 5678763 h 6515100"/>
                <a:gd name="connsiteX187" fmla="*/ 1529030 w 4829175"/>
                <a:gd name="connsiteY187" fmla="*/ 5678763 h 6515100"/>
                <a:gd name="connsiteX188" fmla="*/ 1618469 w 4829175"/>
                <a:gd name="connsiteY188" fmla="*/ 5589325 h 6515100"/>
                <a:gd name="connsiteX189" fmla="*/ 1799442 w 4829175"/>
                <a:gd name="connsiteY189" fmla="*/ 5408351 h 6515100"/>
                <a:gd name="connsiteX190" fmla="*/ 1528331 w 4829175"/>
                <a:gd name="connsiteY190" fmla="*/ 5137939 h 6515100"/>
                <a:gd name="connsiteX191" fmla="*/ 715697 w 4829175"/>
                <a:gd name="connsiteY191" fmla="*/ 5137939 h 6515100"/>
                <a:gd name="connsiteX192" fmla="*/ 717095 w 4829175"/>
                <a:gd name="connsiteY192" fmla="*/ 5139337 h 6515100"/>
                <a:gd name="connsiteX193" fmla="*/ 986808 w 4829175"/>
                <a:gd name="connsiteY193" fmla="*/ 5408351 h 6515100"/>
                <a:gd name="connsiteX194" fmla="*/ 716396 w 4829175"/>
                <a:gd name="connsiteY194" fmla="*/ 5679462 h 6515100"/>
                <a:gd name="connsiteX195" fmla="*/ 980520 w 4829175"/>
                <a:gd name="connsiteY195" fmla="*/ 5679462 h 6515100"/>
                <a:gd name="connsiteX196" fmla="*/ 1250932 w 4829175"/>
                <a:gd name="connsiteY196" fmla="*/ 5408351 h 6515100"/>
                <a:gd name="connsiteX197" fmla="*/ 1245342 w 4829175"/>
                <a:gd name="connsiteY197" fmla="*/ 5403460 h 6515100"/>
                <a:gd name="connsiteX198" fmla="*/ 979821 w 4829175"/>
                <a:gd name="connsiteY198" fmla="*/ 5137939 h 6515100"/>
                <a:gd name="connsiteX199" fmla="*/ 2911136 w 4829175"/>
                <a:gd name="connsiteY199" fmla="*/ 5137241 h 6515100"/>
                <a:gd name="connsiteX200" fmla="*/ 3041801 w 4829175"/>
                <a:gd name="connsiteY200" fmla="*/ 5266508 h 6515100"/>
                <a:gd name="connsiteX201" fmla="*/ 3182246 w 4829175"/>
                <a:gd name="connsiteY201" fmla="*/ 5406954 h 6515100"/>
                <a:gd name="connsiteX202" fmla="*/ 2911834 w 4829175"/>
                <a:gd name="connsiteY202" fmla="*/ 5678065 h 6515100"/>
                <a:gd name="connsiteX203" fmla="*/ 3175958 w 4829175"/>
                <a:gd name="connsiteY203" fmla="*/ 5678065 h 6515100"/>
                <a:gd name="connsiteX204" fmla="*/ 3446370 w 4829175"/>
                <a:gd name="connsiteY204" fmla="*/ 5407653 h 6515100"/>
                <a:gd name="connsiteX205" fmla="*/ 3175259 w 4829175"/>
                <a:gd name="connsiteY205" fmla="*/ 5137241 h 6515100"/>
                <a:gd name="connsiteX206" fmla="*/ 3459646 w 4829175"/>
                <a:gd name="connsiteY206" fmla="*/ 5136542 h 6515100"/>
                <a:gd name="connsiteX207" fmla="*/ 3730757 w 4829175"/>
                <a:gd name="connsiteY207" fmla="*/ 5406954 h 6515100"/>
                <a:gd name="connsiteX208" fmla="*/ 3460345 w 4829175"/>
                <a:gd name="connsiteY208" fmla="*/ 5678065 h 6515100"/>
                <a:gd name="connsiteX209" fmla="*/ 3724468 w 4829175"/>
                <a:gd name="connsiteY209" fmla="*/ 5678065 h 6515100"/>
                <a:gd name="connsiteX210" fmla="*/ 3994880 w 4829175"/>
                <a:gd name="connsiteY210" fmla="*/ 5406954 h 6515100"/>
                <a:gd name="connsiteX211" fmla="*/ 3723769 w 4829175"/>
                <a:gd name="connsiteY211" fmla="*/ 5136542 h 6515100"/>
                <a:gd name="connsiteX212" fmla="*/ 4008156 w 4829175"/>
                <a:gd name="connsiteY212" fmla="*/ 5135843 h 6515100"/>
                <a:gd name="connsiteX213" fmla="*/ 4279267 w 4829175"/>
                <a:gd name="connsiteY213" fmla="*/ 5406255 h 6515100"/>
                <a:gd name="connsiteX214" fmla="*/ 4008855 w 4829175"/>
                <a:gd name="connsiteY214" fmla="*/ 5677366 h 6515100"/>
                <a:gd name="connsiteX215" fmla="*/ 4207297 w 4829175"/>
                <a:gd name="connsiteY215" fmla="*/ 5677366 h 6515100"/>
                <a:gd name="connsiteX216" fmla="*/ 4272280 w 4829175"/>
                <a:gd name="connsiteY216" fmla="*/ 5677366 h 6515100"/>
                <a:gd name="connsiteX217" fmla="*/ 4543391 w 4829175"/>
                <a:gd name="connsiteY217" fmla="*/ 5406255 h 6515100"/>
                <a:gd name="connsiteX218" fmla="*/ 4409232 w 4829175"/>
                <a:gd name="connsiteY218" fmla="*/ 5272797 h 6515100"/>
                <a:gd name="connsiteX219" fmla="*/ 4272280 w 4829175"/>
                <a:gd name="connsiteY219" fmla="*/ 5135843 h 6515100"/>
                <a:gd name="connsiteX220" fmla="*/ 708011 w 4829175"/>
                <a:gd name="connsiteY220" fmla="*/ 4864034 h 6515100"/>
                <a:gd name="connsiteX221" fmla="*/ 527737 w 4829175"/>
                <a:gd name="connsiteY221" fmla="*/ 5045007 h 6515100"/>
                <a:gd name="connsiteX222" fmla="*/ 438298 w 4829175"/>
                <a:gd name="connsiteY222" fmla="*/ 5135144 h 6515100"/>
                <a:gd name="connsiteX223" fmla="*/ 572456 w 4829175"/>
                <a:gd name="connsiteY223" fmla="*/ 5268603 h 6515100"/>
                <a:gd name="connsiteX224" fmla="*/ 709409 w 4829175"/>
                <a:gd name="connsiteY224" fmla="*/ 5405557 h 6515100"/>
                <a:gd name="connsiteX225" fmla="*/ 973532 w 4829175"/>
                <a:gd name="connsiteY225" fmla="*/ 5405557 h 6515100"/>
                <a:gd name="connsiteX226" fmla="*/ 702421 w 4829175"/>
                <a:gd name="connsiteY226" fmla="*/ 5135144 h 6515100"/>
                <a:gd name="connsiteX227" fmla="*/ 703819 w 4829175"/>
                <a:gd name="connsiteY227" fmla="*/ 5133747 h 6515100"/>
                <a:gd name="connsiteX228" fmla="*/ 972135 w 4829175"/>
                <a:gd name="connsiteY228" fmla="*/ 4864034 h 6515100"/>
                <a:gd name="connsiteX229" fmla="*/ 1257220 w 4829175"/>
                <a:gd name="connsiteY229" fmla="*/ 4863335 h 6515100"/>
                <a:gd name="connsiteX230" fmla="*/ 986808 w 4829175"/>
                <a:gd name="connsiteY230" fmla="*/ 5134446 h 6515100"/>
                <a:gd name="connsiteX231" fmla="*/ 1257919 w 4829175"/>
                <a:gd name="connsiteY231" fmla="*/ 5404858 h 6515100"/>
                <a:gd name="connsiteX232" fmla="*/ 1522043 w 4829175"/>
                <a:gd name="connsiteY232" fmla="*/ 5404858 h 6515100"/>
                <a:gd name="connsiteX233" fmla="*/ 1250932 w 4829175"/>
                <a:gd name="connsiteY233" fmla="*/ 5134446 h 6515100"/>
                <a:gd name="connsiteX234" fmla="*/ 1521344 w 4829175"/>
                <a:gd name="connsiteY234" fmla="*/ 4863335 h 6515100"/>
                <a:gd name="connsiteX235" fmla="*/ 2904148 w 4829175"/>
                <a:gd name="connsiteY235" fmla="*/ 4862636 h 6515100"/>
                <a:gd name="connsiteX236" fmla="*/ 2633736 w 4829175"/>
                <a:gd name="connsiteY236" fmla="*/ 5133747 h 6515100"/>
                <a:gd name="connsiteX237" fmla="*/ 2904847 w 4829175"/>
                <a:gd name="connsiteY237" fmla="*/ 5404159 h 6515100"/>
                <a:gd name="connsiteX238" fmla="*/ 3168271 w 4829175"/>
                <a:gd name="connsiteY238" fmla="*/ 5404159 h 6515100"/>
                <a:gd name="connsiteX239" fmla="*/ 3037607 w 4829175"/>
                <a:gd name="connsiteY239" fmla="*/ 5274193 h 6515100"/>
                <a:gd name="connsiteX240" fmla="*/ 2897162 w 4829175"/>
                <a:gd name="connsiteY240" fmla="*/ 5133747 h 6515100"/>
                <a:gd name="connsiteX241" fmla="*/ 3168271 w 4829175"/>
                <a:gd name="connsiteY241" fmla="*/ 4862636 h 6515100"/>
                <a:gd name="connsiteX242" fmla="*/ 1805032 w 4829175"/>
                <a:gd name="connsiteY242" fmla="*/ 4862636 h 6515100"/>
                <a:gd name="connsiteX243" fmla="*/ 1534620 w 4829175"/>
                <a:gd name="connsiteY243" fmla="*/ 5133747 h 6515100"/>
                <a:gd name="connsiteX244" fmla="*/ 1805731 w 4829175"/>
                <a:gd name="connsiteY244" fmla="*/ 5404159 h 6515100"/>
                <a:gd name="connsiteX245" fmla="*/ 1807128 w 4829175"/>
                <a:gd name="connsiteY245" fmla="*/ 5405557 h 6515100"/>
                <a:gd name="connsiteX246" fmla="*/ 2071252 w 4829175"/>
                <a:gd name="connsiteY246" fmla="*/ 5405557 h 6515100"/>
                <a:gd name="connsiteX247" fmla="*/ 1939889 w 4829175"/>
                <a:gd name="connsiteY247" fmla="*/ 5274193 h 6515100"/>
                <a:gd name="connsiteX248" fmla="*/ 1802236 w 4829175"/>
                <a:gd name="connsiteY248" fmla="*/ 5136542 h 6515100"/>
                <a:gd name="connsiteX249" fmla="*/ 2071252 w 4829175"/>
                <a:gd name="connsiteY249" fmla="*/ 4862636 h 6515100"/>
                <a:gd name="connsiteX250" fmla="*/ 3451960 w 4829175"/>
                <a:gd name="connsiteY250" fmla="*/ 4861938 h 6515100"/>
                <a:gd name="connsiteX251" fmla="*/ 3181548 w 4829175"/>
                <a:gd name="connsiteY251" fmla="*/ 5133048 h 6515100"/>
                <a:gd name="connsiteX252" fmla="*/ 3452658 w 4829175"/>
                <a:gd name="connsiteY252" fmla="*/ 5403460 h 6515100"/>
                <a:gd name="connsiteX253" fmla="*/ 3716782 w 4829175"/>
                <a:gd name="connsiteY253" fmla="*/ 5403460 h 6515100"/>
                <a:gd name="connsiteX254" fmla="*/ 3445671 w 4829175"/>
                <a:gd name="connsiteY254" fmla="*/ 5133048 h 6515100"/>
                <a:gd name="connsiteX255" fmla="*/ 3630138 w 4829175"/>
                <a:gd name="connsiteY255" fmla="*/ 4948581 h 6515100"/>
                <a:gd name="connsiteX256" fmla="*/ 3714686 w 4829175"/>
                <a:gd name="connsiteY256" fmla="*/ 4861938 h 6515100"/>
                <a:gd name="connsiteX257" fmla="*/ 4000470 w 4829175"/>
                <a:gd name="connsiteY257" fmla="*/ 4861239 h 6515100"/>
                <a:gd name="connsiteX258" fmla="*/ 3730058 w 4829175"/>
                <a:gd name="connsiteY258" fmla="*/ 5132350 h 6515100"/>
                <a:gd name="connsiteX259" fmla="*/ 4001169 w 4829175"/>
                <a:gd name="connsiteY259" fmla="*/ 5402762 h 6515100"/>
                <a:gd name="connsiteX260" fmla="*/ 4265292 w 4829175"/>
                <a:gd name="connsiteY260" fmla="*/ 5402762 h 6515100"/>
                <a:gd name="connsiteX261" fmla="*/ 3994181 w 4829175"/>
                <a:gd name="connsiteY261" fmla="*/ 5132350 h 6515100"/>
                <a:gd name="connsiteX262" fmla="*/ 3995579 w 4829175"/>
                <a:gd name="connsiteY262" fmla="*/ 5130952 h 6515100"/>
                <a:gd name="connsiteX263" fmla="*/ 3994880 w 4829175"/>
                <a:gd name="connsiteY263" fmla="*/ 5130952 h 6515100"/>
                <a:gd name="connsiteX264" fmla="*/ 4263197 w 4829175"/>
                <a:gd name="connsiteY264" fmla="*/ 4861938 h 6515100"/>
                <a:gd name="connsiteX265" fmla="*/ 4004663 w 4829175"/>
                <a:gd name="connsiteY265" fmla="*/ 4861938 h 6515100"/>
                <a:gd name="connsiteX266" fmla="*/ 4006060 w 4829175"/>
                <a:gd name="connsiteY266" fmla="*/ 4861239 h 6515100"/>
                <a:gd name="connsiteX267" fmla="*/ 4548281 w 4829175"/>
                <a:gd name="connsiteY267" fmla="*/ 4860540 h 6515100"/>
                <a:gd name="connsiteX268" fmla="*/ 4367308 w 4829175"/>
                <a:gd name="connsiteY268" fmla="*/ 5041513 h 6515100"/>
                <a:gd name="connsiteX269" fmla="*/ 4368007 w 4829175"/>
                <a:gd name="connsiteY269" fmla="*/ 5042212 h 6515100"/>
                <a:gd name="connsiteX270" fmla="*/ 4278568 w 4829175"/>
                <a:gd name="connsiteY270" fmla="*/ 5132350 h 6515100"/>
                <a:gd name="connsiteX271" fmla="*/ 4412727 w 4829175"/>
                <a:gd name="connsiteY271" fmla="*/ 5265809 h 6515100"/>
                <a:gd name="connsiteX272" fmla="*/ 4548980 w 4829175"/>
                <a:gd name="connsiteY272" fmla="*/ 5402063 h 6515100"/>
                <a:gd name="connsiteX273" fmla="*/ 4813104 w 4829175"/>
                <a:gd name="connsiteY273" fmla="*/ 5402063 h 6515100"/>
                <a:gd name="connsiteX274" fmla="*/ 4541993 w 4829175"/>
                <a:gd name="connsiteY274" fmla="*/ 5131651 h 6515100"/>
                <a:gd name="connsiteX275" fmla="*/ 4812405 w 4829175"/>
                <a:gd name="connsiteY275" fmla="*/ 4860540 h 6515100"/>
                <a:gd name="connsiteX276" fmla="*/ 2621159 w 4829175"/>
                <a:gd name="connsiteY276" fmla="*/ 4860540 h 6515100"/>
                <a:gd name="connsiteX277" fmla="*/ 2354940 w 4829175"/>
                <a:gd name="connsiteY277" fmla="*/ 4863335 h 6515100"/>
                <a:gd name="connsiteX278" fmla="*/ 2084528 w 4829175"/>
                <a:gd name="connsiteY278" fmla="*/ 5134446 h 6515100"/>
                <a:gd name="connsiteX279" fmla="*/ 2355639 w 4829175"/>
                <a:gd name="connsiteY279" fmla="*/ 5404858 h 6515100"/>
                <a:gd name="connsiteX280" fmla="*/ 2619762 w 4829175"/>
                <a:gd name="connsiteY280" fmla="*/ 5404858 h 6515100"/>
                <a:gd name="connsiteX281" fmla="*/ 2348651 w 4829175"/>
                <a:gd name="connsiteY281" fmla="*/ 5134446 h 6515100"/>
                <a:gd name="connsiteX282" fmla="*/ 166488 w 4829175"/>
                <a:gd name="connsiteY282" fmla="*/ 4590827 h 6515100"/>
                <a:gd name="connsiteX283" fmla="*/ 437599 w 4829175"/>
                <a:gd name="connsiteY283" fmla="*/ 4861239 h 6515100"/>
                <a:gd name="connsiteX284" fmla="*/ 434805 w 4829175"/>
                <a:gd name="connsiteY284" fmla="*/ 4864034 h 6515100"/>
                <a:gd name="connsiteX285" fmla="*/ 344667 w 4829175"/>
                <a:gd name="connsiteY285" fmla="*/ 4954870 h 6515100"/>
                <a:gd name="connsiteX286" fmla="*/ 167187 w 4829175"/>
                <a:gd name="connsiteY286" fmla="*/ 5131651 h 6515100"/>
                <a:gd name="connsiteX287" fmla="*/ 431311 w 4829175"/>
                <a:gd name="connsiteY287" fmla="*/ 5131651 h 6515100"/>
                <a:gd name="connsiteX288" fmla="*/ 520749 w 4829175"/>
                <a:gd name="connsiteY288" fmla="*/ 5042212 h 6515100"/>
                <a:gd name="connsiteX289" fmla="*/ 701722 w 4829175"/>
                <a:gd name="connsiteY289" fmla="*/ 4861239 h 6515100"/>
                <a:gd name="connsiteX290" fmla="*/ 430612 w 4829175"/>
                <a:gd name="connsiteY290" fmla="*/ 4590827 h 6515100"/>
                <a:gd name="connsiteX291" fmla="*/ 715697 w 4829175"/>
                <a:gd name="connsiteY291" fmla="*/ 4590128 h 6515100"/>
                <a:gd name="connsiteX292" fmla="*/ 845663 w 4829175"/>
                <a:gd name="connsiteY292" fmla="*/ 4720093 h 6515100"/>
                <a:gd name="connsiteX293" fmla="*/ 986109 w 4829175"/>
                <a:gd name="connsiteY293" fmla="*/ 4859841 h 6515100"/>
                <a:gd name="connsiteX294" fmla="*/ 715697 w 4829175"/>
                <a:gd name="connsiteY294" fmla="*/ 5130952 h 6515100"/>
                <a:gd name="connsiteX295" fmla="*/ 979821 w 4829175"/>
                <a:gd name="connsiteY295" fmla="*/ 5130952 h 6515100"/>
                <a:gd name="connsiteX296" fmla="*/ 1250932 w 4829175"/>
                <a:gd name="connsiteY296" fmla="*/ 4860540 h 6515100"/>
                <a:gd name="connsiteX297" fmla="*/ 979821 w 4829175"/>
                <a:gd name="connsiteY297" fmla="*/ 4590128 h 6515100"/>
                <a:gd name="connsiteX298" fmla="*/ 2911136 w 4829175"/>
                <a:gd name="connsiteY298" fmla="*/ 4589429 h 6515100"/>
                <a:gd name="connsiteX299" fmla="*/ 3040403 w 4829175"/>
                <a:gd name="connsiteY299" fmla="*/ 4717299 h 6515100"/>
                <a:gd name="connsiteX300" fmla="*/ 3040403 w 4829175"/>
                <a:gd name="connsiteY300" fmla="*/ 4717998 h 6515100"/>
                <a:gd name="connsiteX301" fmla="*/ 3182246 w 4829175"/>
                <a:gd name="connsiteY301" fmla="*/ 4859841 h 6515100"/>
                <a:gd name="connsiteX302" fmla="*/ 2911834 w 4829175"/>
                <a:gd name="connsiteY302" fmla="*/ 5130952 h 6515100"/>
                <a:gd name="connsiteX303" fmla="*/ 3175259 w 4829175"/>
                <a:gd name="connsiteY303" fmla="*/ 5130952 h 6515100"/>
                <a:gd name="connsiteX304" fmla="*/ 3445671 w 4829175"/>
                <a:gd name="connsiteY304" fmla="*/ 4859841 h 6515100"/>
                <a:gd name="connsiteX305" fmla="*/ 3440081 w 4829175"/>
                <a:gd name="connsiteY305" fmla="*/ 4854251 h 6515100"/>
                <a:gd name="connsiteX306" fmla="*/ 3439382 w 4829175"/>
                <a:gd name="connsiteY306" fmla="*/ 4854251 h 6515100"/>
                <a:gd name="connsiteX307" fmla="*/ 3173862 w 4829175"/>
                <a:gd name="connsiteY307" fmla="*/ 4589429 h 6515100"/>
                <a:gd name="connsiteX308" fmla="*/ 1813417 w 4829175"/>
                <a:gd name="connsiteY308" fmla="*/ 4589429 h 6515100"/>
                <a:gd name="connsiteX309" fmla="*/ 1815507 w 4829175"/>
                <a:gd name="connsiteY309" fmla="*/ 4592217 h 6515100"/>
                <a:gd name="connsiteX310" fmla="*/ 1814814 w 4829175"/>
                <a:gd name="connsiteY310" fmla="*/ 4591526 h 6515100"/>
                <a:gd name="connsiteX311" fmla="*/ 1815513 w 4829175"/>
                <a:gd name="connsiteY311" fmla="*/ 4592225 h 6515100"/>
                <a:gd name="connsiteX312" fmla="*/ 1815507 w 4829175"/>
                <a:gd name="connsiteY312" fmla="*/ 4592217 h 6515100"/>
                <a:gd name="connsiteX313" fmla="*/ 2074046 w 4829175"/>
                <a:gd name="connsiteY313" fmla="*/ 4850059 h 6515100"/>
                <a:gd name="connsiteX314" fmla="*/ 2083829 w 4829175"/>
                <a:gd name="connsiteY314" fmla="*/ 4859142 h 6515100"/>
                <a:gd name="connsiteX315" fmla="*/ 2085925 w 4829175"/>
                <a:gd name="connsiteY315" fmla="*/ 4861239 h 6515100"/>
                <a:gd name="connsiteX316" fmla="*/ 1821102 w 4829175"/>
                <a:gd name="connsiteY316" fmla="*/ 5130952 h 6515100"/>
                <a:gd name="connsiteX317" fmla="*/ 2080335 w 4829175"/>
                <a:gd name="connsiteY317" fmla="*/ 5131651 h 6515100"/>
                <a:gd name="connsiteX318" fmla="*/ 2350049 w 4829175"/>
                <a:gd name="connsiteY318" fmla="*/ 4861239 h 6515100"/>
                <a:gd name="connsiteX319" fmla="*/ 2214493 w 4829175"/>
                <a:gd name="connsiteY319" fmla="*/ 4726382 h 6515100"/>
                <a:gd name="connsiteX320" fmla="*/ 2197724 w 4829175"/>
                <a:gd name="connsiteY320" fmla="*/ 4709612 h 6515100"/>
                <a:gd name="connsiteX321" fmla="*/ 2078239 w 4829175"/>
                <a:gd name="connsiteY321" fmla="*/ 4590827 h 6515100"/>
                <a:gd name="connsiteX322" fmla="*/ 2074046 w 4829175"/>
                <a:gd name="connsiteY322" fmla="*/ 4589429 h 6515100"/>
                <a:gd name="connsiteX323" fmla="*/ 1263509 w 4829175"/>
                <a:gd name="connsiteY323" fmla="*/ 4589429 h 6515100"/>
                <a:gd name="connsiteX324" fmla="*/ 1534620 w 4829175"/>
                <a:gd name="connsiteY324" fmla="*/ 4859841 h 6515100"/>
                <a:gd name="connsiteX325" fmla="*/ 1264208 w 4829175"/>
                <a:gd name="connsiteY325" fmla="*/ 5130952 h 6515100"/>
                <a:gd name="connsiteX326" fmla="*/ 1528331 w 4829175"/>
                <a:gd name="connsiteY326" fmla="*/ 5130952 h 6515100"/>
                <a:gd name="connsiteX327" fmla="*/ 1798743 w 4829175"/>
                <a:gd name="connsiteY327" fmla="*/ 4859841 h 6515100"/>
                <a:gd name="connsiteX328" fmla="*/ 1527632 w 4829175"/>
                <a:gd name="connsiteY328" fmla="*/ 4589429 h 6515100"/>
                <a:gd name="connsiteX329" fmla="*/ 2626749 w 4829175"/>
                <a:gd name="connsiteY329" fmla="*/ 4588031 h 6515100"/>
                <a:gd name="connsiteX330" fmla="*/ 2363324 w 4829175"/>
                <a:gd name="connsiteY330" fmla="*/ 4588730 h 6515100"/>
                <a:gd name="connsiteX331" fmla="*/ 2632339 w 4829175"/>
                <a:gd name="connsiteY331" fmla="*/ 4857047 h 6515100"/>
                <a:gd name="connsiteX332" fmla="*/ 2631641 w 4829175"/>
                <a:gd name="connsiteY332" fmla="*/ 4857746 h 6515100"/>
                <a:gd name="connsiteX333" fmla="*/ 2633038 w 4829175"/>
                <a:gd name="connsiteY333" fmla="*/ 4859142 h 6515100"/>
                <a:gd name="connsiteX334" fmla="*/ 2362625 w 4829175"/>
                <a:gd name="connsiteY334" fmla="*/ 5130253 h 6515100"/>
                <a:gd name="connsiteX335" fmla="*/ 2626749 w 4829175"/>
                <a:gd name="connsiteY335" fmla="*/ 5130253 h 6515100"/>
                <a:gd name="connsiteX336" fmla="*/ 2716886 w 4829175"/>
                <a:gd name="connsiteY336" fmla="*/ 5040116 h 6515100"/>
                <a:gd name="connsiteX337" fmla="*/ 2896463 w 4829175"/>
                <a:gd name="connsiteY337" fmla="*/ 4857047 h 6515100"/>
                <a:gd name="connsiteX338" fmla="*/ 4006759 w 4829175"/>
                <a:gd name="connsiteY338" fmla="*/ 4587334 h 6515100"/>
                <a:gd name="connsiteX339" fmla="*/ 4136725 w 4829175"/>
                <a:gd name="connsiteY339" fmla="*/ 4716600 h 6515100"/>
                <a:gd name="connsiteX340" fmla="*/ 4277171 w 4829175"/>
                <a:gd name="connsiteY340" fmla="*/ 4857047 h 6515100"/>
                <a:gd name="connsiteX341" fmla="*/ 4184238 w 4829175"/>
                <a:gd name="connsiteY341" fmla="*/ 4950678 h 6515100"/>
                <a:gd name="connsiteX342" fmla="*/ 4184937 w 4829175"/>
                <a:gd name="connsiteY342" fmla="*/ 4951376 h 6515100"/>
                <a:gd name="connsiteX343" fmla="*/ 4008156 w 4829175"/>
                <a:gd name="connsiteY343" fmla="*/ 5128855 h 6515100"/>
                <a:gd name="connsiteX344" fmla="*/ 4270882 w 4829175"/>
                <a:gd name="connsiteY344" fmla="*/ 5128855 h 6515100"/>
                <a:gd name="connsiteX345" fmla="*/ 4541294 w 4829175"/>
                <a:gd name="connsiteY345" fmla="*/ 4857746 h 6515100"/>
                <a:gd name="connsiteX346" fmla="*/ 4270183 w 4829175"/>
                <a:gd name="connsiteY346" fmla="*/ 4587334 h 6515100"/>
                <a:gd name="connsiteX347" fmla="*/ 3458248 w 4829175"/>
                <a:gd name="connsiteY347" fmla="*/ 4587334 h 6515100"/>
                <a:gd name="connsiteX348" fmla="*/ 3729359 w 4829175"/>
                <a:gd name="connsiteY348" fmla="*/ 4857746 h 6515100"/>
                <a:gd name="connsiteX349" fmla="*/ 3730058 w 4829175"/>
                <a:gd name="connsiteY349" fmla="*/ 4858443 h 6515100"/>
                <a:gd name="connsiteX350" fmla="*/ 3459646 w 4829175"/>
                <a:gd name="connsiteY350" fmla="*/ 5129554 h 6515100"/>
                <a:gd name="connsiteX351" fmla="*/ 3723769 w 4829175"/>
                <a:gd name="connsiteY351" fmla="*/ 5129554 h 6515100"/>
                <a:gd name="connsiteX352" fmla="*/ 3813208 w 4829175"/>
                <a:gd name="connsiteY352" fmla="*/ 5039418 h 6515100"/>
                <a:gd name="connsiteX353" fmla="*/ 3812509 w 4829175"/>
                <a:gd name="connsiteY353" fmla="*/ 5039418 h 6515100"/>
                <a:gd name="connsiteX354" fmla="*/ 3993483 w 4829175"/>
                <a:gd name="connsiteY354" fmla="*/ 4858443 h 6515100"/>
                <a:gd name="connsiteX355" fmla="*/ 3988591 w 4829175"/>
                <a:gd name="connsiteY355" fmla="*/ 4852854 h 6515100"/>
                <a:gd name="connsiteX356" fmla="*/ 3722372 w 4829175"/>
                <a:gd name="connsiteY356" fmla="*/ 4587334 h 6515100"/>
                <a:gd name="connsiteX357" fmla="*/ 708011 w 4829175"/>
                <a:gd name="connsiteY357" fmla="*/ 4316223 h 6515100"/>
                <a:gd name="connsiteX358" fmla="*/ 437599 w 4829175"/>
                <a:gd name="connsiteY358" fmla="*/ 4587334 h 6515100"/>
                <a:gd name="connsiteX359" fmla="*/ 709409 w 4829175"/>
                <a:gd name="connsiteY359" fmla="*/ 4857746 h 6515100"/>
                <a:gd name="connsiteX360" fmla="*/ 972833 w 4829175"/>
                <a:gd name="connsiteY360" fmla="*/ 4857746 h 6515100"/>
                <a:gd name="connsiteX361" fmla="*/ 842169 w 4829175"/>
                <a:gd name="connsiteY361" fmla="*/ 4727779 h 6515100"/>
                <a:gd name="connsiteX362" fmla="*/ 701722 w 4829175"/>
                <a:gd name="connsiteY362" fmla="*/ 4587334 h 6515100"/>
                <a:gd name="connsiteX363" fmla="*/ 972135 w 4829175"/>
                <a:gd name="connsiteY363" fmla="*/ 4316223 h 6515100"/>
                <a:gd name="connsiteX364" fmla="*/ 2354241 w 4829175"/>
                <a:gd name="connsiteY364" fmla="*/ 4315524 h 6515100"/>
                <a:gd name="connsiteX365" fmla="*/ 2083829 w 4829175"/>
                <a:gd name="connsiteY365" fmla="*/ 4586635 h 6515100"/>
                <a:gd name="connsiteX366" fmla="*/ 2353542 w 4829175"/>
                <a:gd name="connsiteY366" fmla="*/ 4855649 h 6515100"/>
                <a:gd name="connsiteX367" fmla="*/ 2616967 w 4829175"/>
                <a:gd name="connsiteY367" fmla="*/ 4855649 h 6515100"/>
                <a:gd name="connsiteX368" fmla="*/ 2347952 w 4829175"/>
                <a:gd name="connsiteY368" fmla="*/ 4586635 h 6515100"/>
                <a:gd name="connsiteX369" fmla="*/ 2348651 w 4829175"/>
                <a:gd name="connsiteY369" fmla="*/ 4585936 h 6515100"/>
                <a:gd name="connsiteX370" fmla="*/ 2347254 w 4829175"/>
                <a:gd name="connsiteY370" fmla="*/ 4584538 h 6515100"/>
                <a:gd name="connsiteX371" fmla="*/ 2615569 w 4829175"/>
                <a:gd name="connsiteY371" fmla="*/ 4315524 h 6515100"/>
                <a:gd name="connsiteX372" fmla="*/ 1256521 w 4829175"/>
                <a:gd name="connsiteY372" fmla="*/ 4315524 h 6515100"/>
                <a:gd name="connsiteX373" fmla="*/ 986109 w 4829175"/>
                <a:gd name="connsiteY373" fmla="*/ 4586635 h 6515100"/>
                <a:gd name="connsiteX374" fmla="*/ 1257220 w 4829175"/>
                <a:gd name="connsiteY374" fmla="*/ 4857047 h 6515100"/>
                <a:gd name="connsiteX375" fmla="*/ 1521344 w 4829175"/>
                <a:gd name="connsiteY375" fmla="*/ 4857047 h 6515100"/>
                <a:gd name="connsiteX376" fmla="*/ 1250233 w 4829175"/>
                <a:gd name="connsiteY376" fmla="*/ 4586635 h 6515100"/>
                <a:gd name="connsiteX377" fmla="*/ 1520645 w 4829175"/>
                <a:gd name="connsiteY377" fmla="*/ 4315524 h 6515100"/>
                <a:gd name="connsiteX378" fmla="*/ 1392775 w 4829175"/>
                <a:gd name="connsiteY378" fmla="*/ 4315524 h 6515100"/>
                <a:gd name="connsiteX379" fmla="*/ 1805731 w 4829175"/>
                <a:gd name="connsiteY379" fmla="*/ 4314825 h 6515100"/>
                <a:gd name="connsiteX380" fmla="*/ 1625456 w 4829175"/>
                <a:gd name="connsiteY380" fmla="*/ 4495798 h 6515100"/>
                <a:gd name="connsiteX381" fmla="*/ 1624758 w 4829175"/>
                <a:gd name="connsiteY381" fmla="*/ 4495798 h 6515100"/>
                <a:gd name="connsiteX382" fmla="*/ 1534620 w 4829175"/>
                <a:gd name="connsiteY382" fmla="*/ 4585936 h 6515100"/>
                <a:gd name="connsiteX383" fmla="*/ 1805032 w 4829175"/>
                <a:gd name="connsiteY383" fmla="*/ 4857047 h 6515100"/>
                <a:gd name="connsiteX384" fmla="*/ 2069155 w 4829175"/>
                <a:gd name="connsiteY384" fmla="*/ 4857047 h 6515100"/>
                <a:gd name="connsiteX385" fmla="*/ 1798044 w 4829175"/>
                <a:gd name="connsiteY385" fmla="*/ 4586635 h 6515100"/>
                <a:gd name="connsiteX386" fmla="*/ 1982512 w 4829175"/>
                <a:gd name="connsiteY386" fmla="*/ 4402167 h 6515100"/>
                <a:gd name="connsiteX387" fmla="*/ 1983211 w 4829175"/>
                <a:gd name="connsiteY387" fmla="*/ 4402167 h 6515100"/>
                <a:gd name="connsiteX388" fmla="*/ 2069155 w 4829175"/>
                <a:gd name="connsiteY388" fmla="*/ 4315524 h 6515100"/>
                <a:gd name="connsiteX389" fmla="*/ 1810622 w 4829175"/>
                <a:gd name="connsiteY389" fmla="*/ 4315524 h 6515100"/>
                <a:gd name="connsiteX390" fmla="*/ 3450563 w 4829175"/>
                <a:gd name="connsiteY390" fmla="*/ 4313427 h 6515100"/>
                <a:gd name="connsiteX391" fmla="*/ 3269589 w 4829175"/>
                <a:gd name="connsiteY391" fmla="*/ 4495099 h 6515100"/>
                <a:gd name="connsiteX392" fmla="*/ 3270986 w 4829175"/>
                <a:gd name="connsiteY392" fmla="*/ 4495798 h 6515100"/>
                <a:gd name="connsiteX393" fmla="*/ 3181548 w 4829175"/>
                <a:gd name="connsiteY393" fmla="*/ 4585237 h 6515100"/>
                <a:gd name="connsiteX394" fmla="*/ 3451960 w 4829175"/>
                <a:gd name="connsiteY394" fmla="*/ 4854950 h 6515100"/>
                <a:gd name="connsiteX395" fmla="*/ 3715384 w 4829175"/>
                <a:gd name="connsiteY395" fmla="*/ 4854950 h 6515100"/>
                <a:gd name="connsiteX396" fmla="*/ 3444972 w 4829175"/>
                <a:gd name="connsiteY396" fmla="*/ 4585237 h 6515100"/>
                <a:gd name="connsiteX397" fmla="*/ 3444274 w 4829175"/>
                <a:gd name="connsiteY397" fmla="*/ 4584538 h 6515100"/>
                <a:gd name="connsiteX398" fmla="*/ 3714686 w 4829175"/>
                <a:gd name="connsiteY398" fmla="*/ 4313427 h 6515100"/>
                <a:gd name="connsiteX399" fmla="*/ 2904847 w 4829175"/>
                <a:gd name="connsiteY399" fmla="*/ 4313427 h 6515100"/>
                <a:gd name="connsiteX400" fmla="*/ 2908341 w 4829175"/>
                <a:gd name="connsiteY400" fmla="*/ 4314825 h 6515100"/>
                <a:gd name="connsiteX401" fmla="*/ 2902751 w 4829175"/>
                <a:gd name="connsiteY401" fmla="*/ 4314825 h 6515100"/>
                <a:gd name="connsiteX402" fmla="*/ 2633736 w 4829175"/>
                <a:gd name="connsiteY402" fmla="*/ 4585237 h 6515100"/>
                <a:gd name="connsiteX403" fmla="*/ 2903449 w 4829175"/>
                <a:gd name="connsiteY403" fmla="*/ 4854251 h 6515100"/>
                <a:gd name="connsiteX404" fmla="*/ 3168271 w 4829175"/>
                <a:gd name="connsiteY404" fmla="*/ 4855649 h 6515100"/>
                <a:gd name="connsiteX405" fmla="*/ 2897162 w 4829175"/>
                <a:gd name="connsiteY405" fmla="*/ 4585237 h 6515100"/>
                <a:gd name="connsiteX406" fmla="*/ 2895764 w 4829175"/>
                <a:gd name="connsiteY406" fmla="*/ 4583839 h 6515100"/>
                <a:gd name="connsiteX407" fmla="*/ 3164778 w 4829175"/>
                <a:gd name="connsiteY407" fmla="*/ 4314126 h 6515100"/>
                <a:gd name="connsiteX408" fmla="*/ 2967035 w 4829175"/>
                <a:gd name="connsiteY408" fmla="*/ 4314126 h 6515100"/>
                <a:gd name="connsiteX409" fmla="*/ 2967733 w 4829175"/>
                <a:gd name="connsiteY409" fmla="*/ 4313427 h 6515100"/>
                <a:gd name="connsiteX410" fmla="*/ 3999073 w 4829175"/>
                <a:gd name="connsiteY410" fmla="*/ 4312728 h 6515100"/>
                <a:gd name="connsiteX411" fmla="*/ 3728660 w 4829175"/>
                <a:gd name="connsiteY411" fmla="*/ 4583839 h 6515100"/>
                <a:gd name="connsiteX412" fmla="*/ 3999771 w 4829175"/>
                <a:gd name="connsiteY412" fmla="*/ 4854251 h 6515100"/>
                <a:gd name="connsiteX413" fmla="*/ 4263197 w 4829175"/>
                <a:gd name="connsiteY413" fmla="*/ 4854251 h 6515100"/>
                <a:gd name="connsiteX414" fmla="*/ 4133230 w 4829175"/>
                <a:gd name="connsiteY414" fmla="*/ 4724286 h 6515100"/>
                <a:gd name="connsiteX415" fmla="*/ 3992783 w 4829175"/>
                <a:gd name="connsiteY415" fmla="*/ 4583839 h 6515100"/>
                <a:gd name="connsiteX416" fmla="*/ 4263197 w 4829175"/>
                <a:gd name="connsiteY416" fmla="*/ 4312728 h 6515100"/>
                <a:gd name="connsiteX417" fmla="*/ 4547584 w 4829175"/>
                <a:gd name="connsiteY417" fmla="*/ 4312030 h 6515100"/>
                <a:gd name="connsiteX418" fmla="*/ 4277171 w 4829175"/>
                <a:gd name="connsiteY418" fmla="*/ 4583140 h 6515100"/>
                <a:gd name="connsiteX419" fmla="*/ 4548281 w 4829175"/>
                <a:gd name="connsiteY419" fmla="*/ 4853552 h 6515100"/>
                <a:gd name="connsiteX420" fmla="*/ 4812405 w 4829175"/>
                <a:gd name="connsiteY420" fmla="*/ 4853552 h 6515100"/>
                <a:gd name="connsiteX421" fmla="*/ 4541294 w 4829175"/>
                <a:gd name="connsiteY421" fmla="*/ 4583140 h 6515100"/>
                <a:gd name="connsiteX422" fmla="*/ 4811706 w 4829175"/>
                <a:gd name="connsiteY422" fmla="*/ 4312030 h 6515100"/>
                <a:gd name="connsiteX423" fmla="*/ 717155 w 4829175"/>
                <a:gd name="connsiteY423" fmla="*/ 4044465 h 6515100"/>
                <a:gd name="connsiteX424" fmla="*/ 986808 w 4829175"/>
                <a:gd name="connsiteY424" fmla="*/ 4312728 h 6515100"/>
                <a:gd name="connsiteX425" fmla="*/ 716396 w 4829175"/>
                <a:gd name="connsiteY425" fmla="*/ 4583839 h 6515100"/>
                <a:gd name="connsiteX426" fmla="*/ 979821 w 4829175"/>
                <a:gd name="connsiteY426" fmla="*/ 4583839 h 6515100"/>
                <a:gd name="connsiteX427" fmla="*/ 1250233 w 4829175"/>
                <a:gd name="connsiteY427" fmla="*/ 4312728 h 6515100"/>
                <a:gd name="connsiteX428" fmla="*/ 1116075 w 4829175"/>
                <a:gd name="connsiteY428" fmla="*/ 4179269 h 6515100"/>
                <a:gd name="connsiteX429" fmla="*/ 1019702 w 4829175"/>
                <a:gd name="connsiteY429" fmla="*/ 4082896 h 6515100"/>
                <a:gd name="connsiteX430" fmla="*/ 1018761 w 4829175"/>
                <a:gd name="connsiteY430" fmla="*/ 4082896 h 6515100"/>
                <a:gd name="connsiteX431" fmla="*/ 980330 w 4829175"/>
                <a:gd name="connsiteY431" fmla="*/ 4044465 h 6515100"/>
                <a:gd name="connsiteX432" fmla="*/ 168395 w 4829175"/>
                <a:gd name="connsiteY432" fmla="*/ 4044465 h 6515100"/>
                <a:gd name="connsiteX433" fmla="*/ 206127 w 4829175"/>
                <a:gd name="connsiteY433" fmla="*/ 4082197 h 6515100"/>
                <a:gd name="connsiteX434" fmla="*/ 205772 w 4829175"/>
                <a:gd name="connsiteY434" fmla="*/ 4082197 h 6515100"/>
                <a:gd name="connsiteX435" fmla="*/ 437599 w 4829175"/>
                <a:gd name="connsiteY435" fmla="*/ 4313427 h 6515100"/>
                <a:gd name="connsiteX436" fmla="*/ 167187 w 4829175"/>
                <a:gd name="connsiteY436" fmla="*/ 4583839 h 6515100"/>
                <a:gd name="connsiteX437" fmla="*/ 431311 w 4829175"/>
                <a:gd name="connsiteY437" fmla="*/ 4583839 h 6515100"/>
                <a:gd name="connsiteX438" fmla="*/ 701722 w 4829175"/>
                <a:gd name="connsiteY438" fmla="*/ 4312728 h 6515100"/>
                <a:gd name="connsiteX439" fmla="*/ 470596 w 4829175"/>
                <a:gd name="connsiteY439" fmla="*/ 4082197 h 6515100"/>
                <a:gd name="connsiteX440" fmla="*/ 470250 w 4829175"/>
                <a:gd name="connsiteY440" fmla="*/ 4082197 h 6515100"/>
                <a:gd name="connsiteX441" fmla="*/ 432518 w 4829175"/>
                <a:gd name="connsiteY441" fmla="*/ 4044465 h 6515100"/>
                <a:gd name="connsiteX442" fmla="*/ 1816265 w 4829175"/>
                <a:gd name="connsiteY442" fmla="*/ 4043766 h 6515100"/>
                <a:gd name="connsiteX443" fmla="*/ 1942683 w 4829175"/>
                <a:gd name="connsiteY443" fmla="*/ 4170186 h 6515100"/>
                <a:gd name="connsiteX444" fmla="*/ 2083829 w 4829175"/>
                <a:gd name="connsiteY444" fmla="*/ 4310632 h 6515100"/>
                <a:gd name="connsiteX445" fmla="*/ 1813417 w 4829175"/>
                <a:gd name="connsiteY445" fmla="*/ 4581743 h 6515100"/>
                <a:gd name="connsiteX446" fmla="*/ 2076842 w 4829175"/>
                <a:gd name="connsiteY446" fmla="*/ 4581743 h 6515100"/>
                <a:gd name="connsiteX447" fmla="*/ 2347254 w 4829175"/>
                <a:gd name="connsiteY447" fmla="*/ 4311331 h 6515100"/>
                <a:gd name="connsiteX448" fmla="*/ 2214493 w 4829175"/>
                <a:gd name="connsiteY448" fmla="*/ 4178570 h 6515100"/>
                <a:gd name="connsiteX449" fmla="*/ 2214493 w 4829175"/>
                <a:gd name="connsiteY449" fmla="*/ 4177872 h 6515100"/>
                <a:gd name="connsiteX450" fmla="*/ 2119736 w 4829175"/>
                <a:gd name="connsiteY450" fmla="*/ 4083594 h 6515100"/>
                <a:gd name="connsiteX451" fmla="*/ 2116480 w 4829175"/>
                <a:gd name="connsiteY451" fmla="*/ 4083594 h 6515100"/>
                <a:gd name="connsiteX452" fmla="*/ 2076652 w 4829175"/>
                <a:gd name="connsiteY452" fmla="*/ 4043766 h 6515100"/>
                <a:gd name="connsiteX453" fmla="*/ 1266369 w 4829175"/>
                <a:gd name="connsiteY453" fmla="*/ 4043766 h 6515100"/>
                <a:gd name="connsiteX454" fmla="*/ 1534620 w 4829175"/>
                <a:gd name="connsiteY454" fmla="*/ 4310632 h 6515100"/>
                <a:gd name="connsiteX455" fmla="*/ 1531824 w 4829175"/>
                <a:gd name="connsiteY455" fmla="*/ 4313427 h 6515100"/>
                <a:gd name="connsiteX456" fmla="*/ 1441688 w 4829175"/>
                <a:gd name="connsiteY456" fmla="*/ 4404264 h 6515100"/>
                <a:gd name="connsiteX457" fmla="*/ 1440989 w 4829175"/>
                <a:gd name="connsiteY457" fmla="*/ 4404264 h 6515100"/>
                <a:gd name="connsiteX458" fmla="*/ 1263509 w 4829175"/>
                <a:gd name="connsiteY458" fmla="*/ 4582442 h 6515100"/>
                <a:gd name="connsiteX459" fmla="*/ 1527632 w 4829175"/>
                <a:gd name="connsiteY459" fmla="*/ 4582442 h 6515100"/>
                <a:gd name="connsiteX460" fmla="*/ 1798044 w 4829175"/>
                <a:gd name="connsiteY460" fmla="*/ 4312030 h 6515100"/>
                <a:gd name="connsiteX461" fmla="*/ 1793153 w 4829175"/>
                <a:gd name="connsiteY461" fmla="*/ 4307139 h 6515100"/>
                <a:gd name="connsiteX462" fmla="*/ 1795249 w 4829175"/>
                <a:gd name="connsiteY462" fmla="*/ 4307838 h 6515100"/>
                <a:gd name="connsiteX463" fmla="*/ 1569718 w 4829175"/>
                <a:gd name="connsiteY463" fmla="*/ 4082896 h 6515100"/>
                <a:gd name="connsiteX464" fmla="*/ 1567271 w 4829175"/>
                <a:gd name="connsiteY464" fmla="*/ 4082896 h 6515100"/>
                <a:gd name="connsiteX465" fmla="*/ 1528141 w 4829175"/>
                <a:gd name="connsiteY465" fmla="*/ 4043766 h 6515100"/>
                <a:gd name="connsiteX466" fmla="*/ 2363377 w 4829175"/>
                <a:gd name="connsiteY466" fmla="*/ 4043068 h 6515100"/>
                <a:gd name="connsiteX467" fmla="*/ 2630942 w 4829175"/>
                <a:gd name="connsiteY467" fmla="*/ 4310632 h 6515100"/>
                <a:gd name="connsiteX468" fmla="*/ 2632339 w 4829175"/>
                <a:gd name="connsiteY468" fmla="*/ 4312030 h 6515100"/>
                <a:gd name="connsiteX469" fmla="*/ 2363324 w 4829175"/>
                <a:gd name="connsiteY469" fmla="*/ 4581743 h 6515100"/>
                <a:gd name="connsiteX470" fmla="*/ 2625352 w 4829175"/>
                <a:gd name="connsiteY470" fmla="*/ 4581743 h 6515100"/>
                <a:gd name="connsiteX471" fmla="*/ 2895065 w 4829175"/>
                <a:gd name="connsiteY471" fmla="*/ 4311331 h 6515100"/>
                <a:gd name="connsiteX472" fmla="*/ 2890873 w 4829175"/>
                <a:gd name="connsiteY472" fmla="*/ 4307139 h 6515100"/>
                <a:gd name="connsiteX473" fmla="*/ 2892968 w 4829175"/>
                <a:gd name="connsiteY473" fmla="*/ 4307838 h 6515100"/>
                <a:gd name="connsiteX474" fmla="*/ 2668140 w 4829175"/>
                <a:gd name="connsiteY474" fmla="*/ 4083594 h 6515100"/>
                <a:gd name="connsiteX475" fmla="*/ 2666387 w 4829175"/>
                <a:gd name="connsiteY475" fmla="*/ 4083594 h 6515100"/>
                <a:gd name="connsiteX476" fmla="*/ 2625861 w 4829175"/>
                <a:gd name="connsiteY476" fmla="*/ 4043068 h 6515100"/>
                <a:gd name="connsiteX477" fmla="*/ 2911879 w 4829175"/>
                <a:gd name="connsiteY477" fmla="*/ 4041670 h 6515100"/>
                <a:gd name="connsiteX478" fmla="*/ 3179452 w 4829175"/>
                <a:gd name="connsiteY478" fmla="*/ 4309934 h 6515100"/>
                <a:gd name="connsiteX479" fmla="*/ 3087218 w 4829175"/>
                <a:gd name="connsiteY479" fmla="*/ 4402866 h 6515100"/>
                <a:gd name="connsiteX480" fmla="*/ 3087917 w 4829175"/>
                <a:gd name="connsiteY480" fmla="*/ 4403565 h 6515100"/>
                <a:gd name="connsiteX481" fmla="*/ 2911834 w 4829175"/>
                <a:gd name="connsiteY481" fmla="*/ 4579647 h 6515100"/>
                <a:gd name="connsiteX482" fmla="*/ 3108180 w 4829175"/>
                <a:gd name="connsiteY482" fmla="*/ 4579647 h 6515100"/>
                <a:gd name="connsiteX483" fmla="*/ 3107481 w 4829175"/>
                <a:gd name="connsiteY483" fmla="*/ 4581045 h 6515100"/>
                <a:gd name="connsiteX484" fmla="*/ 3173163 w 4829175"/>
                <a:gd name="connsiteY484" fmla="*/ 4581045 h 6515100"/>
                <a:gd name="connsiteX485" fmla="*/ 3443575 w 4829175"/>
                <a:gd name="connsiteY485" fmla="*/ 4309934 h 6515100"/>
                <a:gd name="connsiteX486" fmla="*/ 3215951 w 4829175"/>
                <a:gd name="connsiteY486" fmla="*/ 4082896 h 6515100"/>
                <a:gd name="connsiteX487" fmla="*/ 3215596 w 4829175"/>
                <a:gd name="connsiteY487" fmla="*/ 4082896 h 6515100"/>
                <a:gd name="connsiteX488" fmla="*/ 3174371 w 4829175"/>
                <a:gd name="connsiteY488" fmla="*/ 4041670 h 6515100"/>
                <a:gd name="connsiteX489" fmla="*/ 3459004 w 4829175"/>
                <a:gd name="connsiteY489" fmla="*/ 4040971 h 6515100"/>
                <a:gd name="connsiteX490" fmla="*/ 3728660 w 4829175"/>
                <a:gd name="connsiteY490" fmla="*/ 4309934 h 6515100"/>
                <a:gd name="connsiteX491" fmla="*/ 3458248 w 4829175"/>
                <a:gd name="connsiteY491" fmla="*/ 4580346 h 6515100"/>
                <a:gd name="connsiteX492" fmla="*/ 3722372 w 4829175"/>
                <a:gd name="connsiteY492" fmla="*/ 4580346 h 6515100"/>
                <a:gd name="connsiteX493" fmla="*/ 3992783 w 4829175"/>
                <a:gd name="connsiteY493" fmla="*/ 4309934 h 6515100"/>
                <a:gd name="connsiteX494" fmla="*/ 3765160 w 4829175"/>
                <a:gd name="connsiteY494" fmla="*/ 4082896 h 6515100"/>
                <a:gd name="connsiteX495" fmla="*/ 3764107 w 4829175"/>
                <a:gd name="connsiteY495" fmla="*/ 4082896 h 6515100"/>
                <a:gd name="connsiteX496" fmla="*/ 3722183 w 4829175"/>
                <a:gd name="connsiteY496" fmla="*/ 4040971 h 6515100"/>
                <a:gd name="connsiteX497" fmla="*/ 4007520 w 4829175"/>
                <a:gd name="connsiteY497" fmla="*/ 4040272 h 6515100"/>
                <a:gd name="connsiteX498" fmla="*/ 4277869 w 4829175"/>
                <a:gd name="connsiteY498" fmla="*/ 4308536 h 6515100"/>
                <a:gd name="connsiteX499" fmla="*/ 4007457 w 4829175"/>
                <a:gd name="connsiteY499" fmla="*/ 4579647 h 6515100"/>
                <a:gd name="connsiteX500" fmla="*/ 4270882 w 4829175"/>
                <a:gd name="connsiteY500" fmla="*/ 4579647 h 6515100"/>
                <a:gd name="connsiteX501" fmla="*/ 4541294 w 4829175"/>
                <a:gd name="connsiteY501" fmla="*/ 4308536 h 6515100"/>
                <a:gd name="connsiteX502" fmla="*/ 4407136 w 4829175"/>
                <a:gd name="connsiteY502" fmla="*/ 4175077 h 6515100"/>
                <a:gd name="connsiteX503" fmla="*/ 4314482 w 4829175"/>
                <a:gd name="connsiteY503" fmla="*/ 4082896 h 6515100"/>
                <a:gd name="connsiteX504" fmla="*/ 4313316 w 4829175"/>
                <a:gd name="connsiteY504" fmla="*/ 4082896 h 6515100"/>
                <a:gd name="connsiteX505" fmla="*/ 4270692 w 4829175"/>
                <a:gd name="connsiteY505" fmla="*/ 4040272 h 6515100"/>
                <a:gd name="connsiteX506" fmla="*/ 2354051 w 4829175"/>
                <a:gd name="connsiteY506" fmla="*/ 3769161 h 6515100"/>
                <a:gd name="connsiteX507" fmla="*/ 2084461 w 4829175"/>
                <a:gd name="connsiteY507" fmla="*/ 4039450 h 6515100"/>
                <a:gd name="connsiteX508" fmla="*/ 2353542 w 4829175"/>
                <a:gd name="connsiteY508" fmla="*/ 4307838 h 6515100"/>
                <a:gd name="connsiteX509" fmla="*/ 2616967 w 4829175"/>
                <a:gd name="connsiteY509" fmla="*/ 4307838 h 6515100"/>
                <a:gd name="connsiteX510" fmla="*/ 2392140 w 4829175"/>
                <a:gd name="connsiteY510" fmla="*/ 4083594 h 6515100"/>
                <a:gd name="connsiteX511" fmla="*/ 2391783 w 4829175"/>
                <a:gd name="connsiteY511" fmla="*/ 4083594 h 6515100"/>
                <a:gd name="connsiteX512" fmla="*/ 2347762 w 4829175"/>
                <a:gd name="connsiteY512" fmla="*/ 4039573 h 6515100"/>
                <a:gd name="connsiteX513" fmla="*/ 2347884 w 4829175"/>
                <a:gd name="connsiteY513" fmla="*/ 4039452 h 6515100"/>
                <a:gd name="connsiteX514" fmla="*/ 2347254 w 4829175"/>
                <a:gd name="connsiteY514" fmla="*/ 4038823 h 6515100"/>
                <a:gd name="connsiteX515" fmla="*/ 2347952 w 4829175"/>
                <a:gd name="connsiteY515" fmla="*/ 4038124 h 6515100"/>
                <a:gd name="connsiteX516" fmla="*/ 2346555 w 4829175"/>
                <a:gd name="connsiteY516" fmla="*/ 4036727 h 6515100"/>
                <a:gd name="connsiteX517" fmla="*/ 2521938 w 4829175"/>
                <a:gd name="connsiteY517" fmla="*/ 3860644 h 6515100"/>
                <a:gd name="connsiteX518" fmla="*/ 2526691 w 4829175"/>
                <a:gd name="connsiteY518" fmla="*/ 3860644 h 6515100"/>
                <a:gd name="connsiteX519" fmla="*/ 2532230 w 4829175"/>
                <a:gd name="connsiteY519" fmla="*/ 3855106 h 6515100"/>
                <a:gd name="connsiteX520" fmla="*/ 2618174 w 4829175"/>
                <a:gd name="connsiteY520" fmla="*/ 3769161 h 6515100"/>
                <a:gd name="connsiteX521" fmla="*/ 1804842 w 4829175"/>
                <a:gd name="connsiteY521" fmla="*/ 3769161 h 6515100"/>
                <a:gd name="connsiteX522" fmla="*/ 1535948 w 4829175"/>
                <a:gd name="connsiteY522" fmla="*/ 4038751 h 6515100"/>
                <a:gd name="connsiteX523" fmla="*/ 1805731 w 4829175"/>
                <a:gd name="connsiteY523" fmla="*/ 4307838 h 6515100"/>
                <a:gd name="connsiteX524" fmla="*/ 2069155 w 4829175"/>
                <a:gd name="connsiteY524" fmla="*/ 4307838 h 6515100"/>
                <a:gd name="connsiteX525" fmla="*/ 1939190 w 4829175"/>
                <a:gd name="connsiteY525" fmla="*/ 4177872 h 6515100"/>
                <a:gd name="connsiteX526" fmla="*/ 1844912 w 4829175"/>
                <a:gd name="connsiteY526" fmla="*/ 4083594 h 6515100"/>
                <a:gd name="connsiteX527" fmla="*/ 1841875 w 4829175"/>
                <a:gd name="connsiteY527" fmla="*/ 4083594 h 6515100"/>
                <a:gd name="connsiteX528" fmla="*/ 1798553 w 4829175"/>
                <a:gd name="connsiteY528" fmla="*/ 4040272 h 6515100"/>
                <a:gd name="connsiteX529" fmla="*/ 1800069 w 4829175"/>
                <a:gd name="connsiteY529" fmla="*/ 4038752 h 6515100"/>
                <a:gd name="connsiteX530" fmla="*/ 1798743 w 4829175"/>
                <a:gd name="connsiteY530" fmla="*/ 4037426 h 6515100"/>
                <a:gd name="connsiteX531" fmla="*/ 1974825 w 4829175"/>
                <a:gd name="connsiteY531" fmla="*/ 3860644 h 6515100"/>
                <a:gd name="connsiteX532" fmla="*/ 1977718 w 4829175"/>
                <a:gd name="connsiteY532" fmla="*/ 3860644 h 6515100"/>
                <a:gd name="connsiteX533" fmla="*/ 2068965 w 4829175"/>
                <a:gd name="connsiteY533" fmla="*/ 3769161 h 6515100"/>
                <a:gd name="connsiteX534" fmla="*/ 1257031 w 4829175"/>
                <a:gd name="connsiteY534" fmla="*/ 3769161 h 6515100"/>
                <a:gd name="connsiteX535" fmla="*/ 987788 w 4829175"/>
                <a:gd name="connsiteY535" fmla="*/ 4039100 h 6515100"/>
                <a:gd name="connsiteX536" fmla="*/ 1257220 w 4829175"/>
                <a:gd name="connsiteY536" fmla="*/ 4307838 h 6515100"/>
                <a:gd name="connsiteX537" fmla="*/ 1519946 w 4829175"/>
                <a:gd name="connsiteY537" fmla="*/ 4307838 h 6515100"/>
                <a:gd name="connsiteX538" fmla="*/ 1294422 w 4829175"/>
                <a:gd name="connsiteY538" fmla="*/ 4082896 h 6515100"/>
                <a:gd name="connsiteX539" fmla="*/ 1293365 w 4829175"/>
                <a:gd name="connsiteY539" fmla="*/ 4082896 h 6515100"/>
                <a:gd name="connsiteX540" fmla="*/ 1250742 w 4829175"/>
                <a:gd name="connsiteY540" fmla="*/ 4040272 h 6515100"/>
                <a:gd name="connsiteX541" fmla="*/ 1251213 w 4829175"/>
                <a:gd name="connsiteY541" fmla="*/ 4039800 h 6515100"/>
                <a:gd name="connsiteX542" fmla="*/ 1249534 w 4829175"/>
                <a:gd name="connsiteY542" fmla="*/ 4038124 h 6515100"/>
                <a:gd name="connsiteX543" fmla="*/ 1250932 w 4829175"/>
                <a:gd name="connsiteY543" fmla="*/ 4036727 h 6515100"/>
                <a:gd name="connsiteX544" fmla="*/ 1426315 w 4829175"/>
                <a:gd name="connsiteY544" fmla="*/ 3860644 h 6515100"/>
                <a:gd name="connsiteX545" fmla="*/ 1429907 w 4829175"/>
                <a:gd name="connsiteY545" fmla="*/ 3860644 h 6515100"/>
                <a:gd name="connsiteX546" fmla="*/ 1521154 w 4829175"/>
                <a:gd name="connsiteY546" fmla="*/ 3769161 h 6515100"/>
                <a:gd name="connsiteX547" fmla="*/ 709219 w 4829175"/>
                <a:gd name="connsiteY547" fmla="*/ 3769161 h 6515100"/>
                <a:gd name="connsiteX548" fmla="*/ 438807 w 4829175"/>
                <a:gd name="connsiteY548" fmla="*/ 4040272 h 6515100"/>
                <a:gd name="connsiteX549" fmla="*/ 480732 w 4829175"/>
                <a:gd name="connsiteY549" fmla="*/ 4082197 h 6515100"/>
                <a:gd name="connsiteX550" fmla="*/ 480499 w 4829175"/>
                <a:gd name="connsiteY550" fmla="*/ 4082197 h 6515100"/>
                <a:gd name="connsiteX551" fmla="*/ 708011 w 4829175"/>
                <a:gd name="connsiteY551" fmla="*/ 4308536 h 6515100"/>
                <a:gd name="connsiteX552" fmla="*/ 972135 w 4829175"/>
                <a:gd name="connsiteY552" fmla="*/ 4308536 h 6515100"/>
                <a:gd name="connsiteX553" fmla="*/ 745211 w 4829175"/>
                <a:gd name="connsiteY553" fmla="*/ 4082197 h 6515100"/>
                <a:gd name="connsiteX554" fmla="*/ 744855 w 4829175"/>
                <a:gd name="connsiteY554" fmla="*/ 4082197 h 6515100"/>
                <a:gd name="connsiteX555" fmla="*/ 702930 w 4829175"/>
                <a:gd name="connsiteY555" fmla="*/ 4040272 h 6515100"/>
                <a:gd name="connsiteX556" fmla="*/ 703053 w 4829175"/>
                <a:gd name="connsiteY556" fmla="*/ 4040149 h 6515100"/>
                <a:gd name="connsiteX557" fmla="*/ 701024 w 4829175"/>
                <a:gd name="connsiteY557" fmla="*/ 4038124 h 6515100"/>
                <a:gd name="connsiteX558" fmla="*/ 878504 w 4829175"/>
                <a:gd name="connsiteY558" fmla="*/ 3860644 h 6515100"/>
                <a:gd name="connsiteX559" fmla="*/ 882095 w 4829175"/>
                <a:gd name="connsiteY559" fmla="*/ 3860644 h 6515100"/>
                <a:gd name="connsiteX560" fmla="*/ 973342 w 4829175"/>
                <a:gd name="connsiteY560" fmla="*/ 3769161 h 6515100"/>
                <a:gd name="connsiteX561" fmla="*/ 3451072 w 4829175"/>
                <a:gd name="connsiteY561" fmla="*/ 3767066 h 6515100"/>
                <a:gd name="connsiteX562" fmla="*/ 3181135 w 4829175"/>
                <a:gd name="connsiteY562" fmla="*/ 4037702 h 6515100"/>
                <a:gd name="connsiteX563" fmla="*/ 3312910 w 4829175"/>
                <a:gd name="connsiteY563" fmla="*/ 4168788 h 6515100"/>
                <a:gd name="connsiteX564" fmla="*/ 3312910 w 4829175"/>
                <a:gd name="connsiteY564" fmla="*/ 4169487 h 6515100"/>
                <a:gd name="connsiteX565" fmla="*/ 3450563 w 4829175"/>
                <a:gd name="connsiteY565" fmla="*/ 4306440 h 6515100"/>
                <a:gd name="connsiteX566" fmla="*/ 3714686 w 4829175"/>
                <a:gd name="connsiteY566" fmla="*/ 4306440 h 6515100"/>
                <a:gd name="connsiteX567" fmla="*/ 3490444 w 4829175"/>
                <a:gd name="connsiteY567" fmla="*/ 4082197 h 6515100"/>
                <a:gd name="connsiteX568" fmla="*/ 3489503 w 4829175"/>
                <a:gd name="connsiteY568" fmla="*/ 4082197 h 6515100"/>
                <a:gd name="connsiteX569" fmla="*/ 3444084 w 4829175"/>
                <a:gd name="connsiteY569" fmla="*/ 4036779 h 6515100"/>
                <a:gd name="connsiteX570" fmla="*/ 3444556 w 4829175"/>
                <a:gd name="connsiteY570" fmla="*/ 4036310 h 6515100"/>
                <a:gd name="connsiteX571" fmla="*/ 3444274 w 4829175"/>
                <a:gd name="connsiteY571" fmla="*/ 4036028 h 6515100"/>
                <a:gd name="connsiteX572" fmla="*/ 3618959 w 4829175"/>
                <a:gd name="connsiteY572" fmla="*/ 3860644 h 6515100"/>
                <a:gd name="connsiteX573" fmla="*/ 3621132 w 4829175"/>
                <a:gd name="connsiteY573" fmla="*/ 3860644 h 6515100"/>
                <a:gd name="connsiteX574" fmla="*/ 3715195 w 4829175"/>
                <a:gd name="connsiteY574" fmla="*/ 3767066 h 6515100"/>
                <a:gd name="connsiteX575" fmla="*/ 3999582 w 4829175"/>
                <a:gd name="connsiteY575" fmla="*/ 3766367 h 6515100"/>
                <a:gd name="connsiteX576" fmla="*/ 3729642 w 4829175"/>
                <a:gd name="connsiteY576" fmla="*/ 4037004 h 6515100"/>
                <a:gd name="connsiteX577" fmla="*/ 3999073 w 4829175"/>
                <a:gd name="connsiteY577" fmla="*/ 4305741 h 6515100"/>
                <a:gd name="connsiteX578" fmla="*/ 4263197 w 4829175"/>
                <a:gd name="connsiteY578" fmla="*/ 4305741 h 6515100"/>
                <a:gd name="connsiteX579" fmla="*/ 4039076 w 4829175"/>
                <a:gd name="connsiteY579" fmla="*/ 4082197 h 6515100"/>
                <a:gd name="connsiteX580" fmla="*/ 4038711 w 4829175"/>
                <a:gd name="connsiteY580" fmla="*/ 4082197 h 6515100"/>
                <a:gd name="connsiteX581" fmla="*/ 3992595 w 4829175"/>
                <a:gd name="connsiteY581" fmla="*/ 4036080 h 6515100"/>
                <a:gd name="connsiteX582" fmla="*/ 3992717 w 4829175"/>
                <a:gd name="connsiteY582" fmla="*/ 4035958 h 6515100"/>
                <a:gd name="connsiteX583" fmla="*/ 3992086 w 4829175"/>
                <a:gd name="connsiteY583" fmla="*/ 4035329 h 6515100"/>
                <a:gd name="connsiteX584" fmla="*/ 4166770 w 4829175"/>
                <a:gd name="connsiteY584" fmla="*/ 3860644 h 6515100"/>
                <a:gd name="connsiteX585" fmla="*/ 4168939 w 4829175"/>
                <a:gd name="connsiteY585" fmla="*/ 3860644 h 6515100"/>
                <a:gd name="connsiteX586" fmla="*/ 4263706 w 4829175"/>
                <a:gd name="connsiteY586" fmla="*/ 3766367 h 6515100"/>
                <a:gd name="connsiteX587" fmla="*/ 4547394 w 4829175"/>
                <a:gd name="connsiteY587" fmla="*/ 3765668 h 6515100"/>
                <a:gd name="connsiteX588" fmla="*/ 4277804 w 4829175"/>
                <a:gd name="connsiteY588" fmla="*/ 4035954 h 6515100"/>
                <a:gd name="connsiteX589" fmla="*/ 4410630 w 4829175"/>
                <a:gd name="connsiteY589" fmla="*/ 4168089 h 6515100"/>
                <a:gd name="connsiteX590" fmla="*/ 4547584 w 4829175"/>
                <a:gd name="connsiteY590" fmla="*/ 4305042 h 6515100"/>
                <a:gd name="connsiteX591" fmla="*/ 4811706 w 4829175"/>
                <a:gd name="connsiteY591" fmla="*/ 4305042 h 6515100"/>
                <a:gd name="connsiteX592" fmla="*/ 4588162 w 4829175"/>
                <a:gd name="connsiteY592" fmla="*/ 4081498 h 6515100"/>
                <a:gd name="connsiteX593" fmla="*/ 4587920 w 4829175"/>
                <a:gd name="connsiteY593" fmla="*/ 4081498 h 6515100"/>
                <a:gd name="connsiteX594" fmla="*/ 4541105 w 4829175"/>
                <a:gd name="connsiteY594" fmla="*/ 4035381 h 6515100"/>
                <a:gd name="connsiteX595" fmla="*/ 4541576 w 4829175"/>
                <a:gd name="connsiteY595" fmla="*/ 4034912 h 6515100"/>
                <a:gd name="connsiteX596" fmla="*/ 4541294 w 4829175"/>
                <a:gd name="connsiteY596" fmla="*/ 4034630 h 6515100"/>
                <a:gd name="connsiteX597" fmla="*/ 4542692 w 4829175"/>
                <a:gd name="connsiteY597" fmla="*/ 4033233 h 6515100"/>
                <a:gd name="connsiteX598" fmla="*/ 4714582 w 4829175"/>
                <a:gd name="connsiteY598" fmla="*/ 3860644 h 6515100"/>
                <a:gd name="connsiteX599" fmla="*/ 4716295 w 4829175"/>
                <a:gd name="connsiteY599" fmla="*/ 3860644 h 6515100"/>
                <a:gd name="connsiteX600" fmla="*/ 4811517 w 4829175"/>
                <a:gd name="connsiteY600" fmla="*/ 3765668 h 6515100"/>
                <a:gd name="connsiteX601" fmla="*/ 1264018 w 4829175"/>
                <a:gd name="connsiteY601" fmla="*/ 3493858 h 6515100"/>
                <a:gd name="connsiteX602" fmla="*/ 1535828 w 4829175"/>
                <a:gd name="connsiteY602" fmla="*/ 3763572 h 6515100"/>
                <a:gd name="connsiteX603" fmla="*/ 1266165 w 4829175"/>
                <a:gd name="connsiteY603" fmla="*/ 4033931 h 6515100"/>
                <a:gd name="connsiteX604" fmla="*/ 1527632 w 4829175"/>
                <a:gd name="connsiteY604" fmla="*/ 4033931 h 6515100"/>
                <a:gd name="connsiteX605" fmla="*/ 1700221 w 4829175"/>
                <a:gd name="connsiteY605" fmla="*/ 3860644 h 6515100"/>
                <a:gd name="connsiteX606" fmla="*/ 1702878 w 4829175"/>
                <a:gd name="connsiteY606" fmla="*/ 3860644 h 6515100"/>
                <a:gd name="connsiteX607" fmla="*/ 1799252 w 4829175"/>
                <a:gd name="connsiteY607" fmla="*/ 3764270 h 6515100"/>
                <a:gd name="connsiteX608" fmla="*/ 1665094 w 4829175"/>
                <a:gd name="connsiteY608" fmla="*/ 3630811 h 6515100"/>
                <a:gd name="connsiteX609" fmla="*/ 1528141 w 4829175"/>
                <a:gd name="connsiteY609" fmla="*/ 3493858 h 6515100"/>
                <a:gd name="connsiteX610" fmla="*/ 715508 w 4829175"/>
                <a:gd name="connsiteY610" fmla="*/ 3493858 h 6515100"/>
                <a:gd name="connsiteX611" fmla="*/ 986618 w 4829175"/>
                <a:gd name="connsiteY611" fmla="*/ 3764270 h 6515100"/>
                <a:gd name="connsiteX612" fmla="*/ 716955 w 4829175"/>
                <a:gd name="connsiteY612" fmla="*/ 4034630 h 6515100"/>
                <a:gd name="connsiteX613" fmla="*/ 979122 w 4829175"/>
                <a:gd name="connsiteY613" fmla="*/ 4034630 h 6515100"/>
                <a:gd name="connsiteX614" fmla="*/ 1067862 w 4829175"/>
                <a:gd name="connsiteY614" fmla="*/ 3945192 h 6515100"/>
                <a:gd name="connsiteX615" fmla="*/ 1152410 w 4829175"/>
                <a:gd name="connsiteY615" fmla="*/ 3860644 h 6515100"/>
                <a:gd name="connsiteX616" fmla="*/ 1154616 w 4829175"/>
                <a:gd name="connsiteY616" fmla="*/ 3860644 h 6515100"/>
                <a:gd name="connsiteX617" fmla="*/ 1250742 w 4829175"/>
                <a:gd name="connsiteY617" fmla="*/ 3764270 h 6515100"/>
                <a:gd name="connsiteX618" fmla="*/ 979631 w 4829175"/>
                <a:gd name="connsiteY618" fmla="*/ 3493858 h 6515100"/>
                <a:gd name="connsiteX619" fmla="*/ 165601 w 4829175"/>
                <a:gd name="connsiteY619" fmla="*/ 3493858 h 6515100"/>
                <a:gd name="connsiteX620" fmla="*/ 436711 w 4829175"/>
                <a:gd name="connsiteY620" fmla="*/ 3764270 h 6515100"/>
                <a:gd name="connsiteX621" fmla="*/ 438108 w 4829175"/>
                <a:gd name="connsiteY621" fmla="*/ 3764969 h 6515100"/>
                <a:gd name="connsiteX622" fmla="*/ 169094 w 4829175"/>
                <a:gd name="connsiteY622" fmla="*/ 4034682 h 6515100"/>
                <a:gd name="connsiteX623" fmla="*/ 365440 w 4829175"/>
                <a:gd name="connsiteY623" fmla="*/ 4034682 h 6515100"/>
                <a:gd name="connsiteX624" fmla="*/ 365116 w 4829175"/>
                <a:gd name="connsiteY624" fmla="*/ 4035329 h 6515100"/>
                <a:gd name="connsiteX625" fmla="*/ 430612 w 4829175"/>
                <a:gd name="connsiteY625" fmla="*/ 4035329 h 6515100"/>
                <a:gd name="connsiteX626" fmla="*/ 604598 w 4829175"/>
                <a:gd name="connsiteY626" fmla="*/ 3860644 h 6515100"/>
                <a:gd name="connsiteX627" fmla="*/ 606802 w 4829175"/>
                <a:gd name="connsiteY627" fmla="*/ 3860644 h 6515100"/>
                <a:gd name="connsiteX628" fmla="*/ 701533 w 4829175"/>
                <a:gd name="connsiteY628" fmla="*/ 3765668 h 6515100"/>
                <a:gd name="connsiteX629" fmla="*/ 430423 w 4829175"/>
                <a:gd name="connsiteY629" fmla="*/ 3495256 h 6515100"/>
                <a:gd name="connsiteX630" fmla="*/ 362644 w 4829175"/>
                <a:gd name="connsiteY630" fmla="*/ 3493858 h 6515100"/>
                <a:gd name="connsiteX631" fmla="*/ 2361039 w 4829175"/>
                <a:gd name="connsiteY631" fmla="*/ 3493160 h 6515100"/>
                <a:gd name="connsiteX632" fmla="*/ 2631451 w 4829175"/>
                <a:gd name="connsiteY632" fmla="*/ 3762174 h 6515100"/>
                <a:gd name="connsiteX633" fmla="*/ 2628655 w 4829175"/>
                <a:gd name="connsiteY633" fmla="*/ 3764969 h 6515100"/>
                <a:gd name="connsiteX634" fmla="*/ 2538519 w 4829175"/>
                <a:gd name="connsiteY634" fmla="*/ 3855806 h 6515100"/>
                <a:gd name="connsiteX635" fmla="*/ 2361789 w 4829175"/>
                <a:gd name="connsiteY635" fmla="*/ 4032535 h 6515100"/>
                <a:gd name="connsiteX636" fmla="*/ 2624653 w 4829175"/>
                <a:gd name="connsiteY636" fmla="*/ 4032535 h 6515100"/>
                <a:gd name="connsiteX637" fmla="*/ 2795844 w 4829175"/>
                <a:gd name="connsiteY637" fmla="*/ 3860644 h 6515100"/>
                <a:gd name="connsiteX638" fmla="*/ 2797802 w 4829175"/>
                <a:gd name="connsiteY638" fmla="*/ 3860644 h 6515100"/>
                <a:gd name="connsiteX639" fmla="*/ 2895574 w 4829175"/>
                <a:gd name="connsiteY639" fmla="*/ 3762873 h 6515100"/>
                <a:gd name="connsiteX640" fmla="*/ 2625162 w 4829175"/>
                <a:gd name="connsiteY640" fmla="*/ 3493160 h 6515100"/>
                <a:gd name="connsiteX641" fmla="*/ 1812528 w 4829175"/>
                <a:gd name="connsiteY641" fmla="*/ 3493160 h 6515100"/>
                <a:gd name="connsiteX642" fmla="*/ 1813926 w 4829175"/>
                <a:gd name="connsiteY642" fmla="*/ 3494557 h 6515100"/>
                <a:gd name="connsiteX643" fmla="*/ 2083639 w 4829175"/>
                <a:gd name="connsiteY643" fmla="*/ 3763572 h 6515100"/>
                <a:gd name="connsiteX644" fmla="*/ 1814673 w 4829175"/>
                <a:gd name="connsiteY644" fmla="*/ 4033233 h 6515100"/>
                <a:gd name="connsiteX645" fmla="*/ 2076143 w 4829175"/>
                <a:gd name="connsiteY645" fmla="*/ 4033233 h 6515100"/>
                <a:gd name="connsiteX646" fmla="*/ 2248033 w 4829175"/>
                <a:gd name="connsiteY646" fmla="*/ 3860644 h 6515100"/>
                <a:gd name="connsiteX647" fmla="*/ 2250940 w 4829175"/>
                <a:gd name="connsiteY647" fmla="*/ 3860644 h 6515100"/>
                <a:gd name="connsiteX648" fmla="*/ 2347762 w 4829175"/>
                <a:gd name="connsiteY648" fmla="*/ 3763572 h 6515100"/>
                <a:gd name="connsiteX649" fmla="*/ 2342173 w 4829175"/>
                <a:gd name="connsiteY649" fmla="*/ 3758681 h 6515100"/>
                <a:gd name="connsiteX650" fmla="*/ 2076652 w 4829175"/>
                <a:gd name="connsiteY650" fmla="*/ 3493160 h 6515100"/>
                <a:gd name="connsiteX651" fmla="*/ 4005871 w 4829175"/>
                <a:gd name="connsiteY651" fmla="*/ 3491064 h 6515100"/>
                <a:gd name="connsiteX652" fmla="*/ 4277680 w 4829175"/>
                <a:gd name="connsiteY652" fmla="*/ 3760776 h 6515100"/>
                <a:gd name="connsiteX653" fmla="*/ 4008016 w 4829175"/>
                <a:gd name="connsiteY653" fmla="*/ 4031137 h 6515100"/>
                <a:gd name="connsiteX654" fmla="*/ 4270183 w 4829175"/>
                <a:gd name="connsiteY654" fmla="*/ 4031137 h 6515100"/>
                <a:gd name="connsiteX655" fmla="*/ 4359622 w 4829175"/>
                <a:gd name="connsiteY655" fmla="*/ 3941698 h 6515100"/>
                <a:gd name="connsiteX656" fmla="*/ 4440676 w 4829175"/>
                <a:gd name="connsiteY656" fmla="*/ 3860644 h 6515100"/>
                <a:gd name="connsiteX657" fmla="*/ 4441937 w 4829175"/>
                <a:gd name="connsiteY657" fmla="*/ 3860644 h 6515100"/>
                <a:gd name="connsiteX658" fmla="*/ 4541105 w 4829175"/>
                <a:gd name="connsiteY658" fmla="*/ 3761476 h 6515100"/>
                <a:gd name="connsiteX659" fmla="*/ 4406947 w 4829175"/>
                <a:gd name="connsiteY659" fmla="*/ 3628017 h 6515100"/>
                <a:gd name="connsiteX660" fmla="*/ 4269994 w 4829175"/>
                <a:gd name="connsiteY660" fmla="*/ 3491064 h 6515100"/>
                <a:gd name="connsiteX661" fmla="*/ 3721484 w 4829175"/>
                <a:gd name="connsiteY661" fmla="*/ 3490365 h 6515100"/>
                <a:gd name="connsiteX662" fmla="*/ 3457360 w 4829175"/>
                <a:gd name="connsiteY662" fmla="*/ 3491064 h 6515100"/>
                <a:gd name="connsiteX663" fmla="*/ 3728471 w 4829175"/>
                <a:gd name="connsiteY663" fmla="*/ 3761476 h 6515100"/>
                <a:gd name="connsiteX664" fmla="*/ 3458808 w 4829175"/>
                <a:gd name="connsiteY664" fmla="*/ 4031836 h 6515100"/>
                <a:gd name="connsiteX665" fmla="*/ 3721674 w 4829175"/>
                <a:gd name="connsiteY665" fmla="*/ 4031836 h 6515100"/>
                <a:gd name="connsiteX666" fmla="*/ 3892166 w 4829175"/>
                <a:gd name="connsiteY666" fmla="*/ 3859946 h 6515100"/>
                <a:gd name="connsiteX667" fmla="*/ 3893935 w 4829175"/>
                <a:gd name="connsiteY667" fmla="*/ 3859946 h 6515100"/>
                <a:gd name="connsiteX668" fmla="*/ 3992595 w 4829175"/>
                <a:gd name="connsiteY668" fmla="*/ 3760776 h 6515100"/>
                <a:gd name="connsiteX669" fmla="*/ 707821 w 4829175"/>
                <a:gd name="connsiteY669" fmla="*/ 3220651 h 6515100"/>
                <a:gd name="connsiteX670" fmla="*/ 437409 w 4829175"/>
                <a:gd name="connsiteY670" fmla="*/ 3491762 h 6515100"/>
                <a:gd name="connsiteX671" fmla="*/ 570170 w 4829175"/>
                <a:gd name="connsiteY671" fmla="*/ 3623824 h 6515100"/>
                <a:gd name="connsiteX672" fmla="*/ 708520 w 4829175"/>
                <a:gd name="connsiteY672" fmla="*/ 3761476 h 6515100"/>
                <a:gd name="connsiteX673" fmla="*/ 972643 w 4829175"/>
                <a:gd name="connsiteY673" fmla="*/ 3761476 h 6515100"/>
                <a:gd name="connsiteX674" fmla="*/ 701533 w 4829175"/>
                <a:gd name="connsiteY674" fmla="*/ 3491064 h 6515100"/>
                <a:gd name="connsiteX675" fmla="*/ 971945 w 4829175"/>
                <a:gd name="connsiteY675" fmla="*/ 3220651 h 6515100"/>
                <a:gd name="connsiteX676" fmla="*/ 1256332 w 4829175"/>
                <a:gd name="connsiteY676" fmla="*/ 3219953 h 6515100"/>
                <a:gd name="connsiteX677" fmla="*/ 985920 w 4829175"/>
                <a:gd name="connsiteY677" fmla="*/ 3491064 h 6515100"/>
                <a:gd name="connsiteX678" fmla="*/ 1257031 w 4829175"/>
                <a:gd name="connsiteY678" fmla="*/ 3761476 h 6515100"/>
                <a:gd name="connsiteX679" fmla="*/ 1521154 w 4829175"/>
                <a:gd name="connsiteY679" fmla="*/ 3760776 h 6515100"/>
                <a:gd name="connsiteX680" fmla="*/ 1250043 w 4829175"/>
                <a:gd name="connsiteY680" fmla="*/ 3490365 h 6515100"/>
                <a:gd name="connsiteX681" fmla="*/ 1434510 w 4829175"/>
                <a:gd name="connsiteY681" fmla="*/ 3305898 h 6515100"/>
                <a:gd name="connsiteX682" fmla="*/ 1520455 w 4829175"/>
                <a:gd name="connsiteY682" fmla="*/ 3219953 h 6515100"/>
                <a:gd name="connsiteX683" fmla="*/ 1804143 w 4829175"/>
                <a:gd name="connsiteY683" fmla="*/ 3219255 h 6515100"/>
                <a:gd name="connsiteX684" fmla="*/ 1623869 w 4829175"/>
                <a:gd name="connsiteY684" fmla="*/ 3400228 h 6515100"/>
                <a:gd name="connsiteX685" fmla="*/ 1534430 w 4829175"/>
                <a:gd name="connsiteY685" fmla="*/ 3490365 h 6515100"/>
                <a:gd name="connsiteX686" fmla="*/ 1668588 w 4829175"/>
                <a:gd name="connsiteY686" fmla="*/ 3623824 h 6515100"/>
                <a:gd name="connsiteX687" fmla="*/ 1805541 w 4829175"/>
                <a:gd name="connsiteY687" fmla="*/ 3760776 h 6515100"/>
                <a:gd name="connsiteX688" fmla="*/ 2069664 w 4829175"/>
                <a:gd name="connsiteY688" fmla="*/ 3760078 h 6515100"/>
                <a:gd name="connsiteX689" fmla="*/ 1798553 w 4829175"/>
                <a:gd name="connsiteY689" fmla="*/ 3489666 h 6515100"/>
                <a:gd name="connsiteX690" fmla="*/ 1799951 w 4829175"/>
                <a:gd name="connsiteY690" fmla="*/ 3488269 h 6515100"/>
                <a:gd name="connsiteX691" fmla="*/ 2068266 w 4829175"/>
                <a:gd name="connsiteY691" fmla="*/ 3219255 h 6515100"/>
                <a:gd name="connsiteX692" fmla="*/ 2353352 w 4829175"/>
                <a:gd name="connsiteY692" fmla="*/ 3218555 h 6515100"/>
                <a:gd name="connsiteX693" fmla="*/ 2082940 w 4829175"/>
                <a:gd name="connsiteY693" fmla="*/ 3489666 h 6515100"/>
                <a:gd name="connsiteX694" fmla="*/ 2354051 w 4829175"/>
                <a:gd name="connsiteY694" fmla="*/ 3760078 h 6515100"/>
                <a:gd name="connsiteX695" fmla="*/ 2618174 w 4829175"/>
                <a:gd name="connsiteY695" fmla="*/ 3760078 h 6515100"/>
                <a:gd name="connsiteX696" fmla="*/ 2347064 w 4829175"/>
                <a:gd name="connsiteY696" fmla="*/ 3489666 h 6515100"/>
                <a:gd name="connsiteX697" fmla="*/ 2617476 w 4829175"/>
                <a:gd name="connsiteY697" fmla="*/ 3218555 h 6515100"/>
                <a:gd name="connsiteX698" fmla="*/ 3449674 w 4829175"/>
                <a:gd name="connsiteY698" fmla="*/ 3217158 h 6515100"/>
                <a:gd name="connsiteX699" fmla="*/ 3179262 w 4829175"/>
                <a:gd name="connsiteY699" fmla="*/ 3488269 h 6515100"/>
                <a:gd name="connsiteX700" fmla="*/ 3450373 w 4829175"/>
                <a:gd name="connsiteY700" fmla="*/ 3758681 h 6515100"/>
                <a:gd name="connsiteX701" fmla="*/ 3714496 w 4829175"/>
                <a:gd name="connsiteY701" fmla="*/ 3758681 h 6515100"/>
                <a:gd name="connsiteX702" fmla="*/ 3443385 w 4829175"/>
                <a:gd name="connsiteY702" fmla="*/ 3488269 h 6515100"/>
                <a:gd name="connsiteX703" fmla="*/ 3713797 w 4829175"/>
                <a:gd name="connsiteY703" fmla="*/ 3217158 h 6515100"/>
                <a:gd name="connsiteX704" fmla="*/ 3998184 w 4829175"/>
                <a:gd name="connsiteY704" fmla="*/ 3216459 h 6515100"/>
                <a:gd name="connsiteX705" fmla="*/ 3727772 w 4829175"/>
                <a:gd name="connsiteY705" fmla="*/ 3487570 h 6515100"/>
                <a:gd name="connsiteX706" fmla="*/ 3998883 w 4829175"/>
                <a:gd name="connsiteY706" fmla="*/ 3757982 h 6515100"/>
                <a:gd name="connsiteX707" fmla="*/ 4263007 w 4829175"/>
                <a:gd name="connsiteY707" fmla="*/ 3757283 h 6515100"/>
                <a:gd name="connsiteX708" fmla="*/ 3991896 w 4829175"/>
                <a:gd name="connsiteY708" fmla="*/ 3486871 h 6515100"/>
                <a:gd name="connsiteX709" fmla="*/ 4176362 w 4829175"/>
                <a:gd name="connsiteY709" fmla="*/ 3302404 h 6515100"/>
                <a:gd name="connsiteX710" fmla="*/ 4177062 w 4829175"/>
                <a:gd name="connsiteY710" fmla="*/ 3302404 h 6515100"/>
                <a:gd name="connsiteX711" fmla="*/ 4262308 w 4829175"/>
                <a:gd name="connsiteY711" fmla="*/ 3216459 h 6515100"/>
                <a:gd name="connsiteX712" fmla="*/ 4546695 w 4829175"/>
                <a:gd name="connsiteY712" fmla="*/ 3215760 h 6515100"/>
                <a:gd name="connsiteX713" fmla="*/ 4366420 w 4829175"/>
                <a:gd name="connsiteY713" fmla="*/ 3396734 h 6515100"/>
                <a:gd name="connsiteX714" fmla="*/ 4365722 w 4829175"/>
                <a:gd name="connsiteY714" fmla="*/ 3396734 h 6515100"/>
                <a:gd name="connsiteX715" fmla="*/ 4276282 w 4829175"/>
                <a:gd name="connsiteY715" fmla="*/ 3486871 h 6515100"/>
                <a:gd name="connsiteX716" fmla="*/ 4410440 w 4829175"/>
                <a:gd name="connsiteY716" fmla="*/ 3620330 h 6515100"/>
                <a:gd name="connsiteX717" fmla="*/ 4547394 w 4829175"/>
                <a:gd name="connsiteY717" fmla="*/ 3757283 h 6515100"/>
                <a:gd name="connsiteX718" fmla="*/ 4811517 w 4829175"/>
                <a:gd name="connsiteY718" fmla="*/ 3757283 h 6515100"/>
                <a:gd name="connsiteX719" fmla="*/ 4540406 w 4829175"/>
                <a:gd name="connsiteY719" fmla="*/ 3486871 h 6515100"/>
                <a:gd name="connsiteX720" fmla="*/ 4542503 w 4829175"/>
                <a:gd name="connsiteY720" fmla="*/ 3485473 h 6515100"/>
                <a:gd name="connsiteX721" fmla="*/ 4810119 w 4829175"/>
                <a:gd name="connsiteY721" fmla="*/ 3215760 h 6515100"/>
                <a:gd name="connsiteX722" fmla="*/ 1263319 w 4829175"/>
                <a:gd name="connsiteY722" fmla="*/ 2946047 h 6515100"/>
                <a:gd name="connsiteX723" fmla="*/ 1534430 w 4829175"/>
                <a:gd name="connsiteY723" fmla="*/ 3215760 h 6515100"/>
                <a:gd name="connsiteX724" fmla="*/ 1531636 w 4829175"/>
                <a:gd name="connsiteY724" fmla="*/ 3218555 h 6515100"/>
                <a:gd name="connsiteX725" fmla="*/ 1441498 w 4829175"/>
                <a:gd name="connsiteY725" fmla="*/ 3309391 h 6515100"/>
                <a:gd name="connsiteX726" fmla="*/ 1264018 w 4829175"/>
                <a:gd name="connsiteY726" fmla="*/ 3486871 h 6515100"/>
                <a:gd name="connsiteX727" fmla="*/ 1528141 w 4829175"/>
                <a:gd name="connsiteY727" fmla="*/ 3486871 h 6515100"/>
                <a:gd name="connsiteX728" fmla="*/ 1617580 w 4829175"/>
                <a:gd name="connsiteY728" fmla="*/ 3397432 h 6515100"/>
                <a:gd name="connsiteX729" fmla="*/ 1798553 w 4829175"/>
                <a:gd name="connsiteY729" fmla="*/ 3216459 h 6515100"/>
                <a:gd name="connsiteX730" fmla="*/ 1527442 w 4829175"/>
                <a:gd name="connsiteY730" fmla="*/ 2946047 h 6515100"/>
                <a:gd name="connsiteX731" fmla="*/ 714809 w 4829175"/>
                <a:gd name="connsiteY731" fmla="*/ 2946047 h 6515100"/>
                <a:gd name="connsiteX732" fmla="*/ 843377 w 4829175"/>
                <a:gd name="connsiteY732" fmla="*/ 3074615 h 6515100"/>
                <a:gd name="connsiteX733" fmla="*/ 985221 w 4829175"/>
                <a:gd name="connsiteY733" fmla="*/ 3216459 h 6515100"/>
                <a:gd name="connsiteX734" fmla="*/ 714809 w 4829175"/>
                <a:gd name="connsiteY734" fmla="*/ 3487570 h 6515100"/>
                <a:gd name="connsiteX735" fmla="*/ 978932 w 4829175"/>
                <a:gd name="connsiteY735" fmla="*/ 3487570 h 6515100"/>
                <a:gd name="connsiteX736" fmla="*/ 1249344 w 4829175"/>
                <a:gd name="connsiteY736" fmla="*/ 3216459 h 6515100"/>
                <a:gd name="connsiteX737" fmla="*/ 1244453 w 4829175"/>
                <a:gd name="connsiteY737" fmla="*/ 3211568 h 6515100"/>
                <a:gd name="connsiteX738" fmla="*/ 978932 w 4829175"/>
                <a:gd name="connsiteY738" fmla="*/ 2946047 h 6515100"/>
                <a:gd name="connsiteX739" fmla="*/ 164902 w 4829175"/>
                <a:gd name="connsiteY739" fmla="*/ 2946047 h 6515100"/>
                <a:gd name="connsiteX740" fmla="*/ 436013 w 4829175"/>
                <a:gd name="connsiteY740" fmla="*/ 3215760 h 6515100"/>
                <a:gd name="connsiteX741" fmla="*/ 433217 w 4829175"/>
                <a:gd name="connsiteY741" fmla="*/ 3218555 h 6515100"/>
                <a:gd name="connsiteX742" fmla="*/ 343079 w 4829175"/>
                <a:gd name="connsiteY742" fmla="*/ 3309391 h 6515100"/>
                <a:gd name="connsiteX743" fmla="*/ 165601 w 4829175"/>
                <a:gd name="connsiteY743" fmla="*/ 3486871 h 6515100"/>
                <a:gd name="connsiteX744" fmla="*/ 429724 w 4829175"/>
                <a:gd name="connsiteY744" fmla="*/ 3486871 h 6515100"/>
                <a:gd name="connsiteX745" fmla="*/ 519162 w 4829175"/>
                <a:gd name="connsiteY745" fmla="*/ 3397432 h 6515100"/>
                <a:gd name="connsiteX746" fmla="*/ 700136 w 4829175"/>
                <a:gd name="connsiteY746" fmla="*/ 3216459 h 6515100"/>
                <a:gd name="connsiteX747" fmla="*/ 429025 w 4829175"/>
                <a:gd name="connsiteY747" fmla="*/ 2946047 h 6515100"/>
                <a:gd name="connsiteX748" fmla="*/ 2908151 w 4829175"/>
                <a:gd name="connsiteY748" fmla="*/ 2945348 h 6515100"/>
                <a:gd name="connsiteX749" fmla="*/ 3179262 w 4829175"/>
                <a:gd name="connsiteY749" fmla="*/ 3215760 h 6515100"/>
                <a:gd name="connsiteX750" fmla="*/ 2908850 w 4829175"/>
                <a:gd name="connsiteY750" fmla="*/ 3486871 h 6515100"/>
                <a:gd name="connsiteX751" fmla="*/ 3107292 w 4829175"/>
                <a:gd name="connsiteY751" fmla="*/ 3486871 h 6515100"/>
                <a:gd name="connsiteX752" fmla="*/ 3103798 w 4829175"/>
                <a:gd name="connsiteY752" fmla="*/ 3493858 h 6515100"/>
                <a:gd name="connsiteX753" fmla="*/ 2908850 w 4829175"/>
                <a:gd name="connsiteY753" fmla="*/ 3493858 h 6515100"/>
                <a:gd name="connsiteX754" fmla="*/ 3038815 w 4829175"/>
                <a:gd name="connsiteY754" fmla="*/ 3623824 h 6515100"/>
                <a:gd name="connsiteX755" fmla="*/ 3035322 w 4829175"/>
                <a:gd name="connsiteY755" fmla="*/ 3630811 h 6515100"/>
                <a:gd name="connsiteX756" fmla="*/ 2894875 w 4829175"/>
                <a:gd name="connsiteY756" fmla="*/ 3490365 h 6515100"/>
                <a:gd name="connsiteX757" fmla="*/ 3165287 w 4829175"/>
                <a:gd name="connsiteY757" fmla="*/ 3219255 h 6515100"/>
                <a:gd name="connsiteX758" fmla="*/ 2901164 w 4829175"/>
                <a:gd name="connsiteY758" fmla="*/ 3219255 h 6515100"/>
                <a:gd name="connsiteX759" fmla="*/ 2630752 w 4829175"/>
                <a:gd name="connsiteY759" fmla="*/ 3490365 h 6515100"/>
                <a:gd name="connsiteX760" fmla="*/ 2901863 w 4829175"/>
                <a:gd name="connsiteY760" fmla="*/ 3760776 h 6515100"/>
                <a:gd name="connsiteX761" fmla="*/ 2970339 w 4829175"/>
                <a:gd name="connsiteY761" fmla="*/ 3760776 h 6515100"/>
                <a:gd name="connsiteX762" fmla="*/ 2966846 w 4829175"/>
                <a:gd name="connsiteY762" fmla="*/ 3767764 h 6515100"/>
                <a:gd name="connsiteX763" fmla="*/ 2901863 w 4829175"/>
                <a:gd name="connsiteY763" fmla="*/ 3767764 h 6515100"/>
                <a:gd name="connsiteX764" fmla="*/ 2721588 w 4829175"/>
                <a:gd name="connsiteY764" fmla="*/ 3948738 h 6515100"/>
                <a:gd name="connsiteX765" fmla="*/ 2633317 w 4829175"/>
                <a:gd name="connsiteY765" fmla="*/ 4037700 h 6515100"/>
                <a:gd name="connsiteX766" fmla="*/ 2902751 w 4829175"/>
                <a:gd name="connsiteY766" fmla="*/ 4306440 h 6515100"/>
                <a:gd name="connsiteX767" fmla="*/ 3165477 w 4829175"/>
                <a:gd name="connsiteY767" fmla="*/ 4306440 h 6515100"/>
                <a:gd name="connsiteX768" fmla="*/ 3036210 w 4829175"/>
                <a:gd name="connsiteY768" fmla="*/ 4177174 h 6515100"/>
                <a:gd name="connsiteX769" fmla="*/ 3036909 w 4829175"/>
                <a:gd name="connsiteY769" fmla="*/ 4176475 h 6515100"/>
                <a:gd name="connsiteX770" fmla="*/ 2942163 w 4829175"/>
                <a:gd name="connsiteY770" fmla="*/ 4082197 h 6515100"/>
                <a:gd name="connsiteX771" fmla="*/ 2940992 w 4829175"/>
                <a:gd name="connsiteY771" fmla="*/ 4082197 h 6515100"/>
                <a:gd name="connsiteX772" fmla="*/ 2896273 w 4829175"/>
                <a:gd name="connsiteY772" fmla="*/ 4037478 h 6515100"/>
                <a:gd name="connsiteX773" fmla="*/ 2896745 w 4829175"/>
                <a:gd name="connsiteY773" fmla="*/ 4037005 h 6515100"/>
                <a:gd name="connsiteX774" fmla="*/ 2895764 w 4829175"/>
                <a:gd name="connsiteY774" fmla="*/ 4036028 h 6515100"/>
                <a:gd name="connsiteX775" fmla="*/ 3070448 w 4829175"/>
                <a:gd name="connsiteY775" fmla="*/ 3860644 h 6515100"/>
                <a:gd name="connsiteX776" fmla="*/ 3072651 w 4829175"/>
                <a:gd name="connsiteY776" fmla="*/ 3860644 h 6515100"/>
                <a:gd name="connsiteX777" fmla="*/ 3165986 w 4829175"/>
                <a:gd name="connsiteY777" fmla="*/ 3767066 h 6515100"/>
                <a:gd name="connsiteX778" fmla="*/ 2967543 w 4829175"/>
                <a:gd name="connsiteY778" fmla="*/ 3767066 h 6515100"/>
                <a:gd name="connsiteX779" fmla="*/ 2971038 w 4829175"/>
                <a:gd name="connsiteY779" fmla="*/ 3760078 h 6515100"/>
                <a:gd name="connsiteX780" fmla="*/ 3165986 w 4829175"/>
                <a:gd name="connsiteY780" fmla="*/ 3760078 h 6515100"/>
                <a:gd name="connsiteX781" fmla="*/ 3036021 w 4829175"/>
                <a:gd name="connsiteY781" fmla="*/ 3630113 h 6515100"/>
                <a:gd name="connsiteX782" fmla="*/ 3039514 w 4829175"/>
                <a:gd name="connsiteY782" fmla="*/ 3623126 h 6515100"/>
                <a:gd name="connsiteX783" fmla="*/ 3179961 w 4829175"/>
                <a:gd name="connsiteY783" fmla="*/ 3763572 h 6515100"/>
                <a:gd name="connsiteX784" fmla="*/ 2912388 w 4829175"/>
                <a:gd name="connsiteY784" fmla="*/ 4031836 h 6515100"/>
                <a:gd name="connsiteX785" fmla="*/ 3173163 w 4829175"/>
                <a:gd name="connsiteY785" fmla="*/ 4031836 h 6515100"/>
                <a:gd name="connsiteX786" fmla="*/ 3262601 w 4829175"/>
                <a:gd name="connsiteY786" fmla="*/ 3942397 h 6515100"/>
                <a:gd name="connsiteX787" fmla="*/ 3344354 w 4829175"/>
                <a:gd name="connsiteY787" fmla="*/ 3860644 h 6515100"/>
                <a:gd name="connsiteX788" fmla="*/ 3347262 w 4829175"/>
                <a:gd name="connsiteY788" fmla="*/ 3860644 h 6515100"/>
                <a:gd name="connsiteX789" fmla="*/ 3444084 w 4829175"/>
                <a:gd name="connsiteY789" fmla="*/ 3763572 h 6515100"/>
                <a:gd name="connsiteX790" fmla="*/ 3172973 w 4829175"/>
                <a:gd name="connsiteY790" fmla="*/ 3493858 h 6515100"/>
                <a:gd name="connsiteX791" fmla="*/ 3104497 w 4829175"/>
                <a:gd name="connsiteY791" fmla="*/ 3493858 h 6515100"/>
                <a:gd name="connsiteX792" fmla="*/ 3107990 w 4829175"/>
                <a:gd name="connsiteY792" fmla="*/ 3486871 h 6515100"/>
                <a:gd name="connsiteX793" fmla="*/ 3172973 w 4829175"/>
                <a:gd name="connsiteY793" fmla="*/ 3486871 h 6515100"/>
                <a:gd name="connsiteX794" fmla="*/ 3443385 w 4829175"/>
                <a:gd name="connsiteY794" fmla="*/ 3215760 h 6515100"/>
                <a:gd name="connsiteX795" fmla="*/ 3309227 w 4829175"/>
                <a:gd name="connsiteY795" fmla="*/ 3082301 h 6515100"/>
                <a:gd name="connsiteX796" fmla="*/ 3172275 w 4829175"/>
                <a:gd name="connsiteY796" fmla="*/ 2945348 h 6515100"/>
                <a:gd name="connsiteX797" fmla="*/ 1811829 w 4829175"/>
                <a:gd name="connsiteY797" fmla="*/ 2944649 h 6515100"/>
                <a:gd name="connsiteX798" fmla="*/ 1941795 w 4829175"/>
                <a:gd name="connsiteY798" fmla="*/ 3074615 h 6515100"/>
                <a:gd name="connsiteX799" fmla="*/ 2082940 w 4829175"/>
                <a:gd name="connsiteY799" fmla="*/ 3215061 h 6515100"/>
                <a:gd name="connsiteX800" fmla="*/ 1812528 w 4829175"/>
                <a:gd name="connsiteY800" fmla="*/ 3486172 h 6515100"/>
                <a:gd name="connsiteX801" fmla="*/ 2076652 w 4829175"/>
                <a:gd name="connsiteY801" fmla="*/ 3486172 h 6515100"/>
                <a:gd name="connsiteX802" fmla="*/ 2347064 w 4829175"/>
                <a:gd name="connsiteY802" fmla="*/ 3215061 h 6515100"/>
                <a:gd name="connsiteX803" fmla="*/ 2075953 w 4829175"/>
                <a:gd name="connsiteY803" fmla="*/ 2944649 h 6515100"/>
                <a:gd name="connsiteX804" fmla="*/ 2360340 w 4829175"/>
                <a:gd name="connsiteY804" fmla="*/ 2943952 h 6515100"/>
                <a:gd name="connsiteX805" fmla="*/ 2631451 w 4829175"/>
                <a:gd name="connsiteY805" fmla="*/ 3214364 h 6515100"/>
                <a:gd name="connsiteX806" fmla="*/ 2361039 w 4829175"/>
                <a:gd name="connsiteY806" fmla="*/ 3485473 h 6515100"/>
                <a:gd name="connsiteX807" fmla="*/ 2625162 w 4829175"/>
                <a:gd name="connsiteY807" fmla="*/ 3485473 h 6515100"/>
                <a:gd name="connsiteX808" fmla="*/ 2895574 w 4829175"/>
                <a:gd name="connsiteY808" fmla="*/ 3214364 h 6515100"/>
                <a:gd name="connsiteX809" fmla="*/ 2624463 w 4829175"/>
                <a:gd name="connsiteY809" fmla="*/ 2943952 h 6515100"/>
                <a:gd name="connsiteX810" fmla="*/ 4005871 w 4829175"/>
                <a:gd name="connsiteY810" fmla="*/ 2943253 h 6515100"/>
                <a:gd name="connsiteX811" fmla="*/ 4275584 w 4829175"/>
                <a:gd name="connsiteY811" fmla="*/ 3212267 h 6515100"/>
                <a:gd name="connsiteX812" fmla="*/ 4272789 w 4829175"/>
                <a:gd name="connsiteY812" fmla="*/ 3215061 h 6515100"/>
                <a:gd name="connsiteX813" fmla="*/ 4182652 w 4829175"/>
                <a:gd name="connsiteY813" fmla="*/ 3305898 h 6515100"/>
                <a:gd name="connsiteX814" fmla="*/ 4181952 w 4829175"/>
                <a:gd name="connsiteY814" fmla="*/ 3305898 h 6515100"/>
                <a:gd name="connsiteX815" fmla="*/ 4005172 w 4829175"/>
                <a:gd name="connsiteY815" fmla="*/ 3483378 h 6515100"/>
                <a:gd name="connsiteX816" fmla="*/ 4269295 w 4829175"/>
                <a:gd name="connsiteY816" fmla="*/ 3483378 h 6515100"/>
                <a:gd name="connsiteX817" fmla="*/ 4358734 w 4829175"/>
                <a:gd name="connsiteY817" fmla="*/ 3393939 h 6515100"/>
                <a:gd name="connsiteX818" fmla="*/ 4359432 w 4829175"/>
                <a:gd name="connsiteY818" fmla="*/ 3393939 h 6515100"/>
                <a:gd name="connsiteX819" fmla="*/ 4541105 w 4829175"/>
                <a:gd name="connsiteY819" fmla="*/ 3213665 h 6515100"/>
                <a:gd name="connsiteX820" fmla="*/ 4269994 w 4829175"/>
                <a:gd name="connsiteY820" fmla="*/ 2943253 h 6515100"/>
                <a:gd name="connsiteX821" fmla="*/ 3457360 w 4829175"/>
                <a:gd name="connsiteY821" fmla="*/ 2943253 h 6515100"/>
                <a:gd name="connsiteX822" fmla="*/ 3458059 w 4829175"/>
                <a:gd name="connsiteY822" fmla="*/ 2943952 h 6515100"/>
                <a:gd name="connsiteX823" fmla="*/ 3458758 w 4829175"/>
                <a:gd name="connsiteY823" fmla="*/ 2943952 h 6515100"/>
                <a:gd name="connsiteX824" fmla="*/ 3727772 w 4829175"/>
                <a:gd name="connsiteY824" fmla="*/ 3212966 h 6515100"/>
                <a:gd name="connsiteX825" fmla="*/ 3457360 w 4829175"/>
                <a:gd name="connsiteY825" fmla="*/ 3484077 h 6515100"/>
                <a:gd name="connsiteX826" fmla="*/ 3721484 w 4829175"/>
                <a:gd name="connsiteY826" fmla="*/ 3484077 h 6515100"/>
                <a:gd name="connsiteX827" fmla="*/ 3991896 w 4829175"/>
                <a:gd name="connsiteY827" fmla="*/ 3213665 h 6515100"/>
                <a:gd name="connsiteX828" fmla="*/ 3987005 w 4829175"/>
                <a:gd name="connsiteY828" fmla="*/ 3208074 h 6515100"/>
                <a:gd name="connsiteX829" fmla="*/ 3721484 w 4829175"/>
                <a:gd name="connsiteY829" fmla="*/ 2943253 h 6515100"/>
                <a:gd name="connsiteX830" fmla="*/ 1255633 w 4829175"/>
                <a:gd name="connsiteY830" fmla="*/ 2671443 h 6515100"/>
                <a:gd name="connsiteX831" fmla="*/ 985221 w 4829175"/>
                <a:gd name="connsiteY831" fmla="*/ 2942554 h 6515100"/>
                <a:gd name="connsiteX832" fmla="*/ 1256332 w 4829175"/>
                <a:gd name="connsiteY832" fmla="*/ 3212966 h 6515100"/>
                <a:gd name="connsiteX833" fmla="*/ 1520455 w 4829175"/>
                <a:gd name="connsiteY833" fmla="*/ 3212966 h 6515100"/>
                <a:gd name="connsiteX834" fmla="*/ 1249344 w 4829175"/>
                <a:gd name="connsiteY834" fmla="*/ 2942554 h 6515100"/>
                <a:gd name="connsiteX835" fmla="*/ 1519757 w 4829175"/>
                <a:gd name="connsiteY835" fmla="*/ 2671443 h 6515100"/>
                <a:gd name="connsiteX836" fmla="*/ 1804143 w 4829175"/>
                <a:gd name="connsiteY836" fmla="*/ 2670744 h 6515100"/>
                <a:gd name="connsiteX837" fmla="*/ 1533731 w 4829175"/>
                <a:gd name="connsiteY837" fmla="*/ 2941855 h 6515100"/>
                <a:gd name="connsiteX838" fmla="*/ 1805541 w 4829175"/>
                <a:gd name="connsiteY838" fmla="*/ 3212267 h 6515100"/>
                <a:gd name="connsiteX839" fmla="*/ 2068965 w 4829175"/>
                <a:gd name="connsiteY839" fmla="*/ 3212267 h 6515100"/>
                <a:gd name="connsiteX840" fmla="*/ 1938301 w 4829175"/>
                <a:gd name="connsiteY840" fmla="*/ 3082301 h 6515100"/>
                <a:gd name="connsiteX841" fmla="*/ 1797854 w 4829175"/>
                <a:gd name="connsiteY841" fmla="*/ 2941855 h 6515100"/>
                <a:gd name="connsiteX842" fmla="*/ 2068266 w 4829175"/>
                <a:gd name="connsiteY842" fmla="*/ 2670744 h 6515100"/>
                <a:gd name="connsiteX843" fmla="*/ 705027 w 4829175"/>
                <a:gd name="connsiteY843" fmla="*/ 2670744 h 6515100"/>
                <a:gd name="connsiteX844" fmla="*/ 434615 w 4829175"/>
                <a:gd name="connsiteY844" fmla="*/ 2941855 h 6515100"/>
                <a:gd name="connsiteX845" fmla="*/ 705726 w 4829175"/>
                <a:gd name="connsiteY845" fmla="*/ 3212267 h 6515100"/>
                <a:gd name="connsiteX846" fmla="*/ 774202 w 4829175"/>
                <a:gd name="connsiteY846" fmla="*/ 3212267 h 6515100"/>
                <a:gd name="connsiteX847" fmla="*/ 773503 w 4829175"/>
                <a:gd name="connsiteY847" fmla="*/ 3213665 h 6515100"/>
                <a:gd name="connsiteX848" fmla="*/ 971247 w 4829175"/>
                <a:gd name="connsiteY848" fmla="*/ 3213665 h 6515100"/>
                <a:gd name="connsiteX849" fmla="*/ 839884 w 4829175"/>
                <a:gd name="connsiteY849" fmla="*/ 3082301 h 6515100"/>
                <a:gd name="connsiteX850" fmla="*/ 699437 w 4829175"/>
                <a:gd name="connsiteY850" fmla="*/ 2941855 h 6515100"/>
                <a:gd name="connsiteX851" fmla="*/ 968451 w 4829175"/>
                <a:gd name="connsiteY851" fmla="*/ 2672142 h 6515100"/>
                <a:gd name="connsiteX852" fmla="*/ 772105 w 4829175"/>
                <a:gd name="connsiteY852" fmla="*/ 2672142 h 6515100"/>
                <a:gd name="connsiteX853" fmla="*/ 772804 w 4829175"/>
                <a:gd name="connsiteY853" fmla="*/ 2670744 h 6515100"/>
                <a:gd name="connsiteX854" fmla="*/ 2352653 w 4829175"/>
                <a:gd name="connsiteY854" fmla="*/ 2670045 h 6515100"/>
                <a:gd name="connsiteX855" fmla="*/ 2082241 w 4829175"/>
                <a:gd name="connsiteY855" fmla="*/ 2941156 h 6515100"/>
                <a:gd name="connsiteX856" fmla="*/ 2353352 w 4829175"/>
                <a:gd name="connsiteY856" fmla="*/ 3211568 h 6515100"/>
                <a:gd name="connsiteX857" fmla="*/ 2617476 w 4829175"/>
                <a:gd name="connsiteY857" fmla="*/ 3211568 h 6515100"/>
                <a:gd name="connsiteX858" fmla="*/ 2346365 w 4829175"/>
                <a:gd name="connsiteY858" fmla="*/ 2941156 h 6515100"/>
                <a:gd name="connsiteX859" fmla="*/ 2616777 w 4829175"/>
                <a:gd name="connsiteY859" fmla="*/ 2670045 h 6515100"/>
                <a:gd name="connsiteX860" fmla="*/ 3998184 w 4829175"/>
                <a:gd name="connsiteY860" fmla="*/ 2667949 h 6515100"/>
                <a:gd name="connsiteX861" fmla="*/ 3727772 w 4829175"/>
                <a:gd name="connsiteY861" fmla="*/ 2939060 h 6515100"/>
                <a:gd name="connsiteX862" fmla="*/ 3998883 w 4829175"/>
                <a:gd name="connsiteY862" fmla="*/ 3209471 h 6515100"/>
                <a:gd name="connsiteX863" fmla="*/ 4263007 w 4829175"/>
                <a:gd name="connsiteY863" fmla="*/ 3209471 h 6515100"/>
                <a:gd name="connsiteX864" fmla="*/ 3991896 w 4829175"/>
                <a:gd name="connsiteY864" fmla="*/ 2939060 h 6515100"/>
                <a:gd name="connsiteX865" fmla="*/ 4262308 w 4829175"/>
                <a:gd name="connsiteY865" fmla="*/ 2667949 h 6515100"/>
                <a:gd name="connsiteX866" fmla="*/ 4546695 w 4829175"/>
                <a:gd name="connsiteY866" fmla="*/ 2667250 h 6515100"/>
                <a:gd name="connsiteX867" fmla="*/ 4276282 w 4829175"/>
                <a:gd name="connsiteY867" fmla="*/ 2938360 h 6515100"/>
                <a:gd name="connsiteX868" fmla="*/ 4547394 w 4829175"/>
                <a:gd name="connsiteY868" fmla="*/ 3208772 h 6515100"/>
                <a:gd name="connsiteX869" fmla="*/ 4810818 w 4829175"/>
                <a:gd name="connsiteY869" fmla="*/ 3208772 h 6515100"/>
                <a:gd name="connsiteX870" fmla="*/ 4680852 w 4829175"/>
                <a:gd name="connsiteY870" fmla="*/ 3078808 h 6515100"/>
                <a:gd name="connsiteX871" fmla="*/ 4540406 w 4829175"/>
                <a:gd name="connsiteY871" fmla="*/ 2938360 h 6515100"/>
                <a:gd name="connsiteX872" fmla="*/ 4810818 w 4829175"/>
                <a:gd name="connsiteY872" fmla="*/ 2667250 h 6515100"/>
                <a:gd name="connsiteX873" fmla="*/ 164203 w 4829175"/>
                <a:gd name="connsiteY873" fmla="*/ 2397537 h 6515100"/>
                <a:gd name="connsiteX874" fmla="*/ 435314 w 4829175"/>
                <a:gd name="connsiteY874" fmla="*/ 2667949 h 6515100"/>
                <a:gd name="connsiteX875" fmla="*/ 164902 w 4829175"/>
                <a:gd name="connsiteY875" fmla="*/ 2939060 h 6515100"/>
                <a:gd name="connsiteX876" fmla="*/ 429025 w 4829175"/>
                <a:gd name="connsiteY876" fmla="*/ 2939060 h 6515100"/>
                <a:gd name="connsiteX877" fmla="*/ 699437 w 4829175"/>
                <a:gd name="connsiteY877" fmla="*/ 2667949 h 6515100"/>
                <a:gd name="connsiteX878" fmla="*/ 428326 w 4829175"/>
                <a:gd name="connsiteY878" fmla="*/ 2397537 h 6515100"/>
                <a:gd name="connsiteX879" fmla="*/ 1811131 w 4829175"/>
                <a:gd name="connsiteY879" fmla="*/ 2396838 h 6515100"/>
                <a:gd name="connsiteX880" fmla="*/ 2082940 w 4829175"/>
                <a:gd name="connsiteY880" fmla="*/ 2667250 h 6515100"/>
                <a:gd name="connsiteX881" fmla="*/ 1812528 w 4829175"/>
                <a:gd name="connsiteY881" fmla="*/ 2938360 h 6515100"/>
                <a:gd name="connsiteX882" fmla="*/ 2075953 w 4829175"/>
                <a:gd name="connsiteY882" fmla="*/ 2938360 h 6515100"/>
                <a:gd name="connsiteX883" fmla="*/ 2346365 w 4829175"/>
                <a:gd name="connsiteY883" fmla="*/ 2667250 h 6515100"/>
                <a:gd name="connsiteX884" fmla="*/ 2212208 w 4829175"/>
                <a:gd name="connsiteY884" fmla="*/ 2533791 h 6515100"/>
                <a:gd name="connsiteX885" fmla="*/ 2075254 w 4829175"/>
                <a:gd name="connsiteY885" fmla="*/ 2396838 h 6515100"/>
                <a:gd name="connsiteX886" fmla="*/ 1262620 w 4829175"/>
                <a:gd name="connsiteY886" fmla="*/ 2396838 h 6515100"/>
                <a:gd name="connsiteX887" fmla="*/ 1533731 w 4829175"/>
                <a:gd name="connsiteY887" fmla="*/ 2667250 h 6515100"/>
                <a:gd name="connsiteX888" fmla="*/ 1263319 w 4829175"/>
                <a:gd name="connsiteY888" fmla="*/ 2938360 h 6515100"/>
                <a:gd name="connsiteX889" fmla="*/ 1527442 w 4829175"/>
                <a:gd name="connsiteY889" fmla="*/ 2938360 h 6515100"/>
                <a:gd name="connsiteX890" fmla="*/ 1797854 w 4829175"/>
                <a:gd name="connsiteY890" fmla="*/ 2667250 h 6515100"/>
                <a:gd name="connsiteX891" fmla="*/ 1526744 w 4829175"/>
                <a:gd name="connsiteY891" fmla="*/ 2396838 h 6515100"/>
                <a:gd name="connsiteX892" fmla="*/ 2359641 w 4829175"/>
                <a:gd name="connsiteY892" fmla="*/ 2396139 h 6515100"/>
                <a:gd name="connsiteX893" fmla="*/ 2361039 w 4829175"/>
                <a:gd name="connsiteY893" fmla="*/ 2397537 h 6515100"/>
                <a:gd name="connsiteX894" fmla="*/ 2629354 w 4829175"/>
                <a:gd name="connsiteY894" fmla="*/ 2665853 h 6515100"/>
                <a:gd name="connsiteX895" fmla="*/ 2358942 w 4829175"/>
                <a:gd name="connsiteY895" fmla="*/ 2936964 h 6515100"/>
                <a:gd name="connsiteX896" fmla="*/ 2623065 w 4829175"/>
                <a:gd name="connsiteY896" fmla="*/ 2936964 h 6515100"/>
                <a:gd name="connsiteX897" fmla="*/ 2893477 w 4829175"/>
                <a:gd name="connsiteY897" fmla="*/ 2665853 h 6515100"/>
                <a:gd name="connsiteX898" fmla="*/ 2888586 w 4829175"/>
                <a:gd name="connsiteY898" fmla="*/ 2660962 h 6515100"/>
                <a:gd name="connsiteX899" fmla="*/ 2906055 w 4829175"/>
                <a:gd name="connsiteY899" fmla="*/ 2669346 h 6515100"/>
                <a:gd name="connsiteX900" fmla="*/ 2900465 w 4829175"/>
                <a:gd name="connsiteY900" fmla="*/ 2669346 h 6515100"/>
                <a:gd name="connsiteX901" fmla="*/ 2630053 w 4829175"/>
                <a:gd name="connsiteY901" fmla="*/ 2940457 h 6515100"/>
                <a:gd name="connsiteX902" fmla="*/ 2901164 w 4829175"/>
                <a:gd name="connsiteY902" fmla="*/ 3210869 h 6515100"/>
                <a:gd name="connsiteX903" fmla="*/ 3165287 w 4829175"/>
                <a:gd name="connsiteY903" fmla="*/ 3210869 h 6515100"/>
                <a:gd name="connsiteX904" fmla="*/ 2894875 w 4829175"/>
                <a:gd name="connsiteY904" fmla="*/ 2939758 h 6515100"/>
                <a:gd name="connsiteX905" fmla="*/ 3079343 w 4829175"/>
                <a:gd name="connsiteY905" fmla="*/ 2755292 h 6515100"/>
                <a:gd name="connsiteX906" fmla="*/ 3165287 w 4829175"/>
                <a:gd name="connsiteY906" fmla="*/ 2669346 h 6515100"/>
                <a:gd name="connsiteX907" fmla="*/ 2906754 w 4829175"/>
                <a:gd name="connsiteY907" fmla="*/ 2669346 h 6515100"/>
                <a:gd name="connsiteX908" fmla="*/ 2889285 w 4829175"/>
                <a:gd name="connsiteY908" fmla="*/ 2660962 h 6515100"/>
                <a:gd name="connsiteX909" fmla="*/ 2623764 w 4829175"/>
                <a:gd name="connsiteY909" fmla="*/ 2396139 h 6515100"/>
                <a:gd name="connsiteX910" fmla="*/ 713412 w 4829175"/>
                <a:gd name="connsiteY910" fmla="*/ 2396139 h 6515100"/>
                <a:gd name="connsiteX911" fmla="*/ 844775 w 4829175"/>
                <a:gd name="connsiteY911" fmla="*/ 2527503 h 6515100"/>
                <a:gd name="connsiteX912" fmla="*/ 985221 w 4829175"/>
                <a:gd name="connsiteY912" fmla="*/ 2667949 h 6515100"/>
                <a:gd name="connsiteX913" fmla="*/ 716206 w 4829175"/>
                <a:gd name="connsiteY913" fmla="*/ 2937662 h 6515100"/>
                <a:gd name="connsiteX914" fmla="*/ 912552 w 4829175"/>
                <a:gd name="connsiteY914" fmla="*/ 2937662 h 6515100"/>
                <a:gd name="connsiteX915" fmla="*/ 911853 w 4829175"/>
                <a:gd name="connsiteY915" fmla="*/ 2939060 h 6515100"/>
                <a:gd name="connsiteX916" fmla="*/ 978932 w 4829175"/>
                <a:gd name="connsiteY916" fmla="*/ 2939060 h 6515100"/>
                <a:gd name="connsiteX917" fmla="*/ 1248646 w 4829175"/>
                <a:gd name="connsiteY917" fmla="*/ 2667949 h 6515100"/>
                <a:gd name="connsiteX918" fmla="*/ 1113090 w 4829175"/>
                <a:gd name="connsiteY918" fmla="*/ 2533092 h 6515100"/>
                <a:gd name="connsiteX919" fmla="*/ 1094923 w 4829175"/>
                <a:gd name="connsiteY919" fmla="*/ 2514926 h 6515100"/>
                <a:gd name="connsiteX920" fmla="*/ 977535 w 4829175"/>
                <a:gd name="connsiteY920" fmla="*/ 2398236 h 6515100"/>
                <a:gd name="connsiteX921" fmla="*/ 909058 w 4829175"/>
                <a:gd name="connsiteY921" fmla="*/ 2398236 h 6515100"/>
                <a:gd name="connsiteX922" fmla="*/ 909757 w 4829175"/>
                <a:gd name="connsiteY922" fmla="*/ 2396838 h 6515100"/>
                <a:gd name="connsiteX923" fmla="*/ 2907452 w 4829175"/>
                <a:gd name="connsiteY923" fmla="*/ 2394742 h 6515100"/>
                <a:gd name="connsiteX924" fmla="*/ 3178563 w 4829175"/>
                <a:gd name="connsiteY924" fmla="*/ 2665154 h 6515100"/>
                <a:gd name="connsiteX925" fmla="*/ 3175769 w 4829175"/>
                <a:gd name="connsiteY925" fmla="*/ 2667949 h 6515100"/>
                <a:gd name="connsiteX926" fmla="*/ 3085631 w 4829175"/>
                <a:gd name="connsiteY926" fmla="*/ 2758785 h 6515100"/>
                <a:gd name="connsiteX927" fmla="*/ 2908151 w 4829175"/>
                <a:gd name="connsiteY927" fmla="*/ 2936265 h 6515100"/>
                <a:gd name="connsiteX928" fmla="*/ 3172275 w 4829175"/>
                <a:gd name="connsiteY928" fmla="*/ 2936265 h 6515100"/>
                <a:gd name="connsiteX929" fmla="*/ 3262412 w 4829175"/>
                <a:gd name="connsiteY929" fmla="*/ 2846826 h 6515100"/>
                <a:gd name="connsiteX930" fmla="*/ 3442687 w 4829175"/>
                <a:gd name="connsiteY930" fmla="*/ 2665154 h 6515100"/>
                <a:gd name="connsiteX931" fmla="*/ 3171576 w 4829175"/>
                <a:gd name="connsiteY931" fmla="*/ 2394742 h 6515100"/>
                <a:gd name="connsiteX932" fmla="*/ 4004473 w 4829175"/>
                <a:gd name="connsiteY932" fmla="*/ 2394044 h 6515100"/>
                <a:gd name="connsiteX933" fmla="*/ 4275584 w 4829175"/>
                <a:gd name="connsiteY933" fmla="*/ 2663757 h 6515100"/>
                <a:gd name="connsiteX934" fmla="*/ 4005172 w 4829175"/>
                <a:gd name="connsiteY934" fmla="*/ 2934868 h 6515100"/>
                <a:gd name="connsiteX935" fmla="*/ 4269295 w 4829175"/>
                <a:gd name="connsiteY935" fmla="*/ 2934868 h 6515100"/>
                <a:gd name="connsiteX936" fmla="*/ 4539707 w 4829175"/>
                <a:gd name="connsiteY936" fmla="*/ 2664456 h 6515100"/>
                <a:gd name="connsiteX937" fmla="*/ 4268597 w 4829175"/>
                <a:gd name="connsiteY937" fmla="*/ 2394044 h 6515100"/>
                <a:gd name="connsiteX938" fmla="*/ 1255633 w 4829175"/>
                <a:gd name="connsiteY938" fmla="*/ 2122933 h 6515100"/>
                <a:gd name="connsiteX939" fmla="*/ 985221 w 4829175"/>
                <a:gd name="connsiteY939" fmla="*/ 2394044 h 6515100"/>
                <a:gd name="connsiteX940" fmla="*/ 1117282 w 4829175"/>
                <a:gd name="connsiteY940" fmla="*/ 2526105 h 6515100"/>
                <a:gd name="connsiteX941" fmla="*/ 1255633 w 4829175"/>
                <a:gd name="connsiteY941" fmla="*/ 2664456 h 6515100"/>
                <a:gd name="connsiteX942" fmla="*/ 1519757 w 4829175"/>
                <a:gd name="connsiteY942" fmla="*/ 2664456 h 6515100"/>
                <a:gd name="connsiteX943" fmla="*/ 1248646 w 4829175"/>
                <a:gd name="connsiteY943" fmla="*/ 2394044 h 6515100"/>
                <a:gd name="connsiteX944" fmla="*/ 1519757 w 4829175"/>
                <a:gd name="connsiteY944" fmla="*/ 2122933 h 6515100"/>
                <a:gd name="connsiteX945" fmla="*/ 2351955 w 4829175"/>
                <a:gd name="connsiteY945" fmla="*/ 2122234 h 6515100"/>
                <a:gd name="connsiteX946" fmla="*/ 2171680 w 4829175"/>
                <a:gd name="connsiteY946" fmla="*/ 2303207 h 6515100"/>
                <a:gd name="connsiteX947" fmla="*/ 2170981 w 4829175"/>
                <a:gd name="connsiteY947" fmla="*/ 2303207 h 6515100"/>
                <a:gd name="connsiteX948" fmla="*/ 2081543 w 4829175"/>
                <a:gd name="connsiteY948" fmla="*/ 2392646 h 6515100"/>
                <a:gd name="connsiteX949" fmla="*/ 2215701 w 4829175"/>
                <a:gd name="connsiteY949" fmla="*/ 2526804 h 6515100"/>
                <a:gd name="connsiteX950" fmla="*/ 2352653 w 4829175"/>
                <a:gd name="connsiteY950" fmla="*/ 2663058 h 6515100"/>
                <a:gd name="connsiteX951" fmla="*/ 2616078 w 4829175"/>
                <a:gd name="connsiteY951" fmla="*/ 2663058 h 6515100"/>
                <a:gd name="connsiteX952" fmla="*/ 2344968 w 4829175"/>
                <a:gd name="connsiteY952" fmla="*/ 2392646 h 6515100"/>
                <a:gd name="connsiteX953" fmla="*/ 2346365 w 4829175"/>
                <a:gd name="connsiteY953" fmla="*/ 2391248 h 6515100"/>
                <a:gd name="connsiteX954" fmla="*/ 2347064 w 4829175"/>
                <a:gd name="connsiteY954" fmla="*/ 2391248 h 6515100"/>
                <a:gd name="connsiteX955" fmla="*/ 2615379 w 4829175"/>
                <a:gd name="connsiteY955" fmla="*/ 2122234 h 6515100"/>
                <a:gd name="connsiteX956" fmla="*/ 1803445 w 4829175"/>
                <a:gd name="connsiteY956" fmla="*/ 2122234 h 6515100"/>
                <a:gd name="connsiteX957" fmla="*/ 1533032 w 4829175"/>
                <a:gd name="connsiteY957" fmla="*/ 2393345 h 6515100"/>
                <a:gd name="connsiteX958" fmla="*/ 1803445 w 4829175"/>
                <a:gd name="connsiteY958" fmla="*/ 2663058 h 6515100"/>
                <a:gd name="connsiteX959" fmla="*/ 2067568 w 4829175"/>
                <a:gd name="connsiteY959" fmla="*/ 2663058 h 6515100"/>
                <a:gd name="connsiteX960" fmla="*/ 1796458 w 4829175"/>
                <a:gd name="connsiteY960" fmla="*/ 2392646 h 6515100"/>
                <a:gd name="connsiteX961" fmla="*/ 1980924 w 4829175"/>
                <a:gd name="connsiteY961" fmla="*/ 2208178 h 6515100"/>
                <a:gd name="connsiteX962" fmla="*/ 1981623 w 4829175"/>
                <a:gd name="connsiteY962" fmla="*/ 2208178 h 6515100"/>
                <a:gd name="connsiteX963" fmla="*/ 2067568 w 4829175"/>
                <a:gd name="connsiteY963" fmla="*/ 2122234 h 6515100"/>
                <a:gd name="connsiteX964" fmla="*/ 2900465 w 4829175"/>
                <a:gd name="connsiteY964" fmla="*/ 2121535 h 6515100"/>
                <a:gd name="connsiteX965" fmla="*/ 2630053 w 4829175"/>
                <a:gd name="connsiteY965" fmla="*/ 2392646 h 6515100"/>
                <a:gd name="connsiteX966" fmla="*/ 2901164 w 4829175"/>
                <a:gd name="connsiteY966" fmla="*/ 2663058 h 6515100"/>
                <a:gd name="connsiteX967" fmla="*/ 3165287 w 4829175"/>
                <a:gd name="connsiteY967" fmla="*/ 2663058 h 6515100"/>
                <a:gd name="connsiteX968" fmla="*/ 2894176 w 4829175"/>
                <a:gd name="connsiteY968" fmla="*/ 2392646 h 6515100"/>
                <a:gd name="connsiteX969" fmla="*/ 3164588 w 4829175"/>
                <a:gd name="connsiteY969" fmla="*/ 2121535 h 6515100"/>
                <a:gd name="connsiteX970" fmla="*/ 3997486 w 4829175"/>
                <a:gd name="connsiteY970" fmla="*/ 2120137 h 6515100"/>
                <a:gd name="connsiteX971" fmla="*/ 3727074 w 4829175"/>
                <a:gd name="connsiteY971" fmla="*/ 2391248 h 6515100"/>
                <a:gd name="connsiteX972" fmla="*/ 3998184 w 4829175"/>
                <a:gd name="connsiteY972" fmla="*/ 2661660 h 6515100"/>
                <a:gd name="connsiteX973" fmla="*/ 4262308 w 4829175"/>
                <a:gd name="connsiteY973" fmla="*/ 2661660 h 6515100"/>
                <a:gd name="connsiteX974" fmla="*/ 3991197 w 4829175"/>
                <a:gd name="connsiteY974" fmla="*/ 2391248 h 6515100"/>
                <a:gd name="connsiteX975" fmla="*/ 4261609 w 4829175"/>
                <a:gd name="connsiteY975" fmla="*/ 2120137 h 6515100"/>
                <a:gd name="connsiteX976" fmla="*/ 4545996 w 4829175"/>
                <a:gd name="connsiteY976" fmla="*/ 2119439 h 6515100"/>
                <a:gd name="connsiteX977" fmla="*/ 4275584 w 4829175"/>
                <a:gd name="connsiteY977" fmla="*/ 2390549 h 6515100"/>
                <a:gd name="connsiteX978" fmla="*/ 4545996 w 4829175"/>
                <a:gd name="connsiteY978" fmla="*/ 2660263 h 6515100"/>
                <a:gd name="connsiteX979" fmla="*/ 4810119 w 4829175"/>
                <a:gd name="connsiteY979" fmla="*/ 2660263 h 6515100"/>
                <a:gd name="connsiteX980" fmla="*/ 4539009 w 4829175"/>
                <a:gd name="connsiteY980" fmla="*/ 2389851 h 6515100"/>
                <a:gd name="connsiteX981" fmla="*/ 4723476 w 4829175"/>
                <a:gd name="connsiteY981" fmla="*/ 2205384 h 6515100"/>
                <a:gd name="connsiteX982" fmla="*/ 4810119 w 4829175"/>
                <a:gd name="connsiteY982" fmla="*/ 2119439 h 6515100"/>
                <a:gd name="connsiteX983" fmla="*/ 1261921 w 4829175"/>
                <a:gd name="connsiteY983" fmla="*/ 1849027 h 6515100"/>
                <a:gd name="connsiteX984" fmla="*/ 1262620 w 4829175"/>
                <a:gd name="connsiteY984" fmla="*/ 1849725 h 6515100"/>
                <a:gd name="connsiteX985" fmla="*/ 1263319 w 4829175"/>
                <a:gd name="connsiteY985" fmla="*/ 1849725 h 6515100"/>
                <a:gd name="connsiteX986" fmla="*/ 1532333 w 4829175"/>
                <a:gd name="connsiteY986" fmla="*/ 2118740 h 6515100"/>
                <a:gd name="connsiteX987" fmla="*/ 1261921 w 4829175"/>
                <a:gd name="connsiteY987" fmla="*/ 2389851 h 6515100"/>
                <a:gd name="connsiteX988" fmla="*/ 1526046 w 4829175"/>
                <a:gd name="connsiteY988" fmla="*/ 2389851 h 6515100"/>
                <a:gd name="connsiteX989" fmla="*/ 1796458 w 4829175"/>
                <a:gd name="connsiteY989" fmla="*/ 2118740 h 6515100"/>
                <a:gd name="connsiteX990" fmla="*/ 1791566 w 4829175"/>
                <a:gd name="connsiteY990" fmla="*/ 2113849 h 6515100"/>
                <a:gd name="connsiteX991" fmla="*/ 1526046 w 4829175"/>
                <a:gd name="connsiteY991" fmla="*/ 1849027 h 6515100"/>
                <a:gd name="connsiteX992" fmla="*/ 164203 w 4829175"/>
                <a:gd name="connsiteY992" fmla="*/ 1849027 h 6515100"/>
                <a:gd name="connsiteX993" fmla="*/ 165601 w 4829175"/>
                <a:gd name="connsiteY993" fmla="*/ 1850424 h 6515100"/>
                <a:gd name="connsiteX994" fmla="*/ 434615 w 4829175"/>
                <a:gd name="connsiteY994" fmla="*/ 2119439 h 6515100"/>
                <a:gd name="connsiteX995" fmla="*/ 164203 w 4829175"/>
                <a:gd name="connsiteY995" fmla="*/ 2389152 h 6515100"/>
                <a:gd name="connsiteX996" fmla="*/ 428326 w 4829175"/>
                <a:gd name="connsiteY996" fmla="*/ 2389152 h 6515100"/>
                <a:gd name="connsiteX997" fmla="*/ 698738 w 4829175"/>
                <a:gd name="connsiteY997" fmla="*/ 2118042 h 6515100"/>
                <a:gd name="connsiteX998" fmla="*/ 695191 w 4829175"/>
                <a:gd name="connsiteY998" fmla="*/ 2114493 h 6515100"/>
                <a:gd name="connsiteX999" fmla="*/ 709860 w 4829175"/>
                <a:gd name="connsiteY999" fmla="*/ 2121535 h 6515100"/>
                <a:gd name="connsiteX1000" fmla="*/ 705726 w 4829175"/>
                <a:gd name="connsiteY1000" fmla="*/ 2121535 h 6515100"/>
                <a:gd name="connsiteX1001" fmla="*/ 435314 w 4829175"/>
                <a:gd name="connsiteY1001" fmla="*/ 2392646 h 6515100"/>
                <a:gd name="connsiteX1002" fmla="*/ 706425 w 4829175"/>
                <a:gd name="connsiteY1002" fmla="*/ 2663058 h 6515100"/>
                <a:gd name="connsiteX1003" fmla="*/ 970548 w 4829175"/>
                <a:gd name="connsiteY1003" fmla="*/ 2663058 h 6515100"/>
                <a:gd name="connsiteX1004" fmla="*/ 699437 w 4829175"/>
                <a:gd name="connsiteY1004" fmla="*/ 2392646 h 6515100"/>
                <a:gd name="connsiteX1005" fmla="*/ 883903 w 4829175"/>
                <a:gd name="connsiteY1005" fmla="*/ 2208178 h 6515100"/>
                <a:gd name="connsiteX1006" fmla="*/ 969849 w 4829175"/>
                <a:gd name="connsiteY1006" fmla="*/ 2122234 h 6515100"/>
                <a:gd name="connsiteX1007" fmla="*/ 711316 w 4829175"/>
                <a:gd name="connsiteY1007" fmla="*/ 2122234 h 6515100"/>
                <a:gd name="connsiteX1008" fmla="*/ 709860 w 4829175"/>
                <a:gd name="connsiteY1008" fmla="*/ 2121535 h 6515100"/>
                <a:gd name="connsiteX1009" fmla="*/ 711316 w 4829175"/>
                <a:gd name="connsiteY1009" fmla="*/ 2121535 h 6515100"/>
                <a:gd name="connsiteX1010" fmla="*/ 693847 w 4829175"/>
                <a:gd name="connsiteY1010" fmla="*/ 2113150 h 6515100"/>
                <a:gd name="connsiteX1011" fmla="*/ 695191 w 4829175"/>
                <a:gd name="connsiteY1011" fmla="*/ 2114493 h 6515100"/>
                <a:gd name="connsiteX1012" fmla="*/ 693847 w 4829175"/>
                <a:gd name="connsiteY1012" fmla="*/ 2113849 h 6515100"/>
                <a:gd name="connsiteX1013" fmla="*/ 428326 w 4829175"/>
                <a:gd name="connsiteY1013" fmla="*/ 1849027 h 6515100"/>
                <a:gd name="connsiteX1014" fmla="*/ 712014 w 4829175"/>
                <a:gd name="connsiteY1014" fmla="*/ 1848328 h 6515100"/>
                <a:gd name="connsiteX1015" fmla="*/ 983125 w 4829175"/>
                <a:gd name="connsiteY1015" fmla="*/ 2118042 h 6515100"/>
                <a:gd name="connsiteX1016" fmla="*/ 980330 w 4829175"/>
                <a:gd name="connsiteY1016" fmla="*/ 2120836 h 6515100"/>
                <a:gd name="connsiteX1017" fmla="*/ 890192 w 4829175"/>
                <a:gd name="connsiteY1017" fmla="*/ 2211673 h 6515100"/>
                <a:gd name="connsiteX1018" fmla="*/ 712713 w 4829175"/>
                <a:gd name="connsiteY1018" fmla="*/ 2389152 h 6515100"/>
                <a:gd name="connsiteX1019" fmla="*/ 976837 w 4829175"/>
                <a:gd name="connsiteY1019" fmla="*/ 2389152 h 6515100"/>
                <a:gd name="connsiteX1020" fmla="*/ 1066275 w 4829175"/>
                <a:gd name="connsiteY1020" fmla="*/ 2299714 h 6515100"/>
                <a:gd name="connsiteX1021" fmla="*/ 1247249 w 4829175"/>
                <a:gd name="connsiteY1021" fmla="*/ 2118740 h 6515100"/>
                <a:gd name="connsiteX1022" fmla="*/ 1114488 w 4829175"/>
                <a:gd name="connsiteY1022" fmla="*/ 1986679 h 6515100"/>
                <a:gd name="connsiteX1023" fmla="*/ 976138 w 4829175"/>
                <a:gd name="connsiteY1023" fmla="*/ 1848328 h 6515100"/>
                <a:gd name="connsiteX1024" fmla="*/ 2359641 w 4829175"/>
                <a:gd name="connsiteY1024" fmla="*/ 1847630 h 6515100"/>
                <a:gd name="connsiteX1025" fmla="*/ 2489606 w 4829175"/>
                <a:gd name="connsiteY1025" fmla="*/ 1977595 h 6515100"/>
                <a:gd name="connsiteX1026" fmla="*/ 2630053 w 4829175"/>
                <a:gd name="connsiteY1026" fmla="*/ 2118042 h 6515100"/>
                <a:gd name="connsiteX1027" fmla="*/ 2359641 w 4829175"/>
                <a:gd name="connsiteY1027" fmla="*/ 2389152 h 6515100"/>
                <a:gd name="connsiteX1028" fmla="*/ 2623764 w 4829175"/>
                <a:gd name="connsiteY1028" fmla="*/ 2389152 h 6515100"/>
                <a:gd name="connsiteX1029" fmla="*/ 2894176 w 4829175"/>
                <a:gd name="connsiteY1029" fmla="*/ 2118042 h 6515100"/>
                <a:gd name="connsiteX1030" fmla="*/ 2623065 w 4829175"/>
                <a:gd name="connsiteY1030" fmla="*/ 1847630 h 6515100"/>
                <a:gd name="connsiteX1031" fmla="*/ 1810432 w 4829175"/>
                <a:gd name="connsiteY1031" fmla="*/ 1847630 h 6515100"/>
                <a:gd name="connsiteX1032" fmla="*/ 2081543 w 4829175"/>
                <a:gd name="connsiteY1032" fmla="*/ 2118042 h 6515100"/>
                <a:gd name="connsiteX1033" fmla="*/ 2078748 w 4829175"/>
                <a:gd name="connsiteY1033" fmla="*/ 2120836 h 6515100"/>
                <a:gd name="connsiteX1034" fmla="*/ 1988611 w 4829175"/>
                <a:gd name="connsiteY1034" fmla="*/ 2211673 h 6515100"/>
                <a:gd name="connsiteX1035" fmla="*/ 1987912 w 4829175"/>
                <a:gd name="connsiteY1035" fmla="*/ 2211673 h 6515100"/>
                <a:gd name="connsiteX1036" fmla="*/ 1811131 w 4829175"/>
                <a:gd name="connsiteY1036" fmla="*/ 2389152 h 6515100"/>
                <a:gd name="connsiteX1037" fmla="*/ 2074555 w 4829175"/>
                <a:gd name="connsiteY1037" fmla="*/ 2388454 h 6515100"/>
                <a:gd name="connsiteX1038" fmla="*/ 2163994 w 4829175"/>
                <a:gd name="connsiteY1038" fmla="*/ 2299015 h 6515100"/>
                <a:gd name="connsiteX1039" fmla="*/ 2164693 w 4829175"/>
                <a:gd name="connsiteY1039" fmla="*/ 2299015 h 6515100"/>
                <a:gd name="connsiteX1040" fmla="*/ 2345666 w 4829175"/>
                <a:gd name="connsiteY1040" fmla="*/ 2118042 h 6515100"/>
                <a:gd name="connsiteX1041" fmla="*/ 2074555 w 4829175"/>
                <a:gd name="connsiteY1041" fmla="*/ 1847630 h 6515100"/>
                <a:gd name="connsiteX1042" fmla="*/ 2907452 w 4829175"/>
                <a:gd name="connsiteY1042" fmla="*/ 1846931 h 6515100"/>
                <a:gd name="connsiteX1043" fmla="*/ 3178563 w 4829175"/>
                <a:gd name="connsiteY1043" fmla="*/ 2117343 h 6515100"/>
                <a:gd name="connsiteX1044" fmla="*/ 2908151 w 4829175"/>
                <a:gd name="connsiteY1044" fmla="*/ 2388454 h 6515100"/>
                <a:gd name="connsiteX1045" fmla="*/ 3172275 w 4829175"/>
                <a:gd name="connsiteY1045" fmla="*/ 2388454 h 6515100"/>
                <a:gd name="connsiteX1046" fmla="*/ 3442687 w 4829175"/>
                <a:gd name="connsiteY1046" fmla="*/ 2117343 h 6515100"/>
                <a:gd name="connsiteX1047" fmla="*/ 3171576 w 4829175"/>
                <a:gd name="connsiteY1047" fmla="*/ 1846931 h 6515100"/>
                <a:gd name="connsiteX1048" fmla="*/ 4004473 w 4829175"/>
                <a:gd name="connsiteY1048" fmla="*/ 1844834 h 6515100"/>
                <a:gd name="connsiteX1049" fmla="*/ 4005871 w 4829175"/>
                <a:gd name="connsiteY1049" fmla="*/ 1846232 h 6515100"/>
                <a:gd name="connsiteX1050" fmla="*/ 4274885 w 4829175"/>
                <a:gd name="connsiteY1050" fmla="*/ 2115246 h 6515100"/>
                <a:gd name="connsiteX1051" fmla="*/ 4004473 w 4829175"/>
                <a:gd name="connsiteY1051" fmla="*/ 2386357 h 6515100"/>
                <a:gd name="connsiteX1052" fmla="*/ 4268597 w 4829175"/>
                <a:gd name="connsiteY1052" fmla="*/ 2386357 h 6515100"/>
                <a:gd name="connsiteX1053" fmla="*/ 4539009 w 4829175"/>
                <a:gd name="connsiteY1053" fmla="*/ 2115246 h 6515100"/>
                <a:gd name="connsiteX1054" fmla="*/ 4534118 w 4829175"/>
                <a:gd name="connsiteY1054" fmla="*/ 2110355 h 6515100"/>
                <a:gd name="connsiteX1055" fmla="*/ 4268597 w 4829175"/>
                <a:gd name="connsiteY1055" fmla="*/ 1844834 h 6515100"/>
                <a:gd name="connsiteX1056" fmla="*/ 705027 w 4829175"/>
                <a:gd name="connsiteY1056" fmla="*/ 1574422 h 6515100"/>
                <a:gd name="connsiteX1057" fmla="*/ 434615 w 4829175"/>
                <a:gd name="connsiteY1057" fmla="*/ 1845533 h 6515100"/>
                <a:gd name="connsiteX1058" fmla="*/ 705726 w 4829175"/>
                <a:gd name="connsiteY1058" fmla="*/ 2115945 h 6515100"/>
                <a:gd name="connsiteX1059" fmla="*/ 969849 w 4829175"/>
                <a:gd name="connsiteY1059" fmla="*/ 2115945 h 6515100"/>
                <a:gd name="connsiteX1060" fmla="*/ 698738 w 4829175"/>
                <a:gd name="connsiteY1060" fmla="*/ 1845533 h 6515100"/>
                <a:gd name="connsiteX1061" fmla="*/ 969150 w 4829175"/>
                <a:gd name="connsiteY1061" fmla="*/ 1574422 h 6515100"/>
                <a:gd name="connsiteX1062" fmla="*/ 1802746 w 4829175"/>
                <a:gd name="connsiteY1062" fmla="*/ 1573723 h 6515100"/>
                <a:gd name="connsiteX1063" fmla="*/ 1532333 w 4829175"/>
                <a:gd name="connsiteY1063" fmla="*/ 1844834 h 6515100"/>
                <a:gd name="connsiteX1064" fmla="*/ 1803445 w 4829175"/>
                <a:gd name="connsiteY1064" fmla="*/ 2115246 h 6515100"/>
                <a:gd name="connsiteX1065" fmla="*/ 2067568 w 4829175"/>
                <a:gd name="connsiteY1065" fmla="*/ 2115246 h 6515100"/>
                <a:gd name="connsiteX1066" fmla="*/ 1796458 w 4829175"/>
                <a:gd name="connsiteY1066" fmla="*/ 1844834 h 6515100"/>
                <a:gd name="connsiteX1067" fmla="*/ 2066870 w 4829175"/>
                <a:gd name="connsiteY1067" fmla="*/ 1573723 h 6515100"/>
                <a:gd name="connsiteX1068" fmla="*/ 1252838 w 4829175"/>
                <a:gd name="connsiteY1068" fmla="*/ 1573723 h 6515100"/>
                <a:gd name="connsiteX1069" fmla="*/ 983125 w 4829175"/>
                <a:gd name="connsiteY1069" fmla="*/ 1844834 h 6515100"/>
                <a:gd name="connsiteX1070" fmla="*/ 1183663 w 4829175"/>
                <a:gd name="connsiteY1070" fmla="*/ 2045372 h 6515100"/>
                <a:gd name="connsiteX1071" fmla="*/ 1254236 w 4829175"/>
                <a:gd name="connsiteY1071" fmla="*/ 2115246 h 6515100"/>
                <a:gd name="connsiteX1072" fmla="*/ 1322712 w 4829175"/>
                <a:gd name="connsiteY1072" fmla="*/ 2115246 h 6515100"/>
                <a:gd name="connsiteX1073" fmla="*/ 1322014 w 4829175"/>
                <a:gd name="connsiteY1073" fmla="*/ 2116644 h 6515100"/>
                <a:gd name="connsiteX1074" fmla="*/ 1519058 w 4829175"/>
                <a:gd name="connsiteY1074" fmla="*/ 2116644 h 6515100"/>
                <a:gd name="connsiteX1075" fmla="*/ 1247947 w 4829175"/>
                <a:gd name="connsiteY1075" fmla="*/ 1846232 h 6515100"/>
                <a:gd name="connsiteX1076" fmla="*/ 1248646 w 4829175"/>
                <a:gd name="connsiteY1076" fmla="*/ 1845533 h 6515100"/>
                <a:gd name="connsiteX1077" fmla="*/ 1246550 w 4829175"/>
                <a:gd name="connsiteY1077" fmla="*/ 1844834 h 6515100"/>
                <a:gd name="connsiteX1078" fmla="*/ 1516962 w 4829175"/>
                <a:gd name="connsiteY1078" fmla="*/ 1573723 h 6515100"/>
                <a:gd name="connsiteX1079" fmla="*/ 2899766 w 4829175"/>
                <a:gd name="connsiteY1079" fmla="*/ 1573024 h 6515100"/>
                <a:gd name="connsiteX1080" fmla="*/ 2629354 w 4829175"/>
                <a:gd name="connsiteY1080" fmla="*/ 1844135 h 6515100"/>
                <a:gd name="connsiteX1081" fmla="*/ 2900465 w 4829175"/>
                <a:gd name="connsiteY1081" fmla="*/ 2114547 h 6515100"/>
                <a:gd name="connsiteX1082" fmla="*/ 3164588 w 4829175"/>
                <a:gd name="connsiteY1082" fmla="*/ 2114547 h 6515100"/>
                <a:gd name="connsiteX1083" fmla="*/ 2893477 w 4829175"/>
                <a:gd name="connsiteY1083" fmla="*/ 1844135 h 6515100"/>
                <a:gd name="connsiteX1084" fmla="*/ 3163889 w 4829175"/>
                <a:gd name="connsiteY1084" fmla="*/ 1573024 h 6515100"/>
                <a:gd name="connsiteX1085" fmla="*/ 2351257 w 4829175"/>
                <a:gd name="connsiteY1085" fmla="*/ 1573024 h 6515100"/>
                <a:gd name="connsiteX1086" fmla="*/ 2080844 w 4829175"/>
                <a:gd name="connsiteY1086" fmla="*/ 1844135 h 6515100"/>
                <a:gd name="connsiteX1087" fmla="*/ 2351955 w 4829175"/>
                <a:gd name="connsiteY1087" fmla="*/ 2114547 h 6515100"/>
                <a:gd name="connsiteX1088" fmla="*/ 2615379 w 4829175"/>
                <a:gd name="connsiteY1088" fmla="*/ 2114547 h 6515100"/>
                <a:gd name="connsiteX1089" fmla="*/ 2485414 w 4829175"/>
                <a:gd name="connsiteY1089" fmla="*/ 1984582 h 6515100"/>
                <a:gd name="connsiteX1090" fmla="*/ 2344968 w 4829175"/>
                <a:gd name="connsiteY1090" fmla="*/ 1844135 h 6515100"/>
                <a:gd name="connsiteX1091" fmla="*/ 2615379 w 4829175"/>
                <a:gd name="connsiteY1091" fmla="*/ 1573024 h 6515100"/>
                <a:gd name="connsiteX1092" fmla="*/ 3448276 w 4829175"/>
                <a:gd name="connsiteY1092" fmla="*/ 1572326 h 6515100"/>
                <a:gd name="connsiteX1093" fmla="*/ 3177864 w 4829175"/>
                <a:gd name="connsiteY1093" fmla="*/ 1843436 h 6515100"/>
                <a:gd name="connsiteX1094" fmla="*/ 3448975 w 4829175"/>
                <a:gd name="connsiteY1094" fmla="*/ 2113150 h 6515100"/>
                <a:gd name="connsiteX1095" fmla="*/ 3713099 w 4829175"/>
                <a:gd name="connsiteY1095" fmla="*/ 2113150 h 6515100"/>
                <a:gd name="connsiteX1096" fmla="*/ 3441988 w 4829175"/>
                <a:gd name="connsiteY1096" fmla="*/ 1842739 h 6515100"/>
                <a:gd name="connsiteX1097" fmla="*/ 3626455 w 4829175"/>
                <a:gd name="connsiteY1097" fmla="*/ 1658271 h 6515100"/>
                <a:gd name="connsiteX1098" fmla="*/ 3712400 w 4829175"/>
                <a:gd name="connsiteY1098" fmla="*/ 1572326 h 6515100"/>
                <a:gd name="connsiteX1099" fmla="*/ 4545297 w 4829175"/>
                <a:gd name="connsiteY1099" fmla="*/ 1570929 h 6515100"/>
                <a:gd name="connsiteX1100" fmla="*/ 4274885 w 4829175"/>
                <a:gd name="connsiteY1100" fmla="*/ 1842040 h 6515100"/>
                <a:gd name="connsiteX1101" fmla="*/ 4545996 w 4829175"/>
                <a:gd name="connsiteY1101" fmla="*/ 2111753 h 6515100"/>
                <a:gd name="connsiteX1102" fmla="*/ 4810119 w 4829175"/>
                <a:gd name="connsiteY1102" fmla="*/ 2111753 h 6515100"/>
                <a:gd name="connsiteX1103" fmla="*/ 4539009 w 4829175"/>
                <a:gd name="connsiteY1103" fmla="*/ 1841341 h 6515100"/>
                <a:gd name="connsiteX1104" fmla="*/ 4809421 w 4829175"/>
                <a:gd name="connsiteY1104" fmla="*/ 1570929 h 6515100"/>
                <a:gd name="connsiteX1105" fmla="*/ 164203 w 4829175"/>
                <a:gd name="connsiteY1105" fmla="*/ 1300517 h 6515100"/>
                <a:gd name="connsiteX1106" fmla="*/ 294168 w 4829175"/>
                <a:gd name="connsiteY1106" fmla="*/ 1430482 h 6515100"/>
                <a:gd name="connsiteX1107" fmla="*/ 434615 w 4829175"/>
                <a:gd name="connsiteY1107" fmla="*/ 1570929 h 6515100"/>
                <a:gd name="connsiteX1108" fmla="*/ 164203 w 4829175"/>
                <a:gd name="connsiteY1108" fmla="*/ 1842040 h 6515100"/>
                <a:gd name="connsiteX1109" fmla="*/ 428326 w 4829175"/>
                <a:gd name="connsiteY1109" fmla="*/ 1842040 h 6515100"/>
                <a:gd name="connsiteX1110" fmla="*/ 698738 w 4829175"/>
                <a:gd name="connsiteY1110" fmla="*/ 1570929 h 6515100"/>
                <a:gd name="connsiteX1111" fmla="*/ 427627 w 4829175"/>
                <a:gd name="connsiteY1111" fmla="*/ 1300517 h 6515100"/>
                <a:gd name="connsiteX1112" fmla="*/ 1809733 w 4829175"/>
                <a:gd name="connsiteY1112" fmla="*/ 1299818 h 6515100"/>
                <a:gd name="connsiteX1113" fmla="*/ 2080844 w 4829175"/>
                <a:gd name="connsiteY1113" fmla="*/ 1570230 h 6515100"/>
                <a:gd name="connsiteX1114" fmla="*/ 1810432 w 4829175"/>
                <a:gd name="connsiteY1114" fmla="*/ 1840642 h 6515100"/>
                <a:gd name="connsiteX1115" fmla="*/ 2074555 w 4829175"/>
                <a:gd name="connsiteY1115" fmla="*/ 1840642 h 6515100"/>
                <a:gd name="connsiteX1116" fmla="*/ 2344968 w 4829175"/>
                <a:gd name="connsiteY1116" fmla="*/ 1570230 h 6515100"/>
                <a:gd name="connsiteX1117" fmla="*/ 2073856 w 4829175"/>
                <a:gd name="connsiteY1117" fmla="*/ 1299818 h 6515100"/>
                <a:gd name="connsiteX1118" fmla="*/ 712014 w 4829175"/>
                <a:gd name="connsiteY1118" fmla="*/ 1299818 h 6515100"/>
                <a:gd name="connsiteX1119" fmla="*/ 983125 w 4829175"/>
                <a:gd name="connsiteY1119" fmla="*/ 1570230 h 6515100"/>
                <a:gd name="connsiteX1120" fmla="*/ 712713 w 4829175"/>
                <a:gd name="connsiteY1120" fmla="*/ 1841341 h 6515100"/>
                <a:gd name="connsiteX1121" fmla="*/ 976837 w 4829175"/>
                <a:gd name="connsiteY1121" fmla="*/ 1841341 h 6515100"/>
                <a:gd name="connsiteX1122" fmla="*/ 1247249 w 4829175"/>
                <a:gd name="connsiteY1122" fmla="*/ 1570230 h 6515100"/>
                <a:gd name="connsiteX1123" fmla="*/ 976138 w 4829175"/>
                <a:gd name="connsiteY1123" fmla="*/ 1299818 h 6515100"/>
                <a:gd name="connsiteX1124" fmla="*/ 2358243 w 4829175"/>
                <a:gd name="connsiteY1124" fmla="*/ 1299119 h 6515100"/>
                <a:gd name="connsiteX1125" fmla="*/ 2629354 w 4829175"/>
                <a:gd name="connsiteY1125" fmla="*/ 1569531 h 6515100"/>
                <a:gd name="connsiteX1126" fmla="*/ 2359641 w 4829175"/>
                <a:gd name="connsiteY1126" fmla="*/ 1840642 h 6515100"/>
                <a:gd name="connsiteX1127" fmla="*/ 2623065 w 4829175"/>
                <a:gd name="connsiteY1127" fmla="*/ 1840642 h 6515100"/>
                <a:gd name="connsiteX1128" fmla="*/ 2893477 w 4829175"/>
                <a:gd name="connsiteY1128" fmla="*/ 1569531 h 6515100"/>
                <a:gd name="connsiteX1129" fmla="*/ 2759320 w 4829175"/>
                <a:gd name="connsiteY1129" fmla="*/ 1436072 h 6515100"/>
                <a:gd name="connsiteX1130" fmla="*/ 2622367 w 4829175"/>
                <a:gd name="connsiteY1130" fmla="*/ 1299119 h 6515100"/>
                <a:gd name="connsiteX1131" fmla="*/ 2906754 w 4829175"/>
                <a:gd name="connsiteY1131" fmla="*/ 1298421 h 6515100"/>
                <a:gd name="connsiteX1132" fmla="*/ 2908151 w 4829175"/>
                <a:gd name="connsiteY1132" fmla="*/ 1299818 h 6515100"/>
                <a:gd name="connsiteX1133" fmla="*/ 3177864 w 4829175"/>
                <a:gd name="connsiteY1133" fmla="*/ 1568832 h 6515100"/>
                <a:gd name="connsiteX1134" fmla="*/ 2907452 w 4829175"/>
                <a:gd name="connsiteY1134" fmla="*/ 1839244 h 6515100"/>
                <a:gd name="connsiteX1135" fmla="*/ 3171576 w 4829175"/>
                <a:gd name="connsiteY1135" fmla="*/ 1839244 h 6515100"/>
                <a:gd name="connsiteX1136" fmla="*/ 3441988 w 4829175"/>
                <a:gd name="connsiteY1136" fmla="*/ 1568832 h 6515100"/>
                <a:gd name="connsiteX1137" fmla="*/ 3436398 w 4829175"/>
                <a:gd name="connsiteY1137" fmla="*/ 1563941 h 6515100"/>
                <a:gd name="connsiteX1138" fmla="*/ 3170877 w 4829175"/>
                <a:gd name="connsiteY1138" fmla="*/ 1298421 h 6515100"/>
                <a:gd name="connsiteX1139" fmla="*/ 1525347 w 4829175"/>
                <a:gd name="connsiteY1139" fmla="*/ 1298421 h 6515100"/>
                <a:gd name="connsiteX1140" fmla="*/ 1523949 w 4829175"/>
                <a:gd name="connsiteY1140" fmla="*/ 1299119 h 6515100"/>
                <a:gd name="connsiteX1141" fmla="*/ 1259826 w 4829175"/>
                <a:gd name="connsiteY1141" fmla="*/ 1299119 h 6515100"/>
                <a:gd name="connsiteX1142" fmla="*/ 1530937 w 4829175"/>
                <a:gd name="connsiteY1142" fmla="*/ 1569531 h 6515100"/>
                <a:gd name="connsiteX1143" fmla="*/ 1526744 w 4829175"/>
                <a:gd name="connsiteY1143" fmla="*/ 1573723 h 6515100"/>
                <a:gd name="connsiteX1144" fmla="*/ 1532333 w 4829175"/>
                <a:gd name="connsiteY1144" fmla="*/ 1570929 h 6515100"/>
                <a:gd name="connsiteX1145" fmla="*/ 1261921 w 4829175"/>
                <a:gd name="connsiteY1145" fmla="*/ 1842040 h 6515100"/>
                <a:gd name="connsiteX1146" fmla="*/ 1526046 w 4829175"/>
                <a:gd name="connsiteY1146" fmla="*/ 1842040 h 6515100"/>
                <a:gd name="connsiteX1147" fmla="*/ 1796458 w 4829175"/>
                <a:gd name="connsiteY1147" fmla="*/ 1570929 h 6515100"/>
                <a:gd name="connsiteX1148" fmla="*/ 1525347 w 4829175"/>
                <a:gd name="connsiteY1148" fmla="*/ 1300517 h 6515100"/>
                <a:gd name="connsiteX1149" fmla="*/ 3454565 w 4829175"/>
                <a:gd name="connsiteY1149" fmla="*/ 1297722 h 6515100"/>
                <a:gd name="connsiteX1150" fmla="*/ 3725676 w 4829175"/>
                <a:gd name="connsiteY1150" fmla="*/ 1568134 h 6515100"/>
                <a:gd name="connsiteX1151" fmla="*/ 3722882 w 4829175"/>
                <a:gd name="connsiteY1151" fmla="*/ 1570929 h 6515100"/>
                <a:gd name="connsiteX1152" fmla="*/ 3632744 w 4829175"/>
                <a:gd name="connsiteY1152" fmla="*/ 1661764 h 6515100"/>
                <a:gd name="connsiteX1153" fmla="*/ 3455264 w 4829175"/>
                <a:gd name="connsiteY1153" fmla="*/ 1838545 h 6515100"/>
                <a:gd name="connsiteX1154" fmla="*/ 3719387 w 4829175"/>
                <a:gd name="connsiteY1154" fmla="*/ 1838545 h 6515100"/>
                <a:gd name="connsiteX1155" fmla="*/ 3808826 w 4829175"/>
                <a:gd name="connsiteY1155" fmla="*/ 1749107 h 6515100"/>
                <a:gd name="connsiteX1156" fmla="*/ 3989799 w 4829175"/>
                <a:gd name="connsiteY1156" fmla="*/ 1568134 h 6515100"/>
                <a:gd name="connsiteX1157" fmla="*/ 3718688 w 4829175"/>
                <a:gd name="connsiteY1157" fmla="*/ 1297722 h 6515100"/>
                <a:gd name="connsiteX1158" fmla="*/ 1802048 w 4829175"/>
                <a:gd name="connsiteY1158" fmla="*/ 1025213 h 6515100"/>
                <a:gd name="connsiteX1159" fmla="*/ 1531636 w 4829175"/>
                <a:gd name="connsiteY1159" fmla="*/ 1296324 h 6515100"/>
                <a:gd name="connsiteX1160" fmla="*/ 1802746 w 4829175"/>
                <a:gd name="connsiteY1160" fmla="*/ 1566736 h 6515100"/>
                <a:gd name="connsiteX1161" fmla="*/ 2066870 w 4829175"/>
                <a:gd name="connsiteY1161" fmla="*/ 1566736 h 6515100"/>
                <a:gd name="connsiteX1162" fmla="*/ 1795759 w 4829175"/>
                <a:gd name="connsiteY1162" fmla="*/ 1296324 h 6515100"/>
                <a:gd name="connsiteX1163" fmla="*/ 2066171 w 4829175"/>
                <a:gd name="connsiteY1163" fmla="*/ 1025213 h 6515100"/>
                <a:gd name="connsiteX1164" fmla="*/ 704328 w 4829175"/>
                <a:gd name="connsiteY1164" fmla="*/ 1025213 h 6515100"/>
                <a:gd name="connsiteX1165" fmla="*/ 433916 w 4829175"/>
                <a:gd name="connsiteY1165" fmla="*/ 1296324 h 6515100"/>
                <a:gd name="connsiteX1166" fmla="*/ 705027 w 4829175"/>
                <a:gd name="connsiteY1166" fmla="*/ 1566736 h 6515100"/>
                <a:gd name="connsiteX1167" fmla="*/ 969150 w 4829175"/>
                <a:gd name="connsiteY1167" fmla="*/ 1566736 h 6515100"/>
                <a:gd name="connsiteX1168" fmla="*/ 698039 w 4829175"/>
                <a:gd name="connsiteY1168" fmla="*/ 1296324 h 6515100"/>
                <a:gd name="connsiteX1169" fmla="*/ 967752 w 4829175"/>
                <a:gd name="connsiteY1169" fmla="*/ 1025213 h 6515100"/>
                <a:gd name="connsiteX1170" fmla="*/ 2899067 w 4829175"/>
                <a:gd name="connsiteY1170" fmla="*/ 1024514 h 6515100"/>
                <a:gd name="connsiteX1171" fmla="*/ 2718793 w 4829175"/>
                <a:gd name="connsiteY1171" fmla="*/ 1204790 h 6515100"/>
                <a:gd name="connsiteX1172" fmla="*/ 2629354 w 4829175"/>
                <a:gd name="connsiteY1172" fmla="*/ 1294927 h 6515100"/>
                <a:gd name="connsiteX1173" fmla="*/ 2763512 w 4829175"/>
                <a:gd name="connsiteY1173" fmla="*/ 1428386 h 6515100"/>
                <a:gd name="connsiteX1174" fmla="*/ 2900465 w 4829175"/>
                <a:gd name="connsiteY1174" fmla="*/ 1565338 h 6515100"/>
                <a:gd name="connsiteX1175" fmla="*/ 3164588 w 4829175"/>
                <a:gd name="connsiteY1175" fmla="*/ 1565338 h 6515100"/>
                <a:gd name="connsiteX1176" fmla="*/ 2893477 w 4829175"/>
                <a:gd name="connsiteY1176" fmla="*/ 1294927 h 6515100"/>
                <a:gd name="connsiteX1177" fmla="*/ 2894875 w 4829175"/>
                <a:gd name="connsiteY1177" fmla="*/ 1293530 h 6515100"/>
                <a:gd name="connsiteX1178" fmla="*/ 3163191 w 4829175"/>
                <a:gd name="connsiteY1178" fmla="*/ 1024514 h 6515100"/>
                <a:gd name="connsiteX1179" fmla="*/ 2350558 w 4829175"/>
                <a:gd name="connsiteY1179" fmla="*/ 1024514 h 6515100"/>
                <a:gd name="connsiteX1180" fmla="*/ 2080145 w 4829175"/>
                <a:gd name="connsiteY1180" fmla="*/ 1295625 h 6515100"/>
                <a:gd name="connsiteX1181" fmla="*/ 2351257 w 4829175"/>
                <a:gd name="connsiteY1181" fmla="*/ 1566037 h 6515100"/>
                <a:gd name="connsiteX1182" fmla="*/ 2615379 w 4829175"/>
                <a:gd name="connsiteY1182" fmla="*/ 1566037 h 6515100"/>
                <a:gd name="connsiteX1183" fmla="*/ 2344269 w 4829175"/>
                <a:gd name="connsiteY1183" fmla="*/ 1295625 h 6515100"/>
                <a:gd name="connsiteX1184" fmla="*/ 2528736 w 4829175"/>
                <a:gd name="connsiteY1184" fmla="*/ 1111159 h 6515100"/>
                <a:gd name="connsiteX1185" fmla="*/ 2614681 w 4829175"/>
                <a:gd name="connsiteY1185" fmla="*/ 1025213 h 6515100"/>
                <a:gd name="connsiteX1186" fmla="*/ 2356148 w 4829175"/>
                <a:gd name="connsiteY1186" fmla="*/ 1025213 h 6515100"/>
                <a:gd name="connsiteX1187" fmla="*/ 1252838 w 4829175"/>
                <a:gd name="connsiteY1187" fmla="*/ 1024514 h 6515100"/>
                <a:gd name="connsiteX1188" fmla="*/ 982426 w 4829175"/>
                <a:gd name="connsiteY1188" fmla="*/ 1295625 h 6515100"/>
                <a:gd name="connsiteX1189" fmla="*/ 1253537 w 4829175"/>
                <a:gd name="connsiteY1189" fmla="*/ 1566037 h 6515100"/>
                <a:gd name="connsiteX1190" fmla="*/ 1517660 w 4829175"/>
                <a:gd name="connsiteY1190" fmla="*/ 1566037 h 6515100"/>
                <a:gd name="connsiteX1191" fmla="*/ 1246550 w 4829175"/>
                <a:gd name="connsiteY1191" fmla="*/ 1295625 h 6515100"/>
                <a:gd name="connsiteX1192" fmla="*/ 1431017 w 4829175"/>
                <a:gd name="connsiteY1192" fmla="*/ 1111159 h 6515100"/>
                <a:gd name="connsiteX1193" fmla="*/ 1516962 w 4829175"/>
                <a:gd name="connsiteY1193" fmla="*/ 1024514 h 6515100"/>
                <a:gd name="connsiteX1194" fmla="*/ 3447578 w 4829175"/>
                <a:gd name="connsiteY1194" fmla="*/ 1023816 h 6515100"/>
                <a:gd name="connsiteX1195" fmla="*/ 3177166 w 4829175"/>
                <a:gd name="connsiteY1195" fmla="*/ 1294927 h 6515100"/>
                <a:gd name="connsiteX1196" fmla="*/ 3448276 w 4829175"/>
                <a:gd name="connsiteY1196" fmla="*/ 1565338 h 6515100"/>
                <a:gd name="connsiteX1197" fmla="*/ 3712400 w 4829175"/>
                <a:gd name="connsiteY1197" fmla="*/ 1565338 h 6515100"/>
                <a:gd name="connsiteX1198" fmla="*/ 3441289 w 4829175"/>
                <a:gd name="connsiteY1198" fmla="*/ 1294927 h 6515100"/>
                <a:gd name="connsiteX1199" fmla="*/ 3711701 w 4829175"/>
                <a:gd name="connsiteY1199" fmla="*/ 1023816 h 6515100"/>
                <a:gd name="connsiteX1200" fmla="*/ 4544598 w 4829175"/>
                <a:gd name="connsiteY1200" fmla="*/ 1022419 h 6515100"/>
                <a:gd name="connsiteX1201" fmla="*/ 4274186 w 4829175"/>
                <a:gd name="connsiteY1201" fmla="*/ 1293530 h 6515100"/>
                <a:gd name="connsiteX1202" fmla="*/ 4545297 w 4829175"/>
                <a:gd name="connsiteY1202" fmla="*/ 1563941 h 6515100"/>
                <a:gd name="connsiteX1203" fmla="*/ 4809421 w 4829175"/>
                <a:gd name="connsiteY1203" fmla="*/ 1563941 h 6515100"/>
                <a:gd name="connsiteX1204" fmla="*/ 4538310 w 4829175"/>
                <a:gd name="connsiteY1204" fmla="*/ 1293530 h 6515100"/>
                <a:gd name="connsiteX1205" fmla="*/ 4722777 w 4829175"/>
                <a:gd name="connsiteY1205" fmla="*/ 1108363 h 6515100"/>
                <a:gd name="connsiteX1206" fmla="*/ 4722078 w 4829175"/>
                <a:gd name="connsiteY1206" fmla="*/ 1107664 h 6515100"/>
                <a:gd name="connsiteX1207" fmla="*/ 4807324 w 4829175"/>
                <a:gd name="connsiteY1207" fmla="*/ 1022419 h 6515100"/>
                <a:gd name="connsiteX1208" fmla="*/ 3995389 w 4829175"/>
                <a:gd name="connsiteY1208" fmla="*/ 1022419 h 6515100"/>
                <a:gd name="connsiteX1209" fmla="*/ 3724977 w 4829175"/>
                <a:gd name="connsiteY1209" fmla="*/ 1293530 h 6515100"/>
                <a:gd name="connsiteX1210" fmla="*/ 3996088 w 4829175"/>
                <a:gd name="connsiteY1210" fmla="*/ 1563941 h 6515100"/>
                <a:gd name="connsiteX1211" fmla="*/ 4064564 w 4829175"/>
                <a:gd name="connsiteY1211" fmla="*/ 1563941 h 6515100"/>
                <a:gd name="connsiteX1212" fmla="*/ 4061071 w 4829175"/>
                <a:gd name="connsiteY1212" fmla="*/ 1570929 h 6515100"/>
                <a:gd name="connsiteX1213" fmla="*/ 3996088 w 4829175"/>
                <a:gd name="connsiteY1213" fmla="*/ 1570929 h 6515100"/>
                <a:gd name="connsiteX1214" fmla="*/ 3815814 w 4829175"/>
                <a:gd name="connsiteY1214" fmla="*/ 1751902 h 6515100"/>
                <a:gd name="connsiteX1215" fmla="*/ 3726375 w 4829175"/>
                <a:gd name="connsiteY1215" fmla="*/ 1842040 h 6515100"/>
                <a:gd name="connsiteX1216" fmla="*/ 3859834 w 4829175"/>
                <a:gd name="connsiteY1216" fmla="*/ 1975498 h 6515100"/>
                <a:gd name="connsiteX1217" fmla="*/ 3857039 w 4829175"/>
                <a:gd name="connsiteY1217" fmla="*/ 1981088 h 6515100"/>
                <a:gd name="connsiteX1218" fmla="*/ 3857739 w 4829175"/>
                <a:gd name="connsiteY1218" fmla="*/ 1981785 h 6515100"/>
                <a:gd name="connsiteX1219" fmla="*/ 3857039 w 4829175"/>
                <a:gd name="connsiteY1219" fmla="*/ 1983185 h 6515100"/>
                <a:gd name="connsiteX1220" fmla="*/ 3720086 w 4829175"/>
                <a:gd name="connsiteY1220" fmla="*/ 1846232 h 6515100"/>
                <a:gd name="connsiteX1221" fmla="*/ 3455963 w 4829175"/>
                <a:gd name="connsiteY1221" fmla="*/ 1846232 h 6515100"/>
                <a:gd name="connsiteX1222" fmla="*/ 3727074 w 4829175"/>
                <a:gd name="connsiteY1222" fmla="*/ 2116644 h 6515100"/>
                <a:gd name="connsiteX1223" fmla="*/ 3456662 w 4829175"/>
                <a:gd name="connsiteY1223" fmla="*/ 2387755 h 6515100"/>
                <a:gd name="connsiteX1224" fmla="*/ 3654754 w 4829175"/>
                <a:gd name="connsiteY1224" fmla="*/ 2387755 h 6515100"/>
                <a:gd name="connsiteX1225" fmla="*/ 3652309 w 4829175"/>
                <a:gd name="connsiteY1225" fmla="*/ 2392646 h 6515100"/>
                <a:gd name="connsiteX1226" fmla="*/ 3652658 w 4829175"/>
                <a:gd name="connsiteY1226" fmla="*/ 2392646 h 6515100"/>
                <a:gd name="connsiteX1227" fmla="*/ 3651610 w 4829175"/>
                <a:gd name="connsiteY1227" fmla="*/ 2394742 h 6515100"/>
                <a:gd name="connsiteX1228" fmla="*/ 3456662 w 4829175"/>
                <a:gd name="connsiteY1228" fmla="*/ 2394742 h 6515100"/>
                <a:gd name="connsiteX1229" fmla="*/ 3586394 w 4829175"/>
                <a:gd name="connsiteY1229" fmla="*/ 2524475 h 6515100"/>
                <a:gd name="connsiteX1230" fmla="*/ 3583832 w 4829175"/>
                <a:gd name="connsiteY1230" fmla="*/ 2529598 h 6515100"/>
                <a:gd name="connsiteX1231" fmla="*/ 3584065 w 4829175"/>
                <a:gd name="connsiteY1231" fmla="*/ 2529831 h 6515100"/>
                <a:gd name="connsiteX1232" fmla="*/ 3583133 w 4829175"/>
                <a:gd name="connsiteY1232" fmla="*/ 2531695 h 6515100"/>
                <a:gd name="connsiteX1233" fmla="*/ 3442687 w 4829175"/>
                <a:gd name="connsiteY1233" fmla="*/ 2391248 h 6515100"/>
                <a:gd name="connsiteX1234" fmla="*/ 3713099 w 4829175"/>
                <a:gd name="connsiteY1234" fmla="*/ 2120137 h 6515100"/>
                <a:gd name="connsiteX1235" fmla="*/ 3448975 w 4829175"/>
                <a:gd name="connsiteY1235" fmla="*/ 2120137 h 6515100"/>
                <a:gd name="connsiteX1236" fmla="*/ 3178563 w 4829175"/>
                <a:gd name="connsiteY1236" fmla="*/ 2391248 h 6515100"/>
                <a:gd name="connsiteX1237" fmla="*/ 3448975 w 4829175"/>
                <a:gd name="connsiteY1237" fmla="*/ 2662359 h 6515100"/>
                <a:gd name="connsiteX1238" fmla="*/ 3517452 w 4829175"/>
                <a:gd name="connsiteY1238" fmla="*/ 2662359 h 6515100"/>
                <a:gd name="connsiteX1239" fmla="*/ 3513958 w 4829175"/>
                <a:gd name="connsiteY1239" fmla="*/ 2669346 h 6515100"/>
                <a:gd name="connsiteX1240" fmla="*/ 3448975 w 4829175"/>
                <a:gd name="connsiteY1240" fmla="*/ 2669346 h 6515100"/>
                <a:gd name="connsiteX1241" fmla="*/ 3268701 w 4829175"/>
                <a:gd name="connsiteY1241" fmla="*/ 2850320 h 6515100"/>
                <a:gd name="connsiteX1242" fmla="*/ 3179262 w 4829175"/>
                <a:gd name="connsiteY1242" fmla="*/ 2939758 h 6515100"/>
                <a:gd name="connsiteX1243" fmla="*/ 3312721 w 4829175"/>
                <a:gd name="connsiteY1243" fmla="*/ 3073916 h 6515100"/>
                <a:gd name="connsiteX1244" fmla="*/ 3451072 w 4829175"/>
                <a:gd name="connsiteY1244" fmla="*/ 3207376 h 6515100"/>
                <a:gd name="connsiteX1245" fmla="*/ 3715195 w 4829175"/>
                <a:gd name="connsiteY1245" fmla="*/ 3207376 h 6515100"/>
                <a:gd name="connsiteX1246" fmla="*/ 3444084 w 4829175"/>
                <a:gd name="connsiteY1246" fmla="*/ 2936964 h 6515100"/>
                <a:gd name="connsiteX1247" fmla="*/ 3445482 w 4829175"/>
                <a:gd name="connsiteY1247" fmla="*/ 2935566 h 6515100"/>
                <a:gd name="connsiteX1248" fmla="*/ 3713797 w 4829175"/>
                <a:gd name="connsiteY1248" fmla="*/ 2666552 h 6515100"/>
                <a:gd name="connsiteX1249" fmla="*/ 3515356 w 4829175"/>
                <a:gd name="connsiteY1249" fmla="*/ 2666552 h 6515100"/>
                <a:gd name="connsiteX1250" fmla="*/ 3518849 w 4829175"/>
                <a:gd name="connsiteY1250" fmla="*/ 2659564 h 6515100"/>
                <a:gd name="connsiteX1251" fmla="*/ 3713797 w 4829175"/>
                <a:gd name="connsiteY1251" fmla="*/ 2659564 h 6515100"/>
                <a:gd name="connsiteX1252" fmla="*/ 3584065 w 4829175"/>
                <a:gd name="connsiteY1252" fmla="*/ 2529831 h 6515100"/>
                <a:gd name="connsiteX1253" fmla="*/ 3586627 w 4829175"/>
                <a:gd name="connsiteY1253" fmla="*/ 2524708 h 6515100"/>
                <a:gd name="connsiteX1254" fmla="*/ 3586394 w 4829175"/>
                <a:gd name="connsiteY1254" fmla="*/ 2524475 h 6515100"/>
                <a:gd name="connsiteX1255" fmla="*/ 3587326 w 4829175"/>
                <a:gd name="connsiteY1255" fmla="*/ 2522611 h 6515100"/>
                <a:gd name="connsiteX1256" fmla="*/ 3727772 w 4829175"/>
                <a:gd name="connsiteY1256" fmla="*/ 2663058 h 6515100"/>
                <a:gd name="connsiteX1257" fmla="*/ 3457360 w 4829175"/>
                <a:gd name="connsiteY1257" fmla="*/ 2934169 h 6515100"/>
                <a:gd name="connsiteX1258" fmla="*/ 3721484 w 4829175"/>
                <a:gd name="connsiteY1258" fmla="*/ 2934169 h 6515100"/>
                <a:gd name="connsiteX1259" fmla="*/ 3991896 w 4829175"/>
                <a:gd name="connsiteY1259" fmla="*/ 2663058 h 6515100"/>
                <a:gd name="connsiteX1260" fmla="*/ 3720785 w 4829175"/>
                <a:gd name="connsiteY1260" fmla="*/ 2392646 h 6515100"/>
                <a:gd name="connsiteX1261" fmla="*/ 3652658 w 4829175"/>
                <a:gd name="connsiteY1261" fmla="*/ 2392646 h 6515100"/>
                <a:gd name="connsiteX1262" fmla="*/ 3655103 w 4829175"/>
                <a:gd name="connsiteY1262" fmla="*/ 2387755 h 6515100"/>
                <a:gd name="connsiteX1263" fmla="*/ 3654754 w 4829175"/>
                <a:gd name="connsiteY1263" fmla="*/ 2387755 h 6515100"/>
                <a:gd name="connsiteX1264" fmla="*/ 3655802 w 4829175"/>
                <a:gd name="connsiteY1264" fmla="*/ 2385658 h 6515100"/>
                <a:gd name="connsiteX1265" fmla="*/ 3720785 w 4829175"/>
                <a:gd name="connsiteY1265" fmla="*/ 2385658 h 6515100"/>
                <a:gd name="connsiteX1266" fmla="*/ 3991197 w 4829175"/>
                <a:gd name="connsiteY1266" fmla="*/ 2114547 h 6515100"/>
                <a:gd name="connsiteX1267" fmla="*/ 3857739 w 4829175"/>
                <a:gd name="connsiteY1267" fmla="*/ 1981785 h 6515100"/>
                <a:gd name="connsiteX1268" fmla="*/ 3860533 w 4829175"/>
                <a:gd name="connsiteY1268" fmla="*/ 1976197 h 6515100"/>
                <a:gd name="connsiteX1269" fmla="*/ 3859834 w 4829175"/>
                <a:gd name="connsiteY1269" fmla="*/ 1975498 h 6515100"/>
                <a:gd name="connsiteX1270" fmla="*/ 3860533 w 4829175"/>
                <a:gd name="connsiteY1270" fmla="*/ 1974101 h 6515100"/>
                <a:gd name="connsiteX1271" fmla="*/ 3997486 w 4829175"/>
                <a:gd name="connsiteY1271" fmla="*/ 2111054 h 6515100"/>
                <a:gd name="connsiteX1272" fmla="*/ 4261609 w 4829175"/>
                <a:gd name="connsiteY1272" fmla="*/ 2111054 h 6515100"/>
                <a:gd name="connsiteX1273" fmla="*/ 3990498 w 4829175"/>
                <a:gd name="connsiteY1273" fmla="*/ 1840642 h 6515100"/>
                <a:gd name="connsiteX1274" fmla="*/ 3991896 w 4829175"/>
                <a:gd name="connsiteY1274" fmla="*/ 1839244 h 6515100"/>
                <a:gd name="connsiteX1275" fmla="*/ 4260211 w 4829175"/>
                <a:gd name="connsiteY1275" fmla="*/ 1570230 h 6515100"/>
                <a:gd name="connsiteX1276" fmla="*/ 4061770 w 4829175"/>
                <a:gd name="connsiteY1276" fmla="*/ 1570230 h 6515100"/>
                <a:gd name="connsiteX1277" fmla="*/ 4065263 w 4829175"/>
                <a:gd name="connsiteY1277" fmla="*/ 1563243 h 6515100"/>
                <a:gd name="connsiteX1278" fmla="*/ 4260211 w 4829175"/>
                <a:gd name="connsiteY1278" fmla="*/ 1563243 h 6515100"/>
                <a:gd name="connsiteX1279" fmla="*/ 4130246 w 4829175"/>
                <a:gd name="connsiteY1279" fmla="*/ 1433278 h 6515100"/>
                <a:gd name="connsiteX1280" fmla="*/ 4133739 w 4829175"/>
                <a:gd name="connsiteY1280" fmla="*/ 1426290 h 6515100"/>
                <a:gd name="connsiteX1281" fmla="*/ 4274186 w 4829175"/>
                <a:gd name="connsiteY1281" fmla="*/ 1566736 h 6515100"/>
                <a:gd name="connsiteX1282" fmla="*/ 4003774 w 4829175"/>
                <a:gd name="connsiteY1282" fmla="*/ 1837847 h 6515100"/>
                <a:gd name="connsiteX1283" fmla="*/ 4267898 w 4829175"/>
                <a:gd name="connsiteY1283" fmla="*/ 1837847 h 6515100"/>
                <a:gd name="connsiteX1284" fmla="*/ 4538310 w 4829175"/>
                <a:gd name="connsiteY1284" fmla="*/ 1566736 h 6515100"/>
                <a:gd name="connsiteX1285" fmla="*/ 4267199 w 4829175"/>
                <a:gd name="connsiteY1285" fmla="*/ 1297023 h 6515100"/>
                <a:gd name="connsiteX1286" fmla="*/ 4198723 w 4829175"/>
                <a:gd name="connsiteY1286" fmla="*/ 1297023 h 6515100"/>
                <a:gd name="connsiteX1287" fmla="*/ 4003774 w 4829175"/>
                <a:gd name="connsiteY1287" fmla="*/ 1297023 h 6515100"/>
                <a:gd name="connsiteX1288" fmla="*/ 4133040 w 4829175"/>
                <a:gd name="connsiteY1288" fmla="*/ 1426989 h 6515100"/>
                <a:gd name="connsiteX1289" fmla="*/ 4129547 w 4829175"/>
                <a:gd name="connsiteY1289" fmla="*/ 1433975 h 6515100"/>
                <a:gd name="connsiteX1290" fmla="*/ 3989100 w 4829175"/>
                <a:gd name="connsiteY1290" fmla="*/ 1293530 h 6515100"/>
                <a:gd name="connsiteX1291" fmla="*/ 4259512 w 4829175"/>
                <a:gd name="connsiteY1291" fmla="*/ 1022419 h 6515100"/>
                <a:gd name="connsiteX1292" fmla="*/ 162805 w 4829175"/>
                <a:gd name="connsiteY1292" fmla="*/ 752007 h 6515100"/>
                <a:gd name="connsiteX1293" fmla="*/ 433916 w 4829175"/>
                <a:gd name="connsiteY1293" fmla="*/ 1022419 h 6515100"/>
                <a:gd name="connsiteX1294" fmla="*/ 164203 w 4829175"/>
                <a:gd name="connsiteY1294" fmla="*/ 1293530 h 6515100"/>
                <a:gd name="connsiteX1295" fmla="*/ 427627 w 4829175"/>
                <a:gd name="connsiteY1295" fmla="*/ 1293530 h 6515100"/>
                <a:gd name="connsiteX1296" fmla="*/ 698039 w 4829175"/>
                <a:gd name="connsiteY1296" fmla="*/ 1022419 h 6515100"/>
                <a:gd name="connsiteX1297" fmla="*/ 563881 w 4829175"/>
                <a:gd name="connsiteY1297" fmla="*/ 888959 h 6515100"/>
                <a:gd name="connsiteX1298" fmla="*/ 426928 w 4829175"/>
                <a:gd name="connsiteY1298" fmla="*/ 752007 h 6515100"/>
                <a:gd name="connsiteX1299" fmla="*/ 1809035 w 4829175"/>
                <a:gd name="connsiteY1299" fmla="*/ 751308 h 6515100"/>
                <a:gd name="connsiteX1300" fmla="*/ 1937603 w 4829175"/>
                <a:gd name="connsiteY1300" fmla="*/ 879876 h 6515100"/>
                <a:gd name="connsiteX1301" fmla="*/ 2079447 w 4829175"/>
                <a:gd name="connsiteY1301" fmla="*/ 1021720 h 6515100"/>
                <a:gd name="connsiteX1302" fmla="*/ 1809035 w 4829175"/>
                <a:gd name="connsiteY1302" fmla="*/ 1292831 h 6515100"/>
                <a:gd name="connsiteX1303" fmla="*/ 2073158 w 4829175"/>
                <a:gd name="connsiteY1303" fmla="*/ 1292831 h 6515100"/>
                <a:gd name="connsiteX1304" fmla="*/ 2343570 w 4829175"/>
                <a:gd name="connsiteY1304" fmla="*/ 1021720 h 6515100"/>
                <a:gd name="connsiteX1305" fmla="*/ 2338678 w 4829175"/>
                <a:gd name="connsiteY1305" fmla="*/ 1016829 h 6515100"/>
                <a:gd name="connsiteX1306" fmla="*/ 2073158 w 4829175"/>
                <a:gd name="connsiteY1306" fmla="*/ 751308 h 6515100"/>
                <a:gd name="connsiteX1307" fmla="*/ 2357544 w 4829175"/>
                <a:gd name="connsiteY1307" fmla="*/ 750609 h 6515100"/>
                <a:gd name="connsiteX1308" fmla="*/ 2628655 w 4829175"/>
                <a:gd name="connsiteY1308" fmla="*/ 1020322 h 6515100"/>
                <a:gd name="connsiteX1309" fmla="*/ 2625861 w 4829175"/>
                <a:gd name="connsiteY1309" fmla="*/ 1023118 h 6515100"/>
                <a:gd name="connsiteX1310" fmla="*/ 2535723 w 4829175"/>
                <a:gd name="connsiteY1310" fmla="*/ 1113953 h 6515100"/>
                <a:gd name="connsiteX1311" fmla="*/ 2358243 w 4829175"/>
                <a:gd name="connsiteY1311" fmla="*/ 1291433 h 6515100"/>
                <a:gd name="connsiteX1312" fmla="*/ 2622367 w 4829175"/>
                <a:gd name="connsiteY1312" fmla="*/ 1291433 h 6515100"/>
                <a:gd name="connsiteX1313" fmla="*/ 2711805 w 4829175"/>
                <a:gd name="connsiteY1313" fmla="*/ 1201994 h 6515100"/>
                <a:gd name="connsiteX1314" fmla="*/ 2892779 w 4829175"/>
                <a:gd name="connsiteY1314" fmla="*/ 1021021 h 6515100"/>
                <a:gd name="connsiteX1315" fmla="*/ 2621668 w 4829175"/>
                <a:gd name="connsiteY1315" fmla="*/ 750609 h 6515100"/>
                <a:gd name="connsiteX1316" fmla="*/ 1259127 w 4829175"/>
                <a:gd name="connsiteY1316" fmla="*/ 750609 h 6515100"/>
                <a:gd name="connsiteX1317" fmla="*/ 1530238 w 4829175"/>
                <a:gd name="connsiteY1317" fmla="*/ 1020322 h 6515100"/>
                <a:gd name="connsiteX1318" fmla="*/ 1527442 w 4829175"/>
                <a:gd name="connsiteY1318" fmla="*/ 1023118 h 6515100"/>
                <a:gd name="connsiteX1319" fmla="*/ 1437306 w 4829175"/>
                <a:gd name="connsiteY1319" fmla="*/ 1113953 h 6515100"/>
                <a:gd name="connsiteX1320" fmla="*/ 1259826 w 4829175"/>
                <a:gd name="connsiteY1320" fmla="*/ 1291433 h 6515100"/>
                <a:gd name="connsiteX1321" fmla="*/ 1523949 w 4829175"/>
                <a:gd name="connsiteY1321" fmla="*/ 1291433 h 6515100"/>
                <a:gd name="connsiteX1322" fmla="*/ 1613388 w 4829175"/>
                <a:gd name="connsiteY1322" fmla="*/ 1201994 h 6515100"/>
                <a:gd name="connsiteX1323" fmla="*/ 1794361 w 4829175"/>
                <a:gd name="connsiteY1323" fmla="*/ 1021021 h 6515100"/>
                <a:gd name="connsiteX1324" fmla="*/ 1523250 w 4829175"/>
                <a:gd name="connsiteY1324" fmla="*/ 750609 h 6515100"/>
                <a:gd name="connsiteX1325" fmla="*/ 710617 w 4829175"/>
                <a:gd name="connsiteY1325" fmla="*/ 750609 h 6515100"/>
                <a:gd name="connsiteX1326" fmla="*/ 712014 w 4829175"/>
                <a:gd name="connsiteY1326" fmla="*/ 752007 h 6515100"/>
                <a:gd name="connsiteX1327" fmla="*/ 981727 w 4829175"/>
                <a:gd name="connsiteY1327" fmla="*/ 1021021 h 6515100"/>
                <a:gd name="connsiteX1328" fmla="*/ 711316 w 4829175"/>
                <a:gd name="connsiteY1328" fmla="*/ 1292132 h 6515100"/>
                <a:gd name="connsiteX1329" fmla="*/ 975439 w 4829175"/>
                <a:gd name="connsiteY1329" fmla="*/ 1292132 h 6515100"/>
                <a:gd name="connsiteX1330" fmla="*/ 1245851 w 4829175"/>
                <a:gd name="connsiteY1330" fmla="*/ 1021021 h 6515100"/>
                <a:gd name="connsiteX1331" fmla="*/ 1240261 w 4829175"/>
                <a:gd name="connsiteY1331" fmla="*/ 1016130 h 6515100"/>
                <a:gd name="connsiteX1332" fmla="*/ 974740 w 4829175"/>
                <a:gd name="connsiteY1332" fmla="*/ 750609 h 6515100"/>
                <a:gd name="connsiteX1333" fmla="*/ 2906055 w 4829175"/>
                <a:gd name="connsiteY1333" fmla="*/ 749910 h 6515100"/>
                <a:gd name="connsiteX1334" fmla="*/ 3036720 w 4829175"/>
                <a:gd name="connsiteY1334" fmla="*/ 879177 h 6515100"/>
                <a:gd name="connsiteX1335" fmla="*/ 3177166 w 4829175"/>
                <a:gd name="connsiteY1335" fmla="*/ 1019623 h 6515100"/>
                <a:gd name="connsiteX1336" fmla="*/ 2906754 w 4829175"/>
                <a:gd name="connsiteY1336" fmla="*/ 1290734 h 6515100"/>
                <a:gd name="connsiteX1337" fmla="*/ 3170877 w 4829175"/>
                <a:gd name="connsiteY1337" fmla="*/ 1290734 h 6515100"/>
                <a:gd name="connsiteX1338" fmla="*/ 3441289 w 4829175"/>
                <a:gd name="connsiteY1338" fmla="*/ 1020322 h 6515100"/>
                <a:gd name="connsiteX1339" fmla="*/ 3170178 w 4829175"/>
                <a:gd name="connsiteY1339" fmla="*/ 749910 h 6515100"/>
                <a:gd name="connsiteX1340" fmla="*/ 3454565 w 4829175"/>
                <a:gd name="connsiteY1340" fmla="*/ 749211 h 6515100"/>
                <a:gd name="connsiteX1341" fmla="*/ 3725676 w 4829175"/>
                <a:gd name="connsiteY1341" fmla="*/ 1019623 h 6515100"/>
                <a:gd name="connsiteX1342" fmla="*/ 3455264 w 4829175"/>
                <a:gd name="connsiteY1342" fmla="*/ 1290734 h 6515100"/>
                <a:gd name="connsiteX1343" fmla="*/ 3719387 w 4829175"/>
                <a:gd name="connsiteY1343" fmla="*/ 1290734 h 6515100"/>
                <a:gd name="connsiteX1344" fmla="*/ 3989799 w 4829175"/>
                <a:gd name="connsiteY1344" fmla="*/ 1019623 h 6515100"/>
                <a:gd name="connsiteX1345" fmla="*/ 3718688 w 4829175"/>
                <a:gd name="connsiteY1345" fmla="*/ 749211 h 6515100"/>
                <a:gd name="connsiteX1346" fmla="*/ 4003075 w 4829175"/>
                <a:gd name="connsiteY1346" fmla="*/ 748512 h 6515100"/>
                <a:gd name="connsiteX1347" fmla="*/ 4274186 w 4829175"/>
                <a:gd name="connsiteY1347" fmla="*/ 1018924 h 6515100"/>
                <a:gd name="connsiteX1348" fmla="*/ 4003774 w 4829175"/>
                <a:gd name="connsiteY1348" fmla="*/ 1290035 h 6515100"/>
                <a:gd name="connsiteX1349" fmla="*/ 4202216 w 4829175"/>
                <a:gd name="connsiteY1349" fmla="*/ 1290035 h 6515100"/>
                <a:gd name="connsiteX1350" fmla="*/ 4267199 w 4829175"/>
                <a:gd name="connsiteY1350" fmla="*/ 1290035 h 6515100"/>
                <a:gd name="connsiteX1351" fmla="*/ 4538310 w 4829175"/>
                <a:gd name="connsiteY1351" fmla="*/ 1018924 h 6515100"/>
                <a:gd name="connsiteX1352" fmla="*/ 4404151 w 4829175"/>
                <a:gd name="connsiteY1352" fmla="*/ 885466 h 6515100"/>
                <a:gd name="connsiteX1353" fmla="*/ 4267199 w 4829175"/>
                <a:gd name="connsiteY1353" fmla="*/ 748512 h 6515100"/>
                <a:gd name="connsiteX1354" fmla="*/ 702930 w 4829175"/>
                <a:gd name="connsiteY1354" fmla="*/ 476704 h 6515100"/>
                <a:gd name="connsiteX1355" fmla="*/ 522656 w 4829175"/>
                <a:gd name="connsiteY1355" fmla="*/ 657677 h 6515100"/>
                <a:gd name="connsiteX1356" fmla="*/ 433217 w 4829175"/>
                <a:gd name="connsiteY1356" fmla="*/ 747814 h 6515100"/>
                <a:gd name="connsiteX1357" fmla="*/ 567375 w 4829175"/>
                <a:gd name="connsiteY1357" fmla="*/ 881273 h 6515100"/>
                <a:gd name="connsiteX1358" fmla="*/ 704328 w 4829175"/>
                <a:gd name="connsiteY1358" fmla="*/ 1018227 h 6515100"/>
                <a:gd name="connsiteX1359" fmla="*/ 968451 w 4829175"/>
                <a:gd name="connsiteY1359" fmla="*/ 1018227 h 6515100"/>
                <a:gd name="connsiteX1360" fmla="*/ 697340 w 4829175"/>
                <a:gd name="connsiteY1360" fmla="*/ 747814 h 6515100"/>
                <a:gd name="connsiteX1361" fmla="*/ 698738 w 4829175"/>
                <a:gd name="connsiteY1361" fmla="*/ 746417 h 6515100"/>
                <a:gd name="connsiteX1362" fmla="*/ 967054 w 4829175"/>
                <a:gd name="connsiteY1362" fmla="*/ 476704 h 6515100"/>
                <a:gd name="connsiteX1363" fmla="*/ 1252140 w 4829175"/>
                <a:gd name="connsiteY1363" fmla="*/ 476005 h 6515100"/>
                <a:gd name="connsiteX1364" fmla="*/ 981727 w 4829175"/>
                <a:gd name="connsiteY1364" fmla="*/ 747116 h 6515100"/>
                <a:gd name="connsiteX1365" fmla="*/ 1252838 w 4829175"/>
                <a:gd name="connsiteY1365" fmla="*/ 1017528 h 6515100"/>
                <a:gd name="connsiteX1366" fmla="*/ 1516962 w 4829175"/>
                <a:gd name="connsiteY1366" fmla="*/ 1017528 h 6515100"/>
                <a:gd name="connsiteX1367" fmla="*/ 1245851 w 4829175"/>
                <a:gd name="connsiteY1367" fmla="*/ 747116 h 6515100"/>
                <a:gd name="connsiteX1368" fmla="*/ 1516263 w 4829175"/>
                <a:gd name="connsiteY1368" fmla="*/ 476005 h 6515100"/>
                <a:gd name="connsiteX1369" fmla="*/ 2899067 w 4829175"/>
                <a:gd name="connsiteY1369" fmla="*/ 475306 h 6515100"/>
                <a:gd name="connsiteX1370" fmla="*/ 2628655 w 4829175"/>
                <a:gd name="connsiteY1370" fmla="*/ 746417 h 6515100"/>
                <a:gd name="connsiteX1371" fmla="*/ 2899766 w 4829175"/>
                <a:gd name="connsiteY1371" fmla="*/ 1016829 h 6515100"/>
                <a:gd name="connsiteX1372" fmla="*/ 3163191 w 4829175"/>
                <a:gd name="connsiteY1372" fmla="*/ 1016829 h 6515100"/>
                <a:gd name="connsiteX1373" fmla="*/ 3032527 w 4829175"/>
                <a:gd name="connsiteY1373" fmla="*/ 886863 h 6515100"/>
                <a:gd name="connsiteX1374" fmla="*/ 2892081 w 4829175"/>
                <a:gd name="connsiteY1374" fmla="*/ 746417 h 6515100"/>
                <a:gd name="connsiteX1375" fmla="*/ 3163191 w 4829175"/>
                <a:gd name="connsiteY1375" fmla="*/ 475306 h 6515100"/>
                <a:gd name="connsiteX1376" fmla="*/ 1799951 w 4829175"/>
                <a:gd name="connsiteY1376" fmla="*/ 475306 h 6515100"/>
                <a:gd name="connsiteX1377" fmla="*/ 1529539 w 4829175"/>
                <a:gd name="connsiteY1377" fmla="*/ 746417 h 6515100"/>
                <a:gd name="connsiteX1378" fmla="*/ 1800650 w 4829175"/>
                <a:gd name="connsiteY1378" fmla="*/ 1016829 h 6515100"/>
                <a:gd name="connsiteX1379" fmla="*/ 1802048 w 4829175"/>
                <a:gd name="connsiteY1379" fmla="*/ 1018227 h 6515100"/>
                <a:gd name="connsiteX1380" fmla="*/ 2066171 w 4829175"/>
                <a:gd name="connsiteY1380" fmla="*/ 1018227 h 6515100"/>
                <a:gd name="connsiteX1381" fmla="*/ 1934808 w 4829175"/>
                <a:gd name="connsiteY1381" fmla="*/ 886863 h 6515100"/>
                <a:gd name="connsiteX1382" fmla="*/ 1797155 w 4829175"/>
                <a:gd name="connsiteY1382" fmla="*/ 749211 h 6515100"/>
                <a:gd name="connsiteX1383" fmla="*/ 2066171 w 4829175"/>
                <a:gd name="connsiteY1383" fmla="*/ 475306 h 6515100"/>
                <a:gd name="connsiteX1384" fmla="*/ 3446879 w 4829175"/>
                <a:gd name="connsiteY1384" fmla="*/ 474607 h 6515100"/>
                <a:gd name="connsiteX1385" fmla="*/ 3176467 w 4829175"/>
                <a:gd name="connsiteY1385" fmla="*/ 745718 h 6515100"/>
                <a:gd name="connsiteX1386" fmla="*/ 3447578 w 4829175"/>
                <a:gd name="connsiteY1386" fmla="*/ 1016130 h 6515100"/>
                <a:gd name="connsiteX1387" fmla="*/ 3711701 w 4829175"/>
                <a:gd name="connsiteY1387" fmla="*/ 1016130 h 6515100"/>
                <a:gd name="connsiteX1388" fmla="*/ 3440590 w 4829175"/>
                <a:gd name="connsiteY1388" fmla="*/ 745718 h 6515100"/>
                <a:gd name="connsiteX1389" fmla="*/ 3625057 w 4829175"/>
                <a:gd name="connsiteY1389" fmla="*/ 561251 h 6515100"/>
                <a:gd name="connsiteX1390" fmla="*/ 3709605 w 4829175"/>
                <a:gd name="connsiteY1390" fmla="*/ 474607 h 6515100"/>
                <a:gd name="connsiteX1391" fmla="*/ 3995389 w 4829175"/>
                <a:gd name="connsiteY1391" fmla="*/ 473908 h 6515100"/>
                <a:gd name="connsiteX1392" fmla="*/ 3724977 w 4829175"/>
                <a:gd name="connsiteY1392" fmla="*/ 745019 h 6515100"/>
                <a:gd name="connsiteX1393" fmla="*/ 3996088 w 4829175"/>
                <a:gd name="connsiteY1393" fmla="*/ 1015431 h 6515100"/>
                <a:gd name="connsiteX1394" fmla="*/ 4260211 w 4829175"/>
                <a:gd name="connsiteY1394" fmla="*/ 1015431 h 6515100"/>
                <a:gd name="connsiteX1395" fmla="*/ 3989100 w 4829175"/>
                <a:gd name="connsiteY1395" fmla="*/ 745019 h 6515100"/>
                <a:gd name="connsiteX1396" fmla="*/ 3990498 w 4829175"/>
                <a:gd name="connsiteY1396" fmla="*/ 743621 h 6515100"/>
                <a:gd name="connsiteX1397" fmla="*/ 3989799 w 4829175"/>
                <a:gd name="connsiteY1397" fmla="*/ 743621 h 6515100"/>
                <a:gd name="connsiteX1398" fmla="*/ 4258116 w 4829175"/>
                <a:gd name="connsiteY1398" fmla="*/ 474607 h 6515100"/>
                <a:gd name="connsiteX1399" fmla="*/ 3999582 w 4829175"/>
                <a:gd name="connsiteY1399" fmla="*/ 474607 h 6515100"/>
                <a:gd name="connsiteX1400" fmla="*/ 4000979 w 4829175"/>
                <a:gd name="connsiteY1400" fmla="*/ 473908 h 6515100"/>
                <a:gd name="connsiteX1401" fmla="*/ 4543201 w 4829175"/>
                <a:gd name="connsiteY1401" fmla="*/ 473209 h 6515100"/>
                <a:gd name="connsiteX1402" fmla="*/ 4362227 w 4829175"/>
                <a:gd name="connsiteY1402" fmla="*/ 654183 h 6515100"/>
                <a:gd name="connsiteX1403" fmla="*/ 4362926 w 4829175"/>
                <a:gd name="connsiteY1403" fmla="*/ 654882 h 6515100"/>
                <a:gd name="connsiteX1404" fmla="*/ 4273487 w 4829175"/>
                <a:gd name="connsiteY1404" fmla="*/ 745019 h 6515100"/>
                <a:gd name="connsiteX1405" fmla="*/ 4407646 w 4829175"/>
                <a:gd name="connsiteY1405" fmla="*/ 878479 h 6515100"/>
                <a:gd name="connsiteX1406" fmla="*/ 4543899 w 4829175"/>
                <a:gd name="connsiteY1406" fmla="*/ 1014732 h 6515100"/>
                <a:gd name="connsiteX1407" fmla="*/ 4808023 w 4829175"/>
                <a:gd name="connsiteY1407" fmla="*/ 1014732 h 6515100"/>
                <a:gd name="connsiteX1408" fmla="*/ 4536912 w 4829175"/>
                <a:gd name="connsiteY1408" fmla="*/ 744320 h 6515100"/>
                <a:gd name="connsiteX1409" fmla="*/ 4807324 w 4829175"/>
                <a:gd name="connsiteY1409" fmla="*/ 473209 h 6515100"/>
                <a:gd name="connsiteX1410" fmla="*/ 2616078 w 4829175"/>
                <a:gd name="connsiteY1410" fmla="*/ 473209 h 6515100"/>
                <a:gd name="connsiteX1411" fmla="*/ 2349859 w 4829175"/>
                <a:gd name="connsiteY1411" fmla="*/ 476005 h 6515100"/>
                <a:gd name="connsiteX1412" fmla="*/ 2079447 w 4829175"/>
                <a:gd name="connsiteY1412" fmla="*/ 747116 h 6515100"/>
                <a:gd name="connsiteX1413" fmla="*/ 2350558 w 4829175"/>
                <a:gd name="connsiteY1413" fmla="*/ 1017528 h 6515100"/>
                <a:gd name="connsiteX1414" fmla="*/ 2614681 w 4829175"/>
                <a:gd name="connsiteY1414" fmla="*/ 1017528 h 6515100"/>
                <a:gd name="connsiteX1415" fmla="*/ 2343570 w 4829175"/>
                <a:gd name="connsiteY1415" fmla="*/ 747116 h 6515100"/>
                <a:gd name="connsiteX1416" fmla="*/ 161407 w 4829175"/>
                <a:gd name="connsiteY1416" fmla="*/ 203496 h 6515100"/>
                <a:gd name="connsiteX1417" fmla="*/ 432518 w 4829175"/>
                <a:gd name="connsiteY1417" fmla="*/ 473908 h 6515100"/>
                <a:gd name="connsiteX1418" fmla="*/ 429724 w 4829175"/>
                <a:gd name="connsiteY1418" fmla="*/ 476704 h 6515100"/>
                <a:gd name="connsiteX1419" fmla="*/ 339586 w 4829175"/>
                <a:gd name="connsiteY1419" fmla="*/ 567539 h 6515100"/>
                <a:gd name="connsiteX1420" fmla="*/ 162106 w 4829175"/>
                <a:gd name="connsiteY1420" fmla="*/ 744320 h 6515100"/>
                <a:gd name="connsiteX1421" fmla="*/ 426230 w 4829175"/>
                <a:gd name="connsiteY1421" fmla="*/ 744320 h 6515100"/>
                <a:gd name="connsiteX1422" fmla="*/ 515668 w 4829175"/>
                <a:gd name="connsiteY1422" fmla="*/ 654882 h 6515100"/>
                <a:gd name="connsiteX1423" fmla="*/ 696642 w 4829175"/>
                <a:gd name="connsiteY1423" fmla="*/ 473908 h 6515100"/>
                <a:gd name="connsiteX1424" fmla="*/ 425531 w 4829175"/>
                <a:gd name="connsiteY1424" fmla="*/ 203496 h 6515100"/>
                <a:gd name="connsiteX1425" fmla="*/ 710617 w 4829175"/>
                <a:gd name="connsiteY1425" fmla="*/ 202798 h 6515100"/>
                <a:gd name="connsiteX1426" fmla="*/ 840582 w 4829175"/>
                <a:gd name="connsiteY1426" fmla="*/ 332763 h 6515100"/>
                <a:gd name="connsiteX1427" fmla="*/ 981029 w 4829175"/>
                <a:gd name="connsiteY1427" fmla="*/ 472511 h 6515100"/>
                <a:gd name="connsiteX1428" fmla="*/ 710617 w 4829175"/>
                <a:gd name="connsiteY1428" fmla="*/ 743621 h 6515100"/>
                <a:gd name="connsiteX1429" fmla="*/ 974740 w 4829175"/>
                <a:gd name="connsiteY1429" fmla="*/ 743621 h 6515100"/>
                <a:gd name="connsiteX1430" fmla="*/ 1245851 w 4829175"/>
                <a:gd name="connsiteY1430" fmla="*/ 473209 h 6515100"/>
                <a:gd name="connsiteX1431" fmla="*/ 974740 w 4829175"/>
                <a:gd name="connsiteY1431" fmla="*/ 202798 h 6515100"/>
                <a:gd name="connsiteX1432" fmla="*/ 2906055 w 4829175"/>
                <a:gd name="connsiteY1432" fmla="*/ 202099 h 6515100"/>
                <a:gd name="connsiteX1433" fmla="*/ 3035322 w 4829175"/>
                <a:gd name="connsiteY1433" fmla="*/ 329968 h 6515100"/>
                <a:gd name="connsiteX1434" fmla="*/ 3035322 w 4829175"/>
                <a:gd name="connsiteY1434" fmla="*/ 330667 h 6515100"/>
                <a:gd name="connsiteX1435" fmla="*/ 3177166 w 4829175"/>
                <a:gd name="connsiteY1435" fmla="*/ 472511 h 6515100"/>
                <a:gd name="connsiteX1436" fmla="*/ 2906754 w 4829175"/>
                <a:gd name="connsiteY1436" fmla="*/ 743621 h 6515100"/>
                <a:gd name="connsiteX1437" fmla="*/ 3170178 w 4829175"/>
                <a:gd name="connsiteY1437" fmla="*/ 743621 h 6515100"/>
                <a:gd name="connsiteX1438" fmla="*/ 3440590 w 4829175"/>
                <a:gd name="connsiteY1438" fmla="*/ 472511 h 6515100"/>
                <a:gd name="connsiteX1439" fmla="*/ 3435000 w 4829175"/>
                <a:gd name="connsiteY1439" fmla="*/ 466921 h 6515100"/>
                <a:gd name="connsiteX1440" fmla="*/ 3434301 w 4829175"/>
                <a:gd name="connsiteY1440" fmla="*/ 466921 h 6515100"/>
                <a:gd name="connsiteX1441" fmla="*/ 3168781 w 4829175"/>
                <a:gd name="connsiteY1441" fmla="*/ 202099 h 6515100"/>
                <a:gd name="connsiteX1442" fmla="*/ 1808336 w 4829175"/>
                <a:gd name="connsiteY1442" fmla="*/ 202099 h 6515100"/>
                <a:gd name="connsiteX1443" fmla="*/ 1810426 w 4829175"/>
                <a:gd name="connsiteY1443" fmla="*/ 204887 h 6515100"/>
                <a:gd name="connsiteX1444" fmla="*/ 1809733 w 4829175"/>
                <a:gd name="connsiteY1444" fmla="*/ 204195 h 6515100"/>
                <a:gd name="connsiteX1445" fmla="*/ 1810432 w 4829175"/>
                <a:gd name="connsiteY1445" fmla="*/ 204894 h 6515100"/>
                <a:gd name="connsiteX1446" fmla="*/ 1810426 w 4829175"/>
                <a:gd name="connsiteY1446" fmla="*/ 204887 h 6515100"/>
                <a:gd name="connsiteX1447" fmla="*/ 2068965 w 4829175"/>
                <a:gd name="connsiteY1447" fmla="*/ 462729 h 6515100"/>
                <a:gd name="connsiteX1448" fmla="*/ 2078748 w 4829175"/>
                <a:gd name="connsiteY1448" fmla="*/ 471812 h 6515100"/>
                <a:gd name="connsiteX1449" fmla="*/ 2080844 w 4829175"/>
                <a:gd name="connsiteY1449" fmla="*/ 473908 h 6515100"/>
                <a:gd name="connsiteX1450" fmla="*/ 1816022 w 4829175"/>
                <a:gd name="connsiteY1450" fmla="*/ 743621 h 6515100"/>
                <a:gd name="connsiteX1451" fmla="*/ 2075254 w 4829175"/>
                <a:gd name="connsiteY1451" fmla="*/ 744320 h 6515100"/>
                <a:gd name="connsiteX1452" fmla="*/ 2344968 w 4829175"/>
                <a:gd name="connsiteY1452" fmla="*/ 473908 h 6515100"/>
                <a:gd name="connsiteX1453" fmla="*/ 2209412 w 4829175"/>
                <a:gd name="connsiteY1453" fmla="*/ 339051 h 6515100"/>
                <a:gd name="connsiteX1454" fmla="*/ 2192643 w 4829175"/>
                <a:gd name="connsiteY1454" fmla="*/ 322282 h 6515100"/>
                <a:gd name="connsiteX1455" fmla="*/ 2073158 w 4829175"/>
                <a:gd name="connsiteY1455" fmla="*/ 203496 h 6515100"/>
                <a:gd name="connsiteX1456" fmla="*/ 2068965 w 4829175"/>
                <a:gd name="connsiteY1456" fmla="*/ 202099 h 6515100"/>
                <a:gd name="connsiteX1457" fmla="*/ 1258428 w 4829175"/>
                <a:gd name="connsiteY1457" fmla="*/ 202099 h 6515100"/>
                <a:gd name="connsiteX1458" fmla="*/ 1529539 w 4829175"/>
                <a:gd name="connsiteY1458" fmla="*/ 472511 h 6515100"/>
                <a:gd name="connsiteX1459" fmla="*/ 1259127 w 4829175"/>
                <a:gd name="connsiteY1459" fmla="*/ 743621 h 6515100"/>
                <a:gd name="connsiteX1460" fmla="*/ 1523250 w 4829175"/>
                <a:gd name="connsiteY1460" fmla="*/ 743621 h 6515100"/>
                <a:gd name="connsiteX1461" fmla="*/ 1793662 w 4829175"/>
                <a:gd name="connsiteY1461" fmla="*/ 472511 h 6515100"/>
                <a:gd name="connsiteX1462" fmla="*/ 1522551 w 4829175"/>
                <a:gd name="connsiteY1462" fmla="*/ 202099 h 6515100"/>
                <a:gd name="connsiteX1463" fmla="*/ 2621668 w 4829175"/>
                <a:gd name="connsiteY1463" fmla="*/ 200701 h 6515100"/>
                <a:gd name="connsiteX1464" fmla="*/ 2358243 w 4829175"/>
                <a:gd name="connsiteY1464" fmla="*/ 201400 h 6515100"/>
                <a:gd name="connsiteX1465" fmla="*/ 2627259 w 4829175"/>
                <a:gd name="connsiteY1465" fmla="*/ 469716 h 6515100"/>
                <a:gd name="connsiteX1466" fmla="*/ 2626560 w 4829175"/>
                <a:gd name="connsiteY1466" fmla="*/ 470415 h 6515100"/>
                <a:gd name="connsiteX1467" fmla="*/ 2627957 w 4829175"/>
                <a:gd name="connsiteY1467" fmla="*/ 471812 h 6515100"/>
                <a:gd name="connsiteX1468" fmla="*/ 2357544 w 4829175"/>
                <a:gd name="connsiteY1468" fmla="*/ 742923 h 6515100"/>
                <a:gd name="connsiteX1469" fmla="*/ 2621668 w 4829175"/>
                <a:gd name="connsiteY1469" fmla="*/ 742923 h 6515100"/>
                <a:gd name="connsiteX1470" fmla="*/ 2711805 w 4829175"/>
                <a:gd name="connsiteY1470" fmla="*/ 652786 h 6515100"/>
                <a:gd name="connsiteX1471" fmla="*/ 2891382 w 4829175"/>
                <a:gd name="connsiteY1471" fmla="*/ 469716 h 6515100"/>
                <a:gd name="connsiteX1472" fmla="*/ 4001678 w 4829175"/>
                <a:gd name="connsiteY1472" fmla="*/ 200003 h 6515100"/>
                <a:gd name="connsiteX1473" fmla="*/ 4131644 w 4829175"/>
                <a:gd name="connsiteY1473" fmla="*/ 329269 h 6515100"/>
                <a:gd name="connsiteX1474" fmla="*/ 4272090 w 4829175"/>
                <a:gd name="connsiteY1474" fmla="*/ 469716 h 6515100"/>
                <a:gd name="connsiteX1475" fmla="*/ 4179158 w 4829175"/>
                <a:gd name="connsiteY1475" fmla="*/ 563347 h 6515100"/>
                <a:gd name="connsiteX1476" fmla="*/ 4179856 w 4829175"/>
                <a:gd name="connsiteY1476" fmla="*/ 564046 h 6515100"/>
                <a:gd name="connsiteX1477" fmla="*/ 4003075 w 4829175"/>
                <a:gd name="connsiteY1477" fmla="*/ 741525 h 6515100"/>
                <a:gd name="connsiteX1478" fmla="*/ 4265801 w 4829175"/>
                <a:gd name="connsiteY1478" fmla="*/ 741525 h 6515100"/>
                <a:gd name="connsiteX1479" fmla="*/ 4536213 w 4829175"/>
                <a:gd name="connsiteY1479" fmla="*/ 470415 h 6515100"/>
                <a:gd name="connsiteX1480" fmla="*/ 4265102 w 4829175"/>
                <a:gd name="connsiteY1480" fmla="*/ 200003 h 6515100"/>
                <a:gd name="connsiteX1481" fmla="*/ 3453167 w 4829175"/>
                <a:gd name="connsiteY1481" fmla="*/ 200003 h 6515100"/>
                <a:gd name="connsiteX1482" fmla="*/ 3724278 w 4829175"/>
                <a:gd name="connsiteY1482" fmla="*/ 470415 h 6515100"/>
                <a:gd name="connsiteX1483" fmla="*/ 3724977 w 4829175"/>
                <a:gd name="connsiteY1483" fmla="*/ 471113 h 6515100"/>
                <a:gd name="connsiteX1484" fmla="*/ 3454565 w 4829175"/>
                <a:gd name="connsiteY1484" fmla="*/ 742224 h 6515100"/>
                <a:gd name="connsiteX1485" fmla="*/ 3718688 w 4829175"/>
                <a:gd name="connsiteY1485" fmla="*/ 742224 h 6515100"/>
                <a:gd name="connsiteX1486" fmla="*/ 3808127 w 4829175"/>
                <a:gd name="connsiteY1486" fmla="*/ 652087 h 6515100"/>
                <a:gd name="connsiteX1487" fmla="*/ 3807428 w 4829175"/>
                <a:gd name="connsiteY1487" fmla="*/ 652087 h 6515100"/>
                <a:gd name="connsiteX1488" fmla="*/ 3988403 w 4829175"/>
                <a:gd name="connsiteY1488" fmla="*/ 471113 h 6515100"/>
                <a:gd name="connsiteX1489" fmla="*/ 3983511 w 4829175"/>
                <a:gd name="connsiteY1489" fmla="*/ 465523 h 6515100"/>
                <a:gd name="connsiteX1490" fmla="*/ 3717291 w 4829175"/>
                <a:gd name="connsiteY1490" fmla="*/ 200003 h 6515100"/>
                <a:gd name="connsiteX1491" fmla="*/ 348134 w 4829175"/>
                <a:gd name="connsiteY1491" fmla="*/ 0 h 6515100"/>
                <a:gd name="connsiteX1492" fmla="*/ 358615 w 4829175"/>
                <a:gd name="connsiteY1492" fmla="*/ 0 h 6515100"/>
                <a:gd name="connsiteX1493" fmla="*/ 162106 w 4829175"/>
                <a:gd name="connsiteY1493" fmla="*/ 196509 h 6515100"/>
                <a:gd name="connsiteX1494" fmla="*/ 426230 w 4829175"/>
                <a:gd name="connsiteY1494" fmla="*/ 196509 h 6515100"/>
                <a:gd name="connsiteX1495" fmla="*/ 622232 w 4829175"/>
                <a:gd name="connsiteY1495" fmla="*/ 0 h 6515100"/>
                <a:gd name="connsiteX1496" fmla="*/ 632006 w 4829175"/>
                <a:gd name="connsiteY1496" fmla="*/ 0 h 6515100"/>
                <a:gd name="connsiteX1497" fmla="*/ 432518 w 4829175"/>
                <a:gd name="connsiteY1497" fmla="*/ 200003 h 6515100"/>
                <a:gd name="connsiteX1498" fmla="*/ 704328 w 4829175"/>
                <a:gd name="connsiteY1498" fmla="*/ 470415 h 6515100"/>
                <a:gd name="connsiteX1499" fmla="*/ 967752 w 4829175"/>
                <a:gd name="connsiteY1499" fmla="*/ 470415 h 6515100"/>
                <a:gd name="connsiteX1500" fmla="*/ 837089 w 4829175"/>
                <a:gd name="connsiteY1500" fmla="*/ 340449 h 6515100"/>
                <a:gd name="connsiteX1501" fmla="*/ 696642 w 4829175"/>
                <a:gd name="connsiteY1501" fmla="*/ 200003 h 6515100"/>
                <a:gd name="connsiteX1502" fmla="*/ 896129 w 4829175"/>
                <a:gd name="connsiteY1502" fmla="*/ 0 h 6515100"/>
                <a:gd name="connsiteX1503" fmla="*/ 907318 w 4829175"/>
                <a:gd name="connsiteY1503" fmla="*/ 0 h 6515100"/>
                <a:gd name="connsiteX1504" fmla="*/ 711316 w 4829175"/>
                <a:gd name="connsiteY1504" fmla="*/ 196509 h 6515100"/>
                <a:gd name="connsiteX1505" fmla="*/ 974740 w 4829175"/>
                <a:gd name="connsiteY1505" fmla="*/ 196509 h 6515100"/>
                <a:gd name="connsiteX1506" fmla="*/ 1170742 w 4829175"/>
                <a:gd name="connsiteY1506" fmla="*/ 0 h 6515100"/>
                <a:gd name="connsiteX1507" fmla="*/ 1179819 w 4829175"/>
                <a:gd name="connsiteY1507" fmla="*/ 0 h 6515100"/>
                <a:gd name="connsiteX1508" fmla="*/ 981029 w 4829175"/>
                <a:gd name="connsiteY1508" fmla="*/ 199304 h 6515100"/>
                <a:gd name="connsiteX1509" fmla="*/ 1252140 w 4829175"/>
                <a:gd name="connsiteY1509" fmla="*/ 469716 h 6515100"/>
                <a:gd name="connsiteX1510" fmla="*/ 1516263 w 4829175"/>
                <a:gd name="connsiteY1510" fmla="*/ 469716 h 6515100"/>
                <a:gd name="connsiteX1511" fmla="*/ 1245152 w 4829175"/>
                <a:gd name="connsiteY1511" fmla="*/ 199304 h 6515100"/>
                <a:gd name="connsiteX1512" fmla="*/ 1443942 w 4829175"/>
                <a:gd name="connsiteY1512" fmla="*/ 0 h 6515100"/>
                <a:gd name="connsiteX1513" fmla="*/ 1453410 w 4829175"/>
                <a:gd name="connsiteY1513" fmla="*/ 0 h 6515100"/>
                <a:gd name="connsiteX1514" fmla="*/ 1436607 w 4829175"/>
                <a:gd name="connsiteY1514" fmla="*/ 16933 h 6515100"/>
                <a:gd name="connsiteX1515" fmla="*/ 1435908 w 4829175"/>
                <a:gd name="connsiteY1515" fmla="*/ 16933 h 6515100"/>
                <a:gd name="connsiteX1516" fmla="*/ 1258428 w 4829175"/>
                <a:gd name="connsiteY1516" fmla="*/ 195111 h 6515100"/>
                <a:gd name="connsiteX1517" fmla="*/ 1522551 w 4829175"/>
                <a:gd name="connsiteY1517" fmla="*/ 195111 h 6515100"/>
                <a:gd name="connsiteX1518" fmla="*/ 1717663 w 4829175"/>
                <a:gd name="connsiteY1518" fmla="*/ 0 h 6515100"/>
                <a:gd name="connsiteX1519" fmla="*/ 1728424 w 4829175"/>
                <a:gd name="connsiteY1519" fmla="*/ 0 h 6515100"/>
                <a:gd name="connsiteX1520" fmla="*/ 1620376 w 4829175"/>
                <a:gd name="connsiteY1520" fmla="*/ 108468 h 6515100"/>
                <a:gd name="connsiteX1521" fmla="*/ 1619677 w 4829175"/>
                <a:gd name="connsiteY1521" fmla="*/ 108468 h 6515100"/>
                <a:gd name="connsiteX1522" fmla="*/ 1529539 w 4829175"/>
                <a:gd name="connsiteY1522" fmla="*/ 198605 h 6515100"/>
                <a:gd name="connsiteX1523" fmla="*/ 1799951 w 4829175"/>
                <a:gd name="connsiteY1523" fmla="*/ 469716 h 6515100"/>
                <a:gd name="connsiteX1524" fmla="*/ 2064074 w 4829175"/>
                <a:gd name="connsiteY1524" fmla="*/ 469716 h 6515100"/>
                <a:gd name="connsiteX1525" fmla="*/ 1792964 w 4829175"/>
                <a:gd name="connsiteY1525" fmla="*/ 199304 h 6515100"/>
                <a:gd name="connsiteX1526" fmla="*/ 1977431 w 4829175"/>
                <a:gd name="connsiteY1526" fmla="*/ 14837 h 6515100"/>
                <a:gd name="connsiteX1527" fmla="*/ 1978130 w 4829175"/>
                <a:gd name="connsiteY1527" fmla="*/ 14837 h 6515100"/>
                <a:gd name="connsiteX1528" fmla="*/ 1992847 w 4829175"/>
                <a:gd name="connsiteY1528" fmla="*/ 0 h 6515100"/>
                <a:gd name="connsiteX1529" fmla="*/ 2002247 w 4829175"/>
                <a:gd name="connsiteY1529" fmla="*/ 0 h 6515100"/>
                <a:gd name="connsiteX1530" fmla="*/ 1808336 w 4829175"/>
                <a:gd name="connsiteY1530" fmla="*/ 194412 h 6515100"/>
                <a:gd name="connsiteX1531" fmla="*/ 2071761 w 4829175"/>
                <a:gd name="connsiteY1531" fmla="*/ 194412 h 6515100"/>
                <a:gd name="connsiteX1532" fmla="*/ 2266173 w 4829175"/>
                <a:gd name="connsiteY1532" fmla="*/ 0 h 6515100"/>
                <a:gd name="connsiteX1533" fmla="*/ 2277539 w 4829175"/>
                <a:gd name="connsiteY1533" fmla="*/ 0 h 6515100"/>
                <a:gd name="connsiteX1534" fmla="*/ 2078748 w 4829175"/>
                <a:gd name="connsiteY1534" fmla="*/ 199304 h 6515100"/>
                <a:gd name="connsiteX1535" fmla="*/ 2348461 w 4829175"/>
                <a:gd name="connsiteY1535" fmla="*/ 468319 h 6515100"/>
                <a:gd name="connsiteX1536" fmla="*/ 2611886 w 4829175"/>
                <a:gd name="connsiteY1536" fmla="*/ 468319 h 6515100"/>
                <a:gd name="connsiteX1537" fmla="*/ 2342872 w 4829175"/>
                <a:gd name="connsiteY1537" fmla="*/ 199304 h 6515100"/>
                <a:gd name="connsiteX1538" fmla="*/ 2343570 w 4829175"/>
                <a:gd name="connsiteY1538" fmla="*/ 198605 h 6515100"/>
                <a:gd name="connsiteX1539" fmla="*/ 2342173 w 4829175"/>
                <a:gd name="connsiteY1539" fmla="*/ 197208 h 6515100"/>
                <a:gd name="connsiteX1540" fmla="*/ 2538868 w 4829175"/>
                <a:gd name="connsiteY1540" fmla="*/ 0 h 6515100"/>
                <a:gd name="connsiteX1541" fmla="*/ 2552152 w 4829175"/>
                <a:gd name="connsiteY1541" fmla="*/ 0 h 6515100"/>
                <a:gd name="connsiteX1542" fmla="*/ 2358243 w 4829175"/>
                <a:gd name="connsiteY1542" fmla="*/ 194412 h 6515100"/>
                <a:gd name="connsiteX1543" fmla="*/ 2620271 w 4829175"/>
                <a:gd name="connsiteY1543" fmla="*/ 194412 h 6515100"/>
                <a:gd name="connsiteX1544" fmla="*/ 2814181 w 4829175"/>
                <a:gd name="connsiteY1544" fmla="*/ 0 h 6515100"/>
                <a:gd name="connsiteX1545" fmla="*/ 2825540 w 4829175"/>
                <a:gd name="connsiteY1545" fmla="*/ 0 h 6515100"/>
                <a:gd name="connsiteX1546" fmla="*/ 2628655 w 4829175"/>
                <a:gd name="connsiteY1546" fmla="*/ 197906 h 6515100"/>
                <a:gd name="connsiteX1547" fmla="*/ 2898368 w 4829175"/>
                <a:gd name="connsiteY1547" fmla="*/ 466921 h 6515100"/>
                <a:gd name="connsiteX1548" fmla="*/ 3163191 w 4829175"/>
                <a:gd name="connsiteY1548" fmla="*/ 468319 h 6515100"/>
                <a:gd name="connsiteX1549" fmla="*/ 2892081 w 4829175"/>
                <a:gd name="connsiteY1549" fmla="*/ 197906 h 6515100"/>
                <a:gd name="connsiteX1550" fmla="*/ 2890683 w 4829175"/>
                <a:gd name="connsiteY1550" fmla="*/ 196509 h 6515100"/>
                <a:gd name="connsiteX1551" fmla="*/ 3086683 w 4829175"/>
                <a:gd name="connsiteY1551" fmla="*/ 0 h 6515100"/>
                <a:gd name="connsiteX1552" fmla="*/ 3097556 w 4829175"/>
                <a:gd name="connsiteY1552" fmla="*/ 0 h 6515100"/>
                <a:gd name="connsiteX1553" fmla="*/ 3082137 w 4829175"/>
                <a:gd name="connsiteY1553" fmla="*/ 15536 h 6515100"/>
                <a:gd name="connsiteX1554" fmla="*/ 3082836 w 4829175"/>
                <a:gd name="connsiteY1554" fmla="*/ 16235 h 6515100"/>
                <a:gd name="connsiteX1555" fmla="*/ 2906754 w 4829175"/>
                <a:gd name="connsiteY1555" fmla="*/ 192317 h 6515100"/>
                <a:gd name="connsiteX1556" fmla="*/ 3103099 w 4829175"/>
                <a:gd name="connsiteY1556" fmla="*/ 192317 h 6515100"/>
                <a:gd name="connsiteX1557" fmla="*/ 3102401 w 4829175"/>
                <a:gd name="connsiteY1557" fmla="*/ 193714 h 6515100"/>
                <a:gd name="connsiteX1558" fmla="*/ 3168083 w 4829175"/>
                <a:gd name="connsiteY1558" fmla="*/ 193714 h 6515100"/>
                <a:gd name="connsiteX1559" fmla="*/ 3361298 w 4829175"/>
                <a:gd name="connsiteY1559" fmla="*/ 0 h 6515100"/>
                <a:gd name="connsiteX1560" fmla="*/ 3371863 w 4829175"/>
                <a:gd name="connsiteY1560" fmla="*/ 0 h 6515100"/>
                <a:gd name="connsiteX1561" fmla="*/ 3264508 w 4829175"/>
                <a:gd name="connsiteY1561" fmla="*/ 107769 h 6515100"/>
                <a:gd name="connsiteX1562" fmla="*/ 3265906 w 4829175"/>
                <a:gd name="connsiteY1562" fmla="*/ 108468 h 6515100"/>
                <a:gd name="connsiteX1563" fmla="*/ 3176467 w 4829175"/>
                <a:gd name="connsiteY1563" fmla="*/ 197906 h 6515100"/>
                <a:gd name="connsiteX1564" fmla="*/ 3446879 w 4829175"/>
                <a:gd name="connsiteY1564" fmla="*/ 467620 h 6515100"/>
                <a:gd name="connsiteX1565" fmla="*/ 3710303 w 4829175"/>
                <a:gd name="connsiteY1565" fmla="*/ 467620 h 6515100"/>
                <a:gd name="connsiteX1566" fmla="*/ 3439891 w 4829175"/>
                <a:gd name="connsiteY1566" fmla="*/ 197906 h 6515100"/>
                <a:gd name="connsiteX1567" fmla="*/ 3439193 w 4829175"/>
                <a:gd name="connsiteY1567" fmla="*/ 197208 h 6515100"/>
                <a:gd name="connsiteX1568" fmla="*/ 3635893 w 4829175"/>
                <a:gd name="connsiteY1568" fmla="*/ 0 h 6515100"/>
                <a:gd name="connsiteX1569" fmla="*/ 3646183 w 4829175"/>
                <a:gd name="connsiteY1569" fmla="*/ 0 h 6515100"/>
                <a:gd name="connsiteX1570" fmla="*/ 3453167 w 4829175"/>
                <a:gd name="connsiteY1570" fmla="*/ 193016 h 6515100"/>
                <a:gd name="connsiteX1571" fmla="*/ 3717291 w 4829175"/>
                <a:gd name="connsiteY1571" fmla="*/ 193016 h 6515100"/>
                <a:gd name="connsiteX1572" fmla="*/ 3910306 w 4829175"/>
                <a:gd name="connsiteY1572" fmla="*/ 0 h 6515100"/>
                <a:gd name="connsiteX1573" fmla="*/ 3919582 w 4829175"/>
                <a:gd name="connsiteY1573" fmla="*/ 0 h 6515100"/>
                <a:gd name="connsiteX1574" fmla="*/ 3723579 w 4829175"/>
                <a:gd name="connsiteY1574" fmla="*/ 196509 h 6515100"/>
                <a:gd name="connsiteX1575" fmla="*/ 3994690 w 4829175"/>
                <a:gd name="connsiteY1575" fmla="*/ 466921 h 6515100"/>
                <a:gd name="connsiteX1576" fmla="*/ 4258116 w 4829175"/>
                <a:gd name="connsiteY1576" fmla="*/ 466921 h 6515100"/>
                <a:gd name="connsiteX1577" fmla="*/ 4128150 w 4829175"/>
                <a:gd name="connsiteY1577" fmla="*/ 336956 h 6515100"/>
                <a:gd name="connsiteX1578" fmla="*/ 3987703 w 4829175"/>
                <a:gd name="connsiteY1578" fmla="*/ 196509 h 6515100"/>
                <a:gd name="connsiteX1579" fmla="*/ 4183705 w 4829175"/>
                <a:gd name="connsiteY1579" fmla="*/ 0 h 6515100"/>
                <a:gd name="connsiteX1580" fmla="*/ 4194197 w 4829175"/>
                <a:gd name="connsiteY1580" fmla="*/ 0 h 6515100"/>
                <a:gd name="connsiteX1581" fmla="*/ 4002377 w 4829175"/>
                <a:gd name="connsiteY1581" fmla="*/ 192317 h 6515100"/>
                <a:gd name="connsiteX1582" fmla="*/ 4265801 w 4829175"/>
                <a:gd name="connsiteY1582" fmla="*/ 192317 h 6515100"/>
                <a:gd name="connsiteX1583" fmla="*/ 4457622 w 4829175"/>
                <a:gd name="connsiteY1583" fmla="*/ 0 h 6515100"/>
                <a:gd name="connsiteX1584" fmla="*/ 4467396 w 4829175"/>
                <a:gd name="connsiteY1584" fmla="*/ 0 h 6515100"/>
                <a:gd name="connsiteX1585" fmla="*/ 4272090 w 4829175"/>
                <a:gd name="connsiteY1585" fmla="*/ 195810 h 6515100"/>
                <a:gd name="connsiteX1586" fmla="*/ 4543201 w 4829175"/>
                <a:gd name="connsiteY1586" fmla="*/ 466222 h 6515100"/>
                <a:gd name="connsiteX1587" fmla="*/ 4807324 w 4829175"/>
                <a:gd name="connsiteY1587" fmla="*/ 466222 h 6515100"/>
                <a:gd name="connsiteX1588" fmla="*/ 4536213 w 4829175"/>
                <a:gd name="connsiteY1588" fmla="*/ 195810 h 6515100"/>
                <a:gd name="connsiteX1589" fmla="*/ 4731518 w 4829175"/>
                <a:gd name="connsiteY1589" fmla="*/ 0 h 6515100"/>
                <a:gd name="connsiteX1590" fmla="*/ 4741806 w 4829175"/>
                <a:gd name="connsiteY1590" fmla="*/ 0 h 6515100"/>
                <a:gd name="connsiteX1591" fmla="*/ 4549489 w 4829175"/>
                <a:gd name="connsiteY1591" fmla="*/ 192317 h 6515100"/>
                <a:gd name="connsiteX1592" fmla="*/ 4813613 w 4829175"/>
                <a:gd name="connsiteY1592" fmla="*/ 192317 h 6515100"/>
                <a:gd name="connsiteX1593" fmla="*/ 4823396 w 4829175"/>
                <a:gd name="connsiteY1593" fmla="*/ 182534 h 6515100"/>
                <a:gd name="connsiteX1594" fmla="*/ 4823396 w 4829175"/>
                <a:gd name="connsiteY1594" fmla="*/ 193016 h 6515100"/>
                <a:gd name="connsiteX1595" fmla="*/ 4820600 w 4829175"/>
                <a:gd name="connsiteY1595" fmla="*/ 195810 h 6515100"/>
                <a:gd name="connsiteX1596" fmla="*/ 4823396 w 4829175"/>
                <a:gd name="connsiteY1596" fmla="*/ 198605 h 6515100"/>
                <a:gd name="connsiteX1597" fmla="*/ 4823396 w 4829175"/>
                <a:gd name="connsiteY1597" fmla="*/ 209086 h 6515100"/>
                <a:gd name="connsiteX1598" fmla="*/ 4814311 w 4829175"/>
                <a:gd name="connsiteY1598" fmla="*/ 200003 h 6515100"/>
                <a:gd name="connsiteX1599" fmla="*/ 4550188 w 4829175"/>
                <a:gd name="connsiteY1599" fmla="*/ 200003 h 6515100"/>
                <a:gd name="connsiteX1600" fmla="*/ 4821299 w 4829175"/>
                <a:gd name="connsiteY1600" fmla="*/ 470415 h 6515100"/>
                <a:gd name="connsiteX1601" fmla="*/ 4550887 w 4829175"/>
                <a:gd name="connsiteY1601" fmla="*/ 741525 h 6515100"/>
                <a:gd name="connsiteX1602" fmla="*/ 4815010 w 4829175"/>
                <a:gd name="connsiteY1602" fmla="*/ 741525 h 6515100"/>
                <a:gd name="connsiteX1603" fmla="*/ 4823396 w 4829175"/>
                <a:gd name="connsiteY1603" fmla="*/ 732442 h 6515100"/>
                <a:gd name="connsiteX1604" fmla="*/ 4823396 w 4829175"/>
                <a:gd name="connsiteY1604" fmla="*/ 742224 h 6515100"/>
                <a:gd name="connsiteX1605" fmla="*/ 4821299 w 4829175"/>
                <a:gd name="connsiteY1605" fmla="*/ 744320 h 6515100"/>
                <a:gd name="connsiteX1606" fmla="*/ 4823396 w 4829175"/>
                <a:gd name="connsiteY1606" fmla="*/ 746417 h 6515100"/>
                <a:gd name="connsiteX1607" fmla="*/ 4823396 w 4829175"/>
                <a:gd name="connsiteY1607" fmla="*/ 756898 h 6515100"/>
                <a:gd name="connsiteX1608" fmla="*/ 4814311 w 4829175"/>
                <a:gd name="connsiteY1608" fmla="*/ 747814 h 6515100"/>
                <a:gd name="connsiteX1609" fmla="*/ 4550188 w 4829175"/>
                <a:gd name="connsiteY1609" fmla="*/ 747814 h 6515100"/>
                <a:gd name="connsiteX1610" fmla="*/ 4821299 w 4829175"/>
                <a:gd name="connsiteY1610" fmla="*/ 1018227 h 6515100"/>
                <a:gd name="connsiteX1611" fmla="*/ 4821998 w 4829175"/>
                <a:gd name="connsiteY1611" fmla="*/ 1018924 h 6515100"/>
                <a:gd name="connsiteX1612" fmla="*/ 4551586 w 4829175"/>
                <a:gd name="connsiteY1612" fmla="*/ 1290035 h 6515100"/>
                <a:gd name="connsiteX1613" fmla="*/ 4815709 w 4829175"/>
                <a:gd name="connsiteY1613" fmla="*/ 1290035 h 6515100"/>
                <a:gd name="connsiteX1614" fmla="*/ 4823396 w 4829175"/>
                <a:gd name="connsiteY1614" fmla="*/ 1282349 h 6515100"/>
                <a:gd name="connsiteX1615" fmla="*/ 4823396 w 4829175"/>
                <a:gd name="connsiteY1615" fmla="*/ 1292831 h 6515100"/>
                <a:gd name="connsiteX1616" fmla="*/ 4822697 w 4829175"/>
                <a:gd name="connsiteY1616" fmla="*/ 1293530 h 6515100"/>
                <a:gd name="connsiteX1617" fmla="*/ 4823396 w 4829175"/>
                <a:gd name="connsiteY1617" fmla="*/ 1294228 h 6515100"/>
                <a:gd name="connsiteX1618" fmla="*/ 4823396 w 4829175"/>
                <a:gd name="connsiteY1618" fmla="*/ 1304010 h 6515100"/>
                <a:gd name="connsiteX1619" fmla="*/ 4815709 w 4829175"/>
                <a:gd name="connsiteY1619" fmla="*/ 1296324 h 6515100"/>
                <a:gd name="connsiteX1620" fmla="*/ 4551586 w 4829175"/>
                <a:gd name="connsiteY1620" fmla="*/ 1297023 h 6515100"/>
                <a:gd name="connsiteX1621" fmla="*/ 4823396 w 4829175"/>
                <a:gd name="connsiteY1621" fmla="*/ 1566736 h 6515100"/>
                <a:gd name="connsiteX1622" fmla="*/ 4552984 w 4829175"/>
                <a:gd name="connsiteY1622" fmla="*/ 1837847 h 6515100"/>
                <a:gd name="connsiteX1623" fmla="*/ 4817107 w 4829175"/>
                <a:gd name="connsiteY1623" fmla="*/ 1837847 h 6515100"/>
                <a:gd name="connsiteX1624" fmla="*/ 4824094 w 4829175"/>
                <a:gd name="connsiteY1624" fmla="*/ 1830859 h 6515100"/>
                <a:gd name="connsiteX1625" fmla="*/ 4824094 w 4829175"/>
                <a:gd name="connsiteY1625" fmla="*/ 1841341 h 6515100"/>
                <a:gd name="connsiteX1626" fmla="*/ 4824094 w 4829175"/>
                <a:gd name="connsiteY1626" fmla="*/ 1851822 h 6515100"/>
                <a:gd name="connsiteX1627" fmla="*/ 4817107 w 4829175"/>
                <a:gd name="connsiteY1627" fmla="*/ 1844834 h 6515100"/>
                <a:gd name="connsiteX1628" fmla="*/ 4552984 w 4829175"/>
                <a:gd name="connsiteY1628" fmla="*/ 1844834 h 6515100"/>
                <a:gd name="connsiteX1629" fmla="*/ 4824094 w 4829175"/>
                <a:gd name="connsiteY1629" fmla="*/ 2115246 h 6515100"/>
                <a:gd name="connsiteX1630" fmla="*/ 4821299 w 4829175"/>
                <a:gd name="connsiteY1630" fmla="*/ 2118042 h 6515100"/>
                <a:gd name="connsiteX1631" fmla="*/ 4731162 w 4829175"/>
                <a:gd name="connsiteY1631" fmla="*/ 2208877 h 6515100"/>
                <a:gd name="connsiteX1632" fmla="*/ 4553682 w 4829175"/>
                <a:gd name="connsiteY1632" fmla="*/ 2386357 h 6515100"/>
                <a:gd name="connsiteX1633" fmla="*/ 4817806 w 4829175"/>
                <a:gd name="connsiteY1633" fmla="*/ 2386357 h 6515100"/>
                <a:gd name="connsiteX1634" fmla="*/ 4824094 w 4829175"/>
                <a:gd name="connsiteY1634" fmla="*/ 2380068 h 6515100"/>
                <a:gd name="connsiteX1635" fmla="*/ 4824094 w 4829175"/>
                <a:gd name="connsiteY1635" fmla="*/ 2398934 h 6515100"/>
                <a:gd name="connsiteX1636" fmla="*/ 4817806 w 4829175"/>
                <a:gd name="connsiteY1636" fmla="*/ 2392646 h 6515100"/>
                <a:gd name="connsiteX1637" fmla="*/ 4553682 w 4829175"/>
                <a:gd name="connsiteY1637" fmla="*/ 2392646 h 6515100"/>
                <a:gd name="connsiteX1638" fmla="*/ 4824094 w 4829175"/>
                <a:gd name="connsiteY1638" fmla="*/ 2662359 h 6515100"/>
                <a:gd name="connsiteX1639" fmla="*/ 4824094 w 4829175"/>
                <a:gd name="connsiteY1639" fmla="*/ 2663757 h 6515100"/>
                <a:gd name="connsiteX1640" fmla="*/ 4554381 w 4829175"/>
                <a:gd name="connsiteY1640" fmla="*/ 2934169 h 6515100"/>
                <a:gd name="connsiteX1641" fmla="*/ 4817806 w 4829175"/>
                <a:gd name="connsiteY1641" fmla="*/ 2934169 h 6515100"/>
                <a:gd name="connsiteX1642" fmla="*/ 4823396 w 4829175"/>
                <a:gd name="connsiteY1642" fmla="*/ 2928579 h 6515100"/>
                <a:gd name="connsiteX1643" fmla="*/ 4823396 w 4829175"/>
                <a:gd name="connsiteY1643" fmla="*/ 2947445 h 6515100"/>
                <a:gd name="connsiteX1644" fmla="*/ 4817806 w 4829175"/>
                <a:gd name="connsiteY1644" fmla="*/ 2941855 h 6515100"/>
                <a:gd name="connsiteX1645" fmla="*/ 4554381 w 4829175"/>
                <a:gd name="connsiteY1645" fmla="*/ 2941855 h 6515100"/>
                <a:gd name="connsiteX1646" fmla="*/ 4684346 w 4829175"/>
                <a:gd name="connsiteY1646" fmla="*/ 3071820 h 6515100"/>
                <a:gd name="connsiteX1647" fmla="*/ 4823396 w 4829175"/>
                <a:gd name="connsiteY1647" fmla="*/ 3210869 h 6515100"/>
                <a:gd name="connsiteX1648" fmla="*/ 4823396 w 4829175"/>
                <a:gd name="connsiteY1648" fmla="*/ 3213665 h 6515100"/>
                <a:gd name="connsiteX1649" fmla="*/ 4554381 w 4829175"/>
                <a:gd name="connsiteY1649" fmla="*/ 3483378 h 6515100"/>
                <a:gd name="connsiteX1650" fmla="*/ 4818505 w 4829175"/>
                <a:gd name="connsiteY1650" fmla="*/ 3483378 h 6515100"/>
                <a:gd name="connsiteX1651" fmla="*/ 4823396 w 4829175"/>
                <a:gd name="connsiteY1651" fmla="*/ 3478487 h 6515100"/>
                <a:gd name="connsiteX1652" fmla="*/ 4823396 w 4829175"/>
                <a:gd name="connsiteY1652" fmla="*/ 3495256 h 6515100"/>
                <a:gd name="connsiteX1653" fmla="*/ 4818505 w 4829175"/>
                <a:gd name="connsiteY1653" fmla="*/ 3490365 h 6515100"/>
                <a:gd name="connsiteX1654" fmla="*/ 4554381 w 4829175"/>
                <a:gd name="connsiteY1654" fmla="*/ 3490365 h 6515100"/>
                <a:gd name="connsiteX1655" fmla="*/ 4555778 w 4829175"/>
                <a:gd name="connsiteY1655" fmla="*/ 3491762 h 6515100"/>
                <a:gd name="connsiteX1656" fmla="*/ 4823396 w 4829175"/>
                <a:gd name="connsiteY1656" fmla="*/ 3758681 h 6515100"/>
                <a:gd name="connsiteX1657" fmla="*/ 4823396 w 4829175"/>
                <a:gd name="connsiteY1657" fmla="*/ 3762174 h 6515100"/>
                <a:gd name="connsiteX1658" fmla="*/ 4555828 w 4829175"/>
                <a:gd name="connsiteY1658" fmla="*/ 4030438 h 6515100"/>
                <a:gd name="connsiteX1659" fmla="*/ 4817996 w 4829175"/>
                <a:gd name="connsiteY1659" fmla="*/ 4030438 h 6515100"/>
                <a:gd name="connsiteX1660" fmla="*/ 4828476 w 4829175"/>
                <a:gd name="connsiteY1660" fmla="*/ 4019957 h 6515100"/>
                <a:gd name="connsiteX1661" fmla="*/ 4828476 w 4829175"/>
                <a:gd name="connsiteY1661" fmla="*/ 4030438 h 6515100"/>
                <a:gd name="connsiteX1662" fmla="*/ 4824983 w 4829175"/>
                <a:gd name="connsiteY1662" fmla="*/ 4033931 h 6515100"/>
                <a:gd name="connsiteX1663" fmla="*/ 4828476 w 4829175"/>
                <a:gd name="connsiteY1663" fmla="*/ 4037426 h 6515100"/>
                <a:gd name="connsiteX1664" fmla="*/ 4828476 w 4829175"/>
                <a:gd name="connsiteY1664" fmla="*/ 4047906 h 6515100"/>
                <a:gd name="connsiteX1665" fmla="*/ 4823396 w 4829175"/>
                <a:gd name="connsiteY1665" fmla="*/ 4042826 h 6515100"/>
                <a:gd name="connsiteX1666" fmla="*/ 4823396 w 4829175"/>
                <a:gd name="connsiteY1666" fmla="*/ 4043068 h 6515100"/>
                <a:gd name="connsiteX1667" fmla="*/ 4819202 w 4829175"/>
                <a:gd name="connsiteY1667" fmla="*/ 4038876 h 6515100"/>
                <a:gd name="connsiteX1668" fmla="*/ 4555321 w 4829175"/>
                <a:gd name="connsiteY1668" fmla="*/ 4038876 h 6515100"/>
                <a:gd name="connsiteX1669" fmla="*/ 4555968 w 4829175"/>
                <a:gd name="connsiteY1669" fmla="*/ 4039522 h 6515100"/>
                <a:gd name="connsiteX1670" fmla="*/ 4825681 w 4829175"/>
                <a:gd name="connsiteY1670" fmla="*/ 4308536 h 6515100"/>
                <a:gd name="connsiteX1671" fmla="*/ 4554570 w 4829175"/>
                <a:gd name="connsiteY1671" fmla="*/ 4579647 h 6515100"/>
                <a:gd name="connsiteX1672" fmla="*/ 4818693 w 4829175"/>
                <a:gd name="connsiteY1672" fmla="*/ 4579647 h 6515100"/>
                <a:gd name="connsiteX1673" fmla="*/ 4828476 w 4829175"/>
                <a:gd name="connsiteY1673" fmla="*/ 4569864 h 6515100"/>
                <a:gd name="connsiteX1674" fmla="*/ 4828476 w 4829175"/>
                <a:gd name="connsiteY1674" fmla="*/ 4580346 h 6515100"/>
                <a:gd name="connsiteX1675" fmla="*/ 4825681 w 4829175"/>
                <a:gd name="connsiteY1675" fmla="*/ 4583140 h 6515100"/>
                <a:gd name="connsiteX1676" fmla="*/ 4828476 w 4829175"/>
                <a:gd name="connsiteY1676" fmla="*/ 4585936 h 6515100"/>
                <a:gd name="connsiteX1677" fmla="*/ 4828476 w 4829175"/>
                <a:gd name="connsiteY1677" fmla="*/ 4596417 h 6515100"/>
                <a:gd name="connsiteX1678" fmla="*/ 4819392 w 4829175"/>
                <a:gd name="connsiteY1678" fmla="*/ 4587334 h 6515100"/>
                <a:gd name="connsiteX1679" fmla="*/ 4555269 w 4829175"/>
                <a:gd name="connsiteY1679" fmla="*/ 4587334 h 6515100"/>
                <a:gd name="connsiteX1680" fmla="*/ 4826380 w 4829175"/>
                <a:gd name="connsiteY1680" fmla="*/ 4857746 h 6515100"/>
                <a:gd name="connsiteX1681" fmla="*/ 4555968 w 4829175"/>
                <a:gd name="connsiteY1681" fmla="*/ 5128855 h 6515100"/>
                <a:gd name="connsiteX1682" fmla="*/ 4820091 w 4829175"/>
                <a:gd name="connsiteY1682" fmla="*/ 5128855 h 6515100"/>
                <a:gd name="connsiteX1683" fmla="*/ 4828476 w 4829175"/>
                <a:gd name="connsiteY1683" fmla="*/ 5119772 h 6515100"/>
                <a:gd name="connsiteX1684" fmla="*/ 4828476 w 4829175"/>
                <a:gd name="connsiteY1684" fmla="*/ 5129554 h 6515100"/>
                <a:gd name="connsiteX1685" fmla="*/ 4826380 w 4829175"/>
                <a:gd name="connsiteY1685" fmla="*/ 5131651 h 6515100"/>
                <a:gd name="connsiteX1686" fmla="*/ 4828476 w 4829175"/>
                <a:gd name="connsiteY1686" fmla="*/ 5133747 h 6515100"/>
                <a:gd name="connsiteX1687" fmla="*/ 4828476 w 4829175"/>
                <a:gd name="connsiteY1687" fmla="*/ 5144228 h 6515100"/>
                <a:gd name="connsiteX1688" fmla="*/ 4819392 w 4829175"/>
                <a:gd name="connsiteY1688" fmla="*/ 5135144 h 6515100"/>
                <a:gd name="connsiteX1689" fmla="*/ 4555269 w 4829175"/>
                <a:gd name="connsiteY1689" fmla="*/ 5135144 h 6515100"/>
                <a:gd name="connsiteX1690" fmla="*/ 4826380 w 4829175"/>
                <a:gd name="connsiteY1690" fmla="*/ 5405557 h 6515100"/>
                <a:gd name="connsiteX1691" fmla="*/ 4827079 w 4829175"/>
                <a:gd name="connsiteY1691" fmla="*/ 5406255 h 6515100"/>
                <a:gd name="connsiteX1692" fmla="*/ 4556667 w 4829175"/>
                <a:gd name="connsiteY1692" fmla="*/ 5677366 h 6515100"/>
                <a:gd name="connsiteX1693" fmla="*/ 4820790 w 4829175"/>
                <a:gd name="connsiteY1693" fmla="*/ 5677366 h 6515100"/>
                <a:gd name="connsiteX1694" fmla="*/ 4828476 w 4829175"/>
                <a:gd name="connsiteY1694" fmla="*/ 5669679 h 6515100"/>
                <a:gd name="connsiteX1695" fmla="*/ 4828476 w 4829175"/>
                <a:gd name="connsiteY1695" fmla="*/ 5680161 h 6515100"/>
                <a:gd name="connsiteX1696" fmla="*/ 4827778 w 4829175"/>
                <a:gd name="connsiteY1696" fmla="*/ 5680860 h 6515100"/>
                <a:gd name="connsiteX1697" fmla="*/ 4828476 w 4829175"/>
                <a:gd name="connsiteY1697" fmla="*/ 5681559 h 6515100"/>
                <a:gd name="connsiteX1698" fmla="*/ 4828476 w 4829175"/>
                <a:gd name="connsiteY1698" fmla="*/ 5691341 h 6515100"/>
                <a:gd name="connsiteX1699" fmla="*/ 4820790 w 4829175"/>
                <a:gd name="connsiteY1699" fmla="*/ 5683654 h 6515100"/>
                <a:gd name="connsiteX1700" fmla="*/ 4556667 w 4829175"/>
                <a:gd name="connsiteY1700" fmla="*/ 5684353 h 6515100"/>
                <a:gd name="connsiteX1701" fmla="*/ 4828476 w 4829175"/>
                <a:gd name="connsiteY1701" fmla="*/ 5954066 h 6515100"/>
                <a:gd name="connsiteX1702" fmla="*/ 4558064 w 4829175"/>
                <a:gd name="connsiteY1702" fmla="*/ 6225177 h 6515100"/>
                <a:gd name="connsiteX1703" fmla="*/ 4822188 w 4829175"/>
                <a:gd name="connsiteY1703" fmla="*/ 6225177 h 6515100"/>
                <a:gd name="connsiteX1704" fmla="*/ 4829175 w 4829175"/>
                <a:gd name="connsiteY1704" fmla="*/ 6218190 h 6515100"/>
                <a:gd name="connsiteX1705" fmla="*/ 4829175 w 4829175"/>
                <a:gd name="connsiteY1705" fmla="*/ 6228671 h 6515100"/>
                <a:gd name="connsiteX1706" fmla="*/ 4829175 w 4829175"/>
                <a:gd name="connsiteY1706" fmla="*/ 6239152 h 6515100"/>
                <a:gd name="connsiteX1707" fmla="*/ 4822188 w 4829175"/>
                <a:gd name="connsiteY1707" fmla="*/ 6232165 h 6515100"/>
                <a:gd name="connsiteX1708" fmla="*/ 4558064 w 4829175"/>
                <a:gd name="connsiteY1708" fmla="*/ 6232165 h 6515100"/>
                <a:gd name="connsiteX1709" fmla="*/ 4829175 w 4829175"/>
                <a:gd name="connsiteY1709" fmla="*/ 6502577 h 6515100"/>
                <a:gd name="connsiteX1710" fmla="*/ 4826380 w 4829175"/>
                <a:gd name="connsiteY1710" fmla="*/ 6505372 h 6515100"/>
                <a:gd name="connsiteX1711" fmla="*/ 4816727 w 4829175"/>
                <a:gd name="connsiteY1711" fmla="*/ 6515100 h 6515100"/>
                <a:gd name="connsiteX1712" fmla="*/ 4806802 w 4829175"/>
                <a:gd name="connsiteY1712" fmla="*/ 6515100 h 6515100"/>
                <a:gd name="connsiteX1713" fmla="*/ 4815200 w 4829175"/>
                <a:gd name="connsiteY1713" fmla="*/ 6506770 h 6515100"/>
                <a:gd name="connsiteX1714" fmla="*/ 4551077 w 4829175"/>
                <a:gd name="connsiteY1714" fmla="*/ 6506770 h 6515100"/>
                <a:gd name="connsiteX1715" fmla="*/ 4542768 w 4829175"/>
                <a:gd name="connsiteY1715" fmla="*/ 6515100 h 6515100"/>
                <a:gd name="connsiteX1716" fmla="*/ 4531598 w 4829175"/>
                <a:gd name="connsiteY1716" fmla="*/ 6515100 h 6515100"/>
                <a:gd name="connsiteX1717" fmla="*/ 4544089 w 4829175"/>
                <a:gd name="connsiteY1717" fmla="*/ 6502577 h 6515100"/>
                <a:gd name="connsiteX1718" fmla="*/ 4539198 w 4829175"/>
                <a:gd name="connsiteY1718" fmla="*/ 6497686 h 6515100"/>
                <a:gd name="connsiteX1719" fmla="*/ 4273677 w 4829175"/>
                <a:gd name="connsiteY1719" fmla="*/ 6232165 h 6515100"/>
                <a:gd name="connsiteX1720" fmla="*/ 4009554 w 4829175"/>
                <a:gd name="connsiteY1720" fmla="*/ 6232165 h 6515100"/>
                <a:gd name="connsiteX1721" fmla="*/ 4010952 w 4829175"/>
                <a:gd name="connsiteY1721" fmla="*/ 6233562 h 6515100"/>
                <a:gd name="connsiteX1722" fmla="*/ 4279966 w 4829175"/>
                <a:gd name="connsiteY1722" fmla="*/ 6502577 h 6515100"/>
                <a:gd name="connsiteX1723" fmla="*/ 4267475 w 4829175"/>
                <a:gd name="connsiteY1723" fmla="*/ 6515100 h 6515100"/>
                <a:gd name="connsiteX1724" fmla="*/ 4259077 w 4829175"/>
                <a:gd name="connsiteY1724" fmla="*/ 6515100 h 6515100"/>
                <a:gd name="connsiteX1725" fmla="*/ 4266690 w 4829175"/>
                <a:gd name="connsiteY1725" fmla="*/ 6507468 h 6515100"/>
                <a:gd name="connsiteX1726" fmla="*/ 4002566 w 4829175"/>
                <a:gd name="connsiteY1726" fmla="*/ 6507468 h 6515100"/>
                <a:gd name="connsiteX1727" fmla="*/ 3994954 w 4829175"/>
                <a:gd name="connsiteY1727" fmla="*/ 6515100 h 6515100"/>
                <a:gd name="connsiteX1728" fmla="*/ 3983089 w 4829175"/>
                <a:gd name="connsiteY1728" fmla="*/ 6515100 h 6515100"/>
                <a:gd name="connsiteX1729" fmla="*/ 3996278 w 4829175"/>
                <a:gd name="connsiteY1729" fmla="*/ 6501878 h 6515100"/>
                <a:gd name="connsiteX1730" fmla="*/ 3862819 w 4829175"/>
                <a:gd name="connsiteY1730" fmla="*/ 6369115 h 6515100"/>
                <a:gd name="connsiteX1731" fmla="*/ 3865614 w 4829175"/>
                <a:gd name="connsiteY1731" fmla="*/ 6363527 h 6515100"/>
                <a:gd name="connsiteX1732" fmla="*/ 3864915 w 4829175"/>
                <a:gd name="connsiteY1732" fmla="*/ 6362829 h 6515100"/>
                <a:gd name="connsiteX1733" fmla="*/ 3865614 w 4829175"/>
                <a:gd name="connsiteY1733" fmla="*/ 6361432 h 6515100"/>
                <a:gd name="connsiteX1734" fmla="*/ 4002566 w 4829175"/>
                <a:gd name="connsiteY1734" fmla="*/ 6498385 h 6515100"/>
                <a:gd name="connsiteX1735" fmla="*/ 4266690 w 4829175"/>
                <a:gd name="connsiteY1735" fmla="*/ 6498385 h 6515100"/>
                <a:gd name="connsiteX1736" fmla="*/ 3995579 w 4829175"/>
                <a:gd name="connsiteY1736" fmla="*/ 6227973 h 6515100"/>
                <a:gd name="connsiteX1737" fmla="*/ 3996977 w 4829175"/>
                <a:gd name="connsiteY1737" fmla="*/ 6226575 h 6515100"/>
                <a:gd name="connsiteX1738" fmla="*/ 4265292 w 4829175"/>
                <a:gd name="connsiteY1738" fmla="*/ 5957561 h 6515100"/>
                <a:gd name="connsiteX1739" fmla="*/ 4066851 w 4829175"/>
                <a:gd name="connsiteY1739" fmla="*/ 5957561 h 6515100"/>
                <a:gd name="connsiteX1740" fmla="*/ 4070344 w 4829175"/>
                <a:gd name="connsiteY1740" fmla="*/ 5950573 h 6515100"/>
                <a:gd name="connsiteX1741" fmla="*/ 4265292 w 4829175"/>
                <a:gd name="connsiteY1741" fmla="*/ 5950573 h 6515100"/>
                <a:gd name="connsiteX1742" fmla="*/ 4135327 w 4829175"/>
                <a:gd name="connsiteY1742" fmla="*/ 5820608 h 6515100"/>
                <a:gd name="connsiteX1743" fmla="*/ 4138820 w 4829175"/>
                <a:gd name="connsiteY1743" fmla="*/ 5813620 h 6515100"/>
                <a:gd name="connsiteX1744" fmla="*/ 4279267 w 4829175"/>
                <a:gd name="connsiteY1744" fmla="*/ 5954066 h 6515100"/>
                <a:gd name="connsiteX1745" fmla="*/ 4008855 w 4829175"/>
                <a:gd name="connsiteY1745" fmla="*/ 6225177 h 6515100"/>
                <a:gd name="connsiteX1746" fmla="*/ 4272979 w 4829175"/>
                <a:gd name="connsiteY1746" fmla="*/ 6225177 h 6515100"/>
                <a:gd name="connsiteX1747" fmla="*/ 4543391 w 4829175"/>
                <a:gd name="connsiteY1747" fmla="*/ 5954066 h 6515100"/>
                <a:gd name="connsiteX1748" fmla="*/ 4272280 w 4829175"/>
                <a:gd name="connsiteY1748" fmla="*/ 5684353 h 6515100"/>
                <a:gd name="connsiteX1749" fmla="*/ 4203803 w 4829175"/>
                <a:gd name="connsiteY1749" fmla="*/ 5684353 h 6515100"/>
                <a:gd name="connsiteX1750" fmla="*/ 4008855 w 4829175"/>
                <a:gd name="connsiteY1750" fmla="*/ 5684353 h 6515100"/>
                <a:gd name="connsiteX1751" fmla="*/ 4138121 w 4829175"/>
                <a:gd name="connsiteY1751" fmla="*/ 5814319 h 6515100"/>
                <a:gd name="connsiteX1752" fmla="*/ 4134628 w 4829175"/>
                <a:gd name="connsiteY1752" fmla="*/ 5821306 h 6515100"/>
                <a:gd name="connsiteX1753" fmla="*/ 3994181 w 4829175"/>
                <a:gd name="connsiteY1753" fmla="*/ 5680860 h 6515100"/>
                <a:gd name="connsiteX1754" fmla="*/ 4264593 w 4829175"/>
                <a:gd name="connsiteY1754" fmla="*/ 5409749 h 6515100"/>
                <a:gd name="connsiteX1755" fmla="*/ 4000470 w 4829175"/>
                <a:gd name="connsiteY1755" fmla="*/ 5409749 h 6515100"/>
                <a:gd name="connsiteX1756" fmla="*/ 3730058 w 4829175"/>
                <a:gd name="connsiteY1756" fmla="*/ 5680860 h 6515100"/>
                <a:gd name="connsiteX1757" fmla="*/ 4001169 w 4829175"/>
                <a:gd name="connsiteY1757" fmla="*/ 5951272 h 6515100"/>
                <a:gd name="connsiteX1758" fmla="*/ 4069645 w 4829175"/>
                <a:gd name="connsiteY1758" fmla="*/ 5951272 h 6515100"/>
                <a:gd name="connsiteX1759" fmla="*/ 4066152 w 4829175"/>
                <a:gd name="connsiteY1759" fmla="*/ 5958259 h 6515100"/>
                <a:gd name="connsiteX1760" fmla="*/ 4001169 w 4829175"/>
                <a:gd name="connsiteY1760" fmla="*/ 5958259 h 6515100"/>
                <a:gd name="connsiteX1761" fmla="*/ 3820894 w 4829175"/>
                <a:gd name="connsiteY1761" fmla="*/ 6139233 h 6515100"/>
                <a:gd name="connsiteX1762" fmla="*/ 3731456 w 4829175"/>
                <a:gd name="connsiteY1762" fmla="*/ 6229370 h 6515100"/>
                <a:gd name="connsiteX1763" fmla="*/ 3864915 w 4829175"/>
                <a:gd name="connsiteY1763" fmla="*/ 6362829 h 6515100"/>
                <a:gd name="connsiteX1764" fmla="*/ 3862120 w 4829175"/>
                <a:gd name="connsiteY1764" fmla="*/ 6368418 h 6515100"/>
                <a:gd name="connsiteX1765" fmla="*/ 3862819 w 4829175"/>
                <a:gd name="connsiteY1765" fmla="*/ 6369115 h 6515100"/>
                <a:gd name="connsiteX1766" fmla="*/ 3862120 w 4829175"/>
                <a:gd name="connsiteY1766" fmla="*/ 6370515 h 6515100"/>
                <a:gd name="connsiteX1767" fmla="*/ 3725167 w 4829175"/>
                <a:gd name="connsiteY1767" fmla="*/ 6233562 h 6515100"/>
                <a:gd name="connsiteX1768" fmla="*/ 3461044 w 4829175"/>
                <a:gd name="connsiteY1768" fmla="*/ 6233562 h 6515100"/>
                <a:gd name="connsiteX1769" fmla="*/ 3732154 w 4829175"/>
                <a:gd name="connsiteY1769" fmla="*/ 6503974 h 6515100"/>
                <a:gd name="connsiteX1770" fmla="*/ 3721057 w 4829175"/>
                <a:gd name="connsiteY1770" fmla="*/ 6515100 h 6515100"/>
                <a:gd name="connsiteX1771" fmla="*/ 3710566 w 4829175"/>
                <a:gd name="connsiteY1771" fmla="*/ 6515100 h 6515100"/>
                <a:gd name="connsiteX1772" fmla="*/ 3718179 w 4829175"/>
                <a:gd name="connsiteY1772" fmla="*/ 6507468 h 6515100"/>
                <a:gd name="connsiteX1773" fmla="*/ 3454056 w 4829175"/>
                <a:gd name="connsiteY1773" fmla="*/ 6507468 h 6515100"/>
                <a:gd name="connsiteX1774" fmla="*/ 3446443 w 4829175"/>
                <a:gd name="connsiteY1774" fmla="*/ 6515100 h 6515100"/>
                <a:gd name="connsiteX1775" fmla="*/ 3437367 w 4829175"/>
                <a:gd name="connsiteY1775" fmla="*/ 6515100 h 6515100"/>
                <a:gd name="connsiteX1776" fmla="*/ 3447767 w 4829175"/>
                <a:gd name="connsiteY1776" fmla="*/ 6504673 h 6515100"/>
                <a:gd name="connsiteX1777" fmla="*/ 3176657 w 4829175"/>
                <a:gd name="connsiteY1777" fmla="*/ 6234261 h 6515100"/>
                <a:gd name="connsiteX1778" fmla="*/ 2912533 w 4829175"/>
                <a:gd name="connsiteY1778" fmla="*/ 6234261 h 6515100"/>
                <a:gd name="connsiteX1779" fmla="*/ 3183644 w 4829175"/>
                <a:gd name="connsiteY1779" fmla="*/ 6504673 h 6515100"/>
                <a:gd name="connsiteX1780" fmla="*/ 3173244 w 4829175"/>
                <a:gd name="connsiteY1780" fmla="*/ 6515100 h 6515100"/>
                <a:gd name="connsiteX1781" fmla="*/ 3163450 w 4829175"/>
                <a:gd name="connsiteY1781" fmla="*/ 6515100 h 6515100"/>
                <a:gd name="connsiteX1782" fmla="*/ 3169669 w 4829175"/>
                <a:gd name="connsiteY1782" fmla="*/ 6508865 h 6515100"/>
                <a:gd name="connsiteX1783" fmla="*/ 2905546 w 4829175"/>
                <a:gd name="connsiteY1783" fmla="*/ 6508865 h 6515100"/>
                <a:gd name="connsiteX1784" fmla="*/ 2899327 w 4829175"/>
                <a:gd name="connsiteY1784" fmla="*/ 6515100 h 6515100"/>
                <a:gd name="connsiteX1785" fmla="*/ 2889554 w 4829175"/>
                <a:gd name="connsiteY1785" fmla="*/ 6515100 h 6515100"/>
                <a:gd name="connsiteX1786" fmla="*/ 2899257 w 4829175"/>
                <a:gd name="connsiteY1786" fmla="*/ 6505372 h 6515100"/>
                <a:gd name="connsiteX1787" fmla="*/ 2628146 w 4829175"/>
                <a:gd name="connsiteY1787" fmla="*/ 6234960 h 6515100"/>
                <a:gd name="connsiteX1788" fmla="*/ 2364722 w 4829175"/>
                <a:gd name="connsiteY1788" fmla="*/ 6234960 h 6515100"/>
                <a:gd name="connsiteX1789" fmla="*/ 2494687 w 4829175"/>
                <a:gd name="connsiteY1789" fmla="*/ 6364925 h 6515100"/>
                <a:gd name="connsiteX1790" fmla="*/ 2635134 w 4829175"/>
                <a:gd name="connsiteY1790" fmla="*/ 6505372 h 6515100"/>
                <a:gd name="connsiteX1791" fmla="*/ 2625431 w 4829175"/>
                <a:gd name="connsiteY1791" fmla="*/ 6515100 h 6515100"/>
                <a:gd name="connsiteX1792" fmla="*/ 2614938 w 4829175"/>
                <a:gd name="connsiteY1792" fmla="*/ 6515100 h 6515100"/>
                <a:gd name="connsiteX1793" fmla="*/ 2620460 w 4829175"/>
                <a:gd name="connsiteY1793" fmla="*/ 6509564 h 6515100"/>
                <a:gd name="connsiteX1794" fmla="*/ 2357035 w 4829175"/>
                <a:gd name="connsiteY1794" fmla="*/ 6509564 h 6515100"/>
                <a:gd name="connsiteX1795" fmla="*/ 2351521 w 4829175"/>
                <a:gd name="connsiteY1795" fmla="*/ 6515100 h 6515100"/>
                <a:gd name="connsiteX1796" fmla="*/ 2341019 w 4829175"/>
                <a:gd name="connsiteY1796" fmla="*/ 6515100 h 6515100"/>
                <a:gd name="connsiteX1797" fmla="*/ 2350747 w 4829175"/>
                <a:gd name="connsiteY1797" fmla="*/ 6505372 h 6515100"/>
                <a:gd name="connsiteX1798" fmla="*/ 2079636 w 4829175"/>
                <a:gd name="connsiteY1798" fmla="*/ 6234960 h 6515100"/>
                <a:gd name="connsiteX1799" fmla="*/ 1815513 w 4829175"/>
                <a:gd name="connsiteY1799" fmla="*/ 6234960 h 6515100"/>
                <a:gd name="connsiteX1800" fmla="*/ 2086623 w 4829175"/>
                <a:gd name="connsiteY1800" fmla="*/ 6505372 h 6515100"/>
                <a:gd name="connsiteX1801" fmla="*/ 2083829 w 4829175"/>
                <a:gd name="connsiteY1801" fmla="*/ 6508166 h 6515100"/>
                <a:gd name="connsiteX1802" fmla="*/ 2076948 w 4829175"/>
                <a:gd name="connsiteY1802" fmla="*/ 6515100 h 6515100"/>
                <a:gd name="connsiteX1803" fmla="*/ 2067112 w 4829175"/>
                <a:gd name="connsiteY1803" fmla="*/ 6515100 h 6515100"/>
                <a:gd name="connsiteX1804" fmla="*/ 2072648 w 4829175"/>
                <a:gd name="connsiteY1804" fmla="*/ 6509564 h 6515100"/>
                <a:gd name="connsiteX1805" fmla="*/ 1808526 w 4829175"/>
                <a:gd name="connsiteY1805" fmla="*/ 6509564 h 6515100"/>
                <a:gd name="connsiteX1806" fmla="*/ 1803004 w 4829175"/>
                <a:gd name="connsiteY1806" fmla="*/ 6515100 h 6515100"/>
                <a:gd name="connsiteX1807" fmla="*/ 1792532 w 4829175"/>
                <a:gd name="connsiteY1807" fmla="*/ 6515100 h 6515100"/>
                <a:gd name="connsiteX1808" fmla="*/ 1801539 w 4829175"/>
                <a:gd name="connsiteY1808" fmla="*/ 6506071 h 6515100"/>
                <a:gd name="connsiteX1809" fmla="*/ 1796647 w 4829175"/>
                <a:gd name="connsiteY1809" fmla="*/ 6501179 h 6515100"/>
                <a:gd name="connsiteX1810" fmla="*/ 1531127 w 4829175"/>
                <a:gd name="connsiteY1810" fmla="*/ 6236358 h 6515100"/>
                <a:gd name="connsiteX1811" fmla="*/ 1267002 w 4829175"/>
                <a:gd name="connsiteY1811" fmla="*/ 6236358 h 6515100"/>
                <a:gd name="connsiteX1812" fmla="*/ 1267701 w 4829175"/>
                <a:gd name="connsiteY1812" fmla="*/ 6237056 h 6515100"/>
                <a:gd name="connsiteX1813" fmla="*/ 1268400 w 4829175"/>
                <a:gd name="connsiteY1813" fmla="*/ 6237056 h 6515100"/>
                <a:gd name="connsiteX1814" fmla="*/ 1537414 w 4829175"/>
                <a:gd name="connsiteY1814" fmla="*/ 6506071 h 6515100"/>
                <a:gd name="connsiteX1815" fmla="*/ 1528408 w 4829175"/>
                <a:gd name="connsiteY1815" fmla="*/ 6515100 h 6515100"/>
                <a:gd name="connsiteX1816" fmla="*/ 1520000 w 4829175"/>
                <a:gd name="connsiteY1816" fmla="*/ 6515100 h 6515100"/>
                <a:gd name="connsiteX1817" fmla="*/ 1524838 w 4829175"/>
                <a:gd name="connsiteY1817" fmla="*/ 6510263 h 6515100"/>
                <a:gd name="connsiteX1818" fmla="*/ 1260714 w 4829175"/>
                <a:gd name="connsiteY1818" fmla="*/ 6510263 h 6515100"/>
                <a:gd name="connsiteX1819" fmla="*/ 1255889 w 4829175"/>
                <a:gd name="connsiteY1819" fmla="*/ 6515100 h 6515100"/>
                <a:gd name="connsiteX1820" fmla="*/ 1243300 w 4829175"/>
                <a:gd name="connsiteY1820" fmla="*/ 6515100 h 6515100"/>
                <a:gd name="connsiteX1821" fmla="*/ 1252329 w 4829175"/>
                <a:gd name="connsiteY1821" fmla="*/ 6506071 h 6515100"/>
                <a:gd name="connsiteX1822" fmla="*/ 1119569 w 4829175"/>
                <a:gd name="connsiteY1822" fmla="*/ 6374009 h 6515100"/>
                <a:gd name="connsiteX1823" fmla="*/ 981219 w 4829175"/>
                <a:gd name="connsiteY1823" fmla="*/ 6235659 h 6515100"/>
                <a:gd name="connsiteX1824" fmla="*/ 717095 w 4829175"/>
                <a:gd name="connsiteY1824" fmla="*/ 6235659 h 6515100"/>
                <a:gd name="connsiteX1825" fmla="*/ 988206 w 4829175"/>
                <a:gd name="connsiteY1825" fmla="*/ 6505372 h 6515100"/>
                <a:gd name="connsiteX1826" fmla="*/ 985411 w 4829175"/>
                <a:gd name="connsiteY1826" fmla="*/ 6508166 h 6515100"/>
                <a:gd name="connsiteX1827" fmla="*/ 978530 w 4829175"/>
                <a:gd name="connsiteY1827" fmla="*/ 6515100 h 6515100"/>
                <a:gd name="connsiteX1828" fmla="*/ 969394 w 4829175"/>
                <a:gd name="connsiteY1828" fmla="*/ 6515100 h 6515100"/>
                <a:gd name="connsiteX1829" fmla="*/ 974930 w 4829175"/>
                <a:gd name="connsiteY1829" fmla="*/ 6509564 h 6515100"/>
                <a:gd name="connsiteX1830" fmla="*/ 716396 w 4829175"/>
                <a:gd name="connsiteY1830" fmla="*/ 6509564 h 6515100"/>
                <a:gd name="connsiteX1831" fmla="*/ 714941 w 4829175"/>
                <a:gd name="connsiteY1831" fmla="*/ 6508865 h 6515100"/>
                <a:gd name="connsiteX1832" fmla="*/ 716396 w 4829175"/>
                <a:gd name="connsiteY1832" fmla="*/ 6508865 h 6515100"/>
                <a:gd name="connsiteX1833" fmla="*/ 698928 w 4829175"/>
                <a:gd name="connsiteY1833" fmla="*/ 6500480 h 6515100"/>
                <a:gd name="connsiteX1834" fmla="*/ 700271 w 4829175"/>
                <a:gd name="connsiteY1834" fmla="*/ 6501824 h 6515100"/>
                <a:gd name="connsiteX1835" fmla="*/ 698928 w 4829175"/>
                <a:gd name="connsiteY1835" fmla="*/ 6501179 h 6515100"/>
                <a:gd name="connsiteX1836" fmla="*/ 433407 w 4829175"/>
                <a:gd name="connsiteY1836" fmla="*/ 6236358 h 6515100"/>
                <a:gd name="connsiteX1837" fmla="*/ 169284 w 4829175"/>
                <a:gd name="connsiteY1837" fmla="*/ 6236358 h 6515100"/>
                <a:gd name="connsiteX1838" fmla="*/ 170681 w 4829175"/>
                <a:gd name="connsiteY1838" fmla="*/ 6237754 h 6515100"/>
                <a:gd name="connsiteX1839" fmla="*/ 439696 w 4829175"/>
                <a:gd name="connsiteY1839" fmla="*/ 6506770 h 6515100"/>
                <a:gd name="connsiteX1840" fmla="*/ 431344 w 4829175"/>
                <a:gd name="connsiteY1840" fmla="*/ 6515100 h 6515100"/>
                <a:gd name="connsiteX1841" fmla="*/ 420908 w 4829175"/>
                <a:gd name="connsiteY1841" fmla="*/ 6515100 h 6515100"/>
                <a:gd name="connsiteX1842" fmla="*/ 425721 w 4829175"/>
                <a:gd name="connsiteY1842" fmla="*/ 6510263 h 6515100"/>
                <a:gd name="connsiteX1843" fmla="*/ 161597 w 4829175"/>
                <a:gd name="connsiteY1843" fmla="*/ 6510263 h 6515100"/>
                <a:gd name="connsiteX1844" fmla="*/ 156781 w 4829175"/>
                <a:gd name="connsiteY1844" fmla="*/ 6515100 h 6515100"/>
                <a:gd name="connsiteX1845" fmla="*/ 146978 w 4829175"/>
                <a:gd name="connsiteY1845" fmla="*/ 6515100 h 6515100"/>
                <a:gd name="connsiteX1846" fmla="*/ 155309 w 4829175"/>
                <a:gd name="connsiteY1846" fmla="*/ 6506770 h 6515100"/>
                <a:gd name="connsiteX1847" fmla="*/ 21150 w 4829175"/>
                <a:gd name="connsiteY1847" fmla="*/ 6373310 h 6515100"/>
                <a:gd name="connsiteX1848" fmla="*/ 5080 w 4829175"/>
                <a:gd name="connsiteY1848" fmla="*/ 6357239 h 6515100"/>
                <a:gd name="connsiteX1849" fmla="*/ 5080 w 4829175"/>
                <a:gd name="connsiteY1849" fmla="*/ 6347457 h 6515100"/>
                <a:gd name="connsiteX1850" fmla="*/ 24645 w 4829175"/>
                <a:gd name="connsiteY1850" fmla="*/ 6367022 h 6515100"/>
                <a:gd name="connsiteX1851" fmla="*/ 161597 w 4829175"/>
                <a:gd name="connsiteY1851" fmla="*/ 6503275 h 6515100"/>
                <a:gd name="connsiteX1852" fmla="*/ 425721 w 4829175"/>
                <a:gd name="connsiteY1852" fmla="*/ 6503275 h 6515100"/>
                <a:gd name="connsiteX1853" fmla="*/ 154610 w 4829175"/>
                <a:gd name="connsiteY1853" fmla="*/ 6232863 h 6515100"/>
                <a:gd name="connsiteX1854" fmla="*/ 156008 w 4829175"/>
                <a:gd name="connsiteY1854" fmla="*/ 6231466 h 6515100"/>
                <a:gd name="connsiteX1855" fmla="*/ 156706 w 4829175"/>
                <a:gd name="connsiteY1855" fmla="*/ 6231466 h 6515100"/>
                <a:gd name="connsiteX1856" fmla="*/ 425022 w 4829175"/>
                <a:gd name="connsiteY1856" fmla="*/ 5962452 h 6515100"/>
                <a:gd name="connsiteX1857" fmla="*/ 161597 w 4829175"/>
                <a:gd name="connsiteY1857" fmla="*/ 5962452 h 6515100"/>
                <a:gd name="connsiteX1858" fmla="*/ 5080 w 4829175"/>
                <a:gd name="connsiteY1858" fmla="*/ 6118969 h 6515100"/>
                <a:gd name="connsiteX1859" fmla="*/ 5080 w 4829175"/>
                <a:gd name="connsiteY1859" fmla="*/ 6108488 h 6515100"/>
                <a:gd name="connsiteX1860" fmla="*/ 154610 w 4829175"/>
                <a:gd name="connsiteY1860" fmla="*/ 5958957 h 6515100"/>
                <a:gd name="connsiteX1861" fmla="*/ 5080 w 4829175"/>
                <a:gd name="connsiteY1861" fmla="*/ 5809427 h 6515100"/>
                <a:gd name="connsiteX1862" fmla="*/ 5080 w 4829175"/>
                <a:gd name="connsiteY1862" fmla="*/ 5798947 h 6515100"/>
                <a:gd name="connsiteX1863" fmla="*/ 161597 w 4829175"/>
                <a:gd name="connsiteY1863" fmla="*/ 5954765 h 6515100"/>
                <a:gd name="connsiteX1864" fmla="*/ 425022 w 4829175"/>
                <a:gd name="connsiteY1864" fmla="*/ 5954765 h 6515100"/>
                <a:gd name="connsiteX1865" fmla="*/ 295057 w 4829175"/>
                <a:gd name="connsiteY1865" fmla="*/ 5824800 h 6515100"/>
                <a:gd name="connsiteX1866" fmla="*/ 154610 w 4829175"/>
                <a:gd name="connsiteY1866" fmla="*/ 5684353 h 6515100"/>
                <a:gd name="connsiteX1867" fmla="*/ 425022 w 4829175"/>
                <a:gd name="connsiteY1867" fmla="*/ 5413941 h 6515100"/>
                <a:gd name="connsiteX1868" fmla="*/ 160898 w 4829175"/>
                <a:gd name="connsiteY1868" fmla="*/ 5413941 h 6515100"/>
                <a:gd name="connsiteX1869" fmla="*/ 5080 w 4829175"/>
                <a:gd name="connsiteY1869" fmla="*/ 5569760 h 6515100"/>
                <a:gd name="connsiteX1870" fmla="*/ 5080 w 4829175"/>
                <a:gd name="connsiteY1870" fmla="*/ 5559279 h 6515100"/>
                <a:gd name="connsiteX1871" fmla="*/ 153911 w 4829175"/>
                <a:gd name="connsiteY1871" fmla="*/ 5410448 h 6515100"/>
                <a:gd name="connsiteX1872" fmla="*/ 5080 w 4829175"/>
                <a:gd name="connsiteY1872" fmla="*/ 5261616 h 6515100"/>
                <a:gd name="connsiteX1873" fmla="*/ 5080 w 4829175"/>
                <a:gd name="connsiteY1873" fmla="*/ 5251135 h 6515100"/>
                <a:gd name="connsiteX1874" fmla="*/ 160898 w 4829175"/>
                <a:gd name="connsiteY1874" fmla="*/ 5406255 h 6515100"/>
                <a:gd name="connsiteX1875" fmla="*/ 425022 w 4829175"/>
                <a:gd name="connsiteY1875" fmla="*/ 5406255 h 6515100"/>
                <a:gd name="connsiteX1876" fmla="*/ 153911 w 4829175"/>
                <a:gd name="connsiteY1876" fmla="*/ 5135843 h 6515100"/>
                <a:gd name="connsiteX1877" fmla="*/ 338378 w 4829175"/>
                <a:gd name="connsiteY1877" fmla="*/ 4951376 h 6515100"/>
                <a:gd name="connsiteX1878" fmla="*/ 424323 w 4829175"/>
                <a:gd name="connsiteY1878" fmla="*/ 4865431 h 6515100"/>
                <a:gd name="connsiteX1879" fmla="*/ 160200 w 4829175"/>
                <a:gd name="connsiteY1879" fmla="*/ 4865431 h 6515100"/>
                <a:gd name="connsiteX1880" fmla="*/ 5080 w 4829175"/>
                <a:gd name="connsiteY1880" fmla="*/ 5020552 h 6515100"/>
                <a:gd name="connsiteX1881" fmla="*/ 5080 w 4829175"/>
                <a:gd name="connsiteY1881" fmla="*/ 5010070 h 6515100"/>
                <a:gd name="connsiteX1882" fmla="*/ 153212 w 4829175"/>
                <a:gd name="connsiteY1882" fmla="*/ 4861239 h 6515100"/>
                <a:gd name="connsiteX1883" fmla="*/ 148321 w 4829175"/>
                <a:gd name="connsiteY1883" fmla="*/ 4856348 h 6515100"/>
                <a:gd name="connsiteX1884" fmla="*/ 5080 w 4829175"/>
                <a:gd name="connsiteY1884" fmla="*/ 4713804 h 6515100"/>
                <a:gd name="connsiteX1885" fmla="*/ 5080 w 4829175"/>
                <a:gd name="connsiteY1885" fmla="*/ 4704023 h 6515100"/>
                <a:gd name="connsiteX1886" fmla="*/ 160200 w 4829175"/>
                <a:gd name="connsiteY1886" fmla="*/ 4858443 h 6515100"/>
                <a:gd name="connsiteX1887" fmla="*/ 424323 w 4829175"/>
                <a:gd name="connsiteY1887" fmla="*/ 4857746 h 6515100"/>
                <a:gd name="connsiteX1888" fmla="*/ 153212 w 4829175"/>
                <a:gd name="connsiteY1888" fmla="*/ 4587334 h 6515100"/>
                <a:gd name="connsiteX1889" fmla="*/ 423624 w 4829175"/>
                <a:gd name="connsiteY1889" fmla="*/ 4316922 h 6515100"/>
                <a:gd name="connsiteX1890" fmla="*/ 159501 w 4829175"/>
                <a:gd name="connsiteY1890" fmla="*/ 4316922 h 6515100"/>
                <a:gd name="connsiteX1891" fmla="*/ 5080 w 4829175"/>
                <a:gd name="connsiteY1891" fmla="*/ 4471342 h 6515100"/>
                <a:gd name="connsiteX1892" fmla="*/ 5080 w 4829175"/>
                <a:gd name="connsiteY1892" fmla="*/ 4460862 h 6515100"/>
                <a:gd name="connsiteX1893" fmla="*/ 152513 w 4829175"/>
                <a:gd name="connsiteY1893" fmla="*/ 4312728 h 6515100"/>
                <a:gd name="connsiteX1894" fmla="*/ 5080 w 4829175"/>
                <a:gd name="connsiteY1894" fmla="*/ 4165993 h 6515100"/>
                <a:gd name="connsiteX1895" fmla="*/ 5080 w 4829175"/>
                <a:gd name="connsiteY1895" fmla="*/ 4155512 h 6515100"/>
                <a:gd name="connsiteX1896" fmla="*/ 159501 w 4829175"/>
                <a:gd name="connsiteY1896" fmla="*/ 4309235 h 6515100"/>
                <a:gd name="connsiteX1897" fmla="*/ 423624 w 4829175"/>
                <a:gd name="connsiteY1897" fmla="*/ 4309235 h 6515100"/>
                <a:gd name="connsiteX1898" fmla="*/ 152513 w 4829175"/>
                <a:gd name="connsiteY1898" fmla="*/ 4039522 h 6515100"/>
                <a:gd name="connsiteX1899" fmla="*/ 331391 w 4829175"/>
                <a:gd name="connsiteY1899" fmla="*/ 3860644 h 6515100"/>
                <a:gd name="connsiteX1900" fmla="*/ 331489 w 4829175"/>
                <a:gd name="connsiteY1900" fmla="*/ 3860644 h 6515100"/>
                <a:gd name="connsiteX1901" fmla="*/ 422038 w 4829175"/>
                <a:gd name="connsiteY1901" fmla="*/ 3769860 h 6515100"/>
                <a:gd name="connsiteX1902" fmla="*/ 225692 w 4829175"/>
                <a:gd name="connsiteY1902" fmla="*/ 3769860 h 6515100"/>
                <a:gd name="connsiteX1903" fmla="*/ 226391 w 4829175"/>
                <a:gd name="connsiteY1903" fmla="*/ 3768464 h 6515100"/>
                <a:gd name="connsiteX1904" fmla="*/ 158613 w 4829175"/>
                <a:gd name="connsiteY1904" fmla="*/ 3768464 h 6515100"/>
                <a:gd name="connsiteX1905" fmla="*/ 0 w 4829175"/>
                <a:gd name="connsiteY1905" fmla="*/ 3927075 h 6515100"/>
                <a:gd name="connsiteX1906" fmla="*/ 0 w 4829175"/>
                <a:gd name="connsiteY1906" fmla="*/ 3917294 h 6515100"/>
                <a:gd name="connsiteX1907" fmla="*/ 152324 w 4829175"/>
                <a:gd name="connsiteY1907" fmla="*/ 3764969 h 6515100"/>
                <a:gd name="connsiteX1908" fmla="*/ 0 w 4829175"/>
                <a:gd name="connsiteY1908" fmla="*/ 3613344 h 6515100"/>
                <a:gd name="connsiteX1909" fmla="*/ 0 w 4829175"/>
                <a:gd name="connsiteY1909" fmla="*/ 3602863 h 6515100"/>
                <a:gd name="connsiteX1910" fmla="*/ 159312 w 4829175"/>
                <a:gd name="connsiteY1910" fmla="*/ 3760776 h 6515100"/>
                <a:gd name="connsiteX1911" fmla="*/ 423435 w 4829175"/>
                <a:gd name="connsiteY1911" fmla="*/ 3760776 h 6515100"/>
                <a:gd name="connsiteX1912" fmla="*/ 294168 w 4829175"/>
                <a:gd name="connsiteY1912" fmla="*/ 3632209 h 6515100"/>
                <a:gd name="connsiteX1913" fmla="*/ 152324 w 4829175"/>
                <a:gd name="connsiteY1913" fmla="*/ 3491064 h 6515100"/>
                <a:gd name="connsiteX1914" fmla="*/ 336093 w 4829175"/>
                <a:gd name="connsiteY1914" fmla="*/ 3305898 h 6515100"/>
                <a:gd name="connsiteX1915" fmla="*/ 422038 w 4829175"/>
                <a:gd name="connsiteY1915" fmla="*/ 3219953 h 6515100"/>
                <a:gd name="connsiteX1916" fmla="*/ 157914 w 4829175"/>
                <a:gd name="connsiteY1916" fmla="*/ 3219953 h 6515100"/>
                <a:gd name="connsiteX1917" fmla="*/ 0 w 4829175"/>
                <a:gd name="connsiteY1917" fmla="*/ 3378566 h 6515100"/>
                <a:gd name="connsiteX1918" fmla="*/ 0 w 4829175"/>
                <a:gd name="connsiteY1918" fmla="*/ 3368084 h 6515100"/>
                <a:gd name="connsiteX1919" fmla="*/ 152324 w 4829175"/>
                <a:gd name="connsiteY1919" fmla="*/ 3216459 h 6515100"/>
                <a:gd name="connsiteX1920" fmla="*/ 146735 w 4829175"/>
                <a:gd name="connsiteY1920" fmla="*/ 3211568 h 6515100"/>
                <a:gd name="connsiteX1921" fmla="*/ 0 w 4829175"/>
                <a:gd name="connsiteY1921" fmla="*/ 3065532 h 6515100"/>
                <a:gd name="connsiteX1922" fmla="*/ 0 w 4829175"/>
                <a:gd name="connsiteY1922" fmla="*/ 3055052 h 6515100"/>
                <a:gd name="connsiteX1923" fmla="*/ 157914 w 4829175"/>
                <a:gd name="connsiteY1923" fmla="*/ 3212966 h 6515100"/>
                <a:gd name="connsiteX1924" fmla="*/ 422038 w 4829175"/>
                <a:gd name="connsiteY1924" fmla="*/ 3212966 h 6515100"/>
                <a:gd name="connsiteX1925" fmla="*/ 150927 w 4829175"/>
                <a:gd name="connsiteY1925" fmla="*/ 2942554 h 6515100"/>
                <a:gd name="connsiteX1926" fmla="*/ 421339 w 4829175"/>
                <a:gd name="connsiteY1926" fmla="*/ 2671443 h 6515100"/>
                <a:gd name="connsiteX1927" fmla="*/ 157215 w 4829175"/>
                <a:gd name="connsiteY1927" fmla="*/ 2671443 h 6515100"/>
                <a:gd name="connsiteX1928" fmla="*/ 0 w 4829175"/>
                <a:gd name="connsiteY1928" fmla="*/ 2829357 h 6515100"/>
                <a:gd name="connsiteX1929" fmla="*/ 0 w 4829175"/>
                <a:gd name="connsiteY1929" fmla="*/ 2818875 h 6515100"/>
                <a:gd name="connsiteX1930" fmla="*/ 150927 w 4829175"/>
                <a:gd name="connsiteY1930" fmla="*/ 2667949 h 6515100"/>
                <a:gd name="connsiteX1931" fmla="*/ 0 w 4829175"/>
                <a:gd name="connsiteY1931" fmla="*/ 2517721 h 6515100"/>
                <a:gd name="connsiteX1932" fmla="*/ 0 w 4829175"/>
                <a:gd name="connsiteY1932" fmla="*/ 2507939 h 6515100"/>
                <a:gd name="connsiteX1933" fmla="*/ 157914 w 4829175"/>
                <a:gd name="connsiteY1933" fmla="*/ 2664456 h 6515100"/>
                <a:gd name="connsiteX1934" fmla="*/ 422038 w 4829175"/>
                <a:gd name="connsiteY1934" fmla="*/ 2664456 h 6515100"/>
                <a:gd name="connsiteX1935" fmla="*/ 150927 w 4829175"/>
                <a:gd name="connsiteY1935" fmla="*/ 2394044 h 6515100"/>
                <a:gd name="connsiteX1936" fmla="*/ 420640 w 4829175"/>
                <a:gd name="connsiteY1936" fmla="*/ 2122933 h 6515100"/>
                <a:gd name="connsiteX1937" fmla="*/ 156517 w 4829175"/>
                <a:gd name="connsiteY1937" fmla="*/ 2122933 h 6515100"/>
                <a:gd name="connsiteX1938" fmla="*/ 0 w 4829175"/>
                <a:gd name="connsiteY1938" fmla="*/ 2280148 h 6515100"/>
                <a:gd name="connsiteX1939" fmla="*/ 0 w 4829175"/>
                <a:gd name="connsiteY1939" fmla="*/ 2269667 h 6515100"/>
                <a:gd name="connsiteX1940" fmla="*/ 150228 w 4829175"/>
                <a:gd name="connsiteY1940" fmla="*/ 2119439 h 6515100"/>
                <a:gd name="connsiteX1941" fmla="*/ 16070 w 4829175"/>
                <a:gd name="connsiteY1941" fmla="*/ 1985980 h 6515100"/>
                <a:gd name="connsiteX1942" fmla="*/ 0 w 4829175"/>
                <a:gd name="connsiteY1942" fmla="*/ 1969909 h 6515100"/>
                <a:gd name="connsiteX1943" fmla="*/ 0 w 4829175"/>
                <a:gd name="connsiteY1943" fmla="*/ 1960127 h 6515100"/>
                <a:gd name="connsiteX1944" fmla="*/ 19564 w 4829175"/>
                <a:gd name="connsiteY1944" fmla="*/ 1979691 h 6515100"/>
                <a:gd name="connsiteX1945" fmla="*/ 156517 w 4829175"/>
                <a:gd name="connsiteY1945" fmla="*/ 2115945 h 6515100"/>
                <a:gd name="connsiteX1946" fmla="*/ 420640 w 4829175"/>
                <a:gd name="connsiteY1946" fmla="*/ 2115945 h 6515100"/>
                <a:gd name="connsiteX1947" fmla="*/ 149529 w 4829175"/>
                <a:gd name="connsiteY1947" fmla="*/ 1845533 h 6515100"/>
                <a:gd name="connsiteX1948" fmla="*/ 150927 w 4829175"/>
                <a:gd name="connsiteY1948" fmla="*/ 1844135 h 6515100"/>
                <a:gd name="connsiteX1949" fmla="*/ 151626 w 4829175"/>
                <a:gd name="connsiteY1949" fmla="*/ 1844135 h 6515100"/>
                <a:gd name="connsiteX1950" fmla="*/ 419941 w 4829175"/>
                <a:gd name="connsiteY1950" fmla="*/ 1575121 h 6515100"/>
                <a:gd name="connsiteX1951" fmla="*/ 156517 w 4829175"/>
                <a:gd name="connsiteY1951" fmla="*/ 1575121 h 6515100"/>
                <a:gd name="connsiteX1952" fmla="*/ 0 w 4829175"/>
                <a:gd name="connsiteY1952" fmla="*/ 1731637 h 6515100"/>
                <a:gd name="connsiteX1953" fmla="*/ 0 w 4829175"/>
                <a:gd name="connsiteY1953" fmla="*/ 1721157 h 6515100"/>
                <a:gd name="connsiteX1954" fmla="*/ 149529 w 4829175"/>
                <a:gd name="connsiteY1954" fmla="*/ 1571627 h 6515100"/>
                <a:gd name="connsiteX1955" fmla="*/ 0 w 4829175"/>
                <a:gd name="connsiteY1955" fmla="*/ 1422098 h 6515100"/>
                <a:gd name="connsiteX1956" fmla="*/ 0 w 4829175"/>
                <a:gd name="connsiteY1956" fmla="*/ 1411617 h 6515100"/>
                <a:gd name="connsiteX1957" fmla="*/ 156517 w 4829175"/>
                <a:gd name="connsiteY1957" fmla="*/ 1567435 h 6515100"/>
                <a:gd name="connsiteX1958" fmla="*/ 419941 w 4829175"/>
                <a:gd name="connsiteY1958" fmla="*/ 1567435 h 6515100"/>
                <a:gd name="connsiteX1959" fmla="*/ 289976 w 4829175"/>
                <a:gd name="connsiteY1959" fmla="*/ 1437470 h 6515100"/>
                <a:gd name="connsiteX1960" fmla="*/ 149529 w 4829175"/>
                <a:gd name="connsiteY1960" fmla="*/ 1297023 h 6515100"/>
                <a:gd name="connsiteX1961" fmla="*/ 419941 w 4829175"/>
                <a:gd name="connsiteY1961" fmla="*/ 1026611 h 6515100"/>
                <a:gd name="connsiteX1962" fmla="*/ 155818 w 4829175"/>
                <a:gd name="connsiteY1962" fmla="*/ 1026611 h 6515100"/>
                <a:gd name="connsiteX1963" fmla="*/ 0 w 4829175"/>
                <a:gd name="connsiteY1963" fmla="*/ 1182428 h 6515100"/>
                <a:gd name="connsiteX1964" fmla="*/ 0 w 4829175"/>
                <a:gd name="connsiteY1964" fmla="*/ 1171948 h 6515100"/>
                <a:gd name="connsiteX1965" fmla="*/ 148830 w 4829175"/>
                <a:gd name="connsiteY1965" fmla="*/ 1023118 h 6515100"/>
                <a:gd name="connsiteX1966" fmla="*/ 0 w 4829175"/>
                <a:gd name="connsiteY1966" fmla="*/ 874286 h 6515100"/>
                <a:gd name="connsiteX1967" fmla="*/ 0 w 4829175"/>
                <a:gd name="connsiteY1967" fmla="*/ 863806 h 6515100"/>
                <a:gd name="connsiteX1968" fmla="*/ 155818 w 4829175"/>
                <a:gd name="connsiteY1968" fmla="*/ 1018924 h 6515100"/>
                <a:gd name="connsiteX1969" fmla="*/ 419941 w 4829175"/>
                <a:gd name="connsiteY1969" fmla="*/ 1018924 h 6515100"/>
                <a:gd name="connsiteX1970" fmla="*/ 148830 w 4829175"/>
                <a:gd name="connsiteY1970" fmla="*/ 748512 h 6515100"/>
                <a:gd name="connsiteX1971" fmla="*/ 333298 w 4829175"/>
                <a:gd name="connsiteY1971" fmla="*/ 564046 h 6515100"/>
                <a:gd name="connsiteX1972" fmla="*/ 419242 w 4829175"/>
                <a:gd name="connsiteY1972" fmla="*/ 478100 h 6515100"/>
                <a:gd name="connsiteX1973" fmla="*/ 155119 w 4829175"/>
                <a:gd name="connsiteY1973" fmla="*/ 478100 h 6515100"/>
                <a:gd name="connsiteX1974" fmla="*/ 0 w 4829175"/>
                <a:gd name="connsiteY1974" fmla="*/ 633220 h 6515100"/>
                <a:gd name="connsiteX1975" fmla="*/ 0 w 4829175"/>
                <a:gd name="connsiteY1975" fmla="*/ 622738 h 6515100"/>
                <a:gd name="connsiteX1976" fmla="*/ 148131 w 4829175"/>
                <a:gd name="connsiteY1976" fmla="*/ 473908 h 6515100"/>
                <a:gd name="connsiteX1977" fmla="*/ 143240 w 4829175"/>
                <a:gd name="connsiteY1977" fmla="*/ 469017 h 6515100"/>
                <a:gd name="connsiteX1978" fmla="*/ 0 w 4829175"/>
                <a:gd name="connsiteY1978" fmla="*/ 326475 h 6515100"/>
                <a:gd name="connsiteX1979" fmla="*/ 0 w 4829175"/>
                <a:gd name="connsiteY1979" fmla="*/ 316693 h 6515100"/>
                <a:gd name="connsiteX1980" fmla="*/ 155119 w 4829175"/>
                <a:gd name="connsiteY1980" fmla="*/ 471113 h 6515100"/>
                <a:gd name="connsiteX1981" fmla="*/ 419242 w 4829175"/>
                <a:gd name="connsiteY1981" fmla="*/ 470415 h 6515100"/>
                <a:gd name="connsiteX1982" fmla="*/ 148131 w 4829175"/>
                <a:gd name="connsiteY1982" fmla="*/ 200003 h 6515100"/>
                <a:gd name="connsiteX1983" fmla="*/ 73183 w 4829175"/>
                <a:gd name="connsiteY1983" fmla="*/ 0 h 6515100"/>
                <a:gd name="connsiteX1984" fmla="*/ 84011 w 4829175"/>
                <a:gd name="connsiteY1984" fmla="*/ 0 h 6515100"/>
                <a:gd name="connsiteX1985" fmla="*/ 0 w 4829175"/>
                <a:gd name="connsiteY1985" fmla="*/ 84011 h 6515100"/>
                <a:gd name="connsiteX1986" fmla="*/ 0 w 4829175"/>
                <a:gd name="connsiteY1986" fmla="*/ 73530 h 6515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Lst>
              <a:rect l="l" t="t" r="r" b="b"/>
              <a:pathLst>
                <a:path w="4829175" h="6515100">
                  <a:moveTo>
                    <a:pt x="700271" y="6501824"/>
                  </a:moveTo>
                  <a:lnTo>
                    <a:pt x="714941" y="6508865"/>
                  </a:lnTo>
                  <a:lnTo>
                    <a:pt x="710807" y="6508865"/>
                  </a:lnTo>
                  <a:lnTo>
                    <a:pt x="704588" y="6515100"/>
                  </a:lnTo>
                  <a:lnTo>
                    <a:pt x="694116" y="6515100"/>
                  </a:lnTo>
                  <a:lnTo>
                    <a:pt x="703819" y="6505372"/>
                  </a:lnTo>
                  <a:close/>
                  <a:moveTo>
                    <a:pt x="710108" y="5961753"/>
                  </a:moveTo>
                  <a:lnTo>
                    <a:pt x="439696" y="6232863"/>
                  </a:lnTo>
                  <a:lnTo>
                    <a:pt x="710807" y="6503275"/>
                  </a:lnTo>
                  <a:lnTo>
                    <a:pt x="974930" y="6503275"/>
                  </a:lnTo>
                  <a:lnTo>
                    <a:pt x="703819" y="6232863"/>
                  </a:lnTo>
                  <a:lnTo>
                    <a:pt x="974231" y="5961753"/>
                  </a:lnTo>
                  <a:close/>
                  <a:moveTo>
                    <a:pt x="1807827" y="5961054"/>
                  </a:moveTo>
                  <a:lnTo>
                    <a:pt x="1537414" y="6232165"/>
                  </a:lnTo>
                  <a:lnTo>
                    <a:pt x="1808526" y="6502577"/>
                  </a:lnTo>
                  <a:lnTo>
                    <a:pt x="2072648" y="6502577"/>
                  </a:lnTo>
                  <a:lnTo>
                    <a:pt x="1801539" y="6232165"/>
                  </a:lnTo>
                  <a:lnTo>
                    <a:pt x="2071951" y="5961054"/>
                  </a:lnTo>
                  <a:close/>
                  <a:moveTo>
                    <a:pt x="1257919" y="5961054"/>
                  </a:moveTo>
                  <a:lnTo>
                    <a:pt x="988206" y="6232165"/>
                  </a:lnTo>
                  <a:lnTo>
                    <a:pt x="1188744" y="6432703"/>
                  </a:lnTo>
                  <a:lnTo>
                    <a:pt x="1259317" y="6502577"/>
                  </a:lnTo>
                  <a:lnTo>
                    <a:pt x="1327793" y="6502577"/>
                  </a:lnTo>
                  <a:lnTo>
                    <a:pt x="1327094" y="6503974"/>
                  </a:lnTo>
                  <a:lnTo>
                    <a:pt x="1524139" y="6503974"/>
                  </a:lnTo>
                  <a:lnTo>
                    <a:pt x="1253028" y="6233562"/>
                  </a:lnTo>
                  <a:lnTo>
                    <a:pt x="1253727" y="6232863"/>
                  </a:lnTo>
                  <a:lnTo>
                    <a:pt x="1251631" y="6232165"/>
                  </a:lnTo>
                  <a:lnTo>
                    <a:pt x="1522043" y="5961054"/>
                  </a:lnTo>
                  <a:close/>
                  <a:moveTo>
                    <a:pt x="2904847" y="5960355"/>
                  </a:moveTo>
                  <a:lnTo>
                    <a:pt x="2634435" y="6231466"/>
                  </a:lnTo>
                  <a:lnTo>
                    <a:pt x="2905546" y="6501878"/>
                  </a:lnTo>
                  <a:lnTo>
                    <a:pt x="3169669" y="6501878"/>
                  </a:lnTo>
                  <a:lnTo>
                    <a:pt x="2898558" y="6231466"/>
                  </a:lnTo>
                  <a:lnTo>
                    <a:pt x="3168970" y="5960355"/>
                  </a:lnTo>
                  <a:close/>
                  <a:moveTo>
                    <a:pt x="2356338" y="5960355"/>
                  </a:moveTo>
                  <a:lnTo>
                    <a:pt x="2085925" y="6231466"/>
                  </a:lnTo>
                  <a:lnTo>
                    <a:pt x="2357035" y="6501878"/>
                  </a:lnTo>
                  <a:lnTo>
                    <a:pt x="2620460" y="6501878"/>
                  </a:lnTo>
                  <a:lnTo>
                    <a:pt x="2490495" y="6371913"/>
                  </a:lnTo>
                  <a:lnTo>
                    <a:pt x="2350049" y="6231466"/>
                  </a:lnTo>
                  <a:lnTo>
                    <a:pt x="2620460" y="5960355"/>
                  </a:lnTo>
                  <a:close/>
                  <a:moveTo>
                    <a:pt x="3453357" y="5959656"/>
                  </a:moveTo>
                  <a:lnTo>
                    <a:pt x="3182945" y="6230767"/>
                  </a:lnTo>
                  <a:lnTo>
                    <a:pt x="3454056" y="6500480"/>
                  </a:lnTo>
                  <a:lnTo>
                    <a:pt x="3718179" y="6500480"/>
                  </a:lnTo>
                  <a:lnTo>
                    <a:pt x="3447069" y="6230069"/>
                  </a:lnTo>
                  <a:lnTo>
                    <a:pt x="3631536" y="6045602"/>
                  </a:lnTo>
                  <a:lnTo>
                    <a:pt x="3717481" y="5959656"/>
                  </a:lnTo>
                  <a:close/>
                  <a:moveTo>
                    <a:pt x="4550378" y="5958259"/>
                  </a:moveTo>
                  <a:lnTo>
                    <a:pt x="4279966" y="6229370"/>
                  </a:lnTo>
                  <a:lnTo>
                    <a:pt x="4551077" y="6499083"/>
                  </a:lnTo>
                  <a:lnTo>
                    <a:pt x="4815200" y="6499083"/>
                  </a:lnTo>
                  <a:lnTo>
                    <a:pt x="4544089" y="6228671"/>
                  </a:lnTo>
                  <a:lnTo>
                    <a:pt x="4814501" y="5958259"/>
                  </a:lnTo>
                  <a:close/>
                  <a:moveTo>
                    <a:pt x="169284" y="5687847"/>
                  </a:moveTo>
                  <a:lnTo>
                    <a:pt x="299249" y="5817813"/>
                  </a:lnTo>
                  <a:lnTo>
                    <a:pt x="439696" y="5958259"/>
                  </a:lnTo>
                  <a:lnTo>
                    <a:pt x="169284" y="6229370"/>
                  </a:lnTo>
                  <a:lnTo>
                    <a:pt x="433407" y="6229370"/>
                  </a:lnTo>
                  <a:lnTo>
                    <a:pt x="703819" y="5958259"/>
                  </a:lnTo>
                  <a:lnTo>
                    <a:pt x="432708" y="5687847"/>
                  </a:lnTo>
                  <a:close/>
                  <a:moveTo>
                    <a:pt x="1814814" y="5687149"/>
                  </a:moveTo>
                  <a:lnTo>
                    <a:pt x="2085925" y="5957561"/>
                  </a:lnTo>
                  <a:lnTo>
                    <a:pt x="1815513" y="6227973"/>
                  </a:lnTo>
                  <a:lnTo>
                    <a:pt x="2079636" y="6227973"/>
                  </a:lnTo>
                  <a:lnTo>
                    <a:pt x="2350049" y="5957561"/>
                  </a:lnTo>
                  <a:lnTo>
                    <a:pt x="2078937" y="5687149"/>
                  </a:lnTo>
                  <a:close/>
                  <a:moveTo>
                    <a:pt x="717095" y="5687149"/>
                  </a:moveTo>
                  <a:lnTo>
                    <a:pt x="988206" y="5957561"/>
                  </a:lnTo>
                  <a:lnTo>
                    <a:pt x="717794" y="6228671"/>
                  </a:lnTo>
                  <a:lnTo>
                    <a:pt x="981917" y="6228671"/>
                  </a:lnTo>
                  <a:lnTo>
                    <a:pt x="1252329" y="5957561"/>
                  </a:lnTo>
                  <a:lnTo>
                    <a:pt x="981219" y="5687149"/>
                  </a:lnTo>
                  <a:close/>
                  <a:moveTo>
                    <a:pt x="2363324" y="5686450"/>
                  </a:moveTo>
                  <a:lnTo>
                    <a:pt x="2634435" y="5956862"/>
                  </a:lnTo>
                  <a:lnTo>
                    <a:pt x="2364722" y="6227973"/>
                  </a:lnTo>
                  <a:lnTo>
                    <a:pt x="2628146" y="6227973"/>
                  </a:lnTo>
                  <a:lnTo>
                    <a:pt x="2898558" y="5956862"/>
                  </a:lnTo>
                  <a:lnTo>
                    <a:pt x="2764401" y="5823402"/>
                  </a:lnTo>
                  <a:lnTo>
                    <a:pt x="2627447" y="5686450"/>
                  </a:lnTo>
                  <a:close/>
                  <a:moveTo>
                    <a:pt x="2911834" y="5685751"/>
                  </a:moveTo>
                  <a:lnTo>
                    <a:pt x="2913232" y="5687149"/>
                  </a:lnTo>
                  <a:lnTo>
                    <a:pt x="3182945" y="5956163"/>
                  </a:lnTo>
                  <a:lnTo>
                    <a:pt x="2912533" y="6226575"/>
                  </a:lnTo>
                  <a:lnTo>
                    <a:pt x="3176657" y="6226575"/>
                  </a:lnTo>
                  <a:lnTo>
                    <a:pt x="3447069" y="5956163"/>
                  </a:lnTo>
                  <a:lnTo>
                    <a:pt x="3441479" y="5951272"/>
                  </a:lnTo>
                  <a:lnTo>
                    <a:pt x="3175958" y="5685751"/>
                  </a:lnTo>
                  <a:close/>
                  <a:moveTo>
                    <a:pt x="1530428" y="5685751"/>
                  </a:moveTo>
                  <a:lnTo>
                    <a:pt x="1529030" y="5686450"/>
                  </a:lnTo>
                  <a:lnTo>
                    <a:pt x="1264907" y="5686450"/>
                  </a:lnTo>
                  <a:lnTo>
                    <a:pt x="1536018" y="5956862"/>
                  </a:lnTo>
                  <a:lnTo>
                    <a:pt x="1531824" y="5961054"/>
                  </a:lnTo>
                  <a:lnTo>
                    <a:pt x="1537414" y="5958259"/>
                  </a:lnTo>
                  <a:lnTo>
                    <a:pt x="1267002" y="6229370"/>
                  </a:lnTo>
                  <a:lnTo>
                    <a:pt x="1531127" y="6229370"/>
                  </a:lnTo>
                  <a:lnTo>
                    <a:pt x="1801539" y="5958259"/>
                  </a:lnTo>
                  <a:lnTo>
                    <a:pt x="1530428" y="5687847"/>
                  </a:lnTo>
                  <a:close/>
                  <a:moveTo>
                    <a:pt x="3459646" y="5685052"/>
                  </a:moveTo>
                  <a:lnTo>
                    <a:pt x="3730757" y="5955464"/>
                  </a:lnTo>
                  <a:lnTo>
                    <a:pt x="3727962" y="5958259"/>
                  </a:lnTo>
                  <a:lnTo>
                    <a:pt x="3637825" y="6049095"/>
                  </a:lnTo>
                  <a:lnTo>
                    <a:pt x="3460345" y="6225876"/>
                  </a:lnTo>
                  <a:lnTo>
                    <a:pt x="3724468" y="6225876"/>
                  </a:lnTo>
                  <a:lnTo>
                    <a:pt x="3813907" y="6136437"/>
                  </a:lnTo>
                  <a:lnTo>
                    <a:pt x="3994880" y="5955464"/>
                  </a:lnTo>
                  <a:lnTo>
                    <a:pt x="3723769" y="5685052"/>
                  </a:lnTo>
                  <a:close/>
                  <a:moveTo>
                    <a:pt x="1807128" y="5412543"/>
                  </a:moveTo>
                  <a:lnTo>
                    <a:pt x="1536716" y="5683654"/>
                  </a:lnTo>
                  <a:lnTo>
                    <a:pt x="1807827" y="5954066"/>
                  </a:lnTo>
                  <a:lnTo>
                    <a:pt x="2071951" y="5954066"/>
                  </a:lnTo>
                  <a:lnTo>
                    <a:pt x="1800840" y="5683654"/>
                  </a:lnTo>
                  <a:lnTo>
                    <a:pt x="2071252" y="5412543"/>
                  </a:lnTo>
                  <a:close/>
                  <a:moveTo>
                    <a:pt x="709409" y="5412543"/>
                  </a:moveTo>
                  <a:lnTo>
                    <a:pt x="438997" y="5683654"/>
                  </a:lnTo>
                  <a:lnTo>
                    <a:pt x="710108" y="5954066"/>
                  </a:lnTo>
                  <a:lnTo>
                    <a:pt x="974231" y="5954066"/>
                  </a:lnTo>
                  <a:lnTo>
                    <a:pt x="703120" y="5683654"/>
                  </a:lnTo>
                  <a:lnTo>
                    <a:pt x="972833" y="5412543"/>
                  </a:lnTo>
                  <a:close/>
                  <a:moveTo>
                    <a:pt x="2904148" y="5411845"/>
                  </a:moveTo>
                  <a:lnTo>
                    <a:pt x="2723874" y="5592120"/>
                  </a:lnTo>
                  <a:lnTo>
                    <a:pt x="2634435" y="5682258"/>
                  </a:lnTo>
                  <a:lnTo>
                    <a:pt x="2768593" y="5815716"/>
                  </a:lnTo>
                  <a:lnTo>
                    <a:pt x="2905546" y="5952669"/>
                  </a:lnTo>
                  <a:lnTo>
                    <a:pt x="3169669" y="5952669"/>
                  </a:lnTo>
                  <a:lnTo>
                    <a:pt x="2898558" y="5682258"/>
                  </a:lnTo>
                  <a:lnTo>
                    <a:pt x="2899956" y="5680860"/>
                  </a:lnTo>
                  <a:lnTo>
                    <a:pt x="3168271" y="5411845"/>
                  </a:lnTo>
                  <a:close/>
                  <a:moveTo>
                    <a:pt x="2355639" y="5411845"/>
                  </a:moveTo>
                  <a:lnTo>
                    <a:pt x="2085226" y="5682955"/>
                  </a:lnTo>
                  <a:lnTo>
                    <a:pt x="2356338" y="5953367"/>
                  </a:lnTo>
                  <a:lnTo>
                    <a:pt x="2620460" y="5953367"/>
                  </a:lnTo>
                  <a:lnTo>
                    <a:pt x="2349350" y="5682955"/>
                  </a:lnTo>
                  <a:lnTo>
                    <a:pt x="2533816" y="5498489"/>
                  </a:lnTo>
                  <a:lnTo>
                    <a:pt x="2619762" y="5412543"/>
                  </a:lnTo>
                  <a:lnTo>
                    <a:pt x="2361229" y="5412543"/>
                  </a:lnTo>
                  <a:close/>
                  <a:moveTo>
                    <a:pt x="1257919" y="5411845"/>
                  </a:moveTo>
                  <a:lnTo>
                    <a:pt x="987507" y="5682955"/>
                  </a:lnTo>
                  <a:lnTo>
                    <a:pt x="1258618" y="5953367"/>
                  </a:lnTo>
                  <a:lnTo>
                    <a:pt x="1522741" y="5953367"/>
                  </a:lnTo>
                  <a:lnTo>
                    <a:pt x="1251631" y="5682955"/>
                  </a:lnTo>
                  <a:lnTo>
                    <a:pt x="1436098" y="5498489"/>
                  </a:lnTo>
                  <a:lnTo>
                    <a:pt x="1522043" y="5411845"/>
                  </a:lnTo>
                  <a:close/>
                  <a:moveTo>
                    <a:pt x="3452658" y="5411147"/>
                  </a:moveTo>
                  <a:lnTo>
                    <a:pt x="3182246" y="5682258"/>
                  </a:lnTo>
                  <a:lnTo>
                    <a:pt x="3453357" y="5952669"/>
                  </a:lnTo>
                  <a:lnTo>
                    <a:pt x="3717481" y="5952669"/>
                  </a:lnTo>
                  <a:lnTo>
                    <a:pt x="3446370" y="5682258"/>
                  </a:lnTo>
                  <a:lnTo>
                    <a:pt x="3716782" y="5411147"/>
                  </a:lnTo>
                  <a:close/>
                  <a:moveTo>
                    <a:pt x="4549679" y="5409749"/>
                  </a:moveTo>
                  <a:lnTo>
                    <a:pt x="4279267" y="5680860"/>
                  </a:lnTo>
                  <a:lnTo>
                    <a:pt x="4550378" y="5951272"/>
                  </a:lnTo>
                  <a:lnTo>
                    <a:pt x="4814501" y="5951272"/>
                  </a:lnTo>
                  <a:lnTo>
                    <a:pt x="4543391" y="5680860"/>
                  </a:lnTo>
                  <a:lnTo>
                    <a:pt x="4727858" y="5495694"/>
                  </a:lnTo>
                  <a:lnTo>
                    <a:pt x="4727159" y="5494995"/>
                  </a:lnTo>
                  <a:lnTo>
                    <a:pt x="4812405" y="5409749"/>
                  </a:lnTo>
                  <a:close/>
                  <a:moveTo>
                    <a:pt x="167886" y="5139337"/>
                  </a:moveTo>
                  <a:lnTo>
                    <a:pt x="438997" y="5409749"/>
                  </a:lnTo>
                  <a:lnTo>
                    <a:pt x="169284" y="5680860"/>
                  </a:lnTo>
                  <a:lnTo>
                    <a:pt x="432708" y="5680860"/>
                  </a:lnTo>
                  <a:lnTo>
                    <a:pt x="703120" y="5409749"/>
                  </a:lnTo>
                  <a:lnTo>
                    <a:pt x="568962" y="5276290"/>
                  </a:lnTo>
                  <a:lnTo>
                    <a:pt x="432009" y="5139337"/>
                  </a:lnTo>
                  <a:close/>
                  <a:moveTo>
                    <a:pt x="1814116" y="5138638"/>
                  </a:moveTo>
                  <a:lnTo>
                    <a:pt x="1942683" y="5267207"/>
                  </a:lnTo>
                  <a:lnTo>
                    <a:pt x="2084528" y="5409050"/>
                  </a:lnTo>
                  <a:lnTo>
                    <a:pt x="1814116" y="5680161"/>
                  </a:lnTo>
                  <a:lnTo>
                    <a:pt x="2078239" y="5680161"/>
                  </a:lnTo>
                  <a:lnTo>
                    <a:pt x="2348651" y="5409050"/>
                  </a:lnTo>
                  <a:lnTo>
                    <a:pt x="2343759" y="5404159"/>
                  </a:lnTo>
                  <a:lnTo>
                    <a:pt x="2078239" y="5138638"/>
                  </a:lnTo>
                  <a:close/>
                  <a:moveTo>
                    <a:pt x="2362625" y="5137939"/>
                  </a:moveTo>
                  <a:lnTo>
                    <a:pt x="2633736" y="5407653"/>
                  </a:lnTo>
                  <a:lnTo>
                    <a:pt x="2630942" y="5410448"/>
                  </a:lnTo>
                  <a:lnTo>
                    <a:pt x="2540804" y="5501283"/>
                  </a:lnTo>
                  <a:lnTo>
                    <a:pt x="2363324" y="5678763"/>
                  </a:lnTo>
                  <a:lnTo>
                    <a:pt x="2627447" y="5678763"/>
                  </a:lnTo>
                  <a:lnTo>
                    <a:pt x="2716886" y="5589325"/>
                  </a:lnTo>
                  <a:lnTo>
                    <a:pt x="2897859" y="5408351"/>
                  </a:lnTo>
                  <a:lnTo>
                    <a:pt x="2626749" y="5137939"/>
                  </a:lnTo>
                  <a:close/>
                  <a:moveTo>
                    <a:pt x="1264208" y="5137939"/>
                  </a:moveTo>
                  <a:lnTo>
                    <a:pt x="1535319" y="5407653"/>
                  </a:lnTo>
                  <a:lnTo>
                    <a:pt x="1532523" y="5410448"/>
                  </a:lnTo>
                  <a:lnTo>
                    <a:pt x="1442387" y="5501283"/>
                  </a:lnTo>
                  <a:lnTo>
                    <a:pt x="1264907" y="5678763"/>
                  </a:lnTo>
                  <a:lnTo>
                    <a:pt x="1529030" y="5678763"/>
                  </a:lnTo>
                  <a:lnTo>
                    <a:pt x="1618469" y="5589325"/>
                  </a:lnTo>
                  <a:lnTo>
                    <a:pt x="1799442" y="5408351"/>
                  </a:lnTo>
                  <a:lnTo>
                    <a:pt x="1528331" y="5137939"/>
                  </a:lnTo>
                  <a:close/>
                  <a:moveTo>
                    <a:pt x="715697" y="5137939"/>
                  </a:moveTo>
                  <a:lnTo>
                    <a:pt x="717095" y="5139337"/>
                  </a:lnTo>
                  <a:lnTo>
                    <a:pt x="986808" y="5408351"/>
                  </a:lnTo>
                  <a:lnTo>
                    <a:pt x="716396" y="5679462"/>
                  </a:lnTo>
                  <a:lnTo>
                    <a:pt x="980520" y="5679462"/>
                  </a:lnTo>
                  <a:lnTo>
                    <a:pt x="1250932" y="5408351"/>
                  </a:lnTo>
                  <a:lnTo>
                    <a:pt x="1245342" y="5403460"/>
                  </a:lnTo>
                  <a:lnTo>
                    <a:pt x="979821" y="5137939"/>
                  </a:lnTo>
                  <a:close/>
                  <a:moveTo>
                    <a:pt x="2911136" y="5137241"/>
                  </a:moveTo>
                  <a:lnTo>
                    <a:pt x="3041801" y="5266508"/>
                  </a:lnTo>
                  <a:lnTo>
                    <a:pt x="3182246" y="5406954"/>
                  </a:lnTo>
                  <a:lnTo>
                    <a:pt x="2911834" y="5678065"/>
                  </a:lnTo>
                  <a:lnTo>
                    <a:pt x="3175958" y="5678065"/>
                  </a:lnTo>
                  <a:lnTo>
                    <a:pt x="3446370" y="5407653"/>
                  </a:lnTo>
                  <a:lnTo>
                    <a:pt x="3175259" y="5137241"/>
                  </a:lnTo>
                  <a:close/>
                  <a:moveTo>
                    <a:pt x="3459646" y="5136542"/>
                  </a:moveTo>
                  <a:lnTo>
                    <a:pt x="3730757" y="5406954"/>
                  </a:lnTo>
                  <a:lnTo>
                    <a:pt x="3460345" y="5678065"/>
                  </a:lnTo>
                  <a:lnTo>
                    <a:pt x="3724468" y="5678065"/>
                  </a:lnTo>
                  <a:lnTo>
                    <a:pt x="3994880" y="5406954"/>
                  </a:lnTo>
                  <a:lnTo>
                    <a:pt x="3723769" y="5136542"/>
                  </a:lnTo>
                  <a:close/>
                  <a:moveTo>
                    <a:pt x="4008156" y="5135843"/>
                  </a:moveTo>
                  <a:lnTo>
                    <a:pt x="4279267" y="5406255"/>
                  </a:lnTo>
                  <a:lnTo>
                    <a:pt x="4008855" y="5677366"/>
                  </a:lnTo>
                  <a:lnTo>
                    <a:pt x="4207297" y="5677366"/>
                  </a:lnTo>
                  <a:lnTo>
                    <a:pt x="4272280" y="5677366"/>
                  </a:lnTo>
                  <a:lnTo>
                    <a:pt x="4543391" y="5406255"/>
                  </a:lnTo>
                  <a:lnTo>
                    <a:pt x="4409232" y="5272797"/>
                  </a:lnTo>
                  <a:lnTo>
                    <a:pt x="4272280" y="5135843"/>
                  </a:lnTo>
                  <a:close/>
                  <a:moveTo>
                    <a:pt x="708011" y="4864034"/>
                  </a:moveTo>
                  <a:lnTo>
                    <a:pt x="527737" y="5045007"/>
                  </a:lnTo>
                  <a:lnTo>
                    <a:pt x="438298" y="5135144"/>
                  </a:lnTo>
                  <a:lnTo>
                    <a:pt x="572456" y="5268603"/>
                  </a:lnTo>
                  <a:lnTo>
                    <a:pt x="709409" y="5405557"/>
                  </a:lnTo>
                  <a:lnTo>
                    <a:pt x="973532" y="5405557"/>
                  </a:lnTo>
                  <a:lnTo>
                    <a:pt x="702421" y="5135144"/>
                  </a:lnTo>
                  <a:lnTo>
                    <a:pt x="703819" y="5133747"/>
                  </a:lnTo>
                  <a:lnTo>
                    <a:pt x="972135" y="4864034"/>
                  </a:lnTo>
                  <a:close/>
                  <a:moveTo>
                    <a:pt x="1257220" y="4863335"/>
                  </a:moveTo>
                  <a:lnTo>
                    <a:pt x="986808" y="5134446"/>
                  </a:lnTo>
                  <a:lnTo>
                    <a:pt x="1257919" y="5404858"/>
                  </a:lnTo>
                  <a:lnTo>
                    <a:pt x="1522043" y="5404858"/>
                  </a:lnTo>
                  <a:lnTo>
                    <a:pt x="1250932" y="5134446"/>
                  </a:lnTo>
                  <a:lnTo>
                    <a:pt x="1521344" y="4863335"/>
                  </a:lnTo>
                  <a:close/>
                  <a:moveTo>
                    <a:pt x="2904148" y="4862636"/>
                  </a:moveTo>
                  <a:lnTo>
                    <a:pt x="2633736" y="5133747"/>
                  </a:lnTo>
                  <a:lnTo>
                    <a:pt x="2904847" y="5404159"/>
                  </a:lnTo>
                  <a:lnTo>
                    <a:pt x="3168271" y="5404159"/>
                  </a:lnTo>
                  <a:lnTo>
                    <a:pt x="3037607" y="5274193"/>
                  </a:lnTo>
                  <a:lnTo>
                    <a:pt x="2897162" y="5133747"/>
                  </a:lnTo>
                  <a:lnTo>
                    <a:pt x="3168271" y="4862636"/>
                  </a:lnTo>
                  <a:close/>
                  <a:moveTo>
                    <a:pt x="1805032" y="4862636"/>
                  </a:moveTo>
                  <a:lnTo>
                    <a:pt x="1534620" y="5133747"/>
                  </a:lnTo>
                  <a:lnTo>
                    <a:pt x="1805731" y="5404159"/>
                  </a:lnTo>
                  <a:lnTo>
                    <a:pt x="1807128" y="5405557"/>
                  </a:lnTo>
                  <a:lnTo>
                    <a:pt x="2071252" y="5405557"/>
                  </a:lnTo>
                  <a:lnTo>
                    <a:pt x="1939889" y="5274193"/>
                  </a:lnTo>
                  <a:lnTo>
                    <a:pt x="1802236" y="5136542"/>
                  </a:lnTo>
                  <a:lnTo>
                    <a:pt x="2071252" y="4862636"/>
                  </a:lnTo>
                  <a:close/>
                  <a:moveTo>
                    <a:pt x="3451960" y="4861938"/>
                  </a:moveTo>
                  <a:lnTo>
                    <a:pt x="3181548" y="5133048"/>
                  </a:lnTo>
                  <a:lnTo>
                    <a:pt x="3452658" y="5403460"/>
                  </a:lnTo>
                  <a:lnTo>
                    <a:pt x="3716782" y="5403460"/>
                  </a:lnTo>
                  <a:lnTo>
                    <a:pt x="3445671" y="5133048"/>
                  </a:lnTo>
                  <a:lnTo>
                    <a:pt x="3630138" y="4948581"/>
                  </a:lnTo>
                  <a:lnTo>
                    <a:pt x="3714686" y="4861938"/>
                  </a:lnTo>
                  <a:close/>
                  <a:moveTo>
                    <a:pt x="4000470" y="4861239"/>
                  </a:moveTo>
                  <a:lnTo>
                    <a:pt x="3730058" y="5132350"/>
                  </a:lnTo>
                  <a:lnTo>
                    <a:pt x="4001169" y="5402762"/>
                  </a:lnTo>
                  <a:lnTo>
                    <a:pt x="4265292" y="5402762"/>
                  </a:lnTo>
                  <a:lnTo>
                    <a:pt x="3994181" y="5132350"/>
                  </a:lnTo>
                  <a:lnTo>
                    <a:pt x="3995579" y="5130952"/>
                  </a:lnTo>
                  <a:lnTo>
                    <a:pt x="3994880" y="5130952"/>
                  </a:lnTo>
                  <a:lnTo>
                    <a:pt x="4263197" y="4861938"/>
                  </a:lnTo>
                  <a:lnTo>
                    <a:pt x="4004663" y="4861938"/>
                  </a:lnTo>
                  <a:lnTo>
                    <a:pt x="4006060" y="4861239"/>
                  </a:lnTo>
                  <a:close/>
                  <a:moveTo>
                    <a:pt x="4548281" y="4860540"/>
                  </a:moveTo>
                  <a:lnTo>
                    <a:pt x="4367308" y="5041513"/>
                  </a:lnTo>
                  <a:lnTo>
                    <a:pt x="4368007" y="5042212"/>
                  </a:lnTo>
                  <a:lnTo>
                    <a:pt x="4278568" y="5132350"/>
                  </a:lnTo>
                  <a:lnTo>
                    <a:pt x="4412727" y="5265809"/>
                  </a:lnTo>
                  <a:lnTo>
                    <a:pt x="4548980" y="5402063"/>
                  </a:lnTo>
                  <a:lnTo>
                    <a:pt x="4813104" y="5402063"/>
                  </a:lnTo>
                  <a:lnTo>
                    <a:pt x="4541993" y="5131651"/>
                  </a:lnTo>
                  <a:lnTo>
                    <a:pt x="4812405" y="4860540"/>
                  </a:lnTo>
                  <a:close/>
                  <a:moveTo>
                    <a:pt x="2621159" y="4860540"/>
                  </a:moveTo>
                  <a:lnTo>
                    <a:pt x="2354940" y="4863335"/>
                  </a:lnTo>
                  <a:lnTo>
                    <a:pt x="2084528" y="5134446"/>
                  </a:lnTo>
                  <a:lnTo>
                    <a:pt x="2355639" y="5404858"/>
                  </a:lnTo>
                  <a:lnTo>
                    <a:pt x="2619762" y="5404858"/>
                  </a:lnTo>
                  <a:lnTo>
                    <a:pt x="2348651" y="5134446"/>
                  </a:lnTo>
                  <a:close/>
                  <a:moveTo>
                    <a:pt x="166488" y="4590827"/>
                  </a:moveTo>
                  <a:lnTo>
                    <a:pt x="437599" y="4861239"/>
                  </a:lnTo>
                  <a:lnTo>
                    <a:pt x="434805" y="4864034"/>
                  </a:lnTo>
                  <a:lnTo>
                    <a:pt x="344667" y="4954870"/>
                  </a:lnTo>
                  <a:lnTo>
                    <a:pt x="167187" y="5131651"/>
                  </a:lnTo>
                  <a:lnTo>
                    <a:pt x="431311" y="5131651"/>
                  </a:lnTo>
                  <a:lnTo>
                    <a:pt x="520749" y="5042212"/>
                  </a:lnTo>
                  <a:lnTo>
                    <a:pt x="701722" y="4861239"/>
                  </a:lnTo>
                  <a:lnTo>
                    <a:pt x="430612" y="4590827"/>
                  </a:lnTo>
                  <a:close/>
                  <a:moveTo>
                    <a:pt x="715697" y="4590128"/>
                  </a:moveTo>
                  <a:lnTo>
                    <a:pt x="845663" y="4720093"/>
                  </a:lnTo>
                  <a:lnTo>
                    <a:pt x="986109" y="4859841"/>
                  </a:lnTo>
                  <a:lnTo>
                    <a:pt x="715697" y="5130952"/>
                  </a:lnTo>
                  <a:lnTo>
                    <a:pt x="979821" y="5130952"/>
                  </a:lnTo>
                  <a:lnTo>
                    <a:pt x="1250932" y="4860540"/>
                  </a:lnTo>
                  <a:lnTo>
                    <a:pt x="979821" y="4590128"/>
                  </a:lnTo>
                  <a:close/>
                  <a:moveTo>
                    <a:pt x="2911136" y="4589429"/>
                  </a:moveTo>
                  <a:lnTo>
                    <a:pt x="3040403" y="4717299"/>
                  </a:lnTo>
                  <a:lnTo>
                    <a:pt x="3040403" y="4717998"/>
                  </a:lnTo>
                  <a:lnTo>
                    <a:pt x="3182246" y="4859841"/>
                  </a:lnTo>
                  <a:lnTo>
                    <a:pt x="2911834" y="5130952"/>
                  </a:lnTo>
                  <a:lnTo>
                    <a:pt x="3175259" y="5130952"/>
                  </a:lnTo>
                  <a:lnTo>
                    <a:pt x="3445671" y="4859841"/>
                  </a:lnTo>
                  <a:lnTo>
                    <a:pt x="3440081" y="4854251"/>
                  </a:lnTo>
                  <a:lnTo>
                    <a:pt x="3439382" y="4854251"/>
                  </a:lnTo>
                  <a:lnTo>
                    <a:pt x="3173862" y="4589429"/>
                  </a:lnTo>
                  <a:close/>
                  <a:moveTo>
                    <a:pt x="1813417" y="4589429"/>
                  </a:moveTo>
                  <a:lnTo>
                    <a:pt x="1815507" y="4592217"/>
                  </a:lnTo>
                  <a:lnTo>
                    <a:pt x="1814814" y="4591526"/>
                  </a:lnTo>
                  <a:lnTo>
                    <a:pt x="1815513" y="4592225"/>
                  </a:lnTo>
                  <a:lnTo>
                    <a:pt x="1815507" y="4592217"/>
                  </a:lnTo>
                  <a:lnTo>
                    <a:pt x="2074046" y="4850059"/>
                  </a:lnTo>
                  <a:lnTo>
                    <a:pt x="2083829" y="4859142"/>
                  </a:lnTo>
                  <a:lnTo>
                    <a:pt x="2085925" y="4861239"/>
                  </a:lnTo>
                  <a:lnTo>
                    <a:pt x="1821102" y="5130952"/>
                  </a:lnTo>
                  <a:lnTo>
                    <a:pt x="2080335" y="5131651"/>
                  </a:lnTo>
                  <a:lnTo>
                    <a:pt x="2350049" y="4861239"/>
                  </a:lnTo>
                  <a:lnTo>
                    <a:pt x="2214493" y="4726382"/>
                  </a:lnTo>
                  <a:lnTo>
                    <a:pt x="2197724" y="4709612"/>
                  </a:lnTo>
                  <a:lnTo>
                    <a:pt x="2078239" y="4590827"/>
                  </a:lnTo>
                  <a:lnTo>
                    <a:pt x="2074046" y="4589429"/>
                  </a:lnTo>
                  <a:close/>
                  <a:moveTo>
                    <a:pt x="1263509" y="4589429"/>
                  </a:moveTo>
                  <a:lnTo>
                    <a:pt x="1534620" y="4859841"/>
                  </a:lnTo>
                  <a:lnTo>
                    <a:pt x="1264208" y="5130952"/>
                  </a:lnTo>
                  <a:lnTo>
                    <a:pt x="1528331" y="5130952"/>
                  </a:lnTo>
                  <a:lnTo>
                    <a:pt x="1798743" y="4859841"/>
                  </a:lnTo>
                  <a:lnTo>
                    <a:pt x="1527632" y="4589429"/>
                  </a:lnTo>
                  <a:close/>
                  <a:moveTo>
                    <a:pt x="2626749" y="4588031"/>
                  </a:moveTo>
                  <a:lnTo>
                    <a:pt x="2363324" y="4588730"/>
                  </a:lnTo>
                  <a:lnTo>
                    <a:pt x="2632339" y="4857047"/>
                  </a:lnTo>
                  <a:lnTo>
                    <a:pt x="2631641" y="4857746"/>
                  </a:lnTo>
                  <a:lnTo>
                    <a:pt x="2633038" y="4859142"/>
                  </a:lnTo>
                  <a:lnTo>
                    <a:pt x="2362625" y="5130253"/>
                  </a:lnTo>
                  <a:lnTo>
                    <a:pt x="2626749" y="5130253"/>
                  </a:lnTo>
                  <a:lnTo>
                    <a:pt x="2716886" y="5040116"/>
                  </a:lnTo>
                  <a:lnTo>
                    <a:pt x="2896463" y="4857047"/>
                  </a:lnTo>
                  <a:close/>
                  <a:moveTo>
                    <a:pt x="4006759" y="4587334"/>
                  </a:moveTo>
                  <a:lnTo>
                    <a:pt x="4136725" y="4716600"/>
                  </a:lnTo>
                  <a:lnTo>
                    <a:pt x="4277171" y="4857047"/>
                  </a:lnTo>
                  <a:lnTo>
                    <a:pt x="4184238" y="4950678"/>
                  </a:lnTo>
                  <a:lnTo>
                    <a:pt x="4184937" y="4951376"/>
                  </a:lnTo>
                  <a:lnTo>
                    <a:pt x="4008156" y="5128855"/>
                  </a:lnTo>
                  <a:lnTo>
                    <a:pt x="4270882" y="5128855"/>
                  </a:lnTo>
                  <a:lnTo>
                    <a:pt x="4541294" y="4857746"/>
                  </a:lnTo>
                  <a:lnTo>
                    <a:pt x="4270183" y="4587334"/>
                  </a:lnTo>
                  <a:close/>
                  <a:moveTo>
                    <a:pt x="3458248" y="4587334"/>
                  </a:moveTo>
                  <a:lnTo>
                    <a:pt x="3729359" y="4857746"/>
                  </a:lnTo>
                  <a:lnTo>
                    <a:pt x="3730058" y="4858443"/>
                  </a:lnTo>
                  <a:lnTo>
                    <a:pt x="3459646" y="5129554"/>
                  </a:lnTo>
                  <a:lnTo>
                    <a:pt x="3723769" y="5129554"/>
                  </a:lnTo>
                  <a:lnTo>
                    <a:pt x="3813208" y="5039418"/>
                  </a:lnTo>
                  <a:lnTo>
                    <a:pt x="3812509" y="5039418"/>
                  </a:lnTo>
                  <a:lnTo>
                    <a:pt x="3993483" y="4858443"/>
                  </a:lnTo>
                  <a:lnTo>
                    <a:pt x="3988591" y="4852854"/>
                  </a:lnTo>
                  <a:lnTo>
                    <a:pt x="3722372" y="4587334"/>
                  </a:lnTo>
                  <a:close/>
                  <a:moveTo>
                    <a:pt x="708011" y="4316223"/>
                  </a:moveTo>
                  <a:lnTo>
                    <a:pt x="437599" y="4587334"/>
                  </a:lnTo>
                  <a:lnTo>
                    <a:pt x="709409" y="4857746"/>
                  </a:lnTo>
                  <a:lnTo>
                    <a:pt x="972833" y="4857746"/>
                  </a:lnTo>
                  <a:lnTo>
                    <a:pt x="842169" y="4727779"/>
                  </a:lnTo>
                  <a:lnTo>
                    <a:pt x="701722" y="4587334"/>
                  </a:lnTo>
                  <a:lnTo>
                    <a:pt x="972135" y="4316223"/>
                  </a:lnTo>
                  <a:close/>
                  <a:moveTo>
                    <a:pt x="2354241" y="4315524"/>
                  </a:moveTo>
                  <a:lnTo>
                    <a:pt x="2083829" y="4586635"/>
                  </a:lnTo>
                  <a:lnTo>
                    <a:pt x="2353542" y="4855649"/>
                  </a:lnTo>
                  <a:lnTo>
                    <a:pt x="2616967" y="4855649"/>
                  </a:lnTo>
                  <a:lnTo>
                    <a:pt x="2347952" y="4586635"/>
                  </a:lnTo>
                  <a:lnTo>
                    <a:pt x="2348651" y="4585936"/>
                  </a:lnTo>
                  <a:lnTo>
                    <a:pt x="2347254" y="4584538"/>
                  </a:lnTo>
                  <a:lnTo>
                    <a:pt x="2615569" y="4315524"/>
                  </a:lnTo>
                  <a:close/>
                  <a:moveTo>
                    <a:pt x="1256521" y="4315524"/>
                  </a:moveTo>
                  <a:lnTo>
                    <a:pt x="986109" y="4586635"/>
                  </a:lnTo>
                  <a:lnTo>
                    <a:pt x="1257220" y="4857047"/>
                  </a:lnTo>
                  <a:lnTo>
                    <a:pt x="1521344" y="4857047"/>
                  </a:lnTo>
                  <a:lnTo>
                    <a:pt x="1250233" y="4586635"/>
                  </a:lnTo>
                  <a:lnTo>
                    <a:pt x="1520645" y="4315524"/>
                  </a:lnTo>
                  <a:lnTo>
                    <a:pt x="1392775" y="4315524"/>
                  </a:lnTo>
                  <a:close/>
                  <a:moveTo>
                    <a:pt x="1805731" y="4314825"/>
                  </a:moveTo>
                  <a:lnTo>
                    <a:pt x="1625456" y="4495798"/>
                  </a:lnTo>
                  <a:lnTo>
                    <a:pt x="1624758" y="4495798"/>
                  </a:lnTo>
                  <a:lnTo>
                    <a:pt x="1534620" y="4585936"/>
                  </a:lnTo>
                  <a:lnTo>
                    <a:pt x="1805032" y="4857047"/>
                  </a:lnTo>
                  <a:lnTo>
                    <a:pt x="2069155" y="4857047"/>
                  </a:lnTo>
                  <a:lnTo>
                    <a:pt x="1798044" y="4586635"/>
                  </a:lnTo>
                  <a:lnTo>
                    <a:pt x="1982512" y="4402167"/>
                  </a:lnTo>
                  <a:lnTo>
                    <a:pt x="1983211" y="4402167"/>
                  </a:lnTo>
                  <a:lnTo>
                    <a:pt x="2069155" y="4315524"/>
                  </a:lnTo>
                  <a:lnTo>
                    <a:pt x="1810622" y="4315524"/>
                  </a:lnTo>
                  <a:close/>
                  <a:moveTo>
                    <a:pt x="3450563" y="4313427"/>
                  </a:moveTo>
                  <a:lnTo>
                    <a:pt x="3269589" y="4495099"/>
                  </a:lnTo>
                  <a:lnTo>
                    <a:pt x="3270986" y="4495798"/>
                  </a:lnTo>
                  <a:lnTo>
                    <a:pt x="3181548" y="4585237"/>
                  </a:lnTo>
                  <a:lnTo>
                    <a:pt x="3451960" y="4854950"/>
                  </a:lnTo>
                  <a:lnTo>
                    <a:pt x="3715384" y="4854950"/>
                  </a:lnTo>
                  <a:lnTo>
                    <a:pt x="3444972" y="4585237"/>
                  </a:lnTo>
                  <a:lnTo>
                    <a:pt x="3444274" y="4584538"/>
                  </a:lnTo>
                  <a:lnTo>
                    <a:pt x="3714686" y="4313427"/>
                  </a:lnTo>
                  <a:close/>
                  <a:moveTo>
                    <a:pt x="2904847" y="4313427"/>
                  </a:moveTo>
                  <a:lnTo>
                    <a:pt x="2908341" y="4314825"/>
                  </a:lnTo>
                  <a:lnTo>
                    <a:pt x="2902751" y="4314825"/>
                  </a:lnTo>
                  <a:lnTo>
                    <a:pt x="2633736" y="4585237"/>
                  </a:lnTo>
                  <a:lnTo>
                    <a:pt x="2903449" y="4854251"/>
                  </a:lnTo>
                  <a:lnTo>
                    <a:pt x="3168271" y="4855649"/>
                  </a:lnTo>
                  <a:lnTo>
                    <a:pt x="2897162" y="4585237"/>
                  </a:lnTo>
                  <a:lnTo>
                    <a:pt x="2895764" y="4583839"/>
                  </a:lnTo>
                  <a:lnTo>
                    <a:pt x="3164778" y="4314126"/>
                  </a:lnTo>
                  <a:lnTo>
                    <a:pt x="2967035" y="4314126"/>
                  </a:lnTo>
                  <a:lnTo>
                    <a:pt x="2967733" y="4313427"/>
                  </a:lnTo>
                  <a:close/>
                  <a:moveTo>
                    <a:pt x="3999073" y="4312728"/>
                  </a:moveTo>
                  <a:lnTo>
                    <a:pt x="3728660" y="4583839"/>
                  </a:lnTo>
                  <a:lnTo>
                    <a:pt x="3999771" y="4854251"/>
                  </a:lnTo>
                  <a:lnTo>
                    <a:pt x="4263197" y="4854251"/>
                  </a:lnTo>
                  <a:lnTo>
                    <a:pt x="4133230" y="4724286"/>
                  </a:lnTo>
                  <a:lnTo>
                    <a:pt x="3992783" y="4583839"/>
                  </a:lnTo>
                  <a:lnTo>
                    <a:pt x="4263197" y="4312728"/>
                  </a:lnTo>
                  <a:close/>
                  <a:moveTo>
                    <a:pt x="4547584" y="4312030"/>
                  </a:moveTo>
                  <a:lnTo>
                    <a:pt x="4277171" y="4583140"/>
                  </a:lnTo>
                  <a:lnTo>
                    <a:pt x="4548281" y="4853552"/>
                  </a:lnTo>
                  <a:lnTo>
                    <a:pt x="4812405" y="4853552"/>
                  </a:lnTo>
                  <a:lnTo>
                    <a:pt x="4541294" y="4583140"/>
                  </a:lnTo>
                  <a:lnTo>
                    <a:pt x="4811706" y="4312030"/>
                  </a:lnTo>
                  <a:close/>
                  <a:moveTo>
                    <a:pt x="717155" y="4044465"/>
                  </a:moveTo>
                  <a:lnTo>
                    <a:pt x="986808" y="4312728"/>
                  </a:lnTo>
                  <a:lnTo>
                    <a:pt x="716396" y="4583839"/>
                  </a:lnTo>
                  <a:lnTo>
                    <a:pt x="979821" y="4583839"/>
                  </a:lnTo>
                  <a:lnTo>
                    <a:pt x="1250233" y="4312728"/>
                  </a:lnTo>
                  <a:lnTo>
                    <a:pt x="1116075" y="4179269"/>
                  </a:lnTo>
                  <a:lnTo>
                    <a:pt x="1019702" y="4082896"/>
                  </a:lnTo>
                  <a:lnTo>
                    <a:pt x="1018761" y="4082896"/>
                  </a:lnTo>
                  <a:lnTo>
                    <a:pt x="980330" y="4044465"/>
                  </a:lnTo>
                  <a:close/>
                  <a:moveTo>
                    <a:pt x="168395" y="4044465"/>
                  </a:moveTo>
                  <a:lnTo>
                    <a:pt x="206127" y="4082197"/>
                  </a:lnTo>
                  <a:lnTo>
                    <a:pt x="205772" y="4082197"/>
                  </a:lnTo>
                  <a:lnTo>
                    <a:pt x="437599" y="4313427"/>
                  </a:lnTo>
                  <a:lnTo>
                    <a:pt x="167187" y="4583839"/>
                  </a:lnTo>
                  <a:lnTo>
                    <a:pt x="431311" y="4583839"/>
                  </a:lnTo>
                  <a:lnTo>
                    <a:pt x="701722" y="4312728"/>
                  </a:lnTo>
                  <a:lnTo>
                    <a:pt x="470596" y="4082197"/>
                  </a:lnTo>
                  <a:lnTo>
                    <a:pt x="470250" y="4082197"/>
                  </a:lnTo>
                  <a:lnTo>
                    <a:pt x="432518" y="4044465"/>
                  </a:lnTo>
                  <a:close/>
                  <a:moveTo>
                    <a:pt x="1816265" y="4043766"/>
                  </a:moveTo>
                  <a:lnTo>
                    <a:pt x="1942683" y="4170186"/>
                  </a:lnTo>
                  <a:lnTo>
                    <a:pt x="2083829" y="4310632"/>
                  </a:lnTo>
                  <a:lnTo>
                    <a:pt x="1813417" y="4581743"/>
                  </a:lnTo>
                  <a:lnTo>
                    <a:pt x="2076842" y="4581743"/>
                  </a:lnTo>
                  <a:lnTo>
                    <a:pt x="2347254" y="4311331"/>
                  </a:lnTo>
                  <a:lnTo>
                    <a:pt x="2214493" y="4178570"/>
                  </a:lnTo>
                  <a:lnTo>
                    <a:pt x="2214493" y="4177872"/>
                  </a:lnTo>
                  <a:lnTo>
                    <a:pt x="2119736" y="4083594"/>
                  </a:lnTo>
                  <a:lnTo>
                    <a:pt x="2116480" y="4083594"/>
                  </a:lnTo>
                  <a:lnTo>
                    <a:pt x="2076652" y="4043766"/>
                  </a:lnTo>
                  <a:close/>
                  <a:moveTo>
                    <a:pt x="1266369" y="4043766"/>
                  </a:moveTo>
                  <a:lnTo>
                    <a:pt x="1534620" y="4310632"/>
                  </a:lnTo>
                  <a:lnTo>
                    <a:pt x="1531824" y="4313427"/>
                  </a:lnTo>
                  <a:lnTo>
                    <a:pt x="1441688" y="4404264"/>
                  </a:lnTo>
                  <a:lnTo>
                    <a:pt x="1440989" y="4404264"/>
                  </a:lnTo>
                  <a:lnTo>
                    <a:pt x="1263509" y="4582442"/>
                  </a:lnTo>
                  <a:lnTo>
                    <a:pt x="1527632" y="4582442"/>
                  </a:lnTo>
                  <a:lnTo>
                    <a:pt x="1798044" y="4312030"/>
                  </a:lnTo>
                  <a:lnTo>
                    <a:pt x="1793153" y="4307139"/>
                  </a:lnTo>
                  <a:lnTo>
                    <a:pt x="1795249" y="4307838"/>
                  </a:lnTo>
                  <a:lnTo>
                    <a:pt x="1569718" y="4082896"/>
                  </a:lnTo>
                  <a:lnTo>
                    <a:pt x="1567271" y="4082896"/>
                  </a:lnTo>
                  <a:lnTo>
                    <a:pt x="1528141" y="4043766"/>
                  </a:lnTo>
                  <a:close/>
                  <a:moveTo>
                    <a:pt x="2363377" y="4043068"/>
                  </a:moveTo>
                  <a:lnTo>
                    <a:pt x="2630942" y="4310632"/>
                  </a:lnTo>
                  <a:lnTo>
                    <a:pt x="2632339" y="4312030"/>
                  </a:lnTo>
                  <a:lnTo>
                    <a:pt x="2363324" y="4581743"/>
                  </a:lnTo>
                  <a:lnTo>
                    <a:pt x="2625352" y="4581743"/>
                  </a:lnTo>
                  <a:lnTo>
                    <a:pt x="2895065" y="4311331"/>
                  </a:lnTo>
                  <a:lnTo>
                    <a:pt x="2890873" y="4307139"/>
                  </a:lnTo>
                  <a:lnTo>
                    <a:pt x="2892968" y="4307838"/>
                  </a:lnTo>
                  <a:lnTo>
                    <a:pt x="2668140" y="4083594"/>
                  </a:lnTo>
                  <a:lnTo>
                    <a:pt x="2666387" y="4083594"/>
                  </a:lnTo>
                  <a:lnTo>
                    <a:pt x="2625861" y="4043068"/>
                  </a:lnTo>
                  <a:close/>
                  <a:moveTo>
                    <a:pt x="2911879" y="4041670"/>
                  </a:moveTo>
                  <a:lnTo>
                    <a:pt x="3179452" y="4309934"/>
                  </a:lnTo>
                  <a:lnTo>
                    <a:pt x="3087218" y="4402866"/>
                  </a:lnTo>
                  <a:lnTo>
                    <a:pt x="3087917" y="4403565"/>
                  </a:lnTo>
                  <a:lnTo>
                    <a:pt x="2911834" y="4579647"/>
                  </a:lnTo>
                  <a:lnTo>
                    <a:pt x="3108180" y="4579647"/>
                  </a:lnTo>
                  <a:lnTo>
                    <a:pt x="3107481" y="4581045"/>
                  </a:lnTo>
                  <a:lnTo>
                    <a:pt x="3173163" y="4581045"/>
                  </a:lnTo>
                  <a:lnTo>
                    <a:pt x="3443575" y="4309934"/>
                  </a:lnTo>
                  <a:lnTo>
                    <a:pt x="3215951" y="4082896"/>
                  </a:lnTo>
                  <a:lnTo>
                    <a:pt x="3215596" y="4082896"/>
                  </a:lnTo>
                  <a:lnTo>
                    <a:pt x="3174371" y="4041670"/>
                  </a:lnTo>
                  <a:close/>
                  <a:moveTo>
                    <a:pt x="3459004" y="4040971"/>
                  </a:moveTo>
                  <a:lnTo>
                    <a:pt x="3728660" y="4309934"/>
                  </a:lnTo>
                  <a:lnTo>
                    <a:pt x="3458248" y="4580346"/>
                  </a:lnTo>
                  <a:lnTo>
                    <a:pt x="3722372" y="4580346"/>
                  </a:lnTo>
                  <a:lnTo>
                    <a:pt x="3992783" y="4309934"/>
                  </a:lnTo>
                  <a:lnTo>
                    <a:pt x="3765160" y="4082896"/>
                  </a:lnTo>
                  <a:lnTo>
                    <a:pt x="3764107" y="4082896"/>
                  </a:lnTo>
                  <a:lnTo>
                    <a:pt x="3722183" y="4040971"/>
                  </a:lnTo>
                  <a:close/>
                  <a:moveTo>
                    <a:pt x="4007520" y="4040272"/>
                  </a:moveTo>
                  <a:lnTo>
                    <a:pt x="4277869" y="4308536"/>
                  </a:lnTo>
                  <a:lnTo>
                    <a:pt x="4007457" y="4579647"/>
                  </a:lnTo>
                  <a:lnTo>
                    <a:pt x="4270882" y="4579647"/>
                  </a:lnTo>
                  <a:lnTo>
                    <a:pt x="4541294" y="4308536"/>
                  </a:lnTo>
                  <a:lnTo>
                    <a:pt x="4407136" y="4175077"/>
                  </a:lnTo>
                  <a:lnTo>
                    <a:pt x="4314482" y="4082896"/>
                  </a:lnTo>
                  <a:lnTo>
                    <a:pt x="4313316" y="4082896"/>
                  </a:lnTo>
                  <a:lnTo>
                    <a:pt x="4270692" y="4040272"/>
                  </a:lnTo>
                  <a:close/>
                  <a:moveTo>
                    <a:pt x="2354051" y="3769161"/>
                  </a:moveTo>
                  <a:lnTo>
                    <a:pt x="2084461" y="4039450"/>
                  </a:lnTo>
                  <a:lnTo>
                    <a:pt x="2353542" y="4307838"/>
                  </a:lnTo>
                  <a:lnTo>
                    <a:pt x="2616967" y="4307838"/>
                  </a:lnTo>
                  <a:lnTo>
                    <a:pt x="2392140" y="4083594"/>
                  </a:lnTo>
                  <a:lnTo>
                    <a:pt x="2391783" y="4083594"/>
                  </a:lnTo>
                  <a:lnTo>
                    <a:pt x="2347762" y="4039573"/>
                  </a:lnTo>
                  <a:lnTo>
                    <a:pt x="2347884" y="4039452"/>
                  </a:lnTo>
                  <a:lnTo>
                    <a:pt x="2347254" y="4038823"/>
                  </a:lnTo>
                  <a:lnTo>
                    <a:pt x="2347952" y="4038124"/>
                  </a:lnTo>
                  <a:lnTo>
                    <a:pt x="2346555" y="4036727"/>
                  </a:lnTo>
                  <a:lnTo>
                    <a:pt x="2521938" y="3860644"/>
                  </a:lnTo>
                  <a:lnTo>
                    <a:pt x="2526691" y="3860644"/>
                  </a:lnTo>
                  <a:lnTo>
                    <a:pt x="2532230" y="3855106"/>
                  </a:lnTo>
                  <a:lnTo>
                    <a:pt x="2618174" y="3769161"/>
                  </a:lnTo>
                  <a:close/>
                  <a:moveTo>
                    <a:pt x="1804842" y="3769161"/>
                  </a:moveTo>
                  <a:lnTo>
                    <a:pt x="1535948" y="4038751"/>
                  </a:lnTo>
                  <a:lnTo>
                    <a:pt x="1805731" y="4307838"/>
                  </a:lnTo>
                  <a:lnTo>
                    <a:pt x="2069155" y="4307838"/>
                  </a:lnTo>
                  <a:lnTo>
                    <a:pt x="1939190" y="4177872"/>
                  </a:lnTo>
                  <a:lnTo>
                    <a:pt x="1844912" y="4083594"/>
                  </a:lnTo>
                  <a:lnTo>
                    <a:pt x="1841875" y="4083594"/>
                  </a:lnTo>
                  <a:lnTo>
                    <a:pt x="1798553" y="4040272"/>
                  </a:lnTo>
                  <a:lnTo>
                    <a:pt x="1800069" y="4038752"/>
                  </a:lnTo>
                  <a:lnTo>
                    <a:pt x="1798743" y="4037426"/>
                  </a:lnTo>
                  <a:lnTo>
                    <a:pt x="1974825" y="3860644"/>
                  </a:lnTo>
                  <a:lnTo>
                    <a:pt x="1977718" y="3860644"/>
                  </a:lnTo>
                  <a:lnTo>
                    <a:pt x="2068965" y="3769161"/>
                  </a:lnTo>
                  <a:close/>
                  <a:moveTo>
                    <a:pt x="1257031" y="3769161"/>
                  </a:moveTo>
                  <a:lnTo>
                    <a:pt x="987788" y="4039100"/>
                  </a:lnTo>
                  <a:lnTo>
                    <a:pt x="1257220" y="4307838"/>
                  </a:lnTo>
                  <a:lnTo>
                    <a:pt x="1519946" y="4307838"/>
                  </a:lnTo>
                  <a:lnTo>
                    <a:pt x="1294422" y="4082896"/>
                  </a:lnTo>
                  <a:lnTo>
                    <a:pt x="1293365" y="4082896"/>
                  </a:lnTo>
                  <a:lnTo>
                    <a:pt x="1250742" y="4040272"/>
                  </a:lnTo>
                  <a:lnTo>
                    <a:pt x="1251213" y="4039800"/>
                  </a:lnTo>
                  <a:lnTo>
                    <a:pt x="1249534" y="4038124"/>
                  </a:lnTo>
                  <a:lnTo>
                    <a:pt x="1250932" y="4036727"/>
                  </a:lnTo>
                  <a:lnTo>
                    <a:pt x="1426315" y="3860644"/>
                  </a:lnTo>
                  <a:lnTo>
                    <a:pt x="1429907" y="3860644"/>
                  </a:lnTo>
                  <a:lnTo>
                    <a:pt x="1521154" y="3769161"/>
                  </a:lnTo>
                  <a:close/>
                  <a:moveTo>
                    <a:pt x="709219" y="3769161"/>
                  </a:moveTo>
                  <a:lnTo>
                    <a:pt x="438807" y="4040272"/>
                  </a:lnTo>
                  <a:lnTo>
                    <a:pt x="480732" y="4082197"/>
                  </a:lnTo>
                  <a:lnTo>
                    <a:pt x="480499" y="4082197"/>
                  </a:lnTo>
                  <a:lnTo>
                    <a:pt x="708011" y="4308536"/>
                  </a:lnTo>
                  <a:lnTo>
                    <a:pt x="972135" y="4308536"/>
                  </a:lnTo>
                  <a:lnTo>
                    <a:pt x="745211" y="4082197"/>
                  </a:lnTo>
                  <a:lnTo>
                    <a:pt x="744855" y="4082197"/>
                  </a:lnTo>
                  <a:lnTo>
                    <a:pt x="702930" y="4040272"/>
                  </a:lnTo>
                  <a:lnTo>
                    <a:pt x="703053" y="4040149"/>
                  </a:lnTo>
                  <a:lnTo>
                    <a:pt x="701024" y="4038124"/>
                  </a:lnTo>
                  <a:lnTo>
                    <a:pt x="878504" y="3860644"/>
                  </a:lnTo>
                  <a:lnTo>
                    <a:pt x="882095" y="3860644"/>
                  </a:lnTo>
                  <a:lnTo>
                    <a:pt x="973342" y="3769161"/>
                  </a:lnTo>
                  <a:close/>
                  <a:moveTo>
                    <a:pt x="3451072" y="3767066"/>
                  </a:moveTo>
                  <a:lnTo>
                    <a:pt x="3181135" y="4037702"/>
                  </a:lnTo>
                  <a:lnTo>
                    <a:pt x="3312910" y="4168788"/>
                  </a:lnTo>
                  <a:lnTo>
                    <a:pt x="3312910" y="4169487"/>
                  </a:lnTo>
                  <a:lnTo>
                    <a:pt x="3450563" y="4306440"/>
                  </a:lnTo>
                  <a:lnTo>
                    <a:pt x="3714686" y="4306440"/>
                  </a:lnTo>
                  <a:lnTo>
                    <a:pt x="3490444" y="4082197"/>
                  </a:lnTo>
                  <a:lnTo>
                    <a:pt x="3489503" y="4082197"/>
                  </a:lnTo>
                  <a:lnTo>
                    <a:pt x="3444084" y="4036779"/>
                  </a:lnTo>
                  <a:lnTo>
                    <a:pt x="3444556" y="4036310"/>
                  </a:lnTo>
                  <a:lnTo>
                    <a:pt x="3444274" y="4036028"/>
                  </a:lnTo>
                  <a:lnTo>
                    <a:pt x="3618959" y="3860644"/>
                  </a:lnTo>
                  <a:lnTo>
                    <a:pt x="3621132" y="3860644"/>
                  </a:lnTo>
                  <a:lnTo>
                    <a:pt x="3715195" y="3767066"/>
                  </a:lnTo>
                  <a:close/>
                  <a:moveTo>
                    <a:pt x="3999582" y="3766367"/>
                  </a:moveTo>
                  <a:lnTo>
                    <a:pt x="3729642" y="4037004"/>
                  </a:lnTo>
                  <a:lnTo>
                    <a:pt x="3999073" y="4305741"/>
                  </a:lnTo>
                  <a:lnTo>
                    <a:pt x="4263197" y="4305741"/>
                  </a:lnTo>
                  <a:lnTo>
                    <a:pt x="4039076" y="4082197"/>
                  </a:lnTo>
                  <a:lnTo>
                    <a:pt x="4038711" y="4082197"/>
                  </a:lnTo>
                  <a:lnTo>
                    <a:pt x="3992595" y="4036080"/>
                  </a:lnTo>
                  <a:lnTo>
                    <a:pt x="3992717" y="4035958"/>
                  </a:lnTo>
                  <a:lnTo>
                    <a:pt x="3992086" y="4035329"/>
                  </a:lnTo>
                  <a:lnTo>
                    <a:pt x="4166770" y="3860644"/>
                  </a:lnTo>
                  <a:lnTo>
                    <a:pt x="4168939" y="3860644"/>
                  </a:lnTo>
                  <a:lnTo>
                    <a:pt x="4263706" y="3766367"/>
                  </a:lnTo>
                  <a:close/>
                  <a:moveTo>
                    <a:pt x="4547394" y="3765668"/>
                  </a:moveTo>
                  <a:lnTo>
                    <a:pt x="4277804" y="4035954"/>
                  </a:lnTo>
                  <a:lnTo>
                    <a:pt x="4410630" y="4168089"/>
                  </a:lnTo>
                  <a:lnTo>
                    <a:pt x="4547584" y="4305042"/>
                  </a:lnTo>
                  <a:lnTo>
                    <a:pt x="4811706" y="4305042"/>
                  </a:lnTo>
                  <a:lnTo>
                    <a:pt x="4588162" y="4081498"/>
                  </a:lnTo>
                  <a:lnTo>
                    <a:pt x="4587920" y="4081498"/>
                  </a:lnTo>
                  <a:lnTo>
                    <a:pt x="4541105" y="4035381"/>
                  </a:lnTo>
                  <a:lnTo>
                    <a:pt x="4541576" y="4034912"/>
                  </a:lnTo>
                  <a:lnTo>
                    <a:pt x="4541294" y="4034630"/>
                  </a:lnTo>
                  <a:lnTo>
                    <a:pt x="4542692" y="4033233"/>
                  </a:lnTo>
                  <a:lnTo>
                    <a:pt x="4714582" y="3860644"/>
                  </a:lnTo>
                  <a:lnTo>
                    <a:pt x="4716295" y="3860644"/>
                  </a:lnTo>
                  <a:lnTo>
                    <a:pt x="4811517" y="3765668"/>
                  </a:lnTo>
                  <a:close/>
                  <a:moveTo>
                    <a:pt x="1264018" y="3493858"/>
                  </a:moveTo>
                  <a:lnTo>
                    <a:pt x="1535828" y="3763572"/>
                  </a:lnTo>
                  <a:lnTo>
                    <a:pt x="1266165" y="4033931"/>
                  </a:lnTo>
                  <a:lnTo>
                    <a:pt x="1527632" y="4033931"/>
                  </a:lnTo>
                  <a:lnTo>
                    <a:pt x="1700221" y="3860644"/>
                  </a:lnTo>
                  <a:lnTo>
                    <a:pt x="1702878" y="3860644"/>
                  </a:lnTo>
                  <a:lnTo>
                    <a:pt x="1799252" y="3764270"/>
                  </a:lnTo>
                  <a:lnTo>
                    <a:pt x="1665094" y="3630811"/>
                  </a:lnTo>
                  <a:lnTo>
                    <a:pt x="1528141" y="3493858"/>
                  </a:lnTo>
                  <a:close/>
                  <a:moveTo>
                    <a:pt x="715508" y="3493858"/>
                  </a:moveTo>
                  <a:lnTo>
                    <a:pt x="986618" y="3764270"/>
                  </a:lnTo>
                  <a:lnTo>
                    <a:pt x="716955" y="4034630"/>
                  </a:lnTo>
                  <a:lnTo>
                    <a:pt x="979122" y="4034630"/>
                  </a:lnTo>
                  <a:lnTo>
                    <a:pt x="1067862" y="3945192"/>
                  </a:lnTo>
                  <a:lnTo>
                    <a:pt x="1152410" y="3860644"/>
                  </a:lnTo>
                  <a:lnTo>
                    <a:pt x="1154616" y="3860644"/>
                  </a:lnTo>
                  <a:lnTo>
                    <a:pt x="1250742" y="3764270"/>
                  </a:lnTo>
                  <a:lnTo>
                    <a:pt x="979631" y="3493858"/>
                  </a:lnTo>
                  <a:close/>
                  <a:moveTo>
                    <a:pt x="165601" y="3493858"/>
                  </a:moveTo>
                  <a:lnTo>
                    <a:pt x="436711" y="3764270"/>
                  </a:lnTo>
                  <a:lnTo>
                    <a:pt x="438108" y="3764969"/>
                  </a:lnTo>
                  <a:lnTo>
                    <a:pt x="169094" y="4034682"/>
                  </a:lnTo>
                  <a:lnTo>
                    <a:pt x="365440" y="4034682"/>
                  </a:lnTo>
                  <a:lnTo>
                    <a:pt x="365116" y="4035329"/>
                  </a:lnTo>
                  <a:lnTo>
                    <a:pt x="430612" y="4035329"/>
                  </a:lnTo>
                  <a:lnTo>
                    <a:pt x="604598" y="3860644"/>
                  </a:lnTo>
                  <a:lnTo>
                    <a:pt x="606802" y="3860644"/>
                  </a:lnTo>
                  <a:lnTo>
                    <a:pt x="701533" y="3765668"/>
                  </a:lnTo>
                  <a:lnTo>
                    <a:pt x="430423" y="3495256"/>
                  </a:lnTo>
                  <a:lnTo>
                    <a:pt x="362644" y="3493858"/>
                  </a:lnTo>
                  <a:close/>
                  <a:moveTo>
                    <a:pt x="2361039" y="3493160"/>
                  </a:moveTo>
                  <a:lnTo>
                    <a:pt x="2631451" y="3762174"/>
                  </a:lnTo>
                  <a:lnTo>
                    <a:pt x="2628655" y="3764969"/>
                  </a:lnTo>
                  <a:lnTo>
                    <a:pt x="2538519" y="3855806"/>
                  </a:lnTo>
                  <a:lnTo>
                    <a:pt x="2361789" y="4032535"/>
                  </a:lnTo>
                  <a:lnTo>
                    <a:pt x="2624653" y="4032535"/>
                  </a:lnTo>
                  <a:lnTo>
                    <a:pt x="2795844" y="3860644"/>
                  </a:lnTo>
                  <a:lnTo>
                    <a:pt x="2797802" y="3860644"/>
                  </a:lnTo>
                  <a:lnTo>
                    <a:pt x="2895574" y="3762873"/>
                  </a:lnTo>
                  <a:lnTo>
                    <a:pt x="2625162" y="3493160"/>
                  </a:lnTo>
                  <a:close/>
                  <a:moveTo>
                    <a:pt x="1812528" y="3493160"/>
                  </a:moveTo>
                  <a:lnTo>
                    <a:pt x="1813926" y="3494557"/>
                  </a:lnTo>
                  <a:lnTo>
                    <a:pt x="2083639" y="3763572"/>
                  </a:lnTo>
                  <a:lnTo>
                    <a:pt x="1814673" y="4033233"/>
                  </a:lnTo>
                  <a:lnTo>
                    <a:pt x="2076143" y="4033233"/>
                  </a:lnTo>
                  <a:lnTo>
                    <a:pt x="2248033" y="3860644"/>
                  </a:lnTo>
                  <a:lnTo>
                    <a:pt x="2250940" y="3860644"/>
                  </a:lnTo>
                  <a:lnTo>
                    <a:pt x="2347762" y="3763572"/>
                  </a:lnTo>
                  <a:lnTo>
                    <a:pt x="2342173" y="3758681"/>
                  </a:lnTo>
                  <a:lnTo>
                    <a:pt x="2076652" y="3493160"/>
                  </a:lnTo>
                  <a:close/>
                  <a:moveTo>
                    <a:pt x="4005871" y="3491064"/>
                  </a:moveTo>
                  <a:lnTo>
                    <a:pt x="4277680" y="3760776"/>
                  </a:lnTo>
                  <a:lnTo>
                    <a:pt x="4008016" y="4031137"/>
                  </a:lnTo>
                  <a:lnTo>
                    <a:pt x="4270183" y="4031137"/>
                  </a:lnTo>
                  <a:lnTo>
                    <a:pt x="4359622" y="3941698"/>
                  </a:lnTo>
                  <a:lnTo>
                    <a:pt x="4440676" y="3860644"/>
                  </a:lnTo>
                  <a:lnTo>
                    <a:pt x="4441937" y="3860644"/>
                  </a:lnTo>
                  <a:lnTo>
                    <a:pt x="4541105" y="3761476"/>
                  </a:lnTo>
                  <a:lnTo>
                    <a:pt x="4406947" y="3628017"/>
                  </a:lnTo>
                  <a:lnTo>
                    <a:pt x="4269994" y="3491064"/>
                  </a:lnTo>
                  <a:close/>
                  <a:moveTo>
                    <a:pt x="3721484" y="3490365"/>
                  </a:moveTo>
                  <a:lnTo>
                    <a:pt x="3457360" y="3491064"/>
                  </a:lnTo>
                  <a:lnTo>
                    <a:pt x="3728471" y="3761476"/>
                  </a:lnTo>
                  <a:lnTo>
                    <a:pt x="3458808" y="4031836"/>
                  </a:lnTo>
                  <a:lnTo>
                    <a:pt x="3721674" y="4031836"/>
                  </a:lnTo>
                  <a:lnTo>
                    <a:pt x="3892166" y="3859946"/>
                  </a:lnTo>
                  <a:lnTo>
                    <a:pt x="3893935" y="3859946"/>
                  </a:lnTo>
                  <a:lnTo>
                    <a:pt x="3992595" y="3760776"/>
                  </a:lnTo>
                  <a:close/>
                  <a:moveTo>
                    <a:pt x="707821" y="3220651"/>
                  </a:moveTo>
                  <a:lnTo>
                    <a:pt x="437409" y="3491762"/>
                  </a:lnTo>
                  <a:lnTo>
                    <a:pt x="570170" y="3623824"/>
                  </a:lnTo>
                  <a:lnTo>
                    <a:pt x="708520" y="3761476"/>
                  </a:lnTo>
                  <a:lnTo>
                    <a:pt x="972643" y="3761476"/>
                  </a:lnTo>
                  <a:lnTo>
                    <a:pt x="701533" y="3491064"/>
                  </a:lnTo>
                  <a:lnTo>
                    <a:pt x="971945" y="3220651"/>
                  </a:lnTo>
                  <a:close/>
                  <a:moveTo>
                    <a:pt x="1256332" y="3219953"/>
                  </a:moveTo>
                  <a:lnTo>
                    <a:pt x="985920" y="3491064"/>
                  </a:lnTo>
                  <a:lnTo>
                    <a:pt x="1257031" y="3761476"/>
                  </a:lnTo>
                  <a:lnTo>
                    <a:pt x="1521154" y="3760776"/>
                  </a:lnTo>
                  <a:lnTo>
                    <a:pt x="1250043" y="3490365"/>
                  </a:lnTo>
                  <a:lnTo>
                    <a:pt x="1434510" y="3305898"/>
                  </a:lnTo>
                  <a:lnTo>
                    <a:pt x="1520455" y="3219953"/>
                  </a:lnTo>
                  <a:close/>
                  <a:moveTo>
                    <a:pt x="1804143" y="3219255"/>
                  </a:moveTo>
                  <a:lnTo>
                    <a:pt x="1623869" y="3400228"/>
                  </a:lnTo>
                  <a:lnTo>
                    <a:pt x="1534430" y="3490365"/>
                  </a:lnTo>
                  <a:lnTo>
                    <a:pt x="1668588" y="3623824"/>
                  </a:lnTo>
                  <a:lnTo>
                    <a:pt x="1805541" y="3760776"/>
                  </a:lnTo>
                  <a:lnTo>
                    <a:pt x="2069664" y="3760078"/>
                  </a:lnTo>
                  <a:lnTo>
                    <a:pt x="1798553" y="3489666"/>
                  </a:lnTo>
                  <a:lnTo>
                    <a:pt x="1799951" y="3488269"/>
                  </a:lnTo>
                  <a:lnTo>
                    <a:pt x="2068266" y="3219255"/>
                  </a:lnTo>
                  <a:close/>
                  <a:moveTo>
                    <a:pt x="2353352" y="3218555"/>
                  </a:moveTo>
                  <a:lnTo>
                    <a:pt x="2082940" y="3489666"/>
                  </a:lnTo>
                  <a:lnTo>
                    <a:pt x="2354051" y="3760078"/>
                  </a:lnTo>
                  <a:lnTo>
                    <a:pt x="2618174" y="3760078"/>
                  </a:lnTo>
                  <a:lnTo>
                    <a:pt x="2347064" y="3489666"/>
                  </a:lnTo>
                  <a:lnTo>
                    <a:pt x="2617476" y="3218555"/>
                  </a:lnTo>
                  <a:close/>
                  <a:moveTo>
                    <a:pt x="3449674" y="3217158"/>
                  </a:moveTo>
                  <a:lnTo>
                    <a:pt x="3179262" y="3488269"/>
                  </a:lnTo>
                  <a:lnTo>
                    <a:pt x="3450373" y="3758681"/>
                  </a:lnTo>
                  <a:lnTo>
                    <a:pt x="3714496" y="3758681"/>
                  </a:lnTo>
                  <a:lnTo>
                    <a:pt x="3443385" y="3488269"/>
                  </a:lnTo>
                  <a:lnTo>
                    <a:pt x="3713797" y="3217158"/>
                  </a:lnTo>
                  <a:close/>
                  <a:moveTo>
                    <a:pt x="3998184" y="3216459"/>
                  </a:moveTo>
                  <a:lnTo>
                    <a:pt x="3727772" y="3487570"/>
                  </a:lnTo>
                  <a:lnTo>
                    <a:pt x="3998883" y="3757982"/>
                  </a:lnTo>
                  <a:lnTo>
                    <a:pt x="4263007" y="3757283"/>
                  </a:lnTo>
                  <a:lnTo>
                    <a:pt x="3991896" y="3486871"/>
                  </a:lnTo>
                  <a:lnTo>
                    <a:pt x="4176362" y="3302404"/>
                  </a:lnTo>
                  <a:lnTo>
                    <a:pt x="4177062" y="3302404"/>
                  </a:lnTo>
                  <a:lnTo>
                    <a:pt x="4262308" y="3216459"/>
                  </a:lnTo>
                  <a:close/>
                  <a:moveTo>
                    <a:pt x="4546695" y="3215760"/>
                  </a:moveTo>
                  <a:lnTo>
                    <a:pt x="4366420" y="3396734"/>
                  </a:lnTo>
                  <a:lnTo>
                    <a:pt x="4365722" y="3396734"/>
                  </a:lnTo>
                  <a:lnTo>
                    <a:pt x="4276282" y="3486871"/>
                  </a:lnTo>
                  <a:lnTo>
                    <a:pt x="4410440" y="3620330"/>
                  </a:lnTo>
                  <a:lnTo>
                    <a:pt x="4547394" y="3757283"/>
                  </a:lnTo>
                  <a:lnTo>
                    <a:pt x="4811517" y="3757283"/>
                  </a:lnTo>
                  <a:lnTo>
                    <a:pt x="4540406" y="3486871"/>
                  </a:lnTo>
                  <a:lnTo>
                    <a:pt x="4542503" y="3485473"/>
                  </a:lnTo>
                  <a:lnTo>
                    <a:pt x="4810119" y="3215760"/>
                  </a:lnTo>
                  <a:close/>
                  <a:moveTo>
                    <a:pt x="1263319" y="2946047"/>
                  </a:moveTo>
                  <a:lnTo>
                    <a:pt x="1534430" y="3215760"/>
                  </a:lnTo>
                  <a:lnTo>
                    <a:pt x="1531636" y="3218555"/>
                  </a:lnTo>
                  <a:lnTo>
                    <a:pt x="1441498" y="3309391"/>
                  </a:lnTo>
                  <a:lnTo>
                    <a:pt x="1264018" y="3486871"/>
                  </a:lnTo>
                  <a:lnTo>
                    <a:pt x="1528141" y="3486871"/>
                  </a:lnTo>
                  <a:lnTo>
                    <a:pt x="1617580" y="3397432"/>
                  </a:lnTo>
                  <a:lnTo>
                    <a:pt x="1798553" y="3216459"/>
                  </a:lnTo>
                  <a:lnTo>
                    <a:pt x="1527442" y="2946047"/>
                  </a:lnTo>
                  <a:close/>
                  <a:moveTo>
                    <a:pt x="714809" y="2946047"/>
                  </a:moveTo>
                  <a:lnTo>
                    <a:pt x="843377" y="3074615"/>
                  </a:lnTo>
                  <a:lnTo>
                    <a:pt x="985221" y="3216459"/>
                  </a:lnTo>
                  <a:lnTo>
                    <a:pt x="714809" y="3487570"/>
                  </a:lnTo>
                  <a:lnTo>
                    <a:pt x="978932" y="3487570"/>
                  </a:lnTo>
                  <a:lnTo>
                    <a:pt x="1249344" y="3216459"/>
                  </a:lnTo>
                  <a:lnTo>
                    <a:pt x="1244453" y="3211568"/>
                  </a:lnTo>
                  <a:lnTo>
                    <a:pt x="978932" y="2946047"/>
                  </a:lnTo>
                  <a:close/>
                  <a:moveTo>
                    <a:pt x="164902" y="2946047"/>
                  </a:moveTo>
                  <a:lnTo>
                    <a:pt x="436013" y="3215760"/>
                  </a:lnTo>
                  <a:lnTo>
                    <a:pt x="433217" y="3218555"/>
                  </a:lnTo>
                  <a:lnTo>
                    <a:pt x="343079" y="3309391"/>
                  </a:lnTo>
                  <a:lnTo>
                    <a:pt x="165601" y="3486871"/>
                  </a:lnTo>
                  <a:lnTo>
                    <a:pt x="429724" y="3486871"/>
                  </a:lnTo>
                  <a:lnTo>
                    <a:pt x="519162" y="3397432"/>
                  </a:lnTo>
                  <a:lnTo>
                    <a:pt x="700136" y="3216459"/>
                  </a:lnTo>
                  <a:lnTo>
                    <a:pt x="429025" y="2946047"/>
                  </a:lnTo>
                  <a:close/>
                  <a:moveTo>
                    <a:pt x="2908151" y="2945348"/>
                  </a:moveTo>
                  <a:lnTo>
                    <a:pt x="3179262" y="3215760"/>
                  </a:lnTo>
                  <a:lnTo>
                    <a:pt x="2908850" y="3486871"/>
                  </a:lnTo>
                  <a:lnTo>
                    <a:pt x="3107292" y="3486871"/>
                  </a:lnTo>
                  <a:lnTo>
                    <a:pt x="3103798" y="3493858"/>
                  </a:lnTo>
                  <a:lnTo>
                    <a:pt x="2908850" y="3493858"/>
                  </a:lnTo>
                  <a:lnTo>
                    <a:pt x="3038815" y="3623824"/>
                  </a:lnTo>
                  <a:lnTo>
                    <a:pt x="3035322" y="3630811"/>
                  </a:lnTo>
                  <a:lnTo>
                    <a:pt x="2894875" y="3490365"/>
                  </a:lnTo>
                  <a:lnTo>
                    <a:pt x="3165287" y="3219255"/>
                  </a:lnTo>
                  <a:lnTo>
                    <a:pt x="2901164" y="3219255"/>
                  </a:lnTo>
                  <a:lnTo>
                    <a:pt x="2630752" y="3490365"/>
                  </a:lnTo>
                  <a:lnTo>
                    <a:pt x="2901863" y="3760776"/>
                  </a:lnTo>
                  <a:lnTo>
                    <a:pt x="2970339" y="3760776"/>
                  </a:lnTo>
                  <a:lnTo>
                    <a:pt x="2966846" y="3767764"/>
                  </a:lnTo>
                  <a:lnTo>
                    <a:pt x="2901863" y="3767764"/>
                  </a:lnTo>
                  <a:lnTo>
                    <a:pt x="2721588" y="3948738"/>
                  </a:lnTo>
                  <a:lnTo>
                    <a:pt x="2633317" y="4037700"/>
                  </a:lnTo>
                  <a:lnTo>
                    <a:pt x="2902751" y="4306440"/>
                  </a:lnTo>
                  <a:lnTo>
                    <a:pt x="3165477" y="4306440"/>
                  </a:lnTo>
                  <a:lnTo>
                    <a:pt x="3036210" y="4177174"/>
                  </a:lnTo>
                  <a:lnTo>
                    <a:pt x="3036909" y="4176475"/>
                  </a:lnTo>
                  <a:lnTo>
                    <a:pt x="2942163" y="4082197"/>
                  </a:lnTo>
                  <a:lnTo>
                    <a:pt x="2940992" y="4082197"/>
                  </a:lnTo>
                  <a:lnTo>
                    <a:pt x="2896273" y="4037478"/>
                  </a:lnTo>
                  <a:lnTo>
                    <a:pt x="2896745" y="4037005"/>
                  </a:lnTo>
                  <a:lnTo>
                    <a:pt x="2895764" y="4036028"/>
                  </a:lnTo>
                  <a:lnTo>
                    <a:pt x="3070448" y="3860644"/>
                  </a:lnTo>
                  <a:lnTo>
                    <a:pt x="3072651" y="3860644"/>
                  </a:lnTo>
                  <a:lnTo>
                    <a:pt x="3165986" y="3767066"/>
                  </a:lnTo>
                  <a:lnTo>
                    <a:pt x="2967543" y="3767066"/>
                  </a:lnTo>
                  <a:lnTo>
                    <a:pt x="2971038" y="3760078"/>
                  </a:lnTo>
                  <a:lnTo>
                    <a:pt x="3165986" y="3760078"/>
                  </a:lnTo>
                  <a:lnTo>
                    <a:pt x="3036021" y="3630113"/>
                  </a:lnTo>
                  <a:lnTo>
                    <a:pt x="3039514" y="3623126"/>
                  </a:lnTo>
                  <a:lnTo>
                    <a:pt x="3179961" y="3763572"/>
                  </a:lnTo>
                  <a:lnTo>
                    <a:pt x="2912388" y="4031836"/>
                  </a:lnTo>
                  <a:lnTo>
                    <a:pt x="3173163" y="4031836"/>
                  </a:lnTo>
                  <a:lnTo>
                    <a:pt x="3262601" y="3942397"/>
                  </a:lnTo>
                  <a:lnTo>
                    <a:pt x="3344354" y="3860644"/>
                  </a:lnTo>
                  <a:lnTo>
                    <a:pt x="3347262" y="3860644"/>
                  </a:lnTo>
                  <a:lnTo>
                    <a:pt x="3444084" y="3763572"/>
                  </a:lnTo>
                  <a:lnTo>
                    <a:pt x="3172973" y="3493858"/>
                  </a:lnTo>
                  <a:lnTo>
                    <a:pt x="3104497" y="3493858"/>
                  </a:lnTo>
                  <a:lnTo>
                    <a:pt x="3107990" y="3486871"/>
                  </a:lnTo>
                  <a:lnTo>
                    <a:pt x="3172973" y="3486871"/>
                  </a:lnTo>
                  <a:lnTo>
                    <a:pt x="3443385" y="3215760"/>
                  </a:lnTo>
                  <a:lnTo>
                    <a:pt x="3309227" y="3082301"/>
                  </a:lnTo>
                  <a:lnTo>
                    <a:pt x="3172275" y="2945348"/>
                  </a:lnTo>
                  <a:close/>
                  <a:moveTo>
                    <a:pt x="1811829" y="2944649"/>
                  </a:moveTo>
                  <a:lnTo>
                    <a:pt x="1941795" y="3074615"/>
                  </a:lnTo>
                  <a:lnTo>
                    <a:pt x="2082940" y="3215061"/>
                  </a:lnTo>
                  <a:lnTo>
                    <a:pt x="1812528" y="3486172"/>
                  </a:lnTo>
                  <a:lnTo>
                    <a:pt x="2076652" y="3486172"/>
                  </a:lnTo>
                  <a:lnTo>
                    <a:pt x="2347064" y="3215061"/>
                  </a:lnTo>
                  <a:lnTo>
                    <a:pt x="2075953" y="2944649"/>
                  </a:lnTo>
                  <a:close/>
                  <a:moveTo>
                    <a:pt x="2360340" y="2943952"/>
                  </a:moveTo>
                  <a:lnTo>
                    <a:pt x="2631451" y="3214364"/>
                  </a:lnTo>
                  <a:lnTo>
                    <a:pt x="2361039" y="3485473"/>
                  </a:lnTo>
                  <a:lnTo>
                    <a:pt x="2625162" y="3485473"/>
                  </a:lnTo>
                  <a:lnTo>
                    <a:pt x="2895574" y="3214364"/>
                  </a:lnTo>
                  <a:lnTo>
                    <a:pt x="2624463" y="2943952"/>
                  </a:lnTo>
                  <a:close/>
                  <a:moveTo>
                    <a:pt x="4005871" y="2943253"/>
                  </a:moveTo>
                  <a:lnTo>
                    <a:pt x="4275584" y="3212267"/>
                  </a:lnTo>
                  <a:lnTo>
                    <a:pt x="4272789" y="3215061"/>
                  </a:lnTo>
                  <a:lnTo>
                    <a:pt x="4182652" y="3305898"/>
                  </a:lnTo>
                  <a:lnTo>
                    <a:pt x="4181952" y="3305898"/>
                  </a:lnTo>
                  <a:lnTo>
                    <a:pt x="4005172" y="3483378"/>
                  </a:lnTo>
                  <a:lnTo>
                    <a:pt x="4269295" y="3483378"/>
                  </a:lnTo>
                  <a:lnTo>
                    <a:pt x="4358734" y="3393939"/>
                  </a:lnTo>
                  <a:lnTo>
                    <a:pt x="4359432" y="3393939"/>
                  </a:lnTo>
                  <a:lnTo>
                    <a:pt x="4541105" y="3213665"/>
                  </a:lnTo>
                  <a:lnTo>
                    <a:pt x="4269994" y="2943253"/>
                  </a:lnTo>
                  <a:close/>
                  <a:moveTo>
                    <a:pt x="3457360" y="2943253"/>
                  </a:moveTo>
                  <a:lnTo>
                    <a:pt x="3458059" y="2943952"/>
                  </a:lnTo>
                  <a:lnTo>
                    <a:pt x="3458758" y="2943952"/>
                  </a:lnTo>
                  <a:lnTo>
                    <a:pt x="3727772" y="3212966"/>
                  </a:lnTo>
                  <a:lnTo>
                    <a:pt x="3457360" y="3484077"/>
                  </a:lnTo>
                  <a:lnTo>
                    <a:pt x="3721484" y="3484077"/>
                  </a:lnTo>
                  <a:lnTo>
                    <a:pt x="3991896" y="3213665"/>
                  </a:lnTo>
                  <a:lnTo>
                    <a:pt x="3987005" y="3208074"/>
                  </a:lnTo>
                  <a:lnTo>
                    <a:pt x="3721484" y="2943253"/>
                  </a:lnTo>
                  <a:close/>
                  <a:moveTo>
                    <a:pt x="1255633" y="2671443"/>
                  </a:moveTo>
                  <a:lnTo>
                    <a:pt x="985221" y="2942554"/>
                  </a:lnTo>
                  <a:lnTo>
                    <a:pt x="1256332" y="3212966"/>
                  </a:lnTo>
                  <a:lnTo>
                    <a:pt x="1520455" y="3212966"/>
                  </a:lnTo>
                  <a:lnTo>
                    <a:pt x="1249344" y="2942554"/>
                  </a:lnTo>
                  <a:lnTo>
                    <a:pt x="1519757" y="2671443"/>
                  </a:lnTo>
                  <a:close/>
                  <a:moveTo>
                    <a:pt x="1804143" y="2670744"/>
                  </a:moveTo>
                  <a:lnTo>
                    <a:pt x="1533731" y="2941855"/>
                  </a:lnTo>
                  <a:lnTo>
                    <a:pt x="1805541" y="3212267"/>
                  </a:lnTo>
                  <a:lnTo>
                    <a:pt x="2068965" y="3212267"/>
                  </a:lnTo>
                  <a:lnTo>
                    <a:pt x="1938301" y="3082301"/>
                  </a:lnTo>
                  <a:lnTo>
                    <a:pt x="1797854" y="2941855"/>
                  </a:lnTo>
                  <a:lnTo>
                    <a:pt x="2068266" y="2670744"/>
                  </a:lnTo>
                  <a:close/>
                  <a:moveTo>
                    <a:pt x="705027" y="2670744"/>
                  </a:moveTo>
                  <a:lnTo>
                    <a:pt x="434615" y="2941855"/>
                  </a:lnTo>
                  <a:lnTo>
                    <a:pt x="705726" y="3212267"/>
                  </a:lnTo>
                  <a:lnTo>
                    <a:pt x="774202" y="3212267"/>
                  </a:lnTo>
                  <a:lnTo>
                    <a:pt x="773503" y="3213665"/>
                  </a:lnTo>
                  <a:lnTo>
                    <a:pt x="971247" y="3213665"/>
                  </a:lnTo>
                  <a:lnTo>
                    <a:pt x="839884" y="3082301"/>
                  </a:lnTo>
                  <a:lnTo>
                    <a:pt x="699437" y="2941855"/>
                  </a:lnTo>
                  <a:lnTo>
                    <a:pt x="968451" y="2672142"/>
                  </a:lnTo>
                  <a:lnTo>
                    <a:pt x="772105" y="2672142"/>
                  </a:lnTo>
                  <a:lnTo>
                    <a:pt x="772804" y="2670744"/>
                  </a:lnTo>
                  <a:close/>
                  <a:moveTo>
                    <a:pt x="2352653" y="2670045"/>
                  </a:moveTo>
                  <a:lnTo>
                    <a:pt x="2082241" y="2941156"/>
                  </a:lnTo>
                  <a:lnTo>
                    <a:pt x="2353352" y="3211568"/>
                  </a:lnTo>
                  <a:lnTo>
                    <a:pt x="2617476" y="3211568"/>
                  </a:lnTo>
                  <a:lnTo>
                    <a:pt x="2346365" y="2941156"/>
                  </a:lnTo>
                  <a:lnTo>
                    <a:pt x="2616777" y="2670045"/>
                  </a:lnTo>
                  <a:close/>
                  <a:moveTo>
                    <a:pt x="3998184" y="2667949"/>
                  </a:moveTo>
                  <a:lnTo>
                    <a:pt x="3727772" y="2939060"/>
                  </a:lnTo>
                  <a:lnTo>
                    <a:pt x="3998883" y="3209471"/>
                  </a:lnTo>
                  <a:lnTo>
                    <a:pt x="4263007" y="3209471"/>
                  </a:lnTo>
                  <a:lnTo>
                    <a:pt x="3991896" y="2939060"/>
                  </a:lnTo>
                  <a:lnTo>
                    <a:pt x="4262308" y="2667949"/>
                  </a:lnTo>
                  <a:close/>
                  <a:moveTo>
                    <a:pt x="4546695" y="2667250"/>
                  </a:moveTo>
                  <a:lnTo>
                    <a:pt x="4276282" y="2938360"/>
                  </a:lnTo>
                  <a:lnTo>
                    <a:pt x="4547394" y="3208772"/>
                  </a:lnTo>
                  <a:lnTo>
                    <a:pt x="4810818" y="3208772"/>
                  </a:lnTo>
                  <a:lnTo>
                    <a:pt x="4680852" y="3078808"/>
                  </a:lnTo>
                  <a:lnTo>
                    <a:pt x="4540406" y="2938360"/>
                  </a:lnTo>
                  <a:lnTo>
                    <a:pt x="4810818" y="2667250"/>
                  </a:lnTo>
                  <a:close/>
                  <a:moveTo>
                    <a:pt x="164203" y="2397537"/>
                  </a:moveTo>
                  <a:lnTo>
                    <a:pt x="435314" y="2667949"/>
                  </a:lnTo>
                  <a:lnTo>
                    <a:pt x="164902" y="2939060"/>
                  </a:lnTo>
                  <a:lnTo>
                    <a:pt x="429025" y="2939060"/>
                  </a:lnTo>
                  <a:lnTo>
                    <a:pt x="699437" y="2667949"/>
                  </a:lnTo>
                  <a:lnTo>
                    <a:pt x="428326" y="2397537"/>
                  </a:lnTo>
                  <a:close/>
                  <a:moveTo>
                    <a:pt x="1811131" y="2396838"/>
                  </a:moveTo>
                  <a:lnTo>
                    <a:pt x="2082940" y="2667250"/>
                  </a:lnTo>
                  <a:lnTo>
                    <a:pt x="1812528" y="2938360"/>
                  </a:lnTo>
                  <a:lnTo>
                    <a:pt x="2075953" y="2938360"/>
                  </a:lnTo>
                  <a:lnTo>
                    <a:pt x="2346365" y="2667250"/>
                  </a:lnTo>
                  <a:lnTo>
                    <a:pt x="2212208" y="2533791"/>
                  </a:lnTo>
                  <a:lnTo>
                    <a:pt x="2075254" y="2396838"/>
                  </a:lnTo>
                  <a:close/>
                  <a:moveTo>
                    <a:pt x="1262620" y="2396838"/>
                  </a:moveTo>
                  <a:lnTo>
                    <a:pt x="1533731" y="2667250"/>
                  </a:lnTo>
                  <a:lnTo>
                    <a:pt x="1263319" y="2938360"/>
                  </a:lnTo>
                  <a:lnTo>
                    <a:pt x="1527442" y="2938360"/>
                  </a:lnTo>
                  <a:lnTo>
                    <a:pt x="1797854" y="2667250"/>
                  </a:lnTo>
                  <a:lnTo>
                    <a:pt x="1526744" y="2396838"/>
                  </a:lnTo>
                  <a:close/>
                  <a:moveTo>
                    <a:pt x="2359641" y="2396139"/>
                  </a:moveTo>
                  <a:lnTo>
                    <a:pt x="2361039" y="2397537"/>
                  </a:lnTo>
                  <a:lnTo>
                    <a:pt x="2629354" y="2665853"/>
                  </a:lnTo>
                  <a:lnTo>
                    <a:pt x="2358942" y="2936964"/>
                  </a:lnTo>
                  <a:lnTo>
                    <a:pt x="2623065" y="2936964"/>
                  </a:lnTo>
                  <a:lnTo>
                    <a:pt x="2893477" y="2665853"/>
                  </a:lnTo>
                  <a:lnTo>
                    <a:pt x="2888586" y="2660962"/>
                  </a:lnTo>
                  <a:lnTo>
                    <a:pt x="2906055" y="2669346"/>
                  </a:lnTo>
                  <a:lnTo>
                    <a:pt x="2900465" y="2669346"/>
                  </a:lnTo>
                  <a:lnTo>
                    <a:pt x="2630053" y="2940457"/>
                  </a:lnTo>
                  <a:lnTo>
                    <a:pt x="2901164" y="3210869"/>
                  </a:lnTo>
                  <a:lnTo>
                    <a:pt x="3165287" y="3210869"/>
                  </a:lnTo>
                  <a:lnTo>
                    <a:pt x="2894875" y="2939758"/>
                  </a:lnTo>
                  <a:lnTo>
                    <a:pt x="3079343" y="2755292"/>
                  </a:lnTo>
                  <a:lnTo>
                    <a:pt x="3165287" y="2669346"/>
                  </a:lnTo>
                  <a:lnTo>
                    <a:pt x="2906754" y="2669346"/>
                  </a:lnTo>
                  <a:lnTo>
                    <a:pt x="2889285" y="2660962"/>
                  </a:lnTo>
                  <a:lnTo>
                    <a:pt x="2623764" y="2396139"/>
                  </a:lnTo>
                  <a:close/>
                  <a:moveTo>
                    <a:pt x="713412" y="2396139"/>
                  </a:moveTo>
                  <a:lnTo>
                    <a:pt x="844775" y="2527503"/>
                  </a:lnTo>
                  <a:lnTo>
                    <a:pt x="985221" y="2667949"/>
                  </a:lnTo>
                  <a:lnTo>
                    <a:pt x="716206" y="2937662"/>
                  </a:lnTo>
                  <a:lnTo>
                    <a:pt x="912552" y="2937662"/>
                  </a:lnTo>
                  <a:lnTo>
                    <a:pt x="911853" y="2939060"/>
                  </a:lnTo>
                  <a:lnTo>
                    <a:pt x="978932" y="2939060"/>
                  </a:lnTo>
                  <a:lnTo>
                    <a:pt x="1248646" y="2667949"/>
                  </a:lnTo>
                  <a:lnTo>
                    <a:pt x="1113090" y="2533092"/>
                  </a:lnTo>
                  <a:lnTo>
                    <a:pt x="1094923" y="2514926"/>
                  </a:lnTo>
                  <a:lnTo>
                    <a:pt x="977535" y="2398236"/>
                  </a:lnTo>
                  <a:lnTo>
                    <a:pt x="909058" y="2398236"/>
                  </a:lnTo>
                  <a:lnTo>
                    <a:pt x="909757" y="2396838"/>
                  </a:lnTo>
                  <a:close/>
                  <a:moveTo>
                    <a:pt x="2907452" y="2394742"/>
                  </a:moveTo>
                  <a:lnTo>
                    <a:pt x="3178563" y="2665154"/>
                  </a:lnTo>
                  <a:lnTo>
                    <a:pt x="3175769" y="2667949"/>
                  </a:lnTo>
                  <a:lnTo>
                    <a:pt x="3085631" y="2758785"/>
                  </a:lnTo>
                  <a:lnTo>
                    <a:pt x="2908151" y="2936265"/>
                  </a:lnTo>
                  <a:lnTo>
                    <a:pt x="3172275" y="2936265"/>
                  </a:lnTo>
                  <a:lnTo>
                    <a:pt x="3262412" y="2846826"/>
                  </a:lnTo>
                  <a:lnTo>
                    <a:pt x="3442687" y="2665154"/>
                  </a:lnTo>
                  <a:lnTo>
                    <a:pt x="3171576" y="2394742"/>
                  </a:lnTo>
                  <a:close/>
                  <a:moveTo>
                    <a:pt x="4004473" y="2394044"/>
                  </a:moveTo>
                  <a:lnTo>
                    <a:pt x="4275584" y="2663757"/>
                  </a:lnTo>
                  <a:lnTo>
                    <a:pt x="4005172" y="2934868"/>
                  </a:lnTo>
                  <a:lnTo>
                    <a:pt x="4269295" y="2934868"/>
                  </a:lnTo>
                  <a:lnTo>
                    <a:pt x="4539707" y="2664456"/>
                  </a:lnTo>
                  <a:lnTo>
                    <a:pt x="4268597" y="2394044"/>
                  </a:lnTo>
                  <a:close/>
                  <a:moveTo>
                    <a:pt x="1255633" y="2122933"/>
                  </a:moveTo>
                  <a:lnTo>
                    <a:pt x="985221" y="2394044"/>
                  </a:lnTo>
                  <a:lnTo>
                    <a:pt x="1117282" y="2526105"/>
                  </a:lnTo>
                  <a:lnTo>
                    <a:pt x="1255633" y="2664456"/>
                  </a:lnTo>
                  <a:lnTo>
                    <a:pt x="1519757" y="2664456"/>
                  </a:lnTo>
                  <a:lnTo>
                    <a:pt x="1248646" y="2394044"/>
                  </a:lnTo>
                  <a:lnTo>
                    <a:pt x="1519757" y="2122933"/>
                  </a:lnTo>
                  <a:close/>
                  <a:moveTo>
                    <a:pt x="2351955" y="2122234"/>
                  </a:moveTo>
                  <a:lnTo>
                    <a:pt x="2171680" y="2303207"/>
                  </a:lnTo>
                  <a:lnTo>
                    <a:pt x="2170981" y="2303207"/>
                  </a:lnTo>
                  <a:lnTo>
                    <a:pt x="2081543" y="2392646"/>
                  </a:lnTo>
                  <a:lnTo>
                    <a:pt x="2215701" y="2526804"/>
                  </a:lnTo>
                  <a:lnTo>
                    <a:pt x="2352653" y="2663058"/>
                  </a:lnTo>
                  <a:lnTo>
                    <a:pt x="2616078" y="2663058"/>
                  </a:lnTo>
                  <a:lnTo>
                    <a:pt x="2344968" y="2392646"/>
                  </a:lnTo>
                  <a:lnTo>
                    <a:pt x="2346365" y="2391248"/>
                  </a:lnTo>
                  <a:lnTo>
                    <a:pt x="2347064" y="2391248"/>
                  </a:lnTo>
                  <a:lnTo>
                    <a:pt x="2615379" y="2122234"/>
                  </a:lnTo>
                  <a:close/>
                  <a:moveTo>
                    <a:pt x="1803445" y="2122234"/>
                  </a:moveTo>
                  <a:lnTo>
                    <a:pt x="1533032" y="2393345"/>
                  </a:lnTo>
                  <a:lnTo>
                    <a:pt x="1803445" y="2663058"/>
                  </a:lnTo>
                  <a:lnTo>
                    <a:pt x="2067568" y="2663058"/>
                  </a:lnTo>
                  <a:lnTo>
                    <a:pt x="1796458" y="2392646"/>
                  </a:lnTo>
                  <a:lnTo>
                    <a:pt x="1980924" y="2208178"/>
                  </a:lnTo>
                  <a:lnTo>
                    <a:pt x="1981623" y="2208178"/>
                  </a:lnTo>
                  <a:lnTo>
                    <a:pt x="2067568" y="2122234"/>
                  </a:lnTo>
                  <a:close/>
                  <a:moveTo>
                    <a:pt x="2900465" y="2121535"/>
                  </a:moveTo>
                  <a:lnTo>
                    <a:pt x="2630053" y="2392646"/>
                  </a:lnTo>
                  <a:lnTo>
                    <a:pt x="2901164" y="2663058"/>
                  </a:lnTo>
                  <a:lnTo>
                    <a:pt x="3165287" y="2663058"/>
                  </a:lnTo>
                  <a:lnTo>
                    <a:pt x="2894176" y="2392646"/>
                  </a:lnTo>
                  <a:lnTo>
                    <a:pt x="3164588" y="2121535"/>
                  </a:lnTo>
                  <a:close/>
                  <a:moveTo>
                    <a:pt x="3997486" y="2120137"/>
                  </a:moveTo>
                  <a:lnTo>
                    <a:pt x="3727074" y="2391248"/>
                  </a:lnTo>
                  <a:lnTo>
                    <a:pt x="3998184" y="2661660"/>
                  </a:lnTo>
                  <a:lnTo>
                    <a:pt x="4262308" y="2661660"/>
                  </a:lnTo>
                  <a:lnTo>
                    <a:pt x="3991197" y="2391248"/>
                  </a:lnTo>
                  <a:lnTo>
                    <a:pt x="4261609" y="2120137"/>
                  </a:lnTo>
                  <a:close/>
                  <a:moveTo>
                    <a:pt x="4545996" y="2119439"/>
                  </a:moveTo>
                  <a:lnTo>
                    <a:pt x="4275584" y="2390549"/>
                  </a:lnTo>
                  <a:lnTo>
                    <a:pt x="4545996" y="2660263"/>
                  </a:lnTo>
                  <a:lnTo>
                    <a:pt x="4810119" y="2660263"/>
                  </a:lnTo>
                  <a:lnTo>
                    <a:pt x="4539009" y="2389851"/>
                  </a:lnTo>
                  <a:lnTo>
                    <a:pt x="4723476" y="2205384"/>
                  </a:lnTo>
                  <a:lnTo>
                    <a:pt x="4810119" y="2119439"/>
                  </a:lnTo>
                  <a:close/>
                  <a:moveTo>
                    <a:pt x="1261921" y="1849027"/>
                  </a:moveTo>
                  <a:lnTo>
                    <a:pt x="1262620" y="1849725"/>
                  </a:lnTo>
                  <a:lnTo>
                    <a:pt x="1263319" y="1849725"/>
                  </a:lnTo>
                  <a:lnTo>
                    <a:pt x="1532333" y="2118740"/>
                  </a:lnTo>
                  <a:lnTo>
                    <a:pt x="1261921" y="2389851"/>
                  </a:lnTo>
                  <a:lnTo>
                    <a:pt x="1526046" y="2389851"/>
                  </a:lnTo>
                  <a:lnTo>
                    <a:pt x="1796458" y="2118740"/>
                  </a:lnTo>
                  <a:lnTo>
                    <a:pt x="1791566" y="2113849"/>
                  </a:lnTo>
                  <a:lnTo>
                    <a:pt x="1526046" y="1849027"/>
                  </a:lnTo>
                  <a:close/>
                  <a:moveTo>
                    <a:pt x="164203" y="1849027"/>
                  </a:moveTo>
                  <a:lnTo>
                    <a:pt x="165601" y="1850424"/>
                  </a:lnTo>
                  <a:lnTo>
                    <a:pt x="434615" y="2119439"/>
                  </a:lnTo>
                  <a:lnTo>
                    <a:pt x="164203" y="2389152"/>
                  </a:lnTo>
                  <a:lnTo>
                    <a:pt x="428326" y="2389152"/>
                  </a:lnTo>
                  <a:lnTo>
                    <a:pt x="698738" y="2118042"/>
                  </a:lnTo>
                  <a:lnTo>
                    <a:pt x="695191" y="2114493"/>
                  </a:lnTo>
                  <a:lnTo>
                    <a:pt x="709860" y="2121535"/>
                  </a:lnTo>
                  <a:lnTo>
                    <a:pt x="705726" y="2121535"/>
                  </a:lnTo>
                  <a:lnTo>
                    <a:pt x="435314" y="2392646"/>
                  </a:lnTo>
                  <a:lnTo>
                    <a:pt x="706425" y="2663058"/>
                  </a:lnTo>
                  <a:lnTo>
                    <a:pt x="970548" y="2663058"/>
                  </a:lnTo>
                  <a:lnTo>
                    <a:pt x="699437" y="2392646"/>
                  </a:lnTo>
                  <a:lnTo>
                    <a:pt x="883903" y="2208178"/>
                  </a:lnTo>
                  <a:lnTo>
                    <a:pt x="969849" y="2122234"/>
                  </a:lnTo>
                  <a:lnTo>
                    <a:pt x="711316" y="2122234"/>
                  </a:lnTo>
                  <a:lnTo>
                    <a:pt x="709860" y="2121535"/>
                  </a:lnTo>
                  <a:lnTo>
                    <a:pt x="711316" y="2121535"/>
                  </a:lnTo>
                  <a:lnTo>
                    <a:pt x="693847" y="2113150"/>
                  </a:lnTo>
                  <a:lnTo>
                    <a:pt x="695191" y="2114493"/>
                  </a:lnTo>
                  <a:lnTo>
                    <a:pt x="693847" y="2113849"/>
                  </a:lnTo>
                  <a:lnTo>
                    <a:pt x="428326" y="1849027"/>
                  </a:lnTo>
                  <a:close/>
                  <a:moveTo>
                    <a:pt x="712014" y="1848328"/>
                  </a:moveTo>
                  <a:lnTo>
                    <a:pt x="983125" y="2118042"/>
                  </a:lnTo>
                  <a:lnTo>
                    <a:pt x="980330" y="2120836"/>
                  </a:lnTo>
                  <a:lnTo>
                    <a:pt x="890192" y="2211673"/>
                  </a:lnTo>
                  <a:lnTo>
                    <a:pt x="712713" y="2389152"/>
                  </a:lnTo>
                  <a:lnTo>
                    <a:pt x="976837" y="2389152"/>
                  </a:lnTo>
                  <a:lnTo>
                    <a:pt x="1066275" y="2299714"/>
                  </a:lnTo>
                  <a:lnTo>
                    <a:pt x="1247249" y="2118740"/>
                  </a:lnTo>
                  <a:lnTo>
                    <a:pt x="1114488" y="1986679"/>
                  </a:lnTo>
                  <a:lnTo>
                    <a:pt x="976138" y="1848328"/>
                  </a:lnTo>
                  <a:close/>
                  <a:moveTo>
                    <a:pt x="2359641" y="1847630"/>
                  </a:moveTo>
                  <a:lnTo>
                    <a:pt x="2489606" y="1977595"/>
                  </a:lnTo>
                  <a:lnTo>
                    <a:pt x="2630053" y="2118042"/>
                  </a:lnTo>
                  <a:lnTo>
                    <a:pt x="2359641" y="2389152"/>
                  </a:lnTo>
                  <a:lnTo>
                    <a:pt x="2623764" y="2389152"/>
                  </a:lnTo>
                  <a:lnTo>
                    <a:pt x="2894176" y="2118042"/>
                  </a:lnTo>
                  <a:lnTo>
                    <a:pt x="2623065" y="1847630"/>
                  </a:lnTo>
                  <a:close/>
                  <a:moveTo>
                    <a:pt x="1810432" y="1847630"/>
                  </a:moveTo>
                  <a:lnTo>
                    <a:pt x="2081543" y="2118042"/>
                  </a:lnTo>
                  <a:lnTo>
                    <a:pt x="2078748" y="2120836"/>
                  </a:lnTo>
                  <a:lnTo>
                    <a:pt x="1988611" y="2211673"/>
                  </a:lnTo>
                  <a:lnTo>
                    <a:pt x="1987912" y="2211673"/>
                  </a:lnTo>
                  <a:lnTo>
                    <a:pt x="1811131" y="2389152"/>
                  </a:lnTo>
                  <a:lnTo>
                    <a:pt x="2074555" y="2388454"/>
                  </a:lnTo>
                  <a:lnTo>
                    <a:pt x="2163994" y="2299015"/>
                  </a:lnTo>
                  <a:lnTo>
                    <a:pt x="2164693" y="2299015"/>
                  </a:lnTo>
                  <a:lnTo>
                    <a:pt x="2345666" y="2118042"/>
                  </a:lnTo>
                  <a:lnTo>
                    <a:pt x="2074555" y="1847630"/>
                  </a:lnTo>
                  <a:close/>
                  <a:moveTo>
                    <a:pt x="2907452" y="1846931"/>
                  </a:moveTo>
                  <a:lnTo>
                    <a:pt x="3178563" y="2117343"/>
                  </a:lnTo>
                  <a:lnTo>
                    <a:pt x="2908151" y="2388454"/>
                  </a:lnTo>
                  <a:lnTo>
                    <a:pt x="3172275" y="2388454"/>
                  </a:lnTo>
                  <a:lnTo>
                    <a:pt x="3442687" y="2117343"/>
                  </a:lnTo>
                  <a:lnTo>
                    <a:pt x="3171576" y="1846931"/>
                  </a:lnTo>
                  <a:close/>
                  <a:moveTo>
                    <a:pt x="4004473" y="1844834"/>
                  </a:moveTo>
                  <a:lnTo>
                    <a:pt x="4005871" y="1846232"/>
                  </a:lnTo>
                  <a:lnTo>
                    <a:pt x="4274885" y="2115246"/>
                  </a:lnTo>
                  <a:lnTo>
                    <a:pt x="4004473" y="2386357"/>
                  </a:lnTo>
                  <a:lnTo>
                    <a:pt x="4268597" y="2386357"/>
                  </a:lnTo>
                  <a:lnTo>
                    <a:pt x="4539009" y="2115246"/>
                  </a:lnTo>
                  <a:lnTo>
                    <a:pt x="4534118" y="2110355"/>
                  </a:lnTo>
                  <a:lnTo>
                    <a:pt x="4268597" y="1844834"/>
                  </a:lnTo>
                  <a:close/>
                  <a:moveTo>
                    <a:pt x="705027" y="1574422"/>
                  </a:moveTo>
                  <a:lnTo>
                    <a:pt x="434615" y="1845533"/>
                  </a:lnTo>
                  <a:lnTo>
                    <a:pt x="705726" y="2115945"/>
                  </a:lnTo>
                  <a:lnTo>
                    <a:pt x="969849" y="2115945"/>
                  </a:lnTo>
                  <a:lnTo>
                    <a:pt x="698738" y="1845533"/>
                  </a:lnTo>
                  <a:lnTo>
                    <a:pt x="969150" y="1574422"/>
                  </a:lnTo>
                  <a:close/>
                  <a:moveTo>
                    <a:pt x="1802746" y="1573723"/>
                  </a:moveTo>
                  <a:lnTo>
                    <a:pt x="1532333" y="1844834"/>
                  </a:lnTo>
                  <a:lnTo>
                    <a:pt x="1803445" y="2115246"/>
                  </a:lnTo>
                  <a:lnTo>
                    <a:pt x="2067568" y="2115246"/>
                  </a:lnTo>
                  <a:lnTo>
                    <a:pt x="1796458" y="1844834"/>
                  </a:lnTo>
                  <a:lnTo>
                    <a:pt x="2066870" y="1573723"/>
                  </a:lnTo>
                  <a:close/>
                  <a:moveTo>
                    <a:pt x="1252838" y="1573723"/>
                  </a:moveTo>
                  <a:lnTo>
                    <a:pt x="983125" y="1844834"/>
                  </a:lnTo>
                  <a:lnTo>
                    <a:pt x="1183663" y="2045372"/>
                  </a:lnTo>
                  <a:lnTo>
                    <a:pt x="1254236" y="2115246"/>
                  </a:lnTo>
                  <a:lnTo>
                    <a:pt x="1322712" y="2115246"/>
                  </a:lnTo>
                  <a:lnTo>
                    <a:pt x="1322014" y="2116644"/>
                  </a:lnTo>
                  <a:lnTo>
                    <a:pt x="1519058" y="2116644"/>
                  </a:lnTo>
                  <a:lnTo>
                    <a:pt x="1247947" y="1846232"/>
                  </a:lnTo>
                  <a:lnTo>
                    <a:pt x="1248646" y="1845533"/>
                  </a:lnTo>
                  <a:lnTo>
                    <a:pt x="1246550" y="1844834"/>
                  </a:lnTo>
                  <a:lnTo>
                    <a:pt x="1516962" y="1573723"/>
                  </a:lnTo>
                  <a:close/>
                  <a:moveTo>
                    <a:pt x="2899766" y="1573024"/>
                  </a:moveTo>
                  <a:lnTo>
                    <a:pt x="2629354" y="1844135"/>
                  </a:lnTo>
                  <a:lnTo>
                    <a:pt x="2900465" y="2114547"/>
                  </a:lnTo>
                  <a:lnTo>
                    <a:pt x="3164588" y="2114547"/>
                  </a:lnTo>
                  <a:lnTo>
                    <a:pt x="2893477" y="1844135"/>
                  </a:lnTo>
                  <a:lnTo>
                    <a:pt x="3163889" y="1573024"/>
                  </a:lnTo>
                  <a:close/>
                  <a:moveTo>
                    <a:pt x="2351257" y="1573024"/>
                  </a:moveTo>
                  <a:lnTo>
                    <a:pt x="2080844" y="1844135"/>
                  </a:lnTo>
                  <a:lnTo>
                    <a:pt x="2351955" y="2114547"/>
                  </a:lnTo>
                  <a:lnTo>
                    <a:pt x="2615379" y="2114547"/>
                  </a:lnTo>
                  <a:lnTo>
                    <a:pt x="2485414" y="1984582"/>
                  </a:lnTo>
                  <a:lnTo>
                    <a:pt x="2344968" y="1844135"/>
                  </a:lnTo>
                  <a:lnTo>
                    <a:pt x="2615379" y="1573024"/>
                  </a:lnTo>
                  <a:close/>
                  <a:moveTo>
                    <a:pt x="3448276" y="1572326"/>
                  </a:moveTo>
                  <a:lnTo>
                    <a:pt x="3177864" y="1843436"/>
                  </a:lnTo>
                  <a:lnTo>
                    <a:pt x="3448975" y="2113150"/>
                  </a:lnTo>
                  <a:lnTo>
                    <a:pt x="3713099" y="2113150"/>
                  </a:lnTo>
                  <a:lnTo>
                    <a:pt x="3441988" y="1842739"/>
                  </a:lnTo>
                  <a:lnTo>
                    <a:pt x="3626455" y="1658271"/>
                  </a:lnTo>
                  <a:lnTo>
                    <a:pt x="3712400" y="1572326"/>
                  </a:lnTo>
                  <a:close/>
                  <a:moveTo>
                    <a:pt x="4545297" y="1570929"/>
                  </a:moveTo>
                  <a:lnTo>
                    <a:pt x="4274885" y="1842040"/>
                  </a:lnTo>
                  <a:lnTo>
                    <a:pt x="4545996" y="2111753"/>
                  </a:lnTo>
                  <a:lnTo>
                    <a:pt x="4810119" y="2111753"/>
                  </a:lnTo>
                  <a:lnTo>
                    <a:pt x="4539009" y="1841341"/>
                  </a:lnTo>
                  <a:lnTo>
                    <a:pt x="4809421" y="1570929"/>
                  </a:lnTo>
                  <a:close/>
                  <a:moveTo>
                    <a:pt x="164203" y="1300517"/>
                  </a:moveTo>
                  <a:lnTo>
                    <a:pt x="294168" y="1430482"/>
                  </a:lnTo>
                  <a:lnTo>
                    <a:pt x="434615" y="1570929"/>
                  </a:lnTo>
                  <a:lnTo>
                    <a:pt x="164203" y="1842040"/>
                  </a:lnTo>
                  <a:lnTo>
                    <a:pt x="428326" y="1842040"/>
                  </a:lnTo>
                  <a:lnTo>
                    <a:pt x="698738" y="1570929"/>
                  </a:lnTo>
                  <a:lnTo>
                    <a:pt x="427627" y="1300517"/>
                  </a:lnTo>
                  <a:close/>
                  <a:moveTo>
                    <a:pt x="1809733" y="1299818"/>
                  </a:moveTo>
                  <a:lnTo>
                    <a:pt x="2080844" y="1570230"/>
                  </a:lnTo>
                  <a:lnTo>
                    <a:pt x="1810432" y="1840642"/>
                  </a:lnTo>
                  <a:lnTo>
                    <a:pt x="2074555" y="1840642"/>
                  </a:lnTo>
                  <a:lnTo>
                    <a:pt x="2344968" y="1570230"/>
                  </a:lnTo>
                  <a:lnTo>
                    <a:pt x="2073856" y="1299818"/>
                  </a:lnTo>
                  <a:close/>
                  <a:moveTo>
                    <a:pt x="712014" y="1299818"/>
                  </a:moveTo>
                  <a:lnTo>
                    <a:pt x="983125" y="1570230"/>
                  </a:lnTo>
                  <a:lnTo>
                    <a:pt x="712713" y="1841341"/>
                  </a:lnTo>
                  <a:lnTo>
                    <a:pt x="976837" y="1841341"/>
                  </a:lnTo>
                  <a:lnTo>
                    <a:pt x="1247249" y="1570230"/>
                  </a:lnTo>
                  <a:lnTo>
                    <a:pt x="976138" y="1299818"/>
                  </a:lnTo>
                  <a:close/>
                  <a:moveTo>
                    <a:pt x="2358243" y="1299119"/>
                  </a:moveTo>
                  <a:lnTo>
                    <a:pt x="2629354" y="1569531"/>
                  </a:lnTo>
                  <a:lnTo>
                    <a:pt x="2359641" y="1840642"/>
                  </a:lnTo>
                  <a:lnTo>
                    <a:pt x="2623065" y="1840642"/>
                  </a:lnTo>
                  <a:lnTo>
                    <a:pt x="2893477" y="1569531"/>
                  </a:lnTo>
                  <a:lnTo>
                    <a:pt x="2759320" y="1436072"/>
                  </a:lnTo>
                  <a:lnTo>
                    <a:pt x="2622367" y="1299119"/>
                  </a:lnTo>
                  <a:close/>
                  <a:moveTo>
                    <a:pt x="2906754" y="1298421"/>
                  </a:moveTo>
                  <a:lnTo>
                    <a:pt x="2908151" y="1299818"/>
                  </a:lnTo>
                  <a:lnTo>
                    <a:pt x="3177864" y="1568832"/>
                  </a:lnTo>
                  <a:lnTo>
                    <a:pt x="2907452" y="1839244"/>
                  </a:lnTo>
                  <a:lnTo>
                    <a:pt x="3171576" y="1839244"/>
                  </a:lnTo>
                  <a:lnTo>
                    <a:pt x="3441988" y="1568832"/>
                  </a:lnTo>
                  <a:lnTo>
                    <a:pt x="3436398" y="1563941"/>
                  </a:lnTo>
                  <a:lnTo>
                    <a:pt x="3170877" y="1298421"/>
                  </a:lnTo>
                  <a:close/>
                  <a:moveTo>
                    <a:pt x="1525347" y="1298421"/>
                  </a:moveTo>
                  <a:lnTo>
                    <a:pt x="1523949" y="1299119"/>
                  </a:lnTo>
                  <a:lnTo>
                    <a:pt x="1259826" y="1299119"/>
                  </a:lnTo>
                  <a:lnTo>
                    <a:pt x="1530937" y="1569531"/>
                  </a:lnTo>
                  <a:lnTo>
                    <a:pt x="1526744" y="1573723"/>
                  </a:lnTo>
                  <a:lnTo>
                    <a:pt x="1532333" y="1570929"/>
                  </a:lnTo>
                  <a:lnTo>
                    <a:pt x="1261921" y="1842040"/>
                  </a:lnTo>
                  <a:lnTo>
                    <a:pt x="1526046" y="1842040"/>
                  </a:lnTo>
                  <a:lnTo>
                    <a:pt x="1796458" y="1570929"/>
                  </a:lnTo>
                  <a:lnTo>
                    <a:pt x="1525347" y="1300517"/>
                  </a:lnTo>
                  <a:close/>
                  <a:moveTo>
                    <a:pt x="3454565" y="1297722"/>
                  </a:moveTo>
                  <a:lnTo>
                    <a:pt x="3725676" y="1568134"/>
                  </a:lnTo>
                  <a:lnTo>
                    <a:pt x="3722882" y="1570929"/>
                  </a:lnTo>
                  <a:lnTo>
                    <a:pt x="3632744" y="1661764"/>
                  </a:lnTo>
                  <a:lnTo>
                    <a:pt x="3455264" y="1838545"/>
                  </a:lnTo>
                  <a:lnTo>
                    <a:pt x="3719387" y="1838545"/>
                  </a:lnTo>
                  <a:lnTo>
                    <a:pt x="3808826" y="1749107"/>
                  </a:lnTo>
                  <a:lnTo>
                    <a:pt x="3989799" y="1568134"/>
                  </a:lnTo>
                  <a:lnTo>
                    <a:pt x="3718688" y="1297722"/>
                  </a:lnTo>
                  <a:close/>
                  <a:moveTo>
                    <a:pt x="1802048" y="1025213"/>
                  </a:moveTo>
                  <a:lnTo>
                    <a:pt x="1531636" y="1296324"/>
                  </a:lnTo>
                  <a:lnTo>
                    <a:pt x="1802746" y="1566736"/>
                  </a:lnTo>
                  <a:lnTo>
                    <a:pt x="2066870" y="1566736"/>
                  </a:lnTo>
                  <a:lnTo>
                    <a:pt x="1795759" y="1296324"/>
                  </a:lnTo>
                  <a:lnTo>
                    <a:pt x="2066171" y="1025213"/>
                  </a:lnTo>
                  <a:close/>
                  <a:moveTo>
                    <a:pt x="704328" y="1025213"/>
                  </a:moveTo>
                  <a:lnTo>
                    <a:pt x="433916" y="1296324"/>
                  </a:lnTo>
                  <a:lnTo>
                    <a:pt x="705027" y="1566736"/>
                  </a:lnTo>
                  <a:lnTo>
                    <a:pt x="969150" y="1566736"/>
                  </a:lnTo>
                  <a:lnTo>
                    <a:pt x="698039" y="1296324"/>
                  </a:lnTo>
                  <a:lnTo>
                    <a:pt x="967752" y="1025213"/>
                  </a:lnTo>
                  <a:close/>
                  <a:moveTo>
                    <a:pt x="2899067" y="1024514"/>
                  </a:moveTo>
                  <a:lnTo>
                    <a:pt x="2718793" y="1204790"/>
                  </a:lnTo>
                  <a:lnTo>
                    <a:pt x="2629354" y="1294927"/>
                  </a:lnTo>
                  <a:lnTo>
                    <a:pt x="2763512" y="1428386"/>
                  </a:lnTo>
                  <a:lnTo>
                    <a:pt x="2900465" y="1565338"/>
                  </a:lnTo>
                  <a:lnTo>
                    <a:pt x="3164588" y="1565338"/>
                  </a:lnTo>
                  <a:lnTo>
                    <a:pt x="2893477" y="1294927"/>
                  </a:lnTo>
                  <a:lnTo>
                    <a:pt x="2894875" y="1293530"/>
                  </a:lnTo>
                  <a:lnTo>
                    <a:pt x="3163191" y="1024514"/>
                  </a:lnTo>
                  <a:close/>
                  <a:moveTo>
                    <a:pt x="2350558" y="1024514"/>
                  </a:moveTo>
                  <a:lnTo>
                    <a:pt x="2080145" y="1295625"/>
                  </a:lnTo>
                  <a:lnTo>
                    <a:pt x="2351257" y="1566037"/>
                  </a:lnTo>
                  <a:lnTo>
                    <a:pt x="2615379" y="1566037"/>
                  </a:lnTo>
                  <a:lnTo>
                    <a:pt x="2344269" y="1295625"/>
                  </a:lnTo>
                  <a:lnTo>
                    <a:pt x="2528736" y="1111159"/>
                  </a:lnTo>
                  <a:lnTo>
                    <a:pt x="2614681" y="1025213"/>
                  </a:lnTo>
                  <a:lnTo>
                    <a:pt x="2356148" y="1025213"/>
                  </a:lnTo>
                  <a:close/>
                  <a:moveTo>
                    <a:pt x="1252838" y="1024514"/>
                  </a:moveTo>
                  <a:lnTo>
                    <a:pt x="982426" y="1295625"/>
                  </a:lnTo>
                  <a:lnTo>
                    <a:pt x="1253537" y="1566037"/>
                  </a:lnTo>
                  <a:lnTo>
                    <a:pt x="1517660" y="1566037"/>
                  </a:lnTo>
                  <a:lnTo>
                    <a:pt x="1246550" y="1295625"/>
                  </a:lnTo>
                  <a:lnTo>
                    <a:pt x="1431017" y="1111159"/>
                  </a:lnTo>
                  <a:lnTo>
                    <a:pt x="1516962" y="1024514"/>
                  </a:lnTo>
                  <a:close/>
                  <a:moveTo>
                    <a:pt x="3447578" y="1023816"/>
                  </a:moveTo>
                  <a:lnTo>
                    <a:pt x="3177166" y="1294927"/>
                  </a:lnTo>
                  <a:lnTo>
                    <a:pt x="3448276" y="1565338"/>
                  </a:lnTo>
                  <a:lnTo>
                    <a:pt x="3712400" y="1565338"/>
                  </a:lnTo>
                  <a:lnTo>
                    <a:pt x="3441289" y="1294927"/>
                  </a:lnTo>
                  <a:lnTo>
                    <a:pt x="3711701" y="1023816"/>
                  </a:lnTo>
                  <a:close/>
                  <a:moveTo>
                    <a:pt x="4544598" y="1022419"/>
                  </a:moveTo>
                  <a:lnTo>
                    <a:pt x="4274186" y="1293530"/>
                  </a:lnTo>
                  <a:lnTo>
                    <a:pt x="4545297" y="1563941"/>
                  </a:lnTo>
                  <a:lnTo>
                    <a:pt x="4809421" y="1563941"/>
                  </a:lnTo>
                  <a:lnTo>
                    <a:pt x="4538310" y="1293530"/>
                  </a:lnTo>
                  <a:lnTo>
                    <a:pt x="4722777" y="1108363"/>
                  </a:lnTo>
                  <a:lnTo>
                    <a:pt x="4722078" y="1107664"/>
                  </a:lnTo>
                  <a:lnTo>
                    <a:pt x="4807324" y="1022419"/>
                  </a:lnTo>
                  <a:close/>
                  <a:moveTo>
                    <a:pt x="3995389" y="1022419"/>
                  </a:moveTo>
                  <a:lnTo>
                    <a:pt x="3724977" y="1293530"/>
                  </a:lnTo>
                  <a:lnTo>
                    <a:pt x="3996088" y="1563941"/>
                  </a:lnTo>
                  <a:lnTo>
                    <a:pt x="4064564" y="1563941"/>
                  </a:lnTo>
                  <a:lnTo>
                    <a:pt x="4061071" y="1570929"/>
                  </a:lnTo>
                  <a:lnTo>
                    <a:pt x="3996088" y="1570929"/>
                  </a:lnTo>
                  <a:lnTo>
                    <a:pt x="3815814" y="1751902"/>
                  </a:lnTo>
                  <a:lnTo>
                    <a:pt x="3726375" y="1842040"/>
                  </a:lnTo>
                  <a:lnTo>
                    <a:pt x="3859834" y="1975498"/>
                  </a:lnTo>
                  <a:lnTo>
                    <a:pt x="3857039" y="1981088"/>
                  </a:lnTo>
                  <a:lnTo>
                    <a:pt x="3857739" y="1981785"/>
                  </a:lnTo>
                  <a:lnTo>
                    <a:pt x="3857039" y="1983185"/>
                  </a:lnTo>
                  <a:lnTo>
                    <a:pt x="3720086" y="1846232"/>
                  </a:lnTo>
                  <a:lnTo>
                    <a:pt x="3455963" y="1846232"/>
                  </a:lnTo>
                  <a:lnTo>
                    <a:pt x="3727074" y="2116644"/>
                  </a:lnTo>
                  <a:lnTo>
                    <a:pt x="3456662" y="2387755"/>
                  </a:lnTo>
                  <a:lnTo>
                    <a:pt x="3654754" y="2387755"/>
                  </a:lnTo>
                  <a:lnTo>
                    <a:pt x="3652309" y="2392646"/>
                  </a:lnTo>
                  <a:lnTo>
                    <a:pt x="3652658" y="2392646"/>
                  </a:lnTo>
                  <a:lnTo>
                    <a:pt x="3651610" y="2394742"/>
                  </a:lnTo>
                  <a:lnTo>
                    <a:pt x="3456662" y="2394742"/>
                  </a:lnTo>
                  <a:lnTo>
                    <a:pt x="3586394" y="2524475"/>
                  </a:lnTo>
                  <a:lnTo>
                    <a:pt x="3583832" y="2529598"/>
                  </a:lnTo>
                  <a:lnTo>
                    <a:pt x="3584065" y="2529831"/>
                  </a:lnTo>
                  <a:lnTo>
                    <a:pt x="3583133" y="2531695"/>
                  </a:lnTo>
                  <a:lnTo>
                    <a:pt x="3442687" y="2391248"/>
                  </a:lnTo>
                  <a:lnTo>
                    <a:pt x="3713099" y="2120137"/>
                  </a:lnTo>
                  <a:lnTo>
                    <a:pt x="3448975" y="2120137"/>
                  </a:lnTo>
                  <a:lnTo>
                    <a:pt x="3178563" y="2391248"/>
                  </a:lnTo>
                  <a:lnTo>
                    <a:pt x="3448975" y="2662359"/>
                  </a:lnTo>
                  <a:lnTo>
                    <a:pt x="3517452" y="2662359"/>
                  </a:lnTo>
                  <a:lnTo>
                    <a:pt x="3513958" y="2669346"/>
                  </a:lnTo>
                  <a:lnTo>
                    <a:pt x="3448975" y="2669346"/>
                  </a:lnTo>
                  <a:lnTo>
                    <a:pt x="3268701" y="2850320"/>
                  </a:lnTo>
                  <a:lnTo>
                    <a:pt x="3179262" y="2939758"/>
                  </a:lnTo>
                  <a:lnTo>
                    <a:pt x="3312721" y="3073916"/>
                  </a:lnTo>
                  <a:lnTo>
                    <a:pt x="3451072" y="3207376"/>
                  </a:lnTo>
                  <a:lnTo>
                    <a:pt x="3715195" y="3207376"/>
                  </a:lnTo>
                  <a:lnTo>
                    <a:pt x="3444084" y="2936964"/>
                  </a:lnTo>
                  <a:lnTo>
                    <a:pt x="3445482" y="2935566"/>
                  </a:lnTo>
                  <a:lnTo>
                    <a:pt x="3713797" y="2666552"/>
                  </a:lnTo>
                  <a:lnTo>
                    <a:pt x="3515356" y="2666552"/>
                  </a:lnTo>
                  <a:lnTo>
                    <a:pt x="3518849" y="2659564"/>
                  </a:lnTo>
                  <a:lnTo>
                    <a:pt x="3713797" y="2659564"/>
                  </a:lnTo>
                  <a:lnTo>
                    <a:pt x="3584065" y="2529831"/>
                  </a:lnTo>
                  <a:lnTo>
                    <a:pt x="3586627" y="2524708"/>
                  </a:lnTo>
                  <a:lnTo>
                    <a:pt x="3586394" y="2524475"/>
                  </a:lnTo>
                  <a:lnTo>
                    <a:pt x="3587326" y="2522611"/>
                  </a:lnTo>
                  <a:lnTo>
                    <a:pt x="3727772" y="2663058"/>
                  </a:lnTo>
                  <a:lnTo>
                    <a:pt x="3457360" y="2934169"/>
                  </a:lnTo>
                  <a:lnTo>
                    <a:pt x="3721484" y="2934169"/>
                  </a:lnTo>
                  <a:lnTo>
                    <a:pt x="3991896" y="2663058"/>
                  </a:lnTo>
                  <a:lnTo>
                    <a:pt x="3720785" y="2392646"/>
                  </a:lnTo>
                  <a:lnTo>
                    <a:pt x="3652658" y="2392646"/>
                  </a:lnTo>
                  <a:lnTo>
                    <a:pt x="3655103" y="2387755"/>
                  </a:lnTo>
                  <a:lnTo>
                    <a:pt x="3654754" y="2387755"/>
                  </a:lnTo>
                  <a:lnTo>
                    <a:pt x="3655802" y="2385658"/>
                  </a:lnTo>
                  <a:lnTo>
                    <a:pt x="3720785" y="2385658"/>
                  </a:lnTo>
                  <a:lnTo>
                    <a:pt x="3991197" y="2114547"/>
                  </a:lnTo>
                  <a:lnTo>
                    <a:pt x="3857739" y="1981785"/>
                  </a:lnTo>
                  <a:lnTo>
                    <a:pt x="3860533" y="1976197"/>
                  </a:lnTo>
                  <a:lnTo>
                    <a:pt x="3859834" y="1975498"/>
                  </a:lnTo>
                  <a:lnTo>
                    <a:pt x="3860533" y="1974101"/>
                  </a:lnTo>
                  <a:lnTo>
                    <a:pt x="3997486" y="2111054"/>
                  </a:lnTo>
                  <a:lnTo>
                    <a:pt x="4261609" y="2111054"/>
                  </a:lnTo>
                  <a:lnTo>
                    <a:pt x="3990498" y="1840642"/>
                  </a:lnTo>
                  <a:lnTo>
                    <a:pt x="3991896" y="1839244"/>
                  </a:lnTo>
                  <a:lnTo>
                    <a:pt x="4260211" y="1570230"/>
                  </a:lnTo>
                  <a:lnTo>
                    <a:pt x="4061770" y="1570230"/>
                  </a:lnTo>
                  <a:lnTo>
                    <a:pt x="4065263" y="1563243"/>
                  </a:lnTo>
                  <a:lnTo>
                    <a:pt x="4260211" y="1563243"/>
                  </a:lnTo>
                  <a:lnTo>
                    <a:pt x="4130246" y="1433278"/>
                  </a:lnTo>
                  <a:lnTo>
                    <a:pt x="4133739" y="1426290"/>
                  </a:lnTo>
                  <a:lnTo>
                    <a:pt x="4274186" y="1566736"/>
                  </a:lnTo>
                  <a:lnTo>
                    <a:pt x="4003774" y="1837847"/>
                  </a:lnTo>
                  <a:lnTo>
                    <a:pt x="4267898" y="1837847"/>
                  </a:lnTo>
                  <a:lnTo>
                    <a:pt x="4538310" y="1566736"/>
                  </a:lnTo>
                  <a:lnTo>
                    <a:pt x="4267199" y="1297023"/>
                  </a:lnTo>
                  <a:lnTo>
                    <a:pt x="4198723" y="1297023"/>
                  </a:lnTo>
                  <a:lnTo>
                    <a:pt x="4003774" y="1297023"/>
                  </a:lnTo>
                  <a:lnTo>
                    <a:pt x="4133040" y="1426989"/>
                  </a:lnTo>
                  <a:lnTo>
                    <a:pt x="4129547" y="1433975"/>
                  </a:lnTo>
                  <a:lnTo>
                    <a:pt x="3989100" y="1293530"/>
                  </a:lnTo>
                  <a:lnTo>
                    <a:pt x="4259512" y="1022419"/>
                  </a:lnTo>
                  <a:close/>
                  <a:moveTo>
                    <a:pt x="162805" y="752007"/>
                  </a:moveTo>
                  <a:lnTo>
                    <a:pt x="433916" y="1022419"/>
                  </a:lnTo>
                  <a:lnTo>
                    <a:pt x="164203" y="1293530"/>
                  </a:lnTo>
                  <a:lnTo>
                    <a:pt x="427627" y="1293530"/>
                  </a:lnTo>
                  <a:lnTo>
                    <a:pt x="698039" y="1022419"/>
                  </a:lnTo>
                  <a:lnTo>
                    <a:pt x="563881" y="888959"/>
                  </a:lnTo>
                  <a:lnTo>
                    <a:pt x="426928" y="752007"/>
                  </a:lnTo>
                  <a:close/>
                  <a:moveTo>
                    <a:pt x="1809035" y="751308"/>
                  </a:moveTo>
                  <a:lnTo>
                    <a:pt x="1937603" y="879876"/>
                  </a:lnTo>
                  <a:lnTo>
                    <a:pt x="2079447" y="1021720"/>
                  </a:lnTo>
                  <a:lnTo>
                    <a:pt x="1809035" y="1292831"/>
                  </a:lnTo>
                  <a:lnTo>
                    <a:pt x="2073158" y="1292831"/>
                  </a:lnTo>
                  <a:lnTo>
                    <a:pt x="2343570" y="1021720"/>
                  </a:lnTo>
                  <a:lnTo>
                    <a:pt x="2338678" y="1016829"/>
                  </a:lnTo>
                  <a:lnTo>
                    <a:pt x="2073158" y="751308"/>
                  </a:lnTo>
                  <a:close/>
                  <a:moveTo>
                    <a:pt x="2357544" y="750609"/>
                  </a:moveTo>
                  <a:lnTo>
                    <a:pt x="2628655" y="1020322"/>
                  </a:lnTo>
                  <a:lnTo>
                    <a:pt x="2625861" y="1023118"/>
                  </a:lnTo>
                  <a:lnTo>
                    <a:pt x="2535723" y="1113953"/>
                  </a:lnTo>
                  <a:lnTo>
                    <a:pt x="2358243" y="1291433"/>
                  </a:lnTo>
                  <a:lnTo>
                    <a:pt x="2622367" y="1291433"/>
                  </a:lnTo>
                  <a:lnTo>
                    <a:pt x="2711805" y="1201994"/>
                  </a:lnTo>
                  <a:lnTo>
                    <a:pt x="2892779" y="1021021"/>
                  </a:lnTo>
                  <a:lnTo>
                    <a:pt x="2621668" y="750609"/>
                  </a:lnTo>
                  <a:close/>
                  <a:moveTo>
                    <a:pt x="1259127" y="750609"/>
                  </a:moveTo>
                  <a:lnTo>
                    <a:pt x="1530238" y="1020322"/>
                  </a:lnTo>
                  <a:lnTo>
                    <a:pt x="1527442" y="1023118"/>
                  </a:lnTo>
                  <a:lnTo>
                    <a:pt x="1437306" y="1113953"/>
                  </a:lnTo>
                  <a:lnTo>
                    <a:pt x="1259826" y="1291433"/>
                  </a:lnTo>
                  <a:lnTo>
                    <a:pt x="1523949" y="1291433"/>
                  </a:lnTo>
                  <a:lnTo>
                    <a:pt x="1613388" y="1201994"/>
                  </a:lnTo>
                  <a:lnTo>
                    <a:pt x="1794361" y="1021021"/>
                  </a:lnTo>
                  <a:lnTo>
                    <a:pt x="1523250" y="750609"/>
                  </a:lnTo>
                  <a:close/>
                  <a:moveTo>
                    <a:pt x="710617" y="750609"/>
                  </a:moveTo>
                  <a:lnTo>
                    <a:pt x="712014" y="752007"/>
                  </a:lnTo>
                  <a:lnTo>
                    <a:pt x="981727" y="1021021"/>
                  </a:lnTo>
                  <a:lnTo>
                    <a:pt x="711316" y="1292132"/>
                  </a:lnTo>
                  <a:lnTo>
                    <a:pt x="975439" y="1292132"/>
                  </a:lnTo>
                  <a:lnTo>
                    <a:pt x="1245851" y="1021021"/>
                  </a:lnTo>
                  <a:lnTo>
                    <a:pt x="1240261" y="1016130"/>
                  </a:lnTo>
                  <a:lnTo>
                    <a:pt x="974740" y="750609"/>
                  </a:lnTo>
                  <a:close/>
                  <a:moveTo>
                    <a:pt x="2906055" y="749910"/>
                  </a:moveTo>
                  <a:lnTo>
                    <a:pt x="3036720" y="879177"/>
                  </a:lnTo>
                  <a:lnTo>
                    <a:pt x="3177166" y="1019623"/>
                  </a:lnTo>
                  <a:lnTo>
                    <a:pt x="2906754" y="1290734"/>
                  </a:lnTo>
                  <a:lnTo>
                    <a:pt x="3170877" y="1290734"/>
                  </a:lnTo>
                  <a:lnTo>
                    <a:pt x="3441289" y="1020322"/>
                  </a:lnTo>
                  <a:lnTo>
                    <a:pt x="3170178" y="749910"/>
                  </a:lnTo>
                  <a:close/>
                  <a:moveTo>
                    <a:pt x="3454565" y="749211"/>
                  </a:moveTo>
                  <a:lnTo>
                    <a:pt x="3725676" y="1019623"/>
                  </a:lnTo>
                  <a:lnTo>
                    <a:pt x="3455264" y="1290734"/>
                  </a:lnTo>
                  <a:lnTo>
                    <a:pt x="3719387" y="1290734"/>
                  </a:lnTo>
                  <a:lnTo>
                    <a:pt x="3989799" y="1019623"/>
                  </a:lnTo>
                  <a:lnTo>
                    <a:pt x="3718688" y="749211"/>
                  </a:lnTo>
                  <a:close/>
                  <a:moveTo>
                    <a:pt x="4003075" y="748512"/>
                  </a:moveTo>
                  <a:lnTo>
                    <a:pt x="4274186" y="1018924"/>
                  </a:lnTo>
                  <a:lnTo>
                    <a:pt x="4003774" y="1290035"/>
                  </a:lnTo>
                  <a:lnTo>
                    <a:pt x="4202216" y="1290035"/>
                  </a:lnTo>
                  <a:lnTo>
                    <a:pt x="4267199" y="1290035"/>
                  </a:lnTo>
                  <a:lnTo>
                    <a:pt x="4538310" y="1018924"/>
                  </a:lnTo>
                  <a:lnTo>
                    <a:pt x="4404151" y="885466"/>
                  </a:lnTo>
                  <a:lnTo>
                    <a:pt x="4267199" y="748512"/>
                  </a:lnTo>
                  <a:close/>
                  <a:moveTo>
                    <a:pt x="702930" y="476704"/>
                  </a:moveTo>
                  <a:lnTo>
                    <a:pt x="522656" y="657677"/>
                  </a:lnTo>
                  <a:lnTo>
                    <a:pt x="433217" y="747814"/>
                  </a:lnTo>
                  <a:lnTo>
                    <a:pt x="567375" y="881273"/>
                  </a:lnTo>
                  <a:lnTo>
                    <a:pt x="704328" y="1018227"/>
                  </a:lnTo>
                  <a:lnTo>
                    <a:pt x="968451" y="1018227"/>
                  </a:lnTo>
                  <a:lnTo>
                    <a:pt x="697340" y="747814"/>
                  </a:lnTo>
                  <a:lnTo>
                    <a:pt x="698738" y="746417"/>
                  </a:lnTo>
                  <a:lnTo>
                    <a:pt x="967054" y="476704"/>
                  </a:lnTo>
                  <a:close/>
                  <a:moveTo>
                    <a:pt x="1252140" y="476005"/>
                  </a:moveTo>
                  <a:lnTo>
                    <a:pt x="981727" y="747116"/>
                  </a:lnTo>
                  <a:lnTo>
                    <a:pt x="1252838" y="1017528"/>
                  </a:lnTo>
                  <a:lnTo>
                    <a:pt x="1516962" y="1017528"/>
                  </a:lnTo>
                  <a:lnTo>
                    <a:pt x="1245851" y="747116"/>
                  </a:lnTo>
                  <a:lnTo>
                    <a:pt x="1516263" y="476005"/>
                  </a:lnTo>
                  <a:close/>
                  <a:moveTo>
                    <a:pt x="2899067" y="475306"/>
                  </a:moveTo>
                  <a:lnTo>
                    <a:pt x="2628655" y="746417"/>
                  </a:lnTo>
                  <a:lnTo>
                    <a:pt x="2899766" y="1016829"/>
                  </a:lnTo>
                  <a:lnTo>
                    <a:pt x="3163191" y="1016829"/>
                  </a:lnTo>
                  <a:lnTo>
                    <a:pt x="3032527" y="886863"/>
                  </a:lnTo>
                  <a:lnTo>
                    <a:pt x="2892081" y="746417"/>
                  </a:lnTo>
                  <a:lnTo>
                    <a:pt x="3163191" y="475306"/>
                  </a:lnTo>
                  <a:close/>
                  <a:moveTo>
                    <a:pt x="1799951" y="475306"/>
                  </a:moveTo>
                  <a:lnTo>
                    <a:pt x="1529539" y="746417"/>
                  </a:lnTo>
                  <a:lnTo>
                    <a:pt x="1800650" y="1016829"/>
                  </a:lnTo>
                  <a:lnTo>
                    <a:pt x="1802048" y="1018227"/>
                  </a:lnTo>
                  <a:lnTo>
                    <a:pt x="2066171" y="1018227"/>
                  </a:lnTo>
                  <a:lnTo>
                    <a:pt x="1934808" y="886863"/>
                  </a:lnTo>
                  <a:lnTo>
                    <a:pt x="1797155" y="749211"/>
                  </a:lnTo>
                  <a:lnTo>
                    <a:pt x="2066171" y="475306"/>
                  </a:lnTo>
                  <a:close/>
                  <a:moveTo>
                    <a:pt x="3446879" y="474607"/>
                  </a:moveTo>
                  <a:lnTo>
                    <a:pt x="3176467" y="745718"/>
                  </a:lnTo>
                  <a:lnTo>
                    <a:pt x="3447578" y="1016130"/>
                  </a:lnTo>
                  <a:lnTo>
                    <a:pt x="3711701" y="1016130"/>
                  </a:lnTo>
                  <a:lnTo>
                    <a:pt x="3440590" y="745718"/>
                  </a:lnTo>
                  <a:lnTo>
                    <a:pt x="3625057" y="561251"/>
                  </a:lnTo>
                  <a:lnTo>
                    <a:pt x="3709605" y="474607"/>
                  </a:lnTo>
                  <a:close/>
                  <a:moveTo>
                    <a:pt x="3995389" y="473908"/>
                  </a:moveTo>
                  <a:lnTo>
                    <a:pt x="3724977" y="745019"/>
                  </a:lnTo>
                  <a:lnTo>
                    <a:pt x="3996088" y="1015431"/>
                  </a:lnTo>
                  <a:lnTo>
                    <a:pt x="4260211" y="1015431"/>
                  </a:lnTo>
                  <a:lnTo>
                    <a:pt x="3989100" y="745019"/>
                  </a:lnTo>
                  <a:lnTo>
                    <a:pt x="3990498" y="743621"/>
                  </a:lnTo>
                  <a:lnTo>
                    <a:pt x="3989799" y="743621"/>
                  </a:lnTo>
                  <a:lnTo>
                    <a:pt x="4258116" y="474607"/>
                  </a:lnTo>
                  <a:lnTo>
                    <a:pt x="3999582" y="474607"/>
                  </a:lnTo>
                  <a:lnTo>
                    <a:pt x="4000979" y="473908"/>
                  </a:lnTo>
                  <a:close/>
                  <a:moveTo>
                    <a:pt x="4543201" y="473209"/>
                  </a:moveTo>
                  <a:lnTo>
                    <a:pt x="4362227" y="654183"/>
                  </a:lnTo>
                  <a:lnTo>
                    <a:pt x="4362926" y="654882"/>
                  </a:lnTo>
                  <a:lnTo>
                    <a:pt x="4273487" y="745019"/>
                  </a:lnTo>
                  <a:lnTo>
                    <a:pt x="4407646" y="878479"/>
                  </a:lnTo>
                  <a:lnTo>
                    <a:pt x="4543899" y="1014732"/>
                  </a:lnTo>
                  <a:lnTo>
                    <a:pt x="4808023" y="1014732"/>
                  </a:lnTo>
                  <a:lnTo>
                    <a:pt x="4536912" y="744320"/>
                  </a:lnTo>
                  <a:lnTo>
                    <a:pt x="4807324" y="473209"/>
                  </a:lnTo>
                  <a:close/>
                  <a:moveTo>
                    <a:pt x="2616078" y="473209"/>
                  </a:moveTo>
                  <a:lnTo>
                    <a:pt x="2349859" y="476005"/>
                  </a:lnTo>
                  <a:lnTo>
                    <a:pt x="2079447" y="747116"/>
                  </a:lnTo>
                  <a:lnTo>
                    <a:pt x="2350558" y="1017528"/>
                  </a:lnTo>
                  <a:lnTo>
                    <a:pt x="2614681" y="1017528"/>
                  </a:lnTo>
                  <a:lnTo>
                    <a:pt x="2343570" y="747116"/>
                  </a:lnTo>
                  <a:close/>
                  <a:moveTo>
                    <a:pt x="161407" y="203496"/>
                  </a:moveTo>
                  <a:lnTo>
                    <a:pt x="432518" y="473908"/>
                  </a:lnTo>
                  <a:lnTo>
                    <a:pt x="429724" y="476704"/>
                  </a:lnTo>
                  <a:lnTo>
                    <a:pt x="339586" y="567539"/>
                  </a:lnTo>
                  <a:lnTo>
                    <a:pt x="162106" y="744320"/>
                  </a:lnTo>
                  <a:lnTo>
                    <a:pt x="426230" y="744320"/>
                  </a:lnTo>
                  <a:lnTo>
                    <a:pt x="515668" y="654882"/>
                  </a:lnTo>
                  <a:lnTo>
                    <a:pt x="696642" y="473908"/>
                  </a:lnTo>
                  <a:lnTo>
                    <a:pt x="425531" y="203496"/>
                  </a:lnTo>
                  <a:close/>
                  <a:moveTo>
                    <a:pt x="710617" y="202798"/>
                  </a:moveTo>
                  <a:lnTo>
                    <a:pt x="840582" y="332763"/>
                  </a:lnTo>
                  <a:lnTo>
                    <a:pt x="981029" y="472511"/>
                  </a:lnTo>
                  <a:lnTo>
                    <a:pt x="710617" y="743621"/>
                  </a:lnTo>
                  <a:lnTo>
                    <a:pt x="974740" y="743621"/>
                  </a:lnTo>
                  <a:lnTo>
                    <a:pt x="1245851" y="473209"/>
                  </a:lnTo>
                  <a:lnTo>
                    <a:pt x="974740" y="202798"/>
                  </a:lnTo>
                  <a:close/>
                  <a:moveTo>
                    <a:pt x="2906055" y="202099"/>
                  </a:moveTo>
                  <a:lnTo>
                    <a:pt x="3035322" y="329968"/>
                  </a:lnTo>
                  <a:lnTo>
                    <a:pt x="3035322" y="330667"/>
                  </a:lnTo>
                  <a:lnTo>
                    <a:pt x="3177166" y="472511"/>
                  </a:lnTo>
                  <a:lnTo>
                    <a:pt x="2906754" y="743621"/>
                  </a:lnTo>
                  <a:lnTo>
                    <a:pt x="3170178" y="743621"/>
                  </a:lnTo>
                  <a:lnTo>
                    <a:pt x="3440590" y="472511"/>
                  </a:lnTo>
                  <a:lnTo>
                    <a:pt x="3435000" y="466921"/>
                  </a:lnTo>
                  <a:lnTo>
                    <a:pt x="3434301" y="466921"/>
                  </a:lnTo>
                  <a:lnTo>
                    <a:pt x="3168781" y="202099"/>
                  </a:lnTo>
                  <a:close/>
                  <a:moveTo>
                    <a:pt x="1808336" y="202099"/>
                  </a:moveTo>
                  <a:lnTo>
                    <a:pt x="1810426" y="204887"/>
                  </a:lnTo>
                  <a:lnTo>
                    <a:pt x="1809733" y="204195"/>
                  </a:lnTo>
                  <a:lnTo>
                    <a:pt x="1810432" y="204894"/>
                  </a:lnTo>
                  <a:lnTo>
                    <a:pt x="1810426" y="204887"/>
                  </a:lnTo>
                  <a:lnTo>
                    <a:pt x="2068965" y="462729"/>
                  </a:lnTo>
                  <a:lnTo>
                    <a:pt x="2078748" y="471812"/>
                  </a:lnTo>
                  <a:lnTo>
                    <a:pt x="2080844" y="473908"/>
                  </a:lnTo>
                  <a:lnTo>
                    <a:pt x="1816022" y="743621"/>
                  </a:lnTo>
                  <a:lnTo>
                    <a:pt x="2075254" y="744320"/>
                  </a:lnTo>
                  <a:lnTo>
                    <a:pt x="2344968" y="473908"/>
                  </a:lnTo>
                  <a:lnTo>
                    <a:pt x="2209412" y="339051"/>
                  </a:lnTo>
                  <a:lnTo>
                    <a:pt x="2192643" y="322282"/>
                  </a:lnTo>
                  <a:lnTo>
                    <a:pt x="2073158" y="203496"/>
                  </a:lnTo>
                  <a:lnTo>
                    <a:pt x="2068965" y="202099"/>
                  </a:lnTo>
                  <a:close/>
                  <a:moveTo>
                    <a:pt x="1258428" y="202099"/>
                  </a:moveTo>
                  <a:lnTo>
                    <a:pt x="1529539" y="472511"/>
                  </a:lnTo>
                  <a:lnTo>
                    <a:pt x="1259127" y="743621"/>
                  </a:lnTo>
                  <a:lnTo>
                    <a:pt x="1523250" y="743621"/>
                  </a:lnTo>
                  <a:lnTo>
                    <a:pt x="1793662" y="472511"/>
                  </a:lnTo>
                  <a:lnTo>
                    <a:pt x="1522551" y="202099"/>
                  </a:lnTo>
                  <a:close/>
                  <a:moveTo>
                    <a:pt x="2621668" y="200701"/>
                  </a:moveTo>
                  <a:lnTo>
                    <a:pt x="2358243" y="201400"/>
                  </a:lnTo>
                  <a:lnTo>
                    <a:pt x="2627259" y="469716"/>
                  </a:lnTo>
                  <a:lnTo>
                    <a:pt x="2626560" y="470415"/>
                  </a:lnTo>
                  <a:lnTo>
                    <a:pt x="2627957" y="471812"/>
                  </a:lnTo>
                  <a:lnTo>
                    <a:pt x="2357544" y="742923"/>
                  </a:lnTo>
                  <a:lnTo>
                    <a:pt x="2621668" y="742923"/>
                  </a:lnTo>
                  <a:lnTo>
                    <a:pt x="2711805" y="652786"/>
                  </a:lnTo>
                  <a:lnTo>
                    <a:pt x="2891382" y="469716"/>
                  </a:lnTo>
                  <a:close/>
                  <a:moveTo>
                    <a:pt x="4001678" y="200003"/>
                  </a:moveTo>
                  <a:lnTo>
                    <a:pt x="4131644" y="329269"/>
                  </a:lnTo>
                  <a:lnTo>
                    <a:pt x="4272090" y="469716"/>
                  </a:lnTo>
                  <a:lnTo>
                    <a:pt x="4179158" y="563347"/>
                  </a:lnTo>
                  <a:lnTo>
                    <a:pt x="4179856" y="564046"/>
                  </a:lnTo>
                  <a:lnTo>
                    <a:pt x="4003075" y="741525"/>
                  </a:lnTo>
                  <a:lnTo>
                    <a:pt x="4265801" y="741525"/>
                  </a:lnTo>
                  <a:lnTo>
                    <a:pt x="4536213" y="470415"/>
                  </a:lnTo>
                  <a:lnTo>
                    <a:pt x="4265102" y="200003"/>
                  </a:lnTo>
                  <a:close/>
                  <a:moveTo>
                    <a:pt x="3453167" y="200003"/>
                  </a:moveTo>
                  <a:lnTo>
                    <a:pt x="3724278" y="470415"/>
                  </a:lnTo>
                  <a:lnTo>
                    <a:pt x="3724977" y="471113"/>
                  </a:lnTo>
                  <a:lnTo>
                    <a:pt x="3454565" y="742224"/>
                  </a:lnTo>
                  <a:lnTo>
                    <a:pt x="3718688" y="742224"/>
                  </a:lnTo>
                  <a:lnTo>
                    <a:pt x="3808127" y="652087"/>
                  </a:lnTo>
                  <a:lnTo>
                    <a:pt x="3807428" y="652087"/>
                  </a:lnTo>
                  <a:lnTo>
                    <a:pt x="3988403" y="471113"/>
                  </a:lnTo>
                  <a:lnTo>
                    <a:pt x="3983511" y="465523"/>
                  </a:lnTo>
                  <a:lnTo>
                    <a:pt x="3717291" y="200003"/>
                  </a:lnTo>
                  <a:close/>
                  <a:moveTo>
                    <a:pt x="348134" y="0"/>
                  </a:moveTo>
                  <a:lnTo>
                    <a:pt x="358615" y="0"/>
                  </a:lnTo>
                  <a:lnTo>
                    <a:pt x="162106" y="196509"/>
                  </a:lnTo>
                  <a:lnTo>
                    <a:pt x="426230" y="196509"/>
                  </a:lnTo>
                  <a:lnTo>
                    <a:pt x="622232" y="0"/>
                  </a:lnTo>
                  <a:lnTo>
                    <a:pt x="632006" y="0"/>
                  </a:lnTo>
                  <a:lnTo>
                    <a:pt x="432518" y="200003"/>
                  </a:lnTo>
                  <a:lnTo>
                    <a:pt x="704328" y="470415"/>
                  </a:lnTo>
                  <a:lnTo>
                    <a:pt x="967752" y="470415"/>
                  </a:lnTo>
                  <a:lnTo>
                    <a:pt x="837089" y="340449"/>
                  </a:lnTo>
                  <a:lnTo>
                    <a:pt x="696642" y="200003"/>
                  </a:lnTo>
                  <a:lnTo>
                    <a:pt x="896129" y="0"/>
                  </a:lnTo>
                  <a:lnTo>
                    <a:pt x="907318" y="0"/>
                  </a:lnTo>
                  <a:lnTo>
                    <a:pt x="711316" y="196509"/>
                  </a:lnTo>
                  <a:lnTo>
                    <a:pt x="974740" y="196509"/>
                  </a:lnTo>
                  <a:lnTo>
                    <a:pt x="1170742" y="0"/>
                  </a:lnTo>
                  <a:lnTo>
                    <a:pt x="1179819" y="0"/>
                  </a:lnTo>
                  <a:lnTo>
                    <a:pt x="981029" y="199304"/>
                  </a:lnTo>
                  <a:lnTo>
                    <a:pt x="1252140" y="469716"/>
                  </a:lnTo>
                  <a:lnTo>
                    <a:pt x="1516263" y="469716"/>
                  </a:lnTo>
                  <a:lnTo>
                    <a:pt x="1245152" y="199304"/>
                  </a:lnTo>
                  <a:lnTo>
                    <a:pt x="1443942" y="0"/>
                  </a:lnTo>
                  <a:lnTo>
                    <a:pt x="1453410" y="0"/>
                  </a:lnTo>
                  <a:lnTo>
                    <a:pt x="1436607" y="16933"/>
                  </a:lnTo>
                  <a:lnTo>
                    <a:pt x="1435908" y="16933"/>
                  </a:lnTo>
                  <a:lnTo>
                    <a:pt x="1258428" y="195111"/>
                  </a:lnTo>
                  <a:lnTo>
                    <a:pt x="1522551" y="195111"/>
                  </a:lnTo>
                  <a:lnTo>
                    <a:pt x="1717663" y="0"/>
                  </a:lnTo>
                  <a:lnTo>
                    <a:pt x="1728424" y="0"/>
                  </a:lnTo>
                  <a:lnTo>
                    <a:pt x="1620376" y="108468"/>
                  </a:lnTo>
                  <a:lnTo>
                    <a:pt x="1619677" y="108468"/>
                  </a:lnTo>
                  <a:lnTo>
                    <a:pt x="1529539" y="198605"/>
                  </a:lnTo>
                  <a:lnTo>
                    <a:pt x="1799951" y="469716"/>
                  </a:lnTo>
                  <a:lnTo>
                    <a:pt x="2064074" y="469716"/>
                  </a:lnTo>
                  <a:lnTo>
                    <a:pt x="1792964" y="199304"/>
                  </a:lnTo>
                  <a:lnTo>
                    <a:pt x="1977431" y="14837"/>
                  </a:lnTo>
                  <a:lnTo>
                    <a:pt x="1978130" y="14837"/>
                  </a:lnTo>
                  <a:lnTo>
                    <a:pt x="1992847" y="0"/>
                  </a:lnTo>
                  <a:lnTo>
                    <a:pt x="2002247" y="0"/>
                  </a:lnTo>
                  <a:lnTo>
                    <a:pt x="1808336" y="194412"/>
                  </a:lnTo>
                  <a:lnTo>
                    <a:pt x="2071761" y="194412"/>
                  </a:lnTo>
                  <a:lnTo>
                    <a:pt x="2266173" y="0"/>
                  </a:lnTo>
                  <a:lnTo>
                    <a:pt x="2277539" y="0"/>
                  </a:lnTo>
                  <a:lnTo>
                    <a:pt x="2078748" y="199304"/>
                  </a:lnTo>
                  <a:lnTo>
                    <a:pt x="2348461" y="468319"/>
                  </a:lnTo>
                  <a:lnTo>
                    <a:pt x="2611886" y="468319"/>
                  </a:lnTo>
                  <a:lnTo>
                    <a:pt x="2342872" y="199304"/>
                  </a:lnTo>
                  <a:lnTo>
                    <a:pt x="2343570" y="198605"/>
                  </a:lnTo>
                  <a:lnTo>
                    <a:pt x="2342173" y="197208"/>
                  </a:lnTo>
                  <a:lnTo>
                    <a:pt x="2538868" y="0"/>
                  </a:lnTo>
                  <a:lnTo>
                    <a:pt x="2552152" y="0"/>
                  </a:lnTo>
                  <a:lnTo>
                    <a:pt x="2358243" y="194412"/>
                  </a:lnTo>
                  <a:lnTo>
                    <a:pt x="2620271" y="194412"/>
                  </a:lnTo>
                  <a:lnTo>
                    <a:pt x="2814181" y="0"/>
                  </a:lnTo>
                  <a:lnTo>
                    <a:pt x="2825540" y="0"/>
                  </a:lnTo>
                  <a:lnTo>
                    <a:pt x="2628655" y="197906"/>
                  </a:lnTo>
                  <a:lnTo>
                    <a:pt x="2898368" y="466921"/>
                  </a:lnTo>
                  <a:lnTo>
                    <a:pt x="3163191" y="468319"/>
                  </a:lnTo>
                  <a:lnTo>
                    <a:pt x="2892081" y="197906"/>
                  </a:lnTo>
                  <a:lnTo>
                    <a:pt x="2890683" y="196509"/>
                  </a:lnTo>
                  <a:lnTo>
                    <a:pt x="3086683" y="0"/>
                  </a:lnTo>
                  <a:lnTo>
                    <a:pt x="3097556" y="0"/>
                  </a:lnTo>
                  <a:lnTo>
                    <a:pt x="3082137" y="15536"/>
                  </a:lnTo>
                  <a:lnTo>
                    <a:pt x="3082836" y="16235"/>
                  </a:lnTo>
                  <a:lnTo>
                    <a:pt x="2906754" y="192317"/>
                  </a:lnTo>
                  <a:lnTo>
                    <a:pt x="3103099" y="192317"/>
                  </a:lnTo>
                  <a:lnTo>
                    <a:pt x="3102401" y="193714"/>
                  </a:lnTo>
                  <a:lnTo>
                    <a:pt x="3168083" y="193714"/>
                  </a:lnTo>
                  <a:lnTo>
                    <a:pt x="3361298" y="0"/>
                  </a:lnTo>
                  <a:lnTo>
                    <a:pt x="3371863" y="0"/>
                  </a:lnTo>
                  <a:lnTo>
                    <a:pt x="3264508" y="107769"/>
                  </a:lnTo>
                  <a:lnTo>
                    <a:pt x="3265906" y="108468"/>
                  </a:lnTo>
                  <a:lnTo>
                    <a:pt x="3176467" y="197906"/>
                  </a:lnTo>
                  <a:lnTo>
                    <a:pt x="3446879" y="467620"/>
                  </a:lnTo>
                  <a:lnTo>
                    <a:pt x="3710303" y="467620"/>
                  </a:lnTo>
                  <a:lnTo>
                    <a:pt x="3439891" y="197906"/>
                  </a:lnTo>
                  <a:lnTo>
                    <a:pt x="3439193" y="197208"/>
                  </a:lnTo>
                  <a:lnTo>
                    <a:pt x="3635893" y="0"/>
                  </a:lnTo>
                  <a:lnTo>
                    <a:pt x="3646183" y="0"/>
                  </a:lnTo>
                  <a:lnTo>
                    <a:pt x="3453167" y="193016"/>
                  </a:lnTo>
                  <a:lnTo>
                    <a:pt x="3717291" y="193016"/>
                  </a:lnTo>
                  <a:lnTo>
                    <a:pt x="3910306" y="0"/>
                  </a:lnTo>
                  <a:lnTo>
                    <a:pt x="3919582" y="0"/>
                  </a:lnTo>
                  <a:lnTo>
                    <a:pt x="3723579" y="196509"/>
                  </a:lnTo>
                  <a:lnTo>
                    <a:pt x="3994690" y="466921"/>
                  </a:lnTo>
                  <a:lnTo>
                    <a:pt x="4258116" y="466921"/>
                  </a:lnTo>
                  <a:lnTo>
                    <a:pt x="4128150" y="336956"/>
                  </a:lnTo>
                  <a:lnTo>
                    <a:pt x="3987703" y="196509"/>
                  </a:lnTo>
                  <a:lnTo>
                    <a:pt x="4183705" y="0"/>
                  </a:lnTo>
                  <a:lnTo>
                    <a:pt x="4194197" y="0"/>
                  </a:lnTo>
                  <a:lnTo>
                    <a:pt x="4002377" y="192317"/>
                  </a:lnTo>
                  <a:lnTo>
                    <a:pt x="4265801" y="192317"/>
                  </a:lnTo>
                  <a:lnTo>
                    <a:pt x="4457622" y="0"/>
                  </a:lnTo>
                  <a:lnTo>
                    <a:pt x="4467396" y="0"/>
                  </a:lnTo>
                  <a:lnTo>
                    <a:pt x="4272090" y="195810"/>
                  </a:lnTo>
                  <a:lnTo>
                    <a:pt x="4543201" y="466222"/>
                  </a:lnTo>
                  <a:lnTo>
                    <a:pt x="4807324" y="466222"/>
                  </a:lnTo>
                  <a:lnTo>
                    <a:pt x="4536213" y="195810"/>
                  </a:lnTo>
                  <a:lnTo>
                    <a:pt x="4731518" y="0"/>
                  </a:lnTo>
                  <a:lnTo>
                    <a:pt x="4741806" y="0"/>
                  </a:lnTo>
                  <a:lnTo>
                    <a:pt x="4549489" y="192317"/>
                  </a:lnTo>
                  <a:lnTo>
                    <a:pt x="4813613" y="192317"/>
                  </a:lnTo>
                  <a:lnTo>
                    <a:pt x="4823396" y="182534"/>
                  </a:lnTo>
                  <a:lnTo>
                    <a:pt x="4823396" y="193016"/>
                  </a:lnTo>
                  <a:lnTo>
                    <a:pt x="4820600" y="195810"/>
                  </a:lnTo>
                  <a:lnTo>
                    <a:pt x="4823396" y="198605"/>
                  </a:lnTo>
                  <a:lnTo>
                    <a:pt x="4823396" y="209086"/>
                  </a:lnTo>
                  <a:lnTo>
                    <a:pt x="4814311" y="200003"/>
                  </a:lnTo>
                  <a:lnTo>
                    <a:pt x="4550188" y="200003"/>
                  </a:lnTo>
                  <a:lnTo>
                    <a:pt x="4821299" y="470415"/>
                  </a:lnTo>
                  <a:lnTo>
                    <a:pt x="4550887" y="741525"/>
                  </a:lnTo>
                  <a:lnTo>
                    <a:pt x="4815010" y="741525"/>
                  </a:lnTo>
                  <a:lnTo>
                    <a:pt x="4823396" y="732442"/>
                  </a:lnTo>
                  <a:lnTo>
                    <a:pt x="4823396" y="742224"/>
                  </a:lnTo>
                  <a:lnTo>
                    <a:pt x="4821299" y="744320"/>
                  </a:lnTo>
                  <a:lnTo>
                    <a:pt x="4823396" y="746417"/>
                  </a:lnTo>
                  <a:lnTo>
                    <a:pt x="4823396" y="756898"/>
                  </a:lnTo>
                  <a:lnTo>
                    <a:pt x="4814311" y="747814"/>
                  </a:lnTo>
                  <a:lnTo>
                    <a:pt x="4550188" y="747814"/>
                  </a:lnTo>
                  <a:lnTo>
                    <a:pt x="4821299" y="1018227"/>
                  </a:lnTo>
                  <a:lnTo>
                    <a:pt x="4821998" y="1018924"/>
                  </a:lnTo>
                  <a:lnTo>
                    <a:pt x="4551586" y="1290035"/>
                  </a:lnTo>
                  <a:lnTo>
                    <a:pt x="4815709" y="1290035"/>
                  </a:lnTo>
                  <a:lnTo>
                    <a:pt x="4823396" y="1282349"/>
                  </a:lnTo>
                  <a:lnTo>
                    <a:pt x="4823396" y="1292831"/>
                  </a:lnTo>
                  <a:lnTo>
                    <a:pt x="4822697" y="1293530"/>
                  </a:lnTo>
                  <a:lnTo>
                    <a:pt x="4823396" y="1294228"/>
                  </a:lnTo>
                  <a:lnTo>
                    <a:pt x="4823396" y="1304010"/>
                  </a:lnTo>
                  <a:lnTo>
                    <a:pt x="4815709" y="1296324"/>
                  </a:lnTo>
                  <a:lnTo>
                    <a:pt x="4551586" y="1297023"/>
                  </a:lnTo>
                  <a:lnTo>
                    <a:pt x="4823396" y="1566736"/>
                  </a:lnTo>
                  <a:lnTo>
                    <a:pt x="4552984" y="1837847"/>
                  </a:lnTo>
                  <a:lnTo>
                    <a:pt x="4817107" y="1837847"/>
                  </a:lnTo>
                  <a:lnTo>
                    <a:pt x="4824094" y="1830859"/>
                  </a:lnTo>
                  <a:lnTo>
                    <a:pt x="4824094" y="1841341"/>
                  </a:lnTo>
                  <a:lnTo>
                    <a:pt x="4824094" y="1851822"/>
                  </a:lnTo>
                  <a:lnTo>
                    <a:pt x="4817107" y="1844834"/>
                  </a:lnTo>
                  <a:lnTo>
                    <a:pt x="4552984" y="1844834"/>
                  </a:lnTo>
                  <a:lnTo>
                    <a:pt x="4824094" y="2115246"/>
                  </a:lnTo>
                  <a:lnTo>
                    <a:pt x="4821299" y="2118042"/>
                  </a:lnTo>
                  <a:lnTo>
                    <a:pt x="4731162" y="2208877"/>
                  </a:lnTo>
                  <a:lnTo>
                    <a:pt x="4553682" y="2386357"/>
                  </a:lnTo>
                  <a:lnTo>
                    <a:pt x="4817806" y="2386357"/>
                  </a:lnTo>
                  <a:lnTo>
                    <a:pt x="4824094" y="2380068"/>
                  </a:lnTo>
                  <a:lnTo>
                    <a:pt x="4824094" y="2398934"/>
                  </a:lnTo>
                  <a:lnTo>
                    <a:pt x="4817806" y="2392646"/>
                  </a:lnTo>
                  <a:lnTo>
                    <a:pt x="4553682" y="2392646"/>
                  </a:lnTo>
                  <a:lnTo>
                    <a:pt x="4824094" y="2662359"/>
                  </a:lnTo>
                  <a:lnTo>
                    <a:pt x="4824094" y="2663757"/>
                  </a:lnTo>
                  <a:lnTo>
                    <a:pt x="4554381" y="2934169"/>
                  </a:lnTo>
                  <a:lnTo>
                    <a:pt x="4817806" y="2934169"/>
                  </a:lnTo>
                  <a:lnTo>
                    <a:pt x="4823396" y="2928579"/>
                  </a:lnTo>
                  <a:lnTo>
                    <a:pt x="4823396" y="2947445"/>
                  </a:lnTo>
                  <a:lnTo>
                    <a:pt x="4817806" y="2941855"/>
                  </a:lnTo>
                  <a:lnTo>
                    <a:pt x="4554381" y="2941855"/>
                  </a:lnTo>
                  <a:lnTo>
                    <a:pt x="4684346" y="3071820"/>
                  </a:lnTo>
                  <a:lnTo>
                    <a:pt x="4823396" y="3210869"/>
                  </a:lnTo>
                  <a:lnTo>
                    <a:pt x="4823396" y="3213665"/>
                  </a:lnTo>
                  <a:lnTo>
                    <a:pt x="4554381" y="3483378"/>
                  </a:lnTo>
                  <a:lnTo>
                    <a:pt x="4818505" y="3483378"/>
                  </a:lnTo>
                  <a:lnTo>
                    <a:pt x="4823396" y="3478487"/>
                  </a:lnTo>
                  <a:lnTo>
                    <a:pt x="4823396" y="3495256"/>
                  </a:lnTo>
                  <a:lnTo>
                    <a:pt x="4818505" y="3490365"/>
                  </a:lnTo>
                  <a:lnTo>
                    <a:pt x="4554381" y="3490365"/>
                  </a:lnTo>
                  <a:lnTo>
                    <a:pt x="4555778" y="3491762"/>
                  </a:lnTo>
                  <a:lnTo>
                    <a:pt x="4823396" y="3758681"/>
                  </a:lnTo>
                  <a:lnTo>
                    <a:pt x="4823396" y="3762174"/>
                  </a:lnTo>
                  <a:lnTo>
                    <a:pt x="4555828" y="4030438"/>
                  </a:lnTo>
                  <a:lnTo>
                    <a:pt x="4817996" y="4030438"/>
                  </a:lnTo>
                  <a:lnTo>
                    <a:pt x="4828476" y="4019957"/>
                  </a:lnTo>
                  <a:lnTo>
                    <a:pt x="4828476" y="4030438"/>
                  </a:lnTo>
                  <a:lnTo>
                    <a:pt x="4824983" y="4033931"/>
                  </a:lnTo>
                  <a:lnTo>
                    <a:pt x="4828476" y="4037426"/>
                  </a:lnTo>
                  <a:lnTo>
                    <a:pt x="4828476" y="4047906"/>
                  </a:lnTo>
                  <a:lnTo>
                    <a:pt x="4823396" y="4042826"/>
                  </a:lnTo>
                  <a:lnTo>
                    <a:pt x="4823396" y="4043068"/>
                  </a:lnTo>
                  <a:lnTo>
                    <a:pt x="4819202" y="4038876"/>
                  </a:lnTo>
                  <a:lnTo>
                    <a:pt x="4555321" y="4038876"/>
                  </a:lnTo>
                  <a:lnTo>
                    <a:pt x="4555968" y="4039522"/>
                  </a:lnTo>
                  <a:lnTo>
                    <a:pt x="4825681" y="4308536"/>
                  </a:lnTo>
                  <a:lnTo>
                    <a:pt x="4554570" y="4579647"/>
                  </a:lnTo>
                  <a:lnTo>
                    <a:pt x="4818693" y="4579647"/>
                  </a:lnTo>
                  <a:lnTo>
                    <a:pt x="4828476" y="4569864"/>
                  </a:lnTo>
                  <a:lnTo>
                    <a:pt x="4828476" y="4580346"/>
                  </a:lnTo>
                  <a:lnTo>
                    <a:pt x="4825681" y="4583140"/>
                  </a:lnTo>
                  <a:lnTo>
                    <a:pt x="4828476" y="4585936"/>
                  </a:lnTo>
                  <a:lnTo>
                    <a:pt x="4828476" y="4596417"/>
                  </a:lnTo>
                  <a:lnTo>
                    <a:pt x="4819392" y="4587334"/>
                  </a:lnTo>
                  <a:lnTo>
                    <a:pt x="4555269" y="4587334"/>
                  </a:lnTo>
                  <a:lnTo>
                    <a:pt x="4826380" y="4857746"/>
                  </a:lnTo>
                  <a:lnTo>
                    <a:pt x="4555968" y="5128855"/>
                  </a:lnTo>
                  <a:lnTo>
                    <a:pt x="4820091" y="5128855"/>
                  </a:lnTo>
                  <a:lnTo>
                    <a:pt x="4828476" y="5119772"/>
                  </a:lnTo>
                  <a:lnTo>
                    <a:pt x="4828476" y="5129554"/>
                  </a:lnTo>
                  <a:lnTo>
                    <a:pt x="4826380" y="5131651"/>
                  </a:lnTo>
                  <a:lnTo>
                    <a:pt x="4828476" y="5133747"/>
                  </a:lnTo>
                  <a:lnTo>
                    <a:pt x="4828476" y="5144228"/>
                  </a:lnTo>
                  <a:lnTo>
                    <a:pt x="4819392" y="5135144"/>
                  </a:lnTo>
                  <a:lnTo>
                    <a:pt x="4555269" y="5135144"/>
                  </a:lnTo>
                  <a:lnTo>
                    <a:pt x="4826380" y="5405557"/>
                  </a:lnTo>
                  <a:lnTo>
                    <a:pt x="4827079" y="5406255"/>
                  </a:lnTo>
                  <a:lnTo>
                    <a:pt x="4556667" y="5677366"/>
                  </a:lnTo>
                  <a:lnTo>
                    <a:pt x="4820790" y="5677366"/>
                  </a:lnTo>
                  <a:lnTo>
                    <a:pt x="4828476" y="5669679"/>
                  </a:lnTo>
                  <a:lnTo>
                    <a:pt x="4828476" y="5680161"/>
                  </a:lnTo>
                  <a:lnTo>
                    <a:pt x="4827778" y="5680860"/>
                  </a:lnTo>
                  <a:lnTo>
                    <a:pt x="4828476" y="5681559"/>
                  </a:lnTo>
                  <a:lnTo>
                    <a:pt x="4828476" y="5691341"/>
                  </a:lnTo>
                  <a:lnTo>
                    <a:pt x="4820790" y="5683654"/>
                  </a:lnTo>
                  <a:lnTo>
                    <a:pt x="4556667" y="5684353"/>
                  </a:lnTo>
                  <a:lnTo>
                    <a:pt x="4828476" y="5954066"/>
                  </a:lnTo>
                  <a:lnTo>
                    <a:pt x="4558064" y="6225177"/>
                  </a:lnTo>
                  <a:lnTo>
                    <a:pt x="4822188" y="6225177"/>
                  </a:lnTo>
                  <a:lnTo>
                    <a:pt x="4829175" y="6218190"/>
                  </a:lnTo>
                  <a:lnTo>
                    <a:pt x="4829175" y="6228671"/>
                  </a:lnTo>
                  <a:lnTo>
                    <a:pt x="4829175" y="6239152"/>
                  </a:lnTo>
                  <a:lnTo>
                    <a:pt x="4822188" y="6232165"/>
                  </a:lnTo>
                  <a:lnTo>
                    <a:pt x="4558064" y="6232165"/>
                  </a:lnTo>
                  <a:lnTo>
                    <a:pt x="4829175" y="6502577"/>
                  </a:lnTo>
                  <a:lnTo>
                    <a:pt x="4826380" y="6505372"/>
                  </a:lnTo>
                  <a:lnTo>
                    <a:pt x="4816727" y="6515100"/>
                  </a:lnTo>
                  <a:lnTo>
                    <a:pt x="4806802" y="6515100"/>
                  </a:lnTo>
                  <a:lnTo>
                    <a:pt x="4815200" y="6506770"/>
                  </a:lnTo>
                  <a:lnTo>
                    <a:pt x="4551077" y="6506770"/>
                  </a:lnTo>
                  <a:lnTo>
                    <a:pt x="4542768" y="6515100"/>
                  </a:lnTo>
                  <a:lnTo>
                    <a:pt x="4531598" y="6515100"/>
                  </a:lnTo>
                  <a:lnTo>
                    <a:pt x="4544089" y="6502577"/>
                  </a:lnTo>
                  <a:lnTo>
                    <a:pt x="4539198" y="6497686"/>
                  </a:lnTo>
                  <a:lnTo>
                    <a:pt x="4273677" y="6232165"/>
                  </a:lnTo>
                  <a:lnTo>
                    <a:pt x="4009554" y="6232165"/>
                  </a:lnTo>
                  <a:lnTo>
                    <a:pt x="4010952" y="6233562"/>
                  </a:lnTo>
                  <a:lnTo>
                    <a:pt x="4279966" y="6502577"/>
                  </a:lnTo>
                  <a:lnTo>
                    <a:pt x="4267475" y="6515100"/>
                  </a:lnTo>
                  <a:lnTo>
                    <a:pt x="4259077" y="6515100"/>
                  </a:lnTo>
                  <a:lnTo>
                    <a:pt x="4266690" y="6507468"/>
                  </a:lnTo>
                  <a:lnTo>
                    <a:pt x="4002566" y="6507468"/>
                  </a:lnTo>
                  <a:lnTo>
                    <a:pt x="3994954" y="6515100"/>
                  </a:lnTo>
                  <a:lnTo>
                    <a:pt x="3983089" y="6515100"/>
                  </a:lnTo>
                  <a:lnTo>
                    <a:pt x="3996278" y="6501878"/>
                  </a:lnTo>
                  <a:lnTo>
                    <a:pt x="3862819" y="6369115"/>
                  </a:lnTo>
                  <a:lnTo>
                    <a:pt x="3865614" y="6363527"/>
                  </a:lnTo>
                  <a:lnTo>
                    <a:pt x="3864915" y="6362829"/>
                  </a:lnTo>
                  <a:lnTo>
                    <a:pt x="3865614" y="6361432"/>
                  </a:lnTo>
                  <a:lnTo>
                    <a:pt x="4002566" y="6498385"/>
                  </a:lnTo>
                  <a:lnTo>
                    <a:pt x="4266690" y="6498385"/>
                  </a:lnTo>
                  <a:lnTo>
                    <a:pt x="3995579" y="6227973"/>
                  </a:lnTo>
                  <a:lnTo>
                    <a:pt x="3996977" y="6226575"/>
                  </a:lnTo>
                  <a:lnTo>
                    <a:pt x="4265292" y="5957561"/>
                  </a:lnTo>
                  <a:lnTo>
                    <a:pt x="4066851" y="5957561"/>
                  </a:lnTo>
                  <a:lnTo>
                    <a:pt x="4070344" y="5950573"/>
                  </a:lnTo>
                  <a:lnTo>
                    <a:pt x="4265292" y="5950573"/>
                  </a:lnTo>
                  <a:lnTo>
                    <a:pt x="4135327" y="5820608"/>
                  </a:lnTo>
                  <a:lnTo>
                    <a:pt x="4138820" y="5813620"/>
                  </a:lnTo>
                  <a:lnTo>
                    <a:pt x="4279267" y="5954066"/>
                  </a:lnTo>
                  <a:lnTo>
                    <a:pt x="4008855" y="6225177"/>
                  </a:lnTo>
                  <a:lnTo>
                    <a:pt x="4272979" y="6225177"/>
                  </a:lnTo>
                  <a:lnTo>
                    <a:pt x="4543391" y="5954066"/>
                  </a:lnTo>
                  <a:lnTo>
                    <a:pt x="4272280" y="5684353"/>
                  </a:lnTo>
                  <a:lnTo>
                    <a:pt x="4203803" y="5684353"/>
                  </a:lnTo>
                  <a:lnTo>
                    <a:pt x="4008855" y="5684353"/>
                  </a:lnTo>
                  <a:lnTo>
                    <a:pt x="4138121" y="5814319"/>
                  </a:lnTo>
                  <a:lnTo>
                    <a:pt x="4134628" y="5821306"/>
                  </a:lnTo>
                  <a:lnTo>
                    <a:pt x="3994181" y="5680860"/>
                  </a:lnTo>
                  <a:lnTo>
                    <a:pt x="4264593" y="5409749"/>
                  </a:lnTo>
                  <a:lnTo>
                    <a:pt x="4000470" y="5409749"/>
                  </a:lnTo>
                  <a:lnTo>
                    <a:pt x="3730058" y="5680860"/>
                  </a:lnTo>
                  <a:lnTo>
                    <a:pt x="4001169" y="5951272"/>
                  </a:lnTo>
                  <a:lnTo>
                    <a:pt x="4069645" y="5951272"/>
                  </a:lnTo>
                  <a:lnTo>
                    <a:pt x="4066152" y="5958259"/>
                  </a:lnTo>
                  <a:lnTo>
                    <a:pt x="4001169" y="5958259"/>
                  </a:lnTo>
                  <a:lnTo>
                    <a:pt x="3820894" y="6139233"/>
                  </a:lnTo>
                  <a:lnTo>
                    <a:pt x="3731456" y="6229370"/>
                  </a:lnTo>
                  <a:lnTo>
                    <a:pt x="3864915" y="6362829"/>
                  </a:lnTo>
                  <a:lnTo>
                    <a:pt x="3862120" y="6368418"/>
                  </a:lnTo>
                  <a:lnTo>
                    <a:pt x="3862819" y="6369115"/>
                  </a:lnTo>
                  <a:lnTo>
                    <a:pt x="3862120" y="6370515"/>
                  </a:lnTo>
                  <a:lnTo>
                    <a:pt x="3725167" y="6233562"/>
                  </a:lnTo>
                  <a:lnTo>
                    <a:pt x="3461044" y="6233562"/>
                  </a:lnTo>
                  <a:lnTo>
                    <a:pt x="3732154" y="6503974"/>
                  </a:lnTo>
                  <a:lnTo>
                    <a:pt x="3721057" y="6515100"/>
                  </a:lnTo>
                  <a:lnTo>
                    <a:pt x="3710566" y="6515100"/>
                  </a:lnTo>
                  <a:lnTo>
                    <a:pt x="3718179" y="6507468"/>
                  </a:lnTo>
                  <a:lnTo>
                    <a:pt x="3454056" y="6507468"/>
                  </a:lnTo>
                  <a:lnTo>
                    <a:pt x="3446443" y="6515100"/>
                  </a:lnTo>
                  <a:lnTo>
                    <a:pt x="3437367" y="6515100"/>
                  </a:lnTo>
                  <a:lnTo>
                    <a:pt x="3447767" y="6504673"/>
                  </a:lnTo>
                  <a:lnTo>
                    <a:pt x="3176657" y="6234261"/>
                  </a:lnTo>
                  <a:lnTo>
                    <a:pt x="2912533" y="6234261"/>
                  </a:lnTo>
                  <a:lnTo>
                    <a:pt x="3183644" y="6504673"/>
                  </a:lnTo>
                  <a:lnTo>
                    <a:pt x="3173244" y="6515100"/>
                  </a:lnTo>
                  <a:lnTo>
                    <a:pt x="3163450" y="6515100"/>
                  </a:lnTo>
                  <a:lnTo>
                    <a:pt x="3169669" y="6508865"/>
                  </a:lnTo>
                  <a:lnTo>
                    <a:pt x="2905546" y="6508865"/>
                  </a:lnTo>
                  <a:lnTo>
                    <a:pt x="2899327" y="6515100"/>
                  </a:lnTo>
                  <a:lnTo>
                    <a:pt x="2889554" y="6515100"/>
                  </a:lnTo>
                  <a:lnTo>
                    <a:pt x="2899257" y="6505372"/>
                  </a:lnTo>
                  <a:lnTo>
                    <a:pt x="2628146" y="6234960"/>
                  </a:lnTo>
                  <a:lnTo>
                    <a:pt x="2364722" y="6234960"/>
                  </a:lnTo>
                  <a:lnTo>
                    <a:pt x="2494687" y="6364925"/>
                  </a:lnTo>
                  <a:lnTo>
                    <a:pt x="2635134" y="6505372"/>
                  </a:lnTo>
                  <a:lnTo>
                    <a:pt x="2625431" y="6515100"/>
                  </a:lnTo>
                  <a:lnTo>
                    <a:pt x="2614938" y="6515100"/>
                  </a:lnTo>
                  <a:lnTo>
                    <a:pt x="2620460" y="6509564"/>
                  </a:lnTo>
                  <a:lnTo>
                    <a:pt x="2357035" y="6509564"/>
                  </a:lnTo>
                  <a:lnTo>
                    <a:pt x="2351521" y="6515100"/>
                  </a:lnTo>
                  <a:lnTo>
                    <a:pt x="2341019" y="6515100"/>
                  </a:lnTo>
                  <a:lnTo>
                    <a:pt x="2350747" y="6505372"/>
                  </a:lnTo>
                  <a:lnTo>
                    <a:pt x="2079636" y="6234960"/>
                  </a:lnTo>
                  <a:lnTo>
                    <a:pt x="1815513" y="6234960"/>
                  </a:lnTo>
                  <a:lnTo>
                    <a:pt x="2086623" y="6505372"/>
                  </a:lnTo>
                  <a:lnTo>
                    <a:pt x="2083829" y="6508166"/>
                  </a:lnTo>
                  <a:lnTo>
                    <a:pt x="2076948" y="6515100"/>
                  </a:lnTo>
                  <a:lnTo>
                    <a:pt x="2067112" y="6515100"/>
                  </a:lnTo>
                  <a:lnTo>
                    <a:pt x="2072648" y="6509564"/>
                  </a:lnTo>
                  <a:lnTo>
                    <a:pt x="1808526" y="6509564"/>
                  </a:lnTo>
                  <a:lnTo>
                    <a:pt x="1803004" y="6515100"/>
                  </a:lnTo>
                  <a:lnTo>
                    <a:pt x="1792532" y="6515100"/>
                  </a:lnTo>
                  <a:lnTo>
                    <a:pt x="1801539" y="6506071"/>
                  </a:lnTo>
                  <a:lnTo>
                    <a:pt x="1796647" y="6501179"/>
                  </a:lnTo>
                  <a:lnTo>
                    <a:pt x="1531127" y="6236358"/>
                  </a:lnTo>
                  <a:lnTo>
                    <a:pt x="1267002" y="6236358"/>
                  </a:lnTo>
                  <a:lnTo>
                    <a:pt x="1267701" y="6237056"/>
                  </a:lnTo>
                  <a:lnTo>
                    <a:pt x="1268400" y="6237056"/>
                  </a:lnTo>
                  <a:lnTo>
                    <a:pt x="1537414" y="6506071"/>
                  </a:lnTo>
                  <a:lnTo>
                    <a:pt x="1528408" y="6515100"/>
                  </a:lnTo>
                  <a:lnTo>
                    <a:pt x="1520000" y="6515100"/>
                  </a:lnTo>
                  <a:lnTo>
                    <a:pt x="1524838" y="6510263"/>
                  </a:lnTo>
                  <a:lnTo>
                    <a:pt x="1260714" y="6510263"/>
                  </a:lnTo>
                  <a:lnTo>
                    <a:pt x="1255889" y="6515100"/>
                  </a:lnTo>
                  <a:lnTo>
                    <a:pt x="1243300" y="6515100"/>
                  </a:lnTo>
                  <a:lnTo>
                    <a:pt x="1252329" y="6506071"/>
                  </a:lnTo>
                  <a:lnTo>
                    <a:pt x="1119569" y="6374009"/>
                  </a:lnTo>
                  <a:lnTo>
                    <a:pt x="981219" y="6235659"/>
                  </a:lnTo>
                  <a:lnTo>
                    <a:pt x="717095" y="6235659"/>
                  </a:lnTo>
                  <a:lnTo>
                    <a:pt x="988206" y="6505372"/>
                  </a:lnTo>
                  <a:lnTo>
                    <a:pt x="985411" y="6508166"/>
                  </a:lnTo>
                  <a:lnTo>
                    <a:pt x="978530" y="6515100"/>
                  </a:lnTo>
                  <a:lnTo>
                    <a:pt x="969394" y="6515100"/>
                  </a:lnTo>
                  <a:lnTo>
                    <a:pt x="974930" y="6509564"/>
                  </a:lnTo>
                  <a:lnTo>
                    <a:pt x="716396" y="6509564"/>
                  </a:lnTo>
                  <a:lnTo>
                    <a:pt x="714941" y="6508865"/>
                  </a:lnTo>
                  <a:lnTo>
                    <a:pt x="716396" y="6508865"/>
                  </a:lnTo>
                  <a:lnTo>
                    <a:pt x="698928" y="6500480"/>
                  </a:lnTo>
                  <a:lnTo>
                    <a:pt x="700271" y="6501824"/>
                  </a:lnTo>
                  <a:lnTo>
                    <a:pt x="698928" y="6501179"/>
                  </a:lnTo>
                  <a:lnTo>
                    <a:pt x="433407" y="6236358"/>
                  </a:lnTo>
                  <a:lnTo>
                    <a:pt x="169284" y="6236358"/>
                  </a:lnTo>
                  <a:lnTo>
                    <a:pt x="170681" y="6237754"/>
                  </a:lnTo>
                  <a:lnTo>
                    <a:pt x="439696" y="6506770"/>
                  </a:lnTo>
                  <a:lnTo>
                    <a:pt x="431344" y="6515100"/>
                  </a:lnTo>
                  <a:lnTo>
                    <a:pt x="420908" y="6515100"/>
                  </a:lnTo>
                  <a:lnTo>
                    <a:pt x="425721" y="6510263"/>
                  </a:lnTo>
                  <a:lnTo>
                    <a:pt x="161597" y="6510263"/>
                  </a:lnTo>
                  <a:lnTo>
                    <a:pt x="156781" y="6515100"/>
                  </a:lnTo>
                  <a:lnTo>
                    <a:pt x="146978" y="6515100"/>
                  </a:lnTo>
                  <a:lnTo>
                    <a:pt x="155309" y="6506770"/>
                  </a:lnTo>
                  <a:lnTo>
                    <a:pt x="21150" y="6373310"/>
                  </a:lnTo>
                  <a:lnTo>
                    <a:pt x="5080" y="6357239"/>
                  </a:lnTo>
                  <a:lnTo>
                    <a:pt x="5080" y="6347457"/>
                  </a:lnTo>
                  <a:lnTo>
                    <a:pt x="24645" y="6367022"/>
                  </a:lnTo>
                  <a:lnTo>
                    <a:pt x="161597" y="6503275"/>
                  </a:lnTo>
                  <a:lnTo>
                    <a:pt x="425721" y="6503275"/>
                  </a:lnTo>
                  <a:lnTo>
                    <a:pt x="154610" y="6232863"/>
                  </a:lnTo>
                  <a:lnTo>
                    <a:pt x="156008" y="6231466"/>
                  </a:lnTo>
                  <a:lnTo>
                    <a:pt x="156706" y="6231466"/>
                  </a:lnTo>
                  <a:lnTo>
                    <a:pt x="425022" y="5962452"/>
                  </a:lnTo>
                  <a:lnTo>
                    <a:pt x="161597" y="5962452"/>
                  </a:lnTo>
                  <a:lnTo>
                    <a:pt x="5080" y="6118969"/>
                  </a:lnTo>
                  <a:lnTo>
                    <a:pt x="5080" y="6108488"/>
                  </a:lnTo>
                  <a:lnTo>
                    <a:pt x="154610" y="5958957"/>
                  </a:lnTo>
                  <a:lnTo>
                    <a:pt x="5080" y="5809427"/>
                  </a:lnTo>
                  <a:lnTo>
                    <a:pt x="5080" y="5798947"/>
                  </a:lnTo>
                  <a:lnTo>
                    <a:pt x="161597" y="5954765"/>
                  </a:lnTo>
                  <a:lnTo>
                    <a:pt x="425022" y="5954765"/>
                  </a:lnTo>
                  <a:lnTo>
                    <a:pt x="295057" y="5824800"/>
                  </a:lnTo>
                  <a:lnTo>
                    <a:pt x="154610" y="5684353"/>
                  </a:lnTo>
                  <a:lnTo>
                    <a:pt x="425022" y="5413941"/>
                  </a:lnTo>
                  <a:lnTo>
                    <a:pt x="160898" y="5413941"/>
                  </a:lnTo>
                  <a:lnTo>
                    <a:pt x="5080" y="5569760"/>
                  </a:lnTo>
                  <a:lnTo>
                    <a:pt x="5080" y="5559279"/>
                  </a:lnTo>
                  <a:lnTo>
                    <a:pt x="153911" y="5410448"/>
                  </a:lnTo>
                  <a:lnTo>
                    <a:pt x="5080" y="5261616"/>
                  </a:lnTo>
                  <a:lnTo>
                    <a:pt x="5080" y="5251135"/>
                  </a:lnTo>
                  <a:lnTo>
                    <a:pt x="160898" y="5406255"/>
                  </a:lnTo>
                  <a:lnTo>
                    <a:pt x="425022" y="5406255"/>
                  </a:lnTo>
                  <a:lnTo>
                    <a:pt x="153911" y="5135843"/>
                  </a:lnTo>
                  <a:lnTo>
                    <a:pt x="338378" y="4951376"/>
                  </a:lnTo>
                  <a:lnTo>
                    <a:pt x="424323" y="4865431"/>
                  </a:lnTo>
                  <a:lnTo>
                    <a:pt x="160200" y="4865431"/>
                  </a:lnTo>
                  <a:lnTo>
                    <a:pt x="5080" y="5020552"/>
                  </a:lnTo>
                  <a:lnTo>
                    <a:pt x="5080" y="5010070"/>
                  </a:lnTo>
                  <a:lnTo>
                    <a:pt x="153212" y="4861239"/>
                  </a:lnTo>
                  <a:lnTo>
                    <a:pt x="148321" y="4856348"/>
                  </a:lnTo>
                  <a:lnTo>
                    <a:pt x="5080" y="4713804"/>
                  </a:lnTo>
                  <a:lnTo>
                    <a:pt x="5080" y="4704023"/>
                  </a:lnTo>
                  <a:lnTo>
                    <a:pt x="160200" y="4858443"/>
                  </a:lnTo>
                  <a:lnTo>
                    <a:pt x="424323" y="4857746"/>
                  </a:lnTo>
                  <a:lnTo>
                    <a:pt x="153212" y="4587334"/>
                  </a:lnTo>
                  <a:lnTo>
                    <a:pt x="423624" y="4316922"/>
                  </a:lnTo>
                  <a:lnTo>
                    <a:pt x="159501" y="4316922"/>
                  </a:lnTo>
                  <a:lnTo>
                    <a:pt x="5080" y="4471342"/>
                  </a:lnTo>
                  <a:lnTo>
                    <a:pt x="5080" y="4460862"/>
                  </a:lnTo>
                  <a:lnTo>
                    <a:pt x="152513" y="4312728"/>
                  </a:lnTo>
                  <a:lnTo>
                    <a:pt x="5080" y="4165993"/>
                  </a:lnTo>
                  <a:lnTo>
                    <a:pt x="5080" y="4155512"/>
                  </a:lnTo>
                  <a:lnTo>
                    <a:pt x="159501" y="4309235"/>
                  </a:lnTo>
                  <a:lnTo>
                    <a:pt x="423624" y="4309235"/>
                  </a:lnTo>
                  <a:lnTo>
                    <a:pt x="152513" y="4039522"/>
                  </a:lnTo>
                  <a:lnTo>
                    <a:pt x="331391" y="3860644"/>
                  </a:lnTo>
                  <a:lnTo>
                    <a:pt x="331489" y="3860644"/>
                  </a:lnTo>
                  <a:lnTo>
                    <a:pt x="422038" y="3769860"/>
                  </a:lnTo>
                  <a:lnTo>
                    <a:pt x="225692" y="3769860"/>
                  </a:lnTo>
                  <a:lnTo>
                    <a:pt x="226391" y="3768464"/>
                  </a:lnTo>
                  <a:lnTo>
                    <a:pt x="158613" y="3768464"/>
                  </a:lnTo>
                  <a:lnTo>
                    <a:pt x="0" y="3927075"/>
                  </a:lnTo>
                  <a:lnTo>
                    <a:pt x="0" y="3917294"/>
                  </a:lnTo>
                  <a:lnTo>
                    <a:pt x="152324" y="3764969"/>
                  </a:lnTo>
                  <a:lnTo>
                    <a:pt x="0" y="3613344"/>
                  </a:lnTo>
                  <a:lnTo>
                    <a:pt x="0" y="3602863"/>
                  </a:lnTo>
                  <a:lnTo>
                    <a:pt x="159312" y="3760776"/>
                  </a:lnTo>
                  <a:lnTo>
                    <a:pt x="423435" y="3760776"/>
                  </a:lnTo>
                  <a:lnTo>
                    <a:pt x="294168" y="3632209"/>
                  </a:lnTo>
                  <a:lnTo>
                    <a:pt x="152324" y="3491064"/>
                  </a:lnTo>
                  <a:lnTo>
                    <a:pt x="336093" y="3305898"/>
                  </a:lnTo>
                  <a:lnTo>
                    <a:pt x="422038" y="3219953"/>
                  </a:lnTo>
                  <a:lnTo>
                    <a:pt x="157914" y="3219953"/>
                  </a:lnTo>
                  <a:lnTo>
                    <a:pt x="0" y="3378566"/>
                  </a:lnTo>
                  <a:lnTo>
                    <a:pt x="0" y="3368084"/>
                  </a:lnTo>
                  <a:lnTo>
                    <a:pt x="152324" y="3216459"/>
                  </a:lnTo>
                  <a:lnTo>
                    <a:pt x="146735" y="3211568"/>
                  </a:lnTo>
                  <a:lnTo>
                    <a:pt x="0" y="3065532"/>
                  </a:lnTo>
                  <a:lnTo>
                    <a:pt x="0" y="3055052"/>
                  </a:lnTo>
                  <a:lnTo>
                    <a:pt x="157914" y="3212966"/>
                  </a:lnTo>
                  <a:lnTo>
                    <a:pt x="422038" y="3212966"/>
                  </a:lnTo>
                  <a:lnTo>
                    <a:pt x="150927" y="2942554"/>
                  </a:lnTo>
                  <a:lnTo>
                    <a:pt x="421339" y="2671443"/>
                  </a:lnTo>
                  <a:lnTo>
                    <a:pt x="157215" y="2671443"/>
                  </a:lnTo>
                  <a:lnTo>
                    <a:pt x="0" y="2829357"/>
                  </a:lnTo>
                  <a:lnTo>
                    <a:pt x="0" y="2818875"/>
                  </a:lnTo>
                  <a:lnTo>
                    <a:pt x="150927" y="2667949"/>
                  </a:lnTo>
                  <a:lnTo>
                    <a:pt x="0" y="2517721"/>
                  </a:lnTo>
                  <a:lnTo>
                    <a:pt x="0" y="2507939"/>
                  </a:lnTo>
                  <a:lnTo>
                    <a:pt x="157914" y="2664456"/>
                  </a:lnTo>
                  <a:lnTo>
                    <a:pt x="422038" y="2664456"/>
                  </a:lnTo>
                  <a:lnTo>
                    <a:pt x="150927" y="2394044"/>
                  </a:lnTo>
                  <a:lnTo>
                    <a:pt x="420640" y="2122933"/>
                  </a:lnTo>
                  <a:lnTo>
                    <a:pt x="156517" y="2122933"/>
                  </a:lnTo>
                  <a:lnTo>
                    <a:pt x="0" y="2280148"/>
                  </a:lnTo>
                  <a:lnTo>
                    <a:pt x="0" y="2269667"/>
                  </a:lnTo>
                  <a:lnTo>
                    <a:pt x="150228" y="2119439"/>
                  </a:lnTo>
                  <a:lnTo>
                    <a:pt x="16070" y="1985980"/>
                  </a:lnTo>
                  <a:lnTo>
                    <a:pt x="0" y="1969909"/>
                  </a:lnTo>
                  <a:lnTo>
                    <a:pt x="0" y="1960127"/>
                  </a:lnTo>
                  <a:lnTo>
                    <a:pt x="19564" y="1979691"/>
                  </a:lnTo>
                  <a:lnTo>
                    <a:pt x="156517" y="2115945"/>
                  </a:lnTo>
                  <a:lnTo>
                    <a:pt x="420640" y="2115945"/>
                  </a:lnTo>
                  <a:lnTo>
                    <a:pt x="149529" y="1845533"/>
                  </a:lnTo>
                  <a:lnTo>
                    <a:pt x="150927" y="1844135"/>
                  </a:lnTo>
                  <a:lnTo>
                    <a:pt x="151626" y="1844135"/>
                  </a:lnTo>
                  <a:lnTo>
                    <a:pt x="419941" y="1575121"/>
                  </a:lnTo>
                  <a:lnTo>
                    <a:pt x="156517" y="1575121"/>
                  </a:lnTo>
                  <a:lnTo>
                    <a:pt x="0" y="1731637"/>
                  </a:lnTo>
                  <a:lnTo>
                    <a:pt x="0" y="1721157"/>
                  </a:lnTo>
                  <a:lnTo>
                    <a:pt x="149529" y="1571627"/>
                  </a:lnTo>
                  <a:lnTo>
                    <a:pt x="0" y="1422098"/>
                  </a:lnTo>
                  <a:lnTo>
                    <a:pt x="0" y="1411617"/>
                  </a:lnTo>
                  <a:lnTo>
                    <a:pt x="156517" y="1567435"/>
                  </a:lnTo>
                  <a:lnTo>
                    <a:pt x="419941" y="1567435"/>
                  </a:lnTo>
                  <a:lnTo>
                    <a:pt x="289976" y="1437470"/>
                  </a:lnTo>
                  <a:lnTo>
                    <a:pt x="149529" y="1297023"/>
                  </a:lnTo>
                  <a:lnTo>
                    <a:pt x="419941" y="1026611"/>
                  </a:lnTo>
                  <a:lnTo>
                    <a:pt x="155818" y="1026611"/>
                  </a:lnTo>
                  <a:lnTo>
                    <a:pt x="0" y="1182428"/>
                  </a:lnTo>
                  <a:lnTo>
                    <a:pt x="0" y="1171948"/>
                  </a:lnTo>
                  <a:lnTo>
                    <a:pt x="148830" y="1023118"/>
                  </a:lnTo>
                  <a:lnTo>
                    <a:pt x="0" y="874286"/>
                  </a:lnTo>
                  <a:lnTo>
                    <a:pt x="0" y="863806"/>
                  </a:lnTo>
                  <a:lnTo>
                    <a:pt x="155818" y="1018924"/>
                  </a:lnTo>
                  <a:lnTo>
                    <a:pt x="419941" y="1018924"/>
                  </a:lnTo>
                  <a:lnTo>
                    <a:pt x="148830" y="748512"/>
                  </a:lnTo>
                  <a:lnTo>
                    <a:pt x="333298" y="564046"/>
                  </a:lnTo>
                  <a:lnTo>
                    <a:pt x="419242" y="478100"/>
                  </a:lnTo>
                  <a:lnTo>
                    <a:pt x="155119" y="478100"/>
                  </a:lnTo>
                  <a:lnTo>
                    <a:pt x="0" y="633220"/>
                  </a:lnTo>
                  <a:lnTo>
                    <a:pt x="0" y="622738"/>
                  </a:lnTo>
                  <a:lnTo>
                    <a:pt x="148131" y="473908"/>
                  </a:lnTo>
                  <a:lnTo>
                    <a:pt x="143240" y="469017"/>
                  </a:lnTo>
                  <a:lnTo>
                    <a:pt x="0" y="326475"/>
                  </a:lnTo>
                  <a:lnTo>
                    <a:pt x="0" y="316693"/>
                  </a:lnTo>
                  <a:lnTo>
                    <a:pt x="155119" y="471113"/>
                  </a:lnTo>
                  <a:lnTo>
                    <a:pt x="419242" y="470415"/>
                  </a:lnTo>
                  <a:lnTo>
                    <a:pt x="148131" y="200003"/>
                  </a:lnTo>
                  <a:close/>
                  <a:moveTo>
                    <a:pt x="73183" y="0"/>
                  </a:moveTo>
                  <a:lnTo>
                    <a:pt x="84011" y="0"/>
                  </a:lnTo>
                  <a:lnTo>
                    <a:pt x="0" y="84011"/>
                  </a:lnTo>
                  <a:lnTo>
                    <a:pt x="0" y="7353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48" name="Rectangle 47">
              <a:extLst>
                <a:ext uri="{FF2B5EF4-FFF2-40B4-BE49-F238E27FC236}">
                  <a16:creationId xmlns:a16="http://schemas.microsoft.com/office/drawing/2014/main" id="{D3E491C1-2A10-4D23-AA47-35BCE699C6A2}"/>
                </a:ext>
              </a:extLst>
            </p:cNvPr>
            <p:cNvSpPr/>
            <p:nvPr/>
          </p:nvSpPr>
          <p:spPr>
            <a:xfrm>
              <a:off x="1846833" y="0"/>
              <a:ext cx="4829175" cy="6515100"/>
            </a:xfrm>
            <a:prstGeom prst="rect">
              <a:avLst/>
            </a:prstGeom>
            <a:gradFill flip="none" rotWithShape="1">
              <a:gsLst>
                <a:gs pos="7000">
                  <a:schemeClr val="bg1"/>
                </a:gs>
                <a:gs pos="100000">
                  <a:schemeClr val="bg1">
                    <a:shade val="100000"/>
                    <a:satMod val="115000"/>
                    <a:alpha val="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0000"/>
                </a:solidFill>
              </a:endParaRPr>
            </a:p>
          </p:txBody>
        </p:sp>
      </p:grpSp>
      <p:sp>
        <p:nvSpPr>
          <p:cNvPr id="12" name="Rectangle 11" hidden="1">
            <a:extLst>
              <a:ext uri="{FF2B5EF4-FFF2-40B4-BE49-F238E27FC236}">
                <a16:creationId xmlns:a16="http://schemas.microsoft.com/office/drawing/2014/main" id="{973AAAEC-9F7B-4DD5-AEA0-3F8785B5D5C3}"/>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2" name="Picture Placeholder 10">
            <a:extLst>
              <a:ext uri="{FF2B5EF4-FFF2-40B4-BE49-F238E27FC236}">
                <a16:creationId xmlns:a16="http://schemas.microsoft.com/office/drawing/2014/main" id="{F14320BE-7859-4F4C-BBE7-0F4AC7F100A8}"/>
              </a:ext>
            </a:extLst>
          </p:cNvPr>
          <p:cNvSpPr>
            <a:spLocks noGrp="1"/>
          </p:cNvSpPr>
          <p:nvPr>
            <p:ph type="pic" sz="quarter" idx="10" hasCustomPrompt="1"/>
          </p:nvPr>
        </p:nvSpPr>
        <p:spPr>
          <a:xfrm>
            <a:off x="609601" y="1323044"/>
            <a:ext cx="685800" cy="914400"/>
          </a:xfrm>
          <a:solidFill>
            <a:schemeClr val="bg1"/>
          </a:solidFill>
          <a:effectLst>
            <a:outerShdw dist="76200" dir="2700000" algn="tl" rotWithShape="0">
              <a:schemeClr val="tx2">
                <a:lumMod val="60000"/>
                <a:lumOff val="40000"/>
              </a:schemeClr>
            </a:outerShdw>
          </a:effectLst>
        </p:spPr>
        <p:txBody>
          <a:bodyPr anchor="ctr"/>
          <a:lstStyle>
            <a:lvl1pPr marL="0" indent="0" algn="ctr">
              <a:buFont typeface="Arial" panose="020B0604020202020204" pitchFamily="34" charset="0"/>
              <a:buNone/>
              <a:defRPr sz="1400">
                <a:solidFill>
                  <a:schemeClr val="bg1"/>
                </a:solidFill>
              </a:defRPr>
            </a:lvl1pPr>
          </a:lstStyle>
          <a:p>
            <a:r>
              <a:rPr lang="en-US" dirty="0"/>
              <a:t>Click to insert pic</a:t>
            </a:r>
          </a:p>
        </p:txBody>
      </p:sp>
      <p:sp>
        <p:nvSpPr>
          <p:cNvPr id="23" name="Picture Placeholder 10">
            <a:extLst>
              <a:ext uri="{FF2B5EF4-FFF2-40B4-BE49-F238E27FC236}">
                <a16:creationId xmlns:a16="http://schemas.microsoft.com/office/drawing/2014/main" id="{3CAE88BC-331D-4E6C-AFCB-2DDD06BBC165}"/>
              </a:ext>
            </a:extLst>
          </p:cNvPr>
          <p:cNvSpPr>
            <a:spLocks noGrp="1"/>
          </p:cNvSpPr>
          <p:nvPr>
            <p:ph type="pic" sz="quarter" idx="11" hasCustomPrompt="1"/>
          </p:nvPr>
        </p:nvSpPr>
        <p:spPr>
          <a:xfrm>
            <a:off x="609601" y="2610945"/>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24" name="Picture Placeholder 10">
            <a:extLst>
              <a:ext uri="{FF2B5EF4-FFF2-40B4-BE49-F238E27FC236}">
                <a16:creationId xmlns:a16="http://schemas.microsoft.com/office/drawing/2014/main" id="{5B4D3486-AC55-4EB1-8096-BD2C753C316F}"/>
              </a:ext>
            </a:extLst>
          </p:cNvPr>
          <p:cNvSpPr>
            <a:spLocks noGrp="1"/>
          </p:cNvSpPr>
          <p:nvPr>
            <p:ph type="pic" sz="quarter" idx="12" hasCustomPrompt="1"/>
          </p:nvPr>
        </p:nvSpPr>
        <p:spPr>
          <a:xfrm>
            <a:off x="609601" y="3898846"/>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25" name="Picture Placeholder 10">
            <a:extLst>
              <a:ext uri="{FF2B5EF4-FFF2-40B4-BE49-F238E27FC236}">
                <a16:creationId xmlns:a16="http://schemas.microsoft.com/office/drawing/2014/main" id="{D9CA1906-117D-42D2-AC1F-353CB4661082}"/>
              </a:ext>
            </a:extLst>
          </p:cNvPr>
          <p:cNvSpPr>
            <a:spLocks noGrp="1"/>
          </p:cNvSpPr>
          <p:nvPr>
            <p:ph type="pic" sz="quarter" idx="13" hasCustomPrompt="1"/>
          </p:nvPr>
        </p:nvSpPr>
        <p:spPr>
          <a:xfrm>
            <a:off x="609601" y="5186747"/>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10" name="Title 9">
            <a:extLst>
              <a:ext uri="{FF2B5EF4-FFF2-40B4-BE49-F238E27FC236}">
                <a16:creationId xmlns:a16="http://schemas.microsoft.com/office/drawing/2014/main" id="{1E52470F-8620-434E-B590-9ED41A1B426F}"/>
              </a:ext>
            </a:extLst>
          </p:cNvPr>
          <p:cNvSpPr>
            <a:spLocks noGrp="1"/>
          </p:cNvSpPr>
          <p:nvPr>
            <p:ph type="title"/>
          </p:nvPr>
        </p:nvSpPr>
        <p:spPr>
          <a:xfrm>
            <a:off x="609603" y="12035"/>
            <a:ext cx="7273412" cy="769215"/>
          </a:xfrm>
        </p:spPr>
        <p:txBody>
          <a:bodyPr vert="horz"/>
          <a:lstStyle/>
          <a:p>
            <a:r>
              <a:rPr lang="en-US" dirty="0"/>
              <a:t>Click to edit Master title style</a:t>
            </a:r>
          </a:p>
        </p:txBody>
      </p:sp>
      <p:sp>
        <p:nvSpPr>
          <p:cNvPr id="36" name="Picture Placeholder 10">
            <a:extLst>
              <a:ext uri="{FF2B5EF4-FFF2-40B4-BE49-F238E27FC236}">
                <a16:creationId xmlns:a16="http://schemas.microsoft.com/office/drawing/2014/main" id="{B1A25632-D6B2-419A-BF7D-F22B570BBC9D}"/>
              </a:ext>
            </a:extLst>
          </p:cNvPr>
          <p:cNvSpPr>
            <a:spLocks noGrp="1"/>
          </p:cNvSpPr>
          <p:nvPr>
            <p:ph type="pic" sz="quarter" idx="14" hasCustomPrompt="1"/>
          </p:nvPr>
        </p:nvSpPr>
        <p:spPr>
          <a:xfrm>
            <a:off x="3591612" y="1323044"/>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37" name="Picture Placeholder 10">
            <a:extLst>
              <a:ext uri="{FF2B5EF4-FFF2-40B4-BE49-F238E27FC236}">
                <a16:creationId xmlns:a16="http://schemas.microsoft.com/office/drawing/2014/main" id="{C9F144ED-2CBE-4C7B-A9DA-4755DA1FC8DA}"/>
              </a:ext>
            </a:extLst>
          </p:cNvPr>
          <p:cNvSpPr>
            <a:spLocks noGrp="1"/>
          </p:cNvSpPr>
          <p:nvPr>
            <p:ph type="pic" sz="quarter" idx="15" hasCustomPrompt="1"/>
          </p:nvPr>
        </p:nvSpPr>
        <p:spPr>
          <a:xfrm>
            <a:off x="3591612" y="2610945"/>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38" name="Picture Placeholder 10">
            <a:extLst>
              <a:ext uri="{FF2B5EF4-FFF2-40B4-BE49-F238E27FC236}">
                <a16:creationId xmlns:a16="http://schemas.microsoft.com/office/drawing/2014/main" id="{31308774-E22F-4C23-BF30-F8131490AF49}"/>
              </a:ext>
            </a:extLst>
          </p:cNvPr>
          <p:cNvSpPr>
            <a:spLocks noGrp="1"/>
          </p:cNvSpPr>
          <p:nvPr>
            <p:ph type="pic" sz="quarter" idx="16" hasCustomPrompt="1"/>
          </p:nvPr>
        </p:nvSpPr>
        <p:spPr>
          <a:xfrm>
            <a:off x="3591612" y="3898846"/>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39" name="Picture Placeholder 10">
            <a:extLst>
              <a:ext uri="{FF2B5EF4-FFF2-40B4-BE49-F238E27FC236}">
                <a16:creationId xmlns:a16="http://schemas.microsoft.com/office/drawing/2014/main" id="{5C1D7FE9-1446-4DCA-8EE4-F77FE6B65EBA}"/>
              </a:ext>
            </a:extLst>
          </p:cNvPr>
          <p:cNvSpPr>
            <a:spLocks noGrp="1"/>
          </p:cNvSpPr>
          <p:nvPr>
            <p:ph type="pic" sz="quarter" idx="17" hasCustomPrompt="1"/>
          </p:nvPr>
        </p:nvSpPr>
        <p:spPr>
          <a:xfrm>
            <a:off x="3591612" y="5186747"/>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4" name="Picture Placeholder 10">
            <a:extLst>
              <a:ext uri="{FF2B5EF4-FFF2-40B4-BE49-F238E27FC236}">
                <a16:creationId xmlns:a16="http://schemas.microsoft.com/office/drawing/2014/main" id="{55F41F64-1DB6-4516-8BA9-3F703F96FEFD}"/>
              </a:ext>
            </a:extLst>
          </p:cNvPr>
          <p:cNvSpPr>
            <a:spLocks noGrp="1"/>
          </p:cNvSpPr>
          <p:nvPr>
            <p:ph type="pic" sz="quarter" idx="18" hasCustomPrompt="1"/>
          </p:nvPr>
        </p:nvSpPr>
        <p:spPr>
          <a:xfrm>
            <a:off x="6573623" y="1323044"/>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5" name="Picture Placeholder 10">
            <a:extLst>
              <a:ext uri="{FF2B5EF4-FFF2-40B4-BE49-F238E27FC236}">
                <a16:creationId xmlns:a16="http://schemas.microsoft.com/office/drawing/2014/main" id="{8762B3C8-59D5-4751-98FD-C03A4FAB4D47}"/>
              </a:ext>
            </a:extLst>
          </p:cNvPr>
          <p:cNvSpPr>
            <a:spLocks noGrp="1"/>
          </p:cNvSpPr>
          <p:nvPr>
            <p:ph type="pic" sz="quarter" idx="19" hasCustomPrompt="1"/>
          </p:nvPr>
        </p:nvSpPr>
        <p:spPr>
          <a:xfrm>
            <a:off x="6573623" y="2610945"/>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6" name="Picture Placeholder 10">
            <a:extLst>
              <a:ext uri="{FF2B5EF4-FFF2-40B4-BE49-F238E27FC236}">
                <a16:creationId xmlns:a16="http://schemas.microsoft.com/office/drawing/2014/main" id="{4192F5A5-81A9-41FA-A509-D6EC39063B37}"/>
              </a:ext>
            </a:extLst>
          </p:cNvPr>
          <p:cNvSpPr>
            <a:spLocks noGrp="1"/>
          </p:cNvSpPr>
          <p:nvPr>
            <p:ph type="pic" sz="quarter" idx="20" hasCustomPrompt="1"/>
          </p:nvPr>
        </p:nvSpPr>
        <p:spPr>
          <a:xfrm>
            <a:off x="6573623" y="3898846"/>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7" name="Picture Placeholder 10">
            <a:extLst>
              <a:ext uri="{FF2B5EF4-FFF2-40B4-BE49-F238E27FC236}">
                <a16:creationId xmlns:a16="http://schemas.microsoft.com/office/drawing/2014/main" id="{7C54DD85-A1A8-4123-A60A-9A396E762B46}"/>
              </a:ext>
            </a:extLst>
          </p:cNvPr>
          <p:cNvSpPr>
            <a:spLocks noGrp="1"/>
          </p:cNvSpPr>
          <p:nvPr>
            <p:ph type="pic" sz="quarter" idx="21" hasCustomPrompt="1"/>
          </p:nvPr>
        </p:nvSpPr>
        <p:spPr>
          <a:xfrm>
            <a:off x="6573623" y="5186747"/>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49" name="Picture Placeholder 10">
            <a:extLst>
              <a:ext uri="{FF2B5EF4-FFF2-40B4-BE49-F238E27FC236}">
                <a16:creationId xmlns:a16="http://schemas.microsoft.com/office/drawing/2014/main" id="{E2A7E878-049A-4790-B01D-F86066842F86}"/>
              </a:ext>
            </a:extLst>
          </p:cNvPr>
          <p:cNvSpPr>
            <a:spLocks noGrp="1"/>
          </p:cNvSpPr>
          <p:nvPr>
            <p:ph type="pic" sz="quarter" idx="22" hasCustomPrompt="1"/>
          </p:nvPr>
        </p:nvSpPr>
        <p:spPr>
          <a:xfrm>
            <a:off x="9555635" y="1323044"/>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50" name="Picture Placeholder 10">
            <a:extLst>
              <a:ext uri="{FF2B5EF4-FFF2-40B4-BE49-F238E27FC236}">
                <a16:creationId xmlns:a16="http://schemas.microsoft.com/office/drawing/2014/main" id="{F6AE2336-3CE9-434E-9B3B-71D21278A280}"/>
              </a:ext>
            </a:extLst>
          </p:cNvPr>
          <p:cNvSpPr>
            <a:spLocks noGrp="1"/>
          </p:cNvSpPr>
          <p:nvPr>
            <p:ph type="pic" sz="quarter" idx="23" hasCustomPrompt="1"/>
          </p:nvPr>
        </p:nvSpPr>
        <p:spPr>
          <a:xfrm>
            <a:off x="9555635" y="2610945"/>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51" name="Picture Placeholder 10">
            <a:extLst>
              <a:ext uri="{FF2B5EF4-FFF2-40B4-BE49-F238E27FC236}">
                <a16:creationId xmlns:a16="http://schemas.microsoft.com/office/drawing/2014/main" id="{3A9E8B7E-E88A-4EB4-B558-385B58F4743C}"/>
              </a:ext>
            </a:extLst>
          </p:cNvPr>
          <p:cNvSpPr>
            <a:spLocks noGrp="1"/>
          </p:cNvSpPr>
          <p:nvPr>
            <p:ph type="pic" sz="quarter" idx="24" hasCustomPrompt="1"/>
          </p:nvPr>
        </p:nvSpPr>
        <p:spPr>
          <a:xfrm>
            <a:off x="9555635" y="3898846"/>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
        <p:nvSpPr>
          <p:cNvPr id="52" name="Picture Placeholder 10">
            <a:extLst>
              <a:ext uri="{FF2B5EF4-FFF2-40B4-BE49-F238E27FC236}">
                <a16:creationId xmlns:a16="http://schemas.microsoft.com/office/drawing/2014/main" id="{21803631-E6D1-4B58-8955-6FC040D0A472}"/>
              </a:ext>
            </a:extLst>
          </p:cNvPr>
          <p:cNvSpPr>
            <a:spLocks noGrp="1"/>
          </p:cNvSpPr>
          <p:nvPr>
            <p:ph type="pic" sz="quarter" idx="25" hasCustomPrompt="1"/>
          </p:nvPr>
        </p:nvSpPr>
        <p:spPr>
          <a:xfrm>
            <a:off x="9555635" y="5186747"/>
            <a:ext cx="685800" cy="914400"/>
          </a:xfrm>
          <a:solidFill>
            <a:schemeClr val="bg1"/>
          </a:solidFill>
          <a:effectLst>
            <a:outerShdw dist="76200" dir="2700000" algn="tl" rotWithShape="0">
              <a:schemeClr val="tx2">
                <a:lumMod val="60000"/>
                <a:lumOff val="40000"/>
              </a:schemeClr>
            </a:outerShdw>
          </a:effectLst>
        </p:spPr>
        <p:txBody>
          <a:bodyPr vert="horz" lIns="0" tIns="0" rIns="0" bIns="0" rtlCol="0" anchor="ctr">
            <a:noAutofit/>
          </a:bodyPr>
          <a:lstStyle>
            <a:lvl1pPr marL="0" indent="0" algn="ctr">
              <a:buFont typeface="Arial" panose="020B0604020202020204" pitchFamily="34" charset="0"/>
              <a:buNone/>
              <a:defRPr lang="en-US" sz="1400" dirty="0">
                <a:solidFill>
                  <a:schemeClr val="bg1"/>
                </a:solidFill>
              </a:defRPr>
            </a:lvl1pPr>
          </a:lstStyle>
          <a:p>
            <a:pPr marL="284163" lvl="0" indent="-284163" algn="ctr"/>
            <a:r>
              <a:rPr lang="en-US" dirty="0"/>
              <a:t>Click to insert pic</a:t>
            </a:r>
          </a:p>
        </p:txBody>
      </p:sp>
    </p:spTree>
    <p:extLst>
      <p:ext uri="{BB962C8B-B14F-4D97-AF65-F5344CB8AC3E}">
        <p14:creationId xmlns:p14="http://schemas.microsoft.com/office/powerpoint/2010/main" val="2413547782"/>
      </p:ext>
    </p:extLst>
  </p:cSld>
  <p:clrMapOvr>
    <a:masterClrMapping/>
  </p:clrMapOvr>
  <p:extLst>
    <p:ext uri="{DCECCB84-F9BA-43D5-87BE-67443E8EF086}">
      <p15:sldGuideLst xmlns:p15="http://schemas.microsoft.com/office/powerpoint/2012/main">
        <p15:guide id="3" orient="horz" pos="2160">
          <p15:clr>
            <a:srgbClr val="FBAE40"/>
          </p15:clr>
        </p15:guide>
        <p15:guide id="4" pos="732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Blank no lin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BE8FE-65F6-4A51-8CB8-4AA59C7C4EFE}"/>
              </a:ext>
            </a:extLst>
          </p:cNvPr>
          <p:cNvGraphicFramePr>
            <a:graphicFrameLocks noChangeAspect="1"/>
          </p:cNvGraphicFramePr>
          <p:nvPr userDrawn="1">
            <p:custDataLst>
              <p:tags r:id="rId1"/>
            </p:custDataLst>
            <p:extLst>
              <p:ext uri="{D42A27DB-BD31-4B8C-83A1-F6EECF244321}">
                <p14:modId xmlns:p14="http://schemas.microsoft.com/office/powerpoint/2010/main" val="2967247181"/>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2" name="Object 1" hidden="1">
                        <a:extLst>
                          <a:ext uri="{FF2B5EF4-FFF2-40B4-BE49-F238E27FC236}">
                            <a16:creationId xmlns:a16="http://schemas.microsoft.com/office/drawing/2014/main" id="{E49BE8FE-65F6-4A51-8CB8-4AA59C7C4EFE}"/>
                          </a:ext>
                        </a:extLst>
                      </p:cNvPr>
                      <p:cNvPicPr/>
                      <p:nvPr/>
                    </p:nvPicPr>
                    <p:blipFill>
                      <a:blip r:embed="rId4"/>
                      <a:stretch>
                        <a:fillRect/>
                      </a:stretch>
                    </p:blipFill>
                    <p:spPr>
                      <a:xfrm>
                        <a:off x="2119" y="1588"/>
                        <a:ext cx="2117"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CFEFD1D-D1D9-4610-A6A3-708197C1FB91}"/>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5" name="Group 4">
            <a:extLst>
              <a:ext uri="{FF2B5EF4-FFF2-40B4-BE49-F238E27FC236}">
                <a16:creationId xmlns:a16="http://schemas.microsoft.com/office/drawing/2014/main" id="{978B9C28-0CAD-4308-A7C6-FF5D24DA30FC}"/>
              </a:ext>
            </a:extLst>
          </p:cNvPr>
          <p:cNvGrpSpPr/>
          <p:nvPr userDrawn="1"/>
        </p:nvGrpSpPr>
        <p:grpSpPr>
          <a:xfrm>
            <a:off x="-9367" y="-99378"/>
            <a:ext cx="12201368" cy="6596901"/>
            <a:chOff x="-9366" y="-84138"/>
            <a:chExt cx="12201368" cy="6596901"/>
          </a:xfrm>
        </p:grpSpPr>
        <p:sp>
          <p:nvSpPr>
            <p:cNvPr id="6" name="Freeform: Shape 5">
              <a:extLst>
                <a:ext uri="{FF2B5EF4-FFF2-40B4-BE49-F238E27FC236}">
                  <a16:creationId xmlns:a16="http://schemas.microsoft.com/office/drawing/2014/main" id="{3128C750-CAD6-4A60-8ABD-D40B3AEA9DC4}"/>
                </a:ext>
              </a:extLst>
            </p:cNvPr>
            <p:cNvSpPr/>
            <p:nvPr/>
          </p:nvSpPr>
          <p:spPr>
            <a:xfrm>
              <a:off x="1" y="-84137"/>
              <a:ext cx="12192001" cy="6596900"/>
            </a:xfrm>
            <a:custGeom>
              <a:avLst/>
              <a:gdLst>
                <a:gd name="connsiteX0" fmla="*/ 700271 w 12192001"/>
                <a:gd name="connsiteY0" fmla="*/ 6509761 h 6523037"/>
                <a:gd name="connsiteX1" fmla="*/ 714941 w 12192001"/>
                <a:gd name="connsiteY1" fmla="*/ 6516802 h 6523037"/>
                <a:gd name="connsiteX2" fmla="*/ 710807 w 12192001"/>
                <a:gd name="connsiteY2" fmla="*/ 6516802 h 6523037"/>
                <a:gd name="connsiteX3" fmla="*/ 704588 w 12192001"/>
                <a:gd name="connsiteY3" fmla="*/ 6523037 h 6523037"/>
                <a:gd name="connsiteX4" fmla="*/ 694116 w 12192001"/>
                <a:gd name="connsiteY4" fmla="*/ 6523037 h 6523037"/>
                <a:gd name="connsiteX5" fmla="*/ 703819 w 12192001"/>
                <a:gd name="connsiteY5" fmla="*/ 6513309 h 6523037"/>
                <a:gd name="connsiteX6" fmla="*/ 5360377 w 12192001"/>
                <a:gd name="connsiteY6" fmla="*/ 6504999 h 6523037"/>
                <a:gd name="connsiteX7" fmla="*/ 5375047 w 12192001"/>
                <a:gd name="connsiteY7" fmla="*/ 6512040 h 6523037"/>
                <a:gd name="connsiteX8" fmla="*/ 5370913 w 12192001"/>
                <a:gd name="connsiteY8" fmla="*/ 6512040 h 6523037"/>
                <a:gd name="connsiteX9" fmla="*/ 5364694 w 12192001"/>
                <a:gd name="connsiteY9" fmla="*/ 6518275 h 6523037"/>
                <a:gd name="connsiteX10" fmla="*/ 5354222 w 12192001"/>
                <a:gd name="connsiteY10" fmla="*/ 6518275 h 6523037"/>
                <a:gd name="connsiteX11" fmla="*/ 5363925 w 12192001"/>
                <a:gd name="connsiteY11" fmla="*/ 6508547 h 6523037"/>
                <a:gd name="connsiteX12" fmla="*/ 10020794 w 12192001"/>
                <a:gd name="connsiteY12" fmla="*/ 6501824 h 6523037"/>
                <a:gd name="connsiteX13" fmla="*/ 10035464 w 12192001"/>
                <a:gd name="connsiteY13" fmla="*/ 6508865 h 6523037"/>
                <a:gd name="connsiteX14" fmla="*/ 10031330 w 12192001"/>
                <a:gd name="connsiteY14" fmla="*/ 6508865 h 6523037"/>
                <a:gd name="connsiteX15" fmla="*/ 10025111 w 12192001"/>
                <a:gd name="connsiteY15" fmla="*/ 6515100 h 6523037"/>
                <a:gd name="connsiteX16" fmla="*/ 10014639 w 12192001"/>
                <a:gd name="connsiteY16" fmla="*/ 6515100 h 6523037"/>
                <a:gd name="connsiteX17" fmla="*/ 10024342 w 12192001"/>
                <a:gd name="connsiteY17" fmla="*/ 6505372 h 6523037"/>
                <a:gd name="connsiteX18" fmla="*/ 4558064 w 12192001"/>
                <a:gd name="connsiteY18" fmla="*/ 6240102 h 6523037"/>
                <a:gd name="connsiteX19" fmla="*/ 4825101 w 12192001"/>
                <a:gd name="connsiteY19" fmla="*/ 6506450 h 6523037"/>
                <a:gd name="connsiteX20" fmla="*/ 5085827 w 12192001"/>
                <a:gd name="connsiteY20" fmla="*/ 6506450 h 6523037"/>
                <a:gd name="connsiteX21" fmla="*/ 4818791 w 12192001"/>
                <a:gd name="connsiteY21" fmla="*/ 6240102 h 6523037"/>
                <a:gd name="connsiteX22" fmla="*/ 9218170 w 12192001"/>
                <a:gd name="connsiteY22" fmla="*/ 6235340 h 6523037"/>
                <a:gd name="connsiteX23" fmla="*/ 9486798 w 12192001"/>
                <a:gd name="connsiteY23" fmla="*/ 6503275 h 6523037"/>
                <a:gd name="connsiteX24" fmla="*/ 9746244 w 12192001"/>
                <a:gd name="connsiteY24" fmla="*/ 6503275 h 6523037"/>
                <a:gd name="connsiteX25" fmla="*/ 9477616 w 12192001"/>
                <a:gd name="connsiteY25" fmla="*/ 6235340 h 6523037"/>
                <a:gd name="connsiteX26" fmla="*/ 710108 w 12192001"/>
                <a:gd name="connsiteY26" fmla="*/ 5969690 h 6523037"/>
                <a:gd name="connsiteX27" fmla="*/ 439696 w 12192001"/>
                <a:gd name="connsiteY27" fmla="*/ 6240800 h 6523037"/>
                <a:gd name="connsiteX28" fmla="*/ 710807 w 12192001"/>
                <a:gd name="connsiteY28" fmla="*/ 6511212 h 6523037"/>
                <a:gd name="connsiteX29" fmla="*/ 974930 w 12192001"/>
                <a:gd name="connsiteY29" fmla="*/ 6511212 h 6523037"/>
                <a:gd name="connsiteX30" fmla="*/ 703819 w 12192001"/>
                <a:gd name="connsiteY30" fmla="*/ 6240800 h 6523037"/>
                <a:gd name="connsiteX31" fmla="*/ 974231 w 12192001"/>
                <a:gd name="connsiteY31" fmla="*/ 5969690 h 6523037"/>
                <a:gd name="connsiteX32" fmla="*/ 1807827 w 12192001"/>
                <a:gd name="connsiteY32" fmla="*/ 5968991 h 6523037"/>
                <a:gd name="connsiteX33" fmla="*/ 1537414 w 12192001"/>
                <a:gd name="connsiteY33" fmla="*/ 6240102 h 6523037"/>
                <a:gd name="connsiteX34" fmla="*/ 1808526 w 12192001"/>
                <a:gd name="connsiteY34" fmla="*/ 6510514 h 6523037"/>
                <a:gd name="connsiteX35" fmla="*/ 2072648 w 12192001"/>
                <a:gd name="connsiteY35" fmla="*/ 6510514 h 6523037"/>
                <a:gd name="connsiteX36" fmla="*/ 1801539 w 12192001"/>
                <a:gd name="connsiteY36" fmla="*/ 6240102 h 6523037"/>
                <a:gd name="connsiteX37" fmla="*/ 2071951 w 12192001"/>
                <a:gd name="connsiteY37" fmla="*/ 5968991 h 6523037"/>
                <a:gd name="connsiteX38" fmla="*/ 1257919 w 12192001"/>
                <a:gd name="connsiteY38" fmla="*/ 5968991 h 6523037"/>
                <a:gd name="connsiteX39" fmla="*/ 988206 w 12192001"/>
                <a:gd name="connsiteY39" fmla="*/ 6240102 h 6523037"/>
                <a:gd name="connsiteX40" fmla="*/ 1188744 w 12192001"/>
                <a:gd name="connsiteY40" fmla="*/ 6440640 h 6523037"/>
                <a:gd name="connsiteX41" fmla="*/ 1259317 w 12192001"/>
                <a:gd name="connsiteY41" fmla="*/ 6510514 h 6523037"/>
                <a:gd name="connsiteX42" fmla="*/ 1327793 w 12192001"/>
                <a:gd name="connsiteY42" fmla="*/ 6510514 h 6523037"/>
                <a:gd name="connsiteX43" fmla="*/ 1327094 w 12192001"/>
                <a:gd name="connsiteY43" fmla="*/ 6511911 h 6523037"/>
                <a:gd name="connsiteX44" fmla="*/ 1524139 w 12192001"/>
                <a:gd name="connsiteY44" fmla="*/ 6511911 h 6523037"/>
                <a:gd name="connsiteX45" fmla="*/ 1253028 w 12192001"/>
                <a:gd name="connsiteY45" fmla="*/ 6241499 h 6523037"/>
                <a:gd name="connsiteX46" fmla="*/ 1253727 w 12192001"/>
                <a:gd name="connsiteY46" fmla="*/ 6240800 h 6523037"/>
                <a:gd name="connsiteX47" fmla="*/ 1251631 w 12192001"/>
                <a:gd name="connsiteY47" fmla="*/ 6240102 h 6523037"/>
                <a:gd name="connsiteX48" fmla="*/ 1522043 w 12192001"/>
                <a:gd name="connsiteY48" fmla="*/ 5968991 h 6523037"/>
                <a:gd name="connsiteX49" fmla="*/ 2904847 w 12192001"/>
                <a:gd name="connsiteY49" fmla="*/ 5968292 h 6523037"/>
                <a:gd name="connsiteX50" fmla="*/ 2634435 w 12192001"/>
                <a:gd name="connsiteY50" fmla="*/ 6239403 h 6523037"/>
                <a:gd name="connsiteX51" fmla="*/ 2905546 w 12192001"/>
                <a:gd name="connsiteY51" fmla="*/ 6509815 h 6523037"/>
                <a:gd name="connsiteX52" fmla="*/ 3169669 w 12192001"/>
                <a:gd name="connsiteY52" fmla="*/ 6509815 h 6523037"/>
                <a:gd name="connsiteX53" fmla="*/ 2898558 w 12192001"/>
                <a:gd name="connsiteY53" fmla="*/ 6239403 h 6523037"/>
                <a:gd name="connsiteX54" fmla="*/ 3168970 w 12192001"/>
                <a:gd name="connsiteY54" fmla="*/ 5968292 h 6523037"/>
                <a:gd name="connsiteX55" fmla="*/ 2356338 w 12192001"/>
                <a:gd name="connsiteY55" fmla="*/ 5968292 h 6523037"/>
                <a:gd name="connsiteX56" fmla="*/ 2085925 w 12192001"/>
                <a:gd name="connsiteY56" fmla="*/ 6239403 h 6523037"/>
                <a:gd name="connsiteX57" fmla="*/ 2357035 w 12192001"/>
                <a:gd name="connsiteY57" fmla="*/ 6509815 h 6523037"/>
                <a:gd name="connsiteX58" fmla="*/ 2620460 w 12192001"/>
                <a:gd name="connsiteY58" fmla="*/ 6509815 h 6523037"/>
                <a:gd name="connsiteX59" fmla="*/ 2490495 w 12192001"/>
                <a:gd name="connsiteY59" fmla="*/ 6379850 h 6523037"/>
                <a:gd name="connsiteX60" fmla="*/ 2350049 w 12192001"/>
                <a:gd name="connsiteY60" fmla="*/ 6239403 h 6523037"/>
                <a:gd name="connsiteX61" fmla="*/ 2620460 w 12192001"/>
                <a:gd name="connsiteY61" fmla="*/ 5968292 h 6523037"/>
                <a:gd name="connsiteX62" fmla="*/ 3453357 w 12192001"/>
                <a:gd name="connsiteY62" fmla="*/ 5967593 h 6523037"/>
                <a:gd name="connsiteX63" fmla="*/ 3182945 w 12192001"/>
                <a:gd name="connsiteY63" fmla="*/ 6238704 h 6523037"/>
                <a:gd name="connsiteX64" fmla="*/ 3454056 w 12192001"/>
                <a:gd name="connsiteY64" fmla="*/ 6508417 h 6523037"/>
                <a:gd name="connsiteX65" fmla="*/ 3718179 w 12192001"/>
                <a:gd name="connsiteY65" fmla="*/ 6508417 h 6523037"/>
                <a:gd name="connsiteX66" fmla="*/ 3447069 w 12192001"/>
                <a:gd name="connsiteY66" fmla="*/ 6238006 h 6523037"/>
                <a:gd name="connsiteX67" fmla="*/ 3631536 w 12192001"/>
                <a:gd name="connsiteY67" fmla="*/ 6053539 h 6523037"/>
                <a:gd name="connsiteX68" fmla="*/ 3717481 w 12192001"/>
                <a:gd name="connsiteY68" fmla="*/ 5967593 h 6523037"/>
                <a:gd name="connsiteX69" fmla="*/ 4550379 w 12192001"/>
                <a:gd name="connsiteY69" fmla="*/ 5966196 h 6523037"/>
                <a:gd name="connsiteX70" fmla="*/ 4279967 w 12192001"/>
                <a:gd name="connsiteY70" fmla="*/ 6237307 h 6523037"/>
                <a:gd name="connsiteX71" fmla="*/ 4551077 w 12192001"/>
                <a:gd name="connsiteY71" fmla="*/ 6507020 h 6523037"/>
                <a:gd name="connsiteX72" fmla="*/ 4812475 w 12192001"/>
                <a:gd name="connsiteY72" fmla="*/ 6507020 h 6523037"/>
                <a:gd name="connsiteX73" fmla="*/ 4681256 w 12192001"/>
                <a:gd name="connsiteY73" fmla="*/ 6376485 h 6523037"/>
                <a:gd name="connsiteX74" fmla="*/ 4665187 w 12192001"/>
                <a:gd name="connsiteY74" fmla="*/ 6360414 h 6523037"/>
                <a:gd name="connsiteX75" fmla="*/ 4665187 w 12192001"/>
                <a:gd name="connsiteY75" fmla="*/ 6357393 h 6523037"/>
                <a:gd name="connsiteX76" fmla="*/ 4544090 w 12192001"/>
                <a:gd name="connsiteY76" fmla="*/ 6236608 h 6523037"/>
                <a:gd name="connsiteX77" fmla="*/ 4665187 w 12192001"/>
                <a:gd name="connsiteY77" fmla="*/ 6115511 h 6523037"/>
                <a:gd name="connsiteX78" fmla="*/ 4665187 w 12192001"/>
                <a:gd name="connsiteY78" fmla="*/ 6111663 h 6523037"/>
                <a:gd name="connsiteX79" fmla="*/ 4810652 w 12192001"/>
                <a:gd name="connsiteY79" fmla="*/ 5966196 h 6523037"/>
                <a:gd name="connsiteX80" fmla="*/ 4824862 w 12192001"/>
                <a:gd name="connsiteY80" fmla="*/ 5965627 h 6523037"/>
                <a:gd name="connsiteX81" fmla="*/ 4558064 w 12192001"/>
                <a:gd name="connsiteY81" fmla="*/ 6233114 h 6523037"/>
                <a:gd name="connsiteX82" fmla="*/ 4818335 w 12192001"/>
                <a:gd name="connsiteY82" fmla="*/ 6233114 h 6523037"/>
                <a:gd name="connsiteX83" fmla="*/ 5085129 w 12192001"/>
                <a:gd name="connsiteY83" fmla="*/ 5965627 h 6523037"/>
                <a:gd name="connsiteX84" fmla="*/ 5370215 w 12192001"/>
                <a:gd name="connsiteY84" fmla="*/ 5964928 h 6523037"/>
                <a:gd name="connsiteX85" fmla="*/ 5099802 w 12192001"/>
                <a:gd name="connsiteY85" fmla="*/ 6236038 h 6523037"/>
                <a:gd name="connsiteX86" fmla="*/ 5370913 w 12192001"/>
                <a:gd name="connsiteY86" fmla="*/ 6506450 h 6523037"/>
                <a:gd name="connsiteX87" fmla="*/ 5635036 w 12192001"/>
                <a:gd name="connsiteY87" fmla="*/ 6506450 h 6523037"/>
                <a:gd name="connsiteX88" fmla="*/ 5363925 w 12192001"/>
                <a:gd name="connsiteY88" fmla="*/ 6236038 h 6523037"/>
                <a:gd name="connsiteX89" fmla="*/ 5634338 w 12192001"/>
                <a:gd name="connsiteY89" fmla="*/ 5964928 h 6523037"/>
                <a:gd name="connsiteX90" fmla="*/ 6467933 w 12192001"/>
                <a:gd name="connsiteY90" fmla="*/ 5964229 h 6523037"/>
                <a:gd name="connsiteX91" fmla="*/ 6197521 w 12192001"/>
                <a:gd name="connsiteY91" fmla="*/ 6235340 h 6523037"/>
                <a:gd name="connsiteX92" fmla="*/ 6468632 w 12192001"/>
                <a:gd name="connsiteY92" fmla="*/ 6505752 h 6523037"/>
                <a:gd name="connsiteX93" fmla="*/ 6732754 w 12192001"/>
                <a:gd name="connsiteY93" fmla="*/ 6505752 h 6523037"/>
                <a:gd name="connsiteX94" fmla="*/ 6461645 w 12192001"/>
                <a:gd name="connsiteY94" fmla="*/ 6235340 h 6523037"/>
                <a:gd name="connsiteX95" fmla="*/ 6732057 w 12192001"/>
                <a:gd name="connsiteY95" fmla="*/ 5964229 h 6523037"/>
                <a:gd name="connsiteX96" fmla="*/ 5918025 w 12192001"/>
                <a:gd name="connsiteY96" fmla="*/ 5964229 h 6523037"/>
                <a:gd name="connsiteX97" fmla="*/ 5648312 w 12192001"/>
                <a:gd name="connsiteY97" fmla="*/ 6235340 h 6523037"/>
                <a:gd name="connsiteX98" fmla="*/ 5848851 w 12192001"/>
                <a:gd name="connsiteY98" fmla="*/ 6435878 h 6523037"/>
                <a:gd name="connsiteX99" fmla="*/ 5919423 w 12192001"/>
                <a:gd name="connsiteY99" fmla="*/ 6505752 h 6523037"/>
                <a:gd name="connsiteX100" fmla="*/ 5987899 w 12192001"/>
                <a:gd name="connsiteY100" fmla="*/ 6505752 h 6523037"/>
                <a:gd name="connsiteX101" fmla="*/ 5987200 w 12192001"/>
                <a:gd name="connsiteY101" fmla="*/ 6507149 h 6523037"/>
                <a:gd name="connsiteX102" fmla="*/ 6184245 w 12192001"/>
                <a:gd name="connsiteY102" fmla="*/ 6507149 h 6523037"/>
                <a:gd name="connsiteX103" fmla="*/ 5913134 w 12192001"/>
                <a:gd name="connsiteY103" fmla="*/ 6236737 h 6523037"/>
                <a:gd name="connsiteX104" fmla="*/ 5913834 w 12192001"/>
                <a:gd name="connsiteY104" fmla="*/ 6236038 h 6523037"/>
                <a:gd name="connsiteX105" fmla="*/ 5911738 w 12192001"/>
                <a:gd name="connsiteY105" fmla="*/ 6235340 h 6523037"/>
                <a:gd name="connsiteX106" fmla="*/ 6182150 w 12192001"/>
                <a:gd name="connsiteY106" fmla="*/ 5964229 h 6523037"/>
                <a:gd name="connsiteX107" fmla="*/ 7564953 w 12192001"/>
                <a:gd name="connsiteY107" fmla="*/ 5963530 h 6523037"/>
                <a:gd name="connsiteX108" fmla="*/ 7294541 w 12192001"/>
                <a:gd name="connsiteY108" fmla="*/ 6234641 h 6523037"/>
                <a:gd name="connsiteX109" fmla="*/ 7565652 w 12192001"/>
                <a:gd name="connsiteY109" fmla="*/ 6505053 h 6523037"/>
                <a:gd name="connsiteX110" fmla="*/ 7829775 w 12192001"/>
                <a:gd name="connsiteY110" fmla="*/ 6505053 h 6523037"/>
                <a:gd name="connsiteX111" fmla="*/ 7558664 w 12192001"/>
                <a:gd name="connsiteY111" fmla="*/ 6234641 h 6523037"/>
                <a:gd name="connsiteX112" fmla="*/ 7829076 w 12192001"/>
                <a:gd name="connsiteY112" fmla="*/ 5963530 h 6523037"/>
                <a:gd name="connsiteX113" fmla="*/ 7016444 w 12192001"/>
                <a:gd name="connsiteY113" fmla="*/ 5963530 h 6523037"/>
                <a:gd name="connsiteX114" fmla="*/ 6746031 w 12192001"/>
                <a:gd name="connsiteY114" fmla="*/ 6234641 h 6523037"/>
                <a:gd name="connsiteX115" fmla="*/ 7017141 w 12192001"/>
                <a:gd name="connsiteY115" fmla="*/ 6505053 h 6523037"/>
                <a:gd name="connsiteX116" fmla="*/ 7280566 w 12192001"/>
                <a:gd name="connsiteY116" fmla="*/ 6505053 h 6523037"/>
                <a:gd name="connsiteX117" fmla="*/ 7150601 w 12192001"/>
                <a:gd name="connsiteY117" fmla="*/ 6375088 h 6523037"/>
                <a:gd name="connsiteX118" fmla="*/ 7010155 w 12192001"/>
                <a:gd name="connsiteY118" fmla="*/ 6234641 h 6523037"/>
                <a:gd name="connsiteX119" fmla="*/ 7280566 w 12192001"/>
                <a:gd name="connsiteY119" fmla="*/ 5963530 h 6523037"/>
                <a:gd name="connsiteX120" fmla="*/ 8113463 w 12192001"/>
                <a:gd name="connsiteY120" fmla="*/ 5962831 h 6523037"/>
                <a:gd name="connsiteX121" fmla="*/ 7843051 w 12192001"/>
                <a:gd name="connsiteY121" fmla="*/ 6233942 h 6523037"/>
                <a:gd name="connsiteX122" fmla="*/ 8114162 w 12192001"/>
                <a:gd name="connsiteY122" fmla="*/ 6503655 h 6523037"/>
                <a:gd name="connsiteX123" fmla="*/ 8378285 w 12192001"/>
                <a:gd name="connsiteY123" fmla="*/ 6503655 h 6523037"/>
                <a:gd name="connsiteX124" fmla="*/ 8107175 w 12192001"/>
                <a:gd name="connsiteY124" fmla="*/ 6233244 h 6523037"/>
                <a:gd name="connsiteX125" fmla="*/ 8291642 w 12192001"/>
                <a:gd name="connsiteY125" fmla="*/ 6048777 h 6523037"/>
                <a:gd name="connsiteX126" fmla="*/ 8377587 w 12192001"/>
                <a:gd name="connsiteY126" fmla="*/ 5962831 h 6523037"/>
                <a:gd name="connsiteX127" fmla="*/ 9483384 w 12192001"/>
                <a:gd name="connsiteY127" fmla="*/ 5962452 h 6523037"/>
                <a:gd name="connsiteX128" fmla="*/ 9218170 w 12192001"/>
                <a:gd name="connsiteY128" fmla="*/ 6228352 h 6523037"/>
                <a:gd name="connsiteX129" fmla="*/ 9480335 w 12192001"/>
                <a:gd name="connsiteY129" fmla="*/ 6228352 h 6523037"/>
                <a:gd name="connsiteX130" fmla="*/ 9745545 w 12192001"/>
                <a:gd name="connsiteY130" fmla="*/ 5962452 h 6523037"/>
                <a:gd name="connsiteX131" fmla="*/ 10030631 w 12192001"/>
                <a:gd name="connsiteY131" fmla="*/ 5961753 h 6523037"/>
                <a:gd name="connsiteX132" fmla="*/ 9760219 w 12192001"/>
                <a:gd name="connsiteY132" fmla="*/ 6232863 h 6523037"/>
                <a:gd name="connsiteX133" fmla="*/ 10031330 w 12192001"/>
                <a:gd name="connsiteY133" fmla="*/ 6503275 h 6523037"/>
                <a:gd name="connsiteX134" fmla="*/ 10295453 w 12192001"/>
                <a:gd name="connsiteY134" fmla="*/ 6503275 h 6523037"/>
                <a:gd name="connsiteX135" fmla="*/ 10024342 w 12192001"/>
                <a:gd name="connsiteY135" fmla="*/ 6232863 h 6523037"/>
                <a:gd name="connsiteX136" fmla="*/ 10294754 w 12192001"/>
                <a:gd name="connsiteY136" fmla="*/ 5961753 h 6523037"/>
                <a:gd name="connsiteX137" fmla="*/ 9210484 w 12192001"/>
                <a:gd name="connsiteY137" fmla="*/ 5961434 h 6523037"/>
                <a:gd name="connsiteX138" fmla="*/ 8940072 w 12192001"/>
                <a:gd name="connsiteY138" fmla="*/ 6232545 h 6523037"/>
                <a:gd name="connsiteX139" fmla="*/ 9211183 w 12192001"/>
                <a:gd name="connsiteY139" fmla="*/ 6502258 h 6523037"/>
                <a:gd name="connsiteX140" fmla="*/ 9471296 w 12192001"/>
                <a:gd name="connsiteY140" fmla="*/ 6502258 h 6523037"/>
                <a:gd name="connsiteX141" fmla="*/ 9341673 w 12192001"/>
                <a:gd name="connsiteY141" fmla="*/ 6373310 h 6523037"/>
                <a:gd name="connsiteX142" fmla="*/ 9325603 w 12192001"/>
                <a:gd name="connsiteY142" fmla="*/ 6357239 h 6523037"/>
                <a:gd name="connsiteX143" fmla="*/ 9325603 w 12192001"/>
                <a:gd name="connsiteY143" fmla="*/ 6352941 h 6523037"/>
                <a:gd name="connsiteX144" fmla="*/ 9204195 w 12192001"/>
                <a:gd name="connsiteY144" fmla="*/ 6231846 h 6523037"/>
                <a:gd name="connsiteX145" fmla="*/ 9325603 w 12192001"/>
                <a:gd name="connsiteY145" fmla="*/ 6110438 h 6523037"/>
                <a:gd name="connsiteX146" fmla="*/ 9325603 w 12192001"/>
                <a:gd name="connsiteY146" fmla="*/ 6108488 h 6523037"/>
                <a:gd name="connsiteX147" fmla="*/ 9472656 w 12192001"/>
                <a:gd name="connsiteY147" fmla="*/ 5961434 h 6523037"/>
                <a:gd name="connsiteX148" fmla="*/ 11128350 w 12192001"/>
                <a:gd name="connsiteY148" fmla="*/ 5961054 h 6523037"/>
                <a:gd name="connsiteX149" fmla="*/ 10857937 w 12192001"/>
                <a:gd name="connsiteY149" fmla="*/ 6232165 h 6523037"/>
                <a:gd name="connsiteX150" fmla="*/ 11129049 w 12192001"/>
                <a:gd name="connsiteY150" fmla="*/ 6502577 h 6523037"/>
                <a:gd name="connsiteX151" fmla="*/ 11393171 w 12192001"/>
                <a:gd name="connsiteY151" fmla="*/ 6502577 h 6523037"/>
                <a:gd name="connsiteX152" fmla="*/ 11122062 w 12192001"/>
                <a:gd name="connsiteY152" fmla="*/ 6232165 h 6523037"/>
                <a:gd name="connsiteX153" fmla="*/ 11392474 w 12192001"/>
                <a:gd name="connsiteY153" fmla="*/ 5961054 h 6523037"/>
                <a:gd name="connsiteX154" fmla="*/ 10578442 w 12192001"/>
                <a:gd name="connsiteY154" fmla="*/ 5961054 h 6523037"/>
                <a:gd name="connsiteX155" fmla="*/ 10308729 w 12192001"/>
                <a:gd name="connsiteY155" fmla="*/ 6232165 h 6523037"/>
                <a:gd name="connsiteX156" fmla="*/ 10509267 w 12192001"/>
                <a:gd name="connsiteY156" fmla="*/ 6432703 h 6523037"/>
                <a:gd name="connsiteX157" fmla="*/ 10579840 w 12192001"/>
                <a:gd name="connsiteY157" fmla="*/ 6502577 h 6523037"/>
                <a:gd name="connsiteX158" fmla="*/ 10648316 w 12192001"/>
                <a:gd name="connsiteY158" fmla="*/ 6502577 h 6523037"/>
                <a:gd name="connsiteX159" fmla="*/ 10647617 w 12192001"/>
                <a:gd name="connsiteY159" fmla="*/ 6503974 h 6523037"/>
                <a:gd name="connsiteX160" fmla="*/ 10844662 w 12192001"/>
                <a:gd name="connsiteY160" fmla="*/ 6503974 h 6523037"/>
                <a:gd name="connsiteX161" fmla="*/ 10573551 w 12192001"/>
                <a:gd name="connsiteY161" fmla="*/ 6233562 h 6523037"/>
                <a:gd name="connsiteX162" fmla="*/ 10574250 w 12192001"/>
                <a:gd name="connsiteY162" fmla="*/ 6232863 h 6523037"/>
                <a:gd name="connsiteX163" fmla="*/ 10572154 w 12192001"/>
                <a:gd name="connsiteY163" fmla="*/ 6232165 h 6523037"/>
                <a:gd name="connsiteX164" fmla="*/ 10842566 w 12192001"/>
                <a:gd name="connsiteY164" fmla="*/ 5961054 h 6523037"/>
                <a:gd name="connsiteX165" fmla="*/ 11676861 w 12192001"/>
                <a:gd name="connsiteY165" fmla="*/ 5960355 h 6523037"/>
                <a:gd name="connsiteX166" fmla="*/ 11406448 w 12192001"/>
                <a:gd name="connsiteY166" fmla="*/ 6231466 h 6523037"/>
                <a:gd name="connsiteX167" fmla="*/ 11677558 w 12192001"/>
                <a:gd name="connsiteY167" fmla="*/ 6501878 h 6523037"/>
                <a:gd name="connsiteX168" fmla="*/ 11940983 w 12192001"/>
                <a:gd name="connsiteY168" fmla="*/ 6501878 h 6523037"/>
                <a:gd name="connsiteX169" fmla="*/ 11811018 w 12192001"/>
                <a:gd name="connsiteY169" fmla="*/ 6371913 h 6523037"/>
                <a:gd name="connsiteX170" fmla="*/ 11670572 w 12192001"/>
                <a:gd name="connsiteY170" fmla="*/ 6231466 h 6523037"/>
                <a:gd name="connsiteX171" fmla="*/ 11940983 w 12192001"/>
                <a:gd name="connsiteY171" fmla="*/ 5960355 h 6523037"/>
                <a:gd name="connsiteX172" fmla="*/ 169284 w 12192001"/>
                <a:gd name="connsiteY172" fmla="*/ 5695784 h 6523037"/>
                <a:gd name="connsiteX173" fmla="*/ 299249 w 12192001"/>
                <a:gd name="connsiteY173" fmla="*/ 5825750 h 6523037"/>
                <a:gd name="connsiteX174" fmla="*/ 439696 w 12192001"/>
                <a:gd name="connsiteY174" fmla="*/ 5966196 h 6523037"/>
                <a:gd name="connsiteX175" fmla="*/ 169284 w 12192001"/>
                <a:gd name="connsiteY175" fmla="*/ 6237307 h 6523037"/>
                <a:gd name="connsiteX176" fmla="*/ 433407 w 12192001"/>
                <a:gd name="connsiteY176" fmla="*/ 6237307 h 6523037"/>
                <a:gd name="connsiteX177" fmla="*/ 703819 w 12192001"/>
                <a:gd name="connsiteY177" fmla="*/ 5966196 h 6523037"/>
                <a:gd name="connsiteX178" fmla="*/ 432708 w 12192001"/>
                <a:gd name="connsiteY178" fmla="*/ 5695784 h 6523037"/>
                <a:gd name="connsiteX179" fmla="*/ 1814814 w 12192001"/>
                <a:gd name="connsiteY179" fmla="*/ 5695086 h 6523037"/>
                <a:gd name="connsiteX180" fmla="*/ 2085925 w 12192001"/>
                <a:gd name="connsiteY180" fmla="*/ 5965498 h 6523037"/>
                <a:gd name="connsiteX181" fmla="*/ 1815513 w 12192001"/>
                <a:gd name="connsiteY181" fmla="*/ 6235910 h 6523037"/>
                <a:gd name="connsiteX182" fmla="*/ 2079636 w 12192001"/>
                <a:gd name="connsiteY182" fmla="*/ 6235910 h 6523037"/>
                <a:gd name="connsiteX183" fmla="*/ 2350049 w 12192001"/>
                <a:gd name="connsiteY183" fmla="*/ 5965498 h 6523037"/>
                <a:gd name="connsiteX184" fmla="*/ 2078937 w 12192001"/>
                <a:gd name="connsiteY184" fmla="*/ 5695086 h 6523037"/>
                <a:gd name="connsiteX185" fmla="*/ 717095 w 12192001"/>
                <a:gd name="connsiteY185" fmla="*/ 5695086 h 6523037"/>
                <a:gd name="connsiteX186" fmla="*/ 988206 w 12192001"/>
                <a:gd name="connsiteY186" fmla="*/ 5965498 h 6523037"/>
                <a:gd name="connsiteX187" fmla="*/ 717794 w 12192001"/>
                <a:gd name="connsiteY187" fmla="*/ 6236608 h 6523037"/>
                <a:gd name="connsiteX188" fmla="*/ 981917 w 12192001"/>
                <a:gd name="connsiteY188" fmla="*/ 6236608 h 6523037"/>
                <a:gd name="connsiteX189" fmla="*/ 1252329 w 12192001"/>
                <a:gd name="connsiteY189" fmla="*/ 5965498 h 6523037"/>
                <a:gd name="connsiteX190" fmla="*/ 981219 w 12192001"/>
                <a:gd name="connsiteY190" fmla="*/ 5695086 h 6523037"/>
                <a:gd name="connsiteX191" fmla="*/ 2363324 w 12192001"/>
                <a:gd name="connsiteY191" fmla="*/ 5694387 h 6523037"/>
                <a:gd name="connsiteX192" fmla="*/ 2634435 w 12192001"/>
                <a:gd name="connsiteY192" fmla="*/ 5964799 h 6523037"/>
                <a:gd name="connsiteX193" fmla="*/ 2364722 w 12192001"/>
                <a:gd name="connsiteY193" fmla="*/ 6235910 h 6523037"/>
                <a:gd name="connsiteX194" fmla="*/ 2628146 w 12192001"/>
                <a:gd name="connsiteY194" fmla="*/ 6235910 h 6523037"/>
                <a:gd name="connsiteX195" fmla="*/ 2898558 w 12192001"/>
                <a:gd name="connsiteY195" fmla="*/ 5964799 h 6523037"/>
                <a:gd name="connsiteX196" fmla="*/ 2764401 w 12192001"/>
                <a:gd name="connsiteY196" fmla="*/ 5831339 h 6523037"/>
                <a:gd name="connsiteX197" fmla="*/ 2627447 w 12192001"/>
                <a:gd name="connsiteY197" fmla="*/ 5694387 h 6523037"/>
                <a:gd name="connsiteX198" fmla="*/ 2911834 w 12192001"/>
                <a:gd name="connsiteY198" fmla="*/ 5693688 h 6523037"/>
                <a:gd name="connsiteX199" fmla="*/ 2913232 w 12192001"/>
                <a:gd name="connsiteY199" fmla="*/ 5695086 h 6523037"/>
                <a:gd name="connsiteX200" fmla="*/ 3182945 w 12192001"/>
                <a:gd name="connsiteY200" fmla="*/ 5964100 h 6523037"/>
                <a:gd name="connsiteX201" fmla="*/ 2912533 w 12192001"/>
                <a:gd name="connsiteY201" fmla="*/ 6234512 h 6523037"/>
                <a:gd name="connsiteX202" fmla="*/ 3176657 w 12192001"/>
                <a:gd name="connsiteY202" fmla="*/ 6234512 h 6523037"/>
                <a:gd name="connsiteX203" fmla="*/ 3447069 w 12192001"/>
                <a:gd name="connsiteY203" fmla="*/ 5964100 h 6523037"/>
                <a:gd name="connsiteX204" fmla="*/ 3441479 w 12192001"/>
                <a:gd name="connsiteY204" fmla="*/ 5959209 h 6523037"/>
                <a:gd name="connsiteX205" fmla="*/ 3175958 w 12192001"/>
                <a:gd name="connsiteY205" fmla="*/ 5693688 h 6523037"/>
                <a:gd name="connsiteX206" fmla="*/ 1530428 w 12192001"/>
                <a:gd name="connsiteY206" fmla="*/ 5693688 h 6523037"/>
                <a:gd name="connsiteX207" fmla="*/ 1529030 w 12192001"/>
                <a:gd name="connsiteY207" fmla="*/ 5694387 h 6523037"/>
                <a:gd name="connsiteX208" fmla="*/ 1264907 w 12192001"/>
                <a:gd name="connsiteY208" fmla="*/ 5694387 h 6523037"/>
                <a:gd name="connsiteX209" fmla="*/ 1536018 w 12192001"/>
                <a:gd name="connsiteY209" fmla="*/ 5964799 h 6523037"/>
                <a:gd name="connsiteX210" fmla="*/ 1531824 w 12192001"/>
                <a:gd name="connsiteY210" fmla="*/ 5968991 h 6523037"/>
                <a:gd name="connsiteX211" fmla="*/ 1537414 w 12192001"/>
                <a:gd name="connsiteY211" fmla="*/ 5966196 h 6523037"/>
                <a:gd name="connsiteX212" fmla="*/ 1267002 w 12192001"/>
                <a:gd name="connsiteY212" fmla="*/ 6237307 h 6523037"/>
                <a:gd name="connsiteX213" fmla="*/ 1531127 w 12192001"/>
                <a:gd name="connsiteY213" fmla="*/ 6237307 h 6523037"/>
                <a:gd name="connsiteX214" fmla="*/ 1801539 w 12192001"/>
                <a:gd name="connsiteY214" fmla="*/ 5966196 h 6523037"/>
                <a:gd name="connsiteX215" fmla="*/ 1530428 w 12192001"/>
                <a:gd name="connsiteY215" fmla="*/ 5695784 h 6523037"/>
                <a:gd name="connsiteX216" fmla="*/ 3459646 w 12192001"/>
                <a:gd name="connsiteY216" fmla="*/ 5692989 h 6523037"/>
                <a:gd name="connsiteX217" fmla="*/ 3730757 w 12192001"/>
                <a:gd name="connsiteY217" fmla="*/ 5963401 h 6523037"/>
                <a:gd name="connsiteX218" fmla="*/ 3727962 w 12192001"/>
                <a:gd name="connsiteY218" fmla="*/ 5966196 h 6523037"/>
                <a:gd name="connsiteX219" fmla="*/ 3637825 w 12192001"/>
                <a:gd name="connsiteY219" fmla="*/ 6057032 h 6523037"/>
                <a:gd name="connsiteX220" fmla="*/ 3460345 w 12192001"/>
                <a:gd name="connsiteY220" fmla="*/ 6233813 h 6523037"/>
                <a:gd name="connsiteX221" fmla="*/ 3724468 w 12192001"/>
                <a:gd name="connsiteY221" fmla="*/ 6233813 h 6523037"/>
                <a:gd name="connsiteX222" fmla="*/ 3813907 w 12192001"/>
                <a:gd name="connsiteY222" fmla="*/ 6144374 h 6523037"/>
                <a:gd name="connsiteX223" fmla="*/ 3994880 w 12192001"/>
                <a:gd name="connsiteY223" fmla="*/ 5963401 h 6523037"/>
                <a:gd name="connsiteX224" fmla="*/ 3723769 w 12192001"/>
                <a:gd name="connsiteY224" fmla="*/ 5692989 h 6523037"/>
                <a:gd name="connsiteX225" fmla="*/ 4818785 w 12192001"/>
                <a:gd name="connsiteY225" fmla="*/ 5691597 h 6523037"/>
                <a:gd name="connsiteX226" fmla="*/ 4556667 w 12192001"/>
                <a:gd name="connsiteY226" fmla="*/ 5692290 h 6523037"/>
                <a:gd name="connsiteX227" fmla="*/ 4824382 w 12192001"/>
                <a:gd name="connsiteY227" fmla="*/ 5957940 h 6523037"/>
                <a:gd name="connsiteX228" fmla="*/ 5085129 w 12192001"/>
                <a:gd name="connsiteY228" fmla="*/ 5957940 h 6523037"/>
                <a:gd name="connsiteX229" fmla="*/ 4955163 w 12192001"/>
                <a:gd name="connsiteY229" fmla="*/ 5827975 h 6523037"/>
                <a:gd name="connsiteX230" fmla="*/ 4829390 w 12192001"/>
                <a:gd name="connsiteY230" fmla="*/ 5691022 h 6523037"/>
                <a:gd name="connsiteX231" fmla="*/ 4959356 w 12192001"/>
                <a:gd name="connsiteY231" fmla="*/ 5820988 h 6523037"/>
                <a:gd name="connsiteX232" fmla="*/ 5099802 w 12192001"/>
                <a:gd name="connsiteY232" fmla="*/ 5961434 h 6523037"/>
                <a:gd name="connsiteX233" fmla="*/ 4829390 w 12192001"/>
                <a:gd name="connsiteY233" fmla="*/ 6232545 h 6523037"/>
                <a:gd name="connsiteX234" fmla="*/ 5093513 w 12192001"/>
                <a:gd name="connsiteY234" fmla="*/ 6232545 h 6523037"/>
                <a:gd name="connsiteX235" fmla="*/ 5363925 w 12192001"/>
                <a:gd name="connsiteY235" fmla="*/ 5961434 h 6523037"/>
                <a:gd name="connsiteX236" fmla="*/ 5092815 w 12192001"/>
                <a:gd name="connsiteY236" fmla="*/ 5691022 h 6523037"/>
                <a:gd name="connsiteX237" fmla="*/ 6474921 w 12192001"/>
                <a:gd name="connsiteY237" fmla="*/ 5690324 h 6523037"/>
                <a:gd name="connsiteX238" fmla="*/ 6746031 w 12192001"/>
                <a:gd name="connsiteY238" fmla="*/ 5960736 h 6523037"/>
                <a:gd name="connsiteX239" fmla="*/ 6475619 w 12192001"/>
                <a:gd name="connsiteY239" fmla="*/ 6231148 h 6523037"/>
                <a:gd name="connsiteX240" fmla="*/ 6739742 w 12192001"/>
                <a:gd name="connsiteY240" fmla="*/ 6231148 h 6523037"/>
                <a:gd name="connsiteX241" fmla="*/ 7010155 w 12192001"/>
                <a:gd name="connsiteY241" fmla="*/ 5960736 h 6523037"/>
                <a:gd name="connsiteX242" fmla="*/ 6739044 w 12192001"/>
                <a:gd name="connsiteY242" fmla="*/ 5690324 h 6523037"/>
                <a:gd name="connsiteX243" fmla="*/ 5377202 w 12192001"/>
                <a:gd name="connsiteY243" fmla="*/ 5690324 h 6523037"/>
                <a:gd name="connsiteX244" fmla="*/ 5648312 w 12192001"/>
                <a:gd name="connsiteY244" fmla="*/ 5960736 h 6523037"/>
                <a:gd name="connsiteX245" fmla="*/ 5377900 w 12192001"/>
                <a:gd name="connsiteY245" fmla="*/ 6231846 h 6523037"/>
                <a:gd name="connsiteX246" fmla="*/ 5642023 w 12192001"/>
                <a:gd name="connsiteY246" fmla="*/ 6231846 h 6523037"/>
                <a:gd name="connsiteX247" fmla="*/ 5912435 w 12192001"/>
                <a:gd name="connsiteY247" fmla="*/ 5960736 h 6523037"/>
                <a:gd name="connsiteX248" fmla="*/ 5641325 w 12192001"/>
                <a:gd name="connsiteY248" fmla="*/ 5690324 h 6523037"/>
                <a:gd name="connsiteX249" fmla="*/ 7023431 w 12192001"/>
                <a:gd name="connsiteY249" fmla="*/ 5689625 h 6523037"/>
                <a:gd name="connsiteX250" fmla="*/ 7294541 w 12192001"/>
                <a:gd name="connsiteY250" fmla="*/ 5960037 h 6523037"/>
                <a:gd name="connsiteX251" fmla="*/ 7024828 w 12192001"/>
                <a:gd name="connsiteY251" fmla="*/ 6231148 h 6523037"/>
                <a:gd name="connsiteX252" fmla="*/ 7288252 w 12192001"/>
                <a:gd name="connsiteY252" fmla="*/ 6231148 h 6523037"/>
                <a:gd name="connsiteX253" fmla="*/ 7558664 w 12192001"/>
                <a:gd name="connsiteY253" fmla="*/ 5960037 h 6523037"/>
                <a:gd name="connsiteX254" fmla="*/ 7424507 w 12192001"/>
                <a:gd name="connsiteY254" fmla="*/ 5826577 h 6523037"/>
                <a:gd name="connsiteX255" fmla="*/ 7287553 w 12192001"/>
                <a:gd name="connsiteY255" fmla="*/ 5689625 h 6523037"/>
                <a:gd name="connsiteX256" fmla="*/ 7571940 w 12192001"/>
                <a:gd name="connsiteY256" fmla="*/ 5688926 h 6523037"/>
                <a:gd name="connsiteX257" fmla="*/ 7573338 w 12192001"/>
                <a:gd name="connsiteY257" fmla="*/ 5690324 h 6523037"/>
                <a:gd name="connsiteX258" fmla="*/ 7843051 w 12192001"/>
                <a:gd name="connsiteY258" fmla="*/ 5959338 h 6523037"/>
                <a:gd name="connsiteX259" fmla="*/ 7572639 w 12192001"/>
                <a:gd name="connsiteY259" fmla="*/ 6229750 h 6523037"/>
                <a:gd name="connsiteX260" fmla="*/ 7836763 w 12192001"/>
                <a:gd name="connsiteY260" fmla="*/ 6229750 h 6523037"/>
                <a:gd name="connsiteX261" fmla="*/ 8107175 w 12192001"/>
                <a:gd name="connsiteY261" fmla="*/ 5959338 h 6523037"/>
                <a:gd name="connsiteX262" fmla="*/ 8101585 w 12192001"/>
                <a:gd name="connsiteY262" fmla="*/ 5954447 h 6523037"/>
                <a:gd name="connsiteX263" fmla="*/ 7836064 w 12192001"/>
                <a:gd name="connsiteY263" fmla="*/ 5688926 h 6523037"/>
                <a:gd name="connsiteX264" fmla="*/ 6190534 w 12192001"/>
                <a:gd name="connsiteY264" fmla="*/ 5688926 h 6523037"/>
                <a:gd name="connsiteX265" fmla="*/ 6189136 w 12192001"/>
                <a:gd name="connsiteY265" fmla="*/ 5689625 h 6523037"/>
                <a:gd name="connsiteX266" fmla="*/ 5925013 w 12192001"/>
                <a:gd name="connsiteY266" fmla="*/ 5689625 h 6523037"/>
                <a:gd name="connsiteX267" fmla="*/ 6196125 w 12192001"/>
                <a:gd name="connsiteY267" fmla="*/ 5960037 h 6523037"/>
                <a:gd name="connsiteX268" fmla="*/ 6191930 w 12192001"/>
                <a:gd name="connsiteY268" fmla="*/ 5964229 h 6523037"/>
                <a:gd name="connsiteX269" fmla="*/ 6197521 w 12192001"/>
                <a:gd name="connsiteY269" fmla="*/ 5961434 h 6523037"/>
                <a:gd name="connsiteX270" fmla="*/ 5927108 w 12192001"/>
                <a:gd name="connsiteY270" fmla="*/ 6232545 h 6523037"/>
                <a:gd name="connsiteX271" fmla="*/ 6191234 w 12192001"/>
                <a:gd name="connsiteY271" fmla="*/ 6232545 h 6523037"/>
                <a:gd name="connsiteX272" fmla="*/ 6461645 w 12192001"/>
                <a:gd name="connsiteY272" fmla="*/ 5961434 h 6523037"/>
                <a:gd name="connsiteX273" fmla="*/ 6190534 w 12192001"/>
                <a:gd name="connsiteY273" fmla="*/ 5691022 h 6523037"/>
                <a:gd name="connsiteX274" fmla="*/ 8119752 w 12192001"/>
                <a:gd name="connsiteY274" fmla="*/ 5688227 h 6523037"/>
                <a:gd name="connsiteX275" fmla="*/ 8390863 w 12192001"/>
                <a:gd name="connsiteY275" fmla="*/ 5958639 h 6523037"/>
                <a:gd name="connsiteX276" fmla="*/ 8388068 w 12192001"/>
                <a:gd name="connsiteY276" fmla="*/ 5961434 h 6523037"/>
                <a:gd name="connsiteX277" fmla="*/ 8297931 w 12192001"/>
                <a:gd name="connsiteY277" fmla="*/ 6052270 h 6523037"/>
                <a:gd name="connsiteX278" fmla="*/ 8120451 w 12192001"/>
                <a:gd name="connsiteY278" fmla="*/ 6229051 h 6523037"/>
                <a:gd name="connsiteX279" fmla="*/ 8384574 w 12192001"/>
                <a:gd name="connsiteY279" fmla="*/ 6229051 h 6523037"/>
                <a:gd name="connsiteX280" fmla="*/ 8474013 w 12192001"/>
                <a:gd name="connsiteY280" fmla="*/ 6139612 h 6523037"/>
                <a:gd name="connsiteX281" fmla="*/ 8654986 w 12192001"/>
                <a:gd name="connsiteY281" fmla="*/ 5958639 h 6523037"/>
                <a:gd name="connsiteX282" fmla="*/ 8383875 w 12192001"/>
                <a:gd name="connsiteY282" fmla="*/ 5688227 h 6523037"/>
                <a:gd name="connsiteX283" fmla="*/ 9489807 w 12192001"/>
                <a:gd name="connsiteY283" fmla="*/ 5687847 h 6523037"/>
                <a:gd name="connsiteX284" fmla="*/ 9619772 w 12192001"/>
                <a:gd name="connsiteY284" fmla="*/ 5817813 h 6523037"/>
                <a:gd name="connsiteX285" fmla="*/ 9760219 w 12192001"/>
                <a:gd name="connsiteY285" fmla="*/ 5958259 h 6523037"/>
                <a:gd name="connsiteX286" fmla="*/ 9489807 w 12192001"/>
                <a:gd name="connsiteY286" fmla="*/ 6229370 h 6523037"/>
                <a:gd name="connsiteX287" fmla="*/ 9753930 w 12192001"/>
                <a:gd name="connsiteY287" fmla="*/ 6229370 h 6523037"/>
                <a:gd name="connsiteX288" fmla="*/ 10024342 w 12192001"/>
                <a:gd name="connsiteY288" fmla="*/ 5958259 h 6523037"/>
                <a:gd name="connsiteX289" fmla="*/ 9753231 w 12192001"/>
                <a:gd name="connsiteY289" fmla="*/ 5687847 h 6523037"/>
                <a:gd name="connsiteX290" fmla="*/ 11135337 w 12192001"/>
                <a:gd name="connsiteY290" fmla="*/ 5687149 h 6523037"/>
                <a:gd name="connsiteX291" fmla="*/ 11406448 w 12192001"/>
                <a:gd name="connsiteY291" fmla="*/ 5957561 h 6523037"/>
                <a:gd name="connsiteX292" fmla="*/ 11136036 w 12192001"/>
                <a:gd name="connsiteY292" fmla="*/ 6227973 h 6523037"/>
                <a:gd name="connsiteX293" fmla="*/ 11400159 w 12192001"/>
                <a:gd name="connsiteY293" fmla="*/ 6227973 h 6523037"/>
                <a:gd name="connsiteX294" fmla="*/ 11670572 w 12192001"/>
                <a:gd name="connsiteY294" fmla="*/ 5957561 h 6523037"/>
                <a:gd name="connsiteX295" fmla="*/ 11399460 w 12192001"/>
                <a:gd name="connsiteY295" fmla="*/ 5687149 h 6523037"/>
                <a:gd name="connsiteX296" fmla="*/ 10037618 w 12192001"/>
                <a:gd name="connsiteY296" fmla="*/ 5687149 h 6523037"/>
                <a:gd name="connsiteX297" fmla="*/ 10308729 w 12192001"/>
                <a:gd name="connsiteY297" fmla="*/ 5957561 h 6523037"/>
                <a:gd name="connsiteX298" fmla="*/ 10038317 w 12192001"/>
                <a:gd name="connsiteY298" fmla="*/ 6228671 h 6523037"/>
                <a:gd name="connsiteX299" fmla="*/ 10302440 w 12192001"/>
                <a:gd name="connsiteY299" fmla="*/ 6228671 h 6523037"/>
                <a:gd name="connsiteX300" fmla="*/ 10572852 w 12192001"/>
                <a:gd name="connsiteY300" fmla="*/ 5957561 h 6523037"/>
                <a:gd name="connsiteX301" fmla="*/ 10301742 w 12192001"/>
                <a:gd name="connsiteY301" fmla="*/ 5687149 h 6523037"/>
                <a:gd name="connsiteX302" fmla="*/ 9477618 w 12192001"/>
                <a:gd name="connsiteY302" fmla="*/ 5686838 h 6523037"/>
                <a:gd name="connsiteX303" fmla="*/ 9216773 w 12192001"/>
                <a:gd name="connsiteY303" fmla="*/ 5687528 h 6523037"/>
                <a:gd name="connsiteX304" fmla="*/ 9486087 w 12192001"/>
                <a:gd name="connsiteY304" fmla="*/ 5954765 h 6523037"/>
                <a:gd name="connsiteX305" fmla="*/ 9745545 w 12192001"/>
                <a:gd name="connsiteY305" fmla="*/ 5954765 h 6523037"/>
                <a:gd name="connsiteX306" fmla="*/ 9615580 w 12192001"/>
                <a:gd name="connsiteY306" fmla="*/ 5824800 h 6523037"/>
                <a:gd name="connsiteX307" fmla="*/ 10850951 w 12192001"/>
                <a:gd name="connsiteY307" fmla="*/ 5685751 h 6523037"/>
                <a:gd name="connsiteX308" fmla="*/ 10849553 w 12192001"/>
                <a:gd name="connsiteY308" fmla="*/ 5686450 h 6523037"/>
                <a:gd name="connsiteX309" fmla="*/ 10585430 w 12192001"/>
                <a:gd name="connsiteY309" fmla="*/ 5686450 h 6523037"/>
                <a:gd name="connsiteX310" fmla="*/ 10856541 w 12192001"/>
                <a:gd name="connsiteY310" fmla="*/ 5956862 h 6523037"/>
                <a:gd name="connsiteX311" fmla="*/ 10852347 w 12192001"/>
                <a:gd name="connsiteY311" fmla="*/ 5961054 h 6523037"/>
                <a:gd name="connsiteX312" fmla="*/ 10857937 w 12192001"/>
                <a:gd name="connsiteY312" fmla="*/ 5958259 h 6523037"/>
                <a:gd name="connsiteX313" fmla="*/ 10587525 w 12192001"/>
                <a:gd name="connsiteY313" fmla="*/ 6229370 h 6523037"/>
                <a:gd name="connsiteX314" fmla="*/ 10851650 w 12192001"/>
                <a:gd name="connsiteY314" fmla="*/ 6229370 h 6523037"/>
                <a:gd name="connsiteX315" fmla="*/ 11122062 w 12192001"/>
                <a:gd name="connsiteY315" fmla="*/ 5958259 h 6523037"/>
                <a:gd name="connsiteX316" fmla="*/ 10850951 w 12192001"/>
                <a:gd name="connsiteY316" fmla="*/ 5687847 h 6523037"/>
                <a:gd name="connsiteX317" fmla="*/ 1807128 w 12192001"/>
                <a:gd name="connsiteY317" fmla="*/ 5420480 h 6523037"/>
                <a:gd name="connsiteX318" fmla="*/ 1536716 w 12192001"/>
                <a:gd name="connsiteY318" fmla="*/ 5691591 h 6523037"/>
                <a:gd name="connsiteX319" fmla="*/ 1807827 w 12192001"/>
                <a:gd name="connsiteY319" fmla="*/ 5962003 h 6523037"/>
                <a:gd name="connsiteX320" fmla="*/ 2071951 w 12192001"/>
                <a:gd name="connsiteY320" fmla="*/ 5962003 h 6523037"/>
                <a:gd name="connsiteX321" fmla="*/ 1800840 w 12192001"/>
                <a:gd name="connsiteY321" fmla="*/ 5691591 h 6523037"/>
                <a:gd name="connsiteX322" fmla="*/ 2071252 w 12192001"/>
                <a:gd name="connsiteY322" fmla="*/ 5420480 h 6523037"/>
                <a:gd name="connsiteX323" fmla="*/ 709409 w 12192001"/>
                <a:gd name="connsiteY323" fmla="*/ 5420480 h 6523037"/>
                <a:gd name="connsiteX324" fmla="*/ 438997 w 12192001"/>
                <a:gd name="connsiteY324" fmla="*/ 5691591 h 6523037"/>
                <a:gd name="connsiteX325" fmla="*/ 710108 w 12192001"/>
                <a:gd name="connsiteY325" fmla="*/ 5962003 h 6523037"/>
                <a:gd name="connsiteX326" fmla="*/ 974231 w 12192001"/>
                <a:gd name="connsiteY326" fmla="*/ 5962003 h 6523037"/>
                <a:gd name="connsiteX327" fmla="*/ 703120 w 12192001"/>
                <a:gd name="connsiteY327" fmla="*/ 5691591 h 6523037"/>
                <a:gd name="connsiteX328" fmla="*/ 972833 w 12192001"/>
                <a:gd name="connsiteY328" fmla="*/ 5420480 h 6523037"/>
                <a:gd name="connsiteX329" fmla="*/ 2904148 w 12192001"/>
                <a:gd name="connsiteY329" fmla="*/ 5419782 h 6523037"/>
                <a:gd name="connsiteX330" fmla="*/ 2723874 w 12192001"/>
                <a:gd name="connsiteY330" fmla="*/ 5600057 h 6523037"/>
                <a:gd name="connsiteX331" fmla="*/ 2634435 w 12192001"/>
                <a:gd name="connsiteY331" fmla="*/ 5690195 h 6523037"/>
                <a:gd name="connsiteX332" fmla="*/ 2768593 w 12192001"/>
                <a:gd name="connsiteY332" fmla="*/ 5823653 h 6523037"/>
                <a:gd name="connsiteX333" fmla="*/ 2905546 w 12192001"/>
                <a:gd name="connsiteY333" fmla="*/ 5960606 h 6523037"/>
                <a:gd name="connsiteX334" fmla="*/ 3169669 w 12192001"/>
                <a:gd name="connsiteY334" fmla="*/ 5960606 h 6523037"/>
                <a:gd name="connsiteX335" fmla="*/ 2898558 w 12192001"/>
                <a:gd name="connsiteY335" fmla="*/ 5690195 h 6523037"/>
                <a:gd name="connsiteX336" fmla="*/ 2899956 w 12192001"/>
                <a:gd name="connsiteY336" fmla="*/ 5688797 h 6523037"/>
                <a:gd name="connsiteX337" fmla="*/ 3168271 w 12192001"/>
                <a:gd name="connsiteY337" fmla="*/ 5419782 h 6523037"/>
                <a:gd name="connsiteX338" fmla="*/ 2355639 w 12192001"/>
                <a:gd name="connsiteY338" fmla="*/ 5419782 h 6523037"/>
                <a:gd name="connsiteX339" fmla="*/ 2085226 w 12192001"/>
                <a:gd name="connsiteY339" fmla="*/ 5690892 h 6523037"/>
                <a:gd name="connsiteX340" fmla="*/ 2356338 w 12192001"/>
                <a:gd name="connsiteY340" fmla="*/ 5961304 h 6523037"/>
                <a:gd name="connsiteX341" fmla="*/ 2620460 w 12192001"/>
                <a:gd name="connsiteY341" fmla="*/ 5961304 h 6523037"/>
                <a:gd name="connsiteX342" fmla="*/ 2349350 w 12192001"/>
                <a:gd name="connsiteY342" fmla="*/ 5690892 h 6523037"/>
                <a:gd name="connsiteX343" fmla="*/ 2533816 w 12192001"/>
                <a:gd name="connsiteY343" fmla="*/ 5506426 h 6523037"/>
                <a:gd name="connsiteX344" fmla="*/ 2619762 w 12192001"/>
                <a:gd name="connsiteY344" fmla="*/ 5420480 h 6523037"/>
                <a:gd name="connsiteX345" fmla="*/ 2361229 w 12192001"/>
                <a:gd name="connsiteY345" fmla="*/ 5420480 h 6523037"/>
                <a:gd name="connsiteX346" fmla="*/ 1257919 w 12192001"/>
                <a:gd name="connsiteY346" fmla="*/ 5419782 h 6523037"/>
                <a:gd name="connsiteX347" fmla="*/ 987507 w 12192001"/>
                <a:gd name="connsiteY347" fmla="*/ 5690892 h 6523037"/>
                <a:gd name="connsiteX348" fmla="*/ 1258618 w 12192001"/>
                <a:gd name="connsiteY348" fmla="*/ 5961304 h 6523037"/>
                <a:gd name="connsiteX349" fmla="*/ 1522741 w 12192001"/>
                <a:gd name="connsiteY349" fmla="*/ 5961304 h 6523037"/>
                <a:gd name="connsiteX350" fmla="*/ 1251631 w 12192001"/>
                <a:gd name="connsiteY350" fmla="*/ 5690892 h 6523037"/>
                <a:gd name="connsiteX351" fmla="*/ 1436098 w 12192001"/>
                <a:gd name="connsiteY351" fmla="*/ 5506426 h 6523037"/>
                <a:gd name="connsiteX352" fmla="*/ 1522043 w 12192001"/>
                <a:gd name="connsiteY352" fmla="*/ 5419782 h 6523037"/>
                <a:gd name="connsiteX353" fmla="*/ 3452658 w 12192001"/>
                <a:gd name="connsiteY353" fmla="*/ 5419084 h 6523037"/>
                <a:gd name="connsiteX354" fmla="*/ 3182246 w 12192001"/>
                <a:gd name="connsiteY354" fmla="*/ 5690195 h 6523037"/>
                <a:gd name="connsiteX355" fmla="*/ 3453357 w 12192001"/>
                <a:gd name="connsiteY355" fmla="*/ 5960606 h 6523037"/>
                <a:gd name="connsiteX356" fmla="*/ 3717481 w 12192001"/>
                <a:gd name="connsiteY356" fmla="*/ 5960606 h 6523037"/>
                <a:gd name="connsiteX357" fmla="*/ 3446370 w 12192001"/>
                <a:gd name="connsiteY357" fmla="*/ 5690195 h 6523037"/>
                <a:gd name="connsiteX358" fmla="*/ 3716782 w 12192001"/>
                <a:gd name="connsiteY358" fmla="*/ 5419084 h 6523037"/>
                <a:gd name="connsiteX359" fmla="*/ 4549679 w 12192001"/>
                <a:gd name="connsiteY359" fmla="*/ 5417686 h 6523037"/>
                <a:gd name="connsiteX360" fmla="*/ 4279267 w 12192001"/>
                <a:gd name="connsiteY360" fmla="*/ 5688797 h 6523037"/>
                <a:gd name="connsiteX361" fmla="*/ 4550379 w 12192001"/>
                <a:gd name="connsiteY361" fmla="*/ 5959209 h 6523037"/>
                <a:gd name="connsiteX362" fmla="*/ 4811794 w 12192001"/>
                <a:gd name="connsiteY362" fmla="*/ 5959209 h 6523037"/>
                <a:gd name="connsiteX363" fmla="*/ 4665187 w 12192001"/>
                <a:gd name="connsiteY363" fmla="*/ 5812602 h 6523037"/>
                <a:gd name="connsiteX364" fmla="*/ 4665187 w 12192001"/>
                <a:gd name="connsiteY364" fmla="*/ 5810279 h 6523037"/>
                <a:gd name="connsiteX365" fmla="*/ 4543392 w 12192001"/>
                <a:gd name="connsiteY365" fmla="*/ 5688797 h 6523037"/>
                <a:gd name="connsiteX366" fmla="*/ 4665187 w 12192001"/>
                <a:gd name="connsiteY366" fmla="*/ 5566541 h 6523037"/>
                <a:gd name="connsiteX367" fmla="*/ 4665187 w 12192001"/>
                <a:gd name="connsiteY367" fmla="*/ 5562454 h 6523037"/>
                <a:gd name="connsiteX368" fmla="*/ 4809954 w 12192001"/>
                <a:gd name="connsiteY368" fmla="*/ 5417686 h 6523037"/>
                <a:gd name="connsiteX369" fmla="*/ 4824163 w 12192001"/>
                <a:gd name="connsiteY369" fmla="*/ 5417116 h 6523037"/>
                <a:gd name="connsiteX370" fmla="*/ 4556667 w 12192001"/>
                <a:gd name="connsiteY370" fmla="*/ 5685303 h 6523037"/>
                <a:gd name="connsiteX371" fmla="*/ 4816942 w 12192001"/>
                <a:gd name="connsiteY371" fmla="*/ 5685303 h 6523037"/>
                <a:gd name="connsiteX372" fmla="*/ 5085129 w 12192001"/>
                <a:gd name="connsiteY372" fmla="*/ 5417116 h 6523037"/>
                <a:gd name="connsiteX373" fmla="*/ 6467235 w 12192001"/>
                <a:gd name="connsiteY373" fmla="*/ 5415718 h 6523037"/>
                <a:gd name="connsiteX374" fmla="*/ 6196823 w 12192001"/>
                <a:gd name="connsiteY374" fmla="*/ 5686829 h 6523037"/>
                <a:gd name="connsiteX375" fmla="*/ 6467933 w 12192001"/>
                <a:gd name="connsiteY375" fmla="*/ 5957241 h 6523037"/>
                <a:gd name="connsiteX376" fmla="*/ 6732057 w 12192001"/>
                <a:gd name="connsiteY376" fmla="*/ 5957241 h 6523037"/>
                <a:gd name="connsiteX377" fmla="*/ 6460946 w 12192001"/>
                <a:gd name="connsiteY377" fmla="*/ 5686829 h 6523037"/>
                <a:gd name="connsiteX378" fmla="*/ 6731358 w 12192001"/>
                <a:gd name="connsiteY378" fmla="*/ 5415718 h 6523037"/>
                <a:gd name="connsiteX379" fmla="*/ 5369515 w 12192001"/>
                <a:gd name="connsiteY379" fmla="*/ 5415718 h 6523037"/>
                <a:gd name="connsiteX380" fmla="*/ 5099104 w 12192001"/>
                <a:gd name="connsiteY380" fmla="*/ 5686829 h 6523037"/>
                <a:gd name="connsiteX381" fmla="*/ 5370215 w 12192001"/>
                <a:gd name="connsiteY381" fmla="*/ 5957241 h 6523037"/>
                <a:gd name="connsiteX382" fmla="*/ 5634338 w 12192001"/>
                <a:gd name="connsiteY382" fmla="*/ 5957241 h 6523037"/>
                <a:gd name="connsiteX383" fmla="*/ 5363227 w 12192001"/>
                <a:gd name="connsiteY383" fmla="*/ 5686829 h 6523037"/>
                <a:gd name="connsiteX384" fmla="*/ 5632939 w 12192001"/>
                <a:gd name="connsiteY384" fmla="*/ 5415718 h 6523037"/>
                <a:gd name="connsiteX385" fmla="*/ 7564254 w 12192001"/>
                <a:gd name="connsiteY385" fmla="*/ 5415020 h 6523037"/>
                <a:gd name="connsiteX386" fmla="*/ 7383980 w 12192001"/>
                <a:gd name="connsiteY386" fmla="*/ 5595295 h 6523037"/>
                <a:gd name="connsiteX387" fmla="*/ 7294541 w 12192001"/>
                <a:gd name="connsiteY387" fmla="*/ 5685433 h 6523037"/>
                <a:gd name="connsiteX388" fmla="*/ 7428699 w 12192001"/>
                <a:gd name="connsiteY388" fmla="*/ 5818891 h 6523037"/>
                <a:gd name="connsiteX389" fmla="*/ 7565652 w 12192001"/>
                <a:gd name="connsiteY389" fmla="*/ 5955844 h 6523037"/>
                <a:gd name="connsiteX390" fmla="*/ 7829775 w 12192001"/>
                <a:gd name="connsiteY390" fmla="*/ 5955844 h 6523037"/>
                <a:gd name="connsiteX391" fmla="*/ 7558664 w 12192001"/>
                <a:gd name="connsiteY391" fmla="*/ 5685433 h 6523037"/>
                <a:gd name="connsiteX392" fmla="*/ 7560062 w 12192001"/>
                <a:gd name="connsiteY392" fmla="*/ 5684035 h 6523037"/>
                <a:gd name="connsiteX393" fmla="*/ 7828377 w 12192001"/>
                <a:gd name="connsiteY393" fmla="*/ 5415020 h 6523037"/>
                <a:gd name="connsiteX394" fmla="*/ 7015746 w 12192001"/>
                <a:gd name="connsiteY394" fmla="*/ 5415020 h 6523037"/>
                <a:gd name="connsiteX395" fmla="*/ 6745333 w 12192001"/>
                <a:gd name="connsiteY395" fmla="*/ 5686130 h 6523037"/>
                <a:gd name="connsiteX396" fmla="*/ 7016444 w 12192001"/>
                <a:gd name="connsiteY396" fmla="*/ 5956542 h 6523037"/>
                <a:gd name="connsiteX397" fmla="*/ 7280566 w 12192001"/>
                <a:gd name="connsiteY397" fmla="*/ 5956542 h 6523037"/>
                <a:gd name="connsiteX398" fmla="*/ 7009456 w 12192001"/>
                <a:gd name="connsiteY398" fmla="*/ 5686130 h 6523037"/>
                <a:gd name="connsiteX399" fmla="*/ 7193922 w 12192001"/>
                <a:gd name="connsiteY399" fmla="*/ 5501664 h 6523037"/>
                <a:gd name="connsiteX400" fmla="*/ 7279868 w 12192001"/>
                <a:gd name="connsiteY400" fmla="*/ 5415718 h 6523037"/>
                <a:gd name="connsiteX401" fmla="*/ 7021335 w 12192001"/>
                <a:gd name="connsiteY401" fmla="*/ 5415718 h 6523037"/>
                <a:gd name="connsiteX402" fmla="*/ 5918025 w 12192001"/>
                <a:gd name="connsiteY402" fmla="*/ 5415020 h 6523037"/>
                <a:gd name="connsiteX403" fmla="*/ 5647613 w 12192001"/>
                <a:gd name="connsiteY403" fmla="*/ 5686130 h 6523037"/>
                <a:gd name="connsiteX404" fmla="*/ 5918725 w 12192001"/>
                <a:gd name="connsiteY404" fmla="*/ 5956542 h 6523037"/>
                <a:gd name="connsiteX405" fmla="*/ 6182848 w 12192001"/>
                <a:gd name="connsiteY405" fmla="*/ 5956542 h 6523037"/>
                <a:gd name="connsiteX406" fmla="*/ 5911738 w 12192001"/>
                <a:gd name="connsiteY406" fmla="*/ 5686130 h 6523037"/>
                <a:gd name="connsiteX407" fmla="*/ 6096205 w 12192001"/>
                <a:gd name="connsiteY407" fmla="*/ 5501664 h 6523037"/>
                <a:gd name="connsiteX408" fmla="*/ 6182150 w 12192001"/>
                <a:gd name="connsiteY408" fmla="*/ 5415020 h 6523037"/>
                <a:gd name="connsiteX409" fmla="*/ 8112764 w 12192001"/>
                <a:gd name="connsiteY409" fmla="*/ 5414322 h 6523037"/>
                <a:gd name="connsiteX410" fmla="*/ 7842352 w 12192001"/>
                <a:gd name="connsiteY410" fmla="*/ 5685433 h 6523037"/>
                <a:gd name="connsiteX411" fmla="*/ 8113463 w 12192001"/>
                <a:gd name="connsiteY411" fmla="*/ 5955844 h 6523037"/>
                <a:gd name="connsiteX412" fmla="*/ 8377587 w 12192001"/>
                <a:gd name="connsiteY412" fmla="*/ 5955844 h 6523037"/>
                <a:gd name="connsiteX413" fmla="*/ 8106476 w 12192001"/>
                <a:gd name="connsiteY413" fmla="*/ 5685433 h 6523037"/>
                <a:gd name="connsiteX414" fmla="*/ 8376888 w 12192001"/>
                <a:gd name="connsiteY414" fmla="*/ 5414322 h 6523037"/>
                <a:gd name="connsiteX415" fmla="*/ 9482686 w 12192001"/>
                <a:gd name="connsiteY415" fmla="*/ 5413941 h 6523037"/>
                <a:gd name="connsiteX416" fmla="*/ 9216773 w 12192001"/>
                <a:gd name="connsiteY416" fmla="*/ 5680541 h 6523037"/>
                <a:gd name="connsiteX417" fmla="*/ 9478945 w 12192001"/>
                <a:gd name="connsiteY417" fmla="*/ 5680541 h 6523037"/>
                <a:gd name="connsiteX418" fmla="*/ 9745545 w 12192001"/>
                <a:gd name="connsiteY418" fmla="*/ 5413941 h 6523037"/>
                <a:gd name="connsiteX419" fmla="*/ 9209785 w 12192001"/>
                <a:gd name="connsiteY419" fmla="*/ 5412924 h 6523037"/>
                <a:gd name="connsiteX420" fmla="*/ 8939373 w 12192001"/>
                <a:gd name="connsiteY420" fmla="*/ 5684035 h 6523037"/>
                <a:gd name="connsiteX421" fmla="*/ 9210484 w 12192001"/>
                <a:gd name="connsiteY421" fmla="*/ 5954447 h 6523037"/>
                <a:gd name="connsiteX422" fmla="*/ 9470623 w 12192001"/>
                <a:gd name="connsiteY422" fmla="*/ 5954447 h 6523037"/>
                <a:gd name="connsiteX423" fmla="*/ 9325603 w 12192001"/>
                <a:gd name="connsiteY423" fmla="*/ 5809427 h 6523037"/>
                <a:gd name="connsiteX424" fmla="*/ 9325603 w 12192001"/>
                <a:gd name="connsiteY424" fmla="*/ 5805827 h 6523037"/>
                <a:gd name="connsiteX425" fmla="*/ 9203497 w 12192001"/>
                <a:gd name="connsiteY425" fmla="*/ 5684035 h 6523037"/>
                <a:gd name="connsiteX426" fmla="*/ 9325603 w 12192001"/>
                <a:gd name="connsiteY426" fmla="*/ 5561467 h 6523037"/>
                <a:gd name="connsiteX427" fmla="*/ 9325603 w 12192001"/>
                <a:gd name="connsiteY427" fmla="*/ 5559279 h 6523037"/>
                <a:gd name="connsiteX428" fmla="*/ 9471958 w 12192001"/>
                <a:gd name="connsiteY428" fmla="*/ 5412924 h 6523037"/>
                <a:gd name="connsiteX429" fmla="*/ 11127651 w 12192001"/>
                <a:gd name="connsiteY429" fmla="*/ 5412543 h 6523037"/>
                <a:gd name="connsiteX430" fmla="*/ 10857239 w 12192001"/>
                <a:gd name="connsiteY430" fmla="*/ 5683654 h 6523037"/>
                <a:gd name="connsiteX431" fmla="*/ 11128350 w 12192001"/>
                <a:gd name="connsiteY431" fmla="*/ 5954066 h 6523037"/>
                <a:gd name="connsiteX432" fmla="*/ 11392474 w 12192001"/>
                <a:gd name="connsiteY432" fmla="*/ 5954066 h 6523037"/>
                <a:gd name="connsiteX433" fmla="*/ 11121363 w 12192001"/>
                <a:gd name="connsiteY433" fmla="*/ 5683654 h 6523037"/>
                <a:gd name="connsiteX434" fmla="*/ 11391775 w 12192001"/>
                <a:gd name="connsiteY434" fmla="*/ 5412543 h 6523037"/>
                <a:gd name="connsiteX435" fmla="*/ 10029932 w 12192001"/>
                <a:gd name="connsiteY435" fmla="*/ 5412543 h 6523037"/>
                <a:gd name="connsiteX436" fmla="*/ 9759520 w 12192001"/>
                <a:gd name="connsiteY436" fmla="*/ 5683654 h 6523037"/>
                <a:gd name="connsiteX437" fmla="*/ 10030631 w 12192001"/>
                <a:gd name="connsiteY437" fmla="*/ 5954066 h 6523037"/>
                <a:gd name="connsiteX438" fmla="*/ 10294754 w 12192001"/>
                <a:gd name="connsiteY438" fmla="*/ 5954066 h 6523037"/>
                <a:gd name="connsiteX439" fmla="*/ 10023643 w 12192001"/>
                <a:gd name="connsiteY439" fmla="*/ 5683654 h 6523037"/>
                <a:gd name="connsiteX440" fmla="*/ 10293356 w 12192001"/>
                <a:gd name="connsiteY440" fmla="*/ 5412543 h 6523037"/>
                <a:gd name="connsiteX441" fmla="*/ 11676162 w 12192001"/>
                <a:gd name="connsiteY441" fmla="*/ 5411845 h 6523037"/>
                <a:gd name="connsiteX442" fmla="*/ 11405749 w 12192001"/>
                <a:gd name="connsiteY442" fmla="*/ 5682955 h 6523037"/>
                <a:gd name="connsiteX443" fmla="*/ 11676861 w 12192001"/>
                <a:gd name="connsiteY443" fmla="*/ 5953367 h 6523037"/>
                <a:gd name="connsiteX444" fmla="*/ 11940983 w 12192001"/>
                <a:gd name="connsiteY444" fmla="*/ 5953367 h 6523037"/>
                <a:gd name="connsiteX445" fmla="*/ 11669873 w 12192001"/>
                <a:gd name="connsiteY445" fmla="*/ 5682955 h 6523037"/>
                <a:gd name="connsiteX446" fmla="*/ 11854339 w 12192001"/>
                <a:gd name="connsiteY446" fmla="*/ 5498489 h 6523037"/>
                <a:gd name="connsiteX447" fmla="*/ 11940285 w 12192001"/>
                <a:gd name="connsiteY447" fmla="*/ 5412543 h 6523037"/>
                <a:gd name="connsiteX448" fmla="*/ 11681752 w 12192001"/>
                <a:gd name="connsiteY448" fmla="*/ 5412543 h 6523037"/>
                <a:gd name="connsiteX449" fmla="*/ 10578442 w 12192001"/>
                <a:gd name="connsiteY449" fmla="*/ 5411845 h 6523037"/>
                <a:gd name="connsiteX450" fmla="*/ 10308030 w 12192001"/>
                <a:gd name="connsiteY450" fmla="*/ 5682955 h 6523037"/>
                <a:gd name="connsiteX451" fmla="*/ 10579141 w 12192001"/>
                <a:gd name="connsiteY451" fmla="*/ 5953367 h 6523037"/>
                <a:gd name="connsiteX452" fmla="*/ 10843264 w 12192001"/>
                <a:gd name="connsiteY452" fmla="*/ 5953367 h 6523037"/>
                <a:gd name="connsiteX453" fmla="*/ 10572154 w 12192001"/>
                <a:gd name="connsiteY453" fmla="*/ 5682955 h 6523037"/>
                <a:gd name="connsiteX454" fmla="*/ 10756621 w 12192001"/>
                <a:gd name="connsiteY454" fmla="*/ 5498489 h 6523037"/>
                <a:gd name="connsiteX455" fmla="*/ 10842566 w 12192001"/>
                <a:gd name="connsiteY455" fmla="*/ 5411845 h 6523037"/>
                <a:gd name="connsiteX456" fmla="*/ 167886 w 12192001"/>
                <a:gd name="connsiteY456" fmla="*/ 5147274 h 6523037"/>
                <a:gd name="connsiteX457" fmla="*/ 438997 w 12192001"/>
                <a:gd name="connsiteY457" fmla="*/ 5417686 h 6523037"/>
                <a:gd name="connsiteX458" fmla="*/ 169284 w 12192001"/>
                <a:gd name="connsiteY458" fmla="*/ 5688797 h 6523037"/>
                <a:gd name="connsiteX459" fmla="*/ 432708 w 12192001"/>
                <a:gd name="connsiteY459" fmla="*/ 5688797 h 6523037"/>
                <a:gd name="connsiteX460" fmla="*/ 703120 w 12192001"/>
                <a:gd name="connsiteY460" fmla="*/ 5417686 h 6523037"/>
                <a:gd name="connsiteX461" fmla="*/ 568962 w 12192001"/>
                <a:gd name="connsiteY461" fmla="*/ 5284227 h 6523037"/>
                <a:gd name="connsiteX462" fmla="*/ 432009 w 12192001"/>
                <a:gd name="connsiteY462" fmla="*/ 5147274 h 6523037"/>
                <a:gd name="connsiteX463" fmla="*/ 1814116 w 12192001"/>
                <a:gd name="connsiteY463" fmla="*/ 5146575 h 6523037"/>
                <a:gd name="connsiteX464" fmla="*/ 1942683 w 12192001"/>
                <a:gd name="connsiteY464" fmla="*/ 5275144 h 6523037"/>
                <a:gd name="connsiteX465" fmla="*/ 2084528 w 12192001"/>
                <a:gd name="connsiteY465" fmla="*/ 5416987 h 6523037"/>
                <a:gd name="connsiteX466" fmla="*/ 1814116 w 12192001"/>
                <a:gd name="connsiteY466" fmla="*/ 5688098 h 6523037"/>
                <a:gd name="connsiteX467" fmla="*/ 2078239 w 12192001"/>
                <a:gd name="connsiteY467" fmla="*/ 5688098 h 6523037"/>
                <a:gd name="connsiteX468" fmla="*/ 2348651 w 12192001"/>
                <a:gd name="connsiteY468" fmla="*/ 5416987 h 6523037"/>
                <a:gd name="connsiteX469" fmla="*/ 2343759 w 12192001"/>
                <a:gd name="connsiteY469" fmla="*/ 5412096 h 6523037"/>
                <a:gd name="connsiteX470" fmla="*/ 2078239 w 12192001"/>
                <a:gd name="connsiteY470" fmla="*/ 5146575 h 6523037"/>
                <a:gd name="connsiteX471" fmla="*/ 2362625 w 12192001"/>
                <a:gd name="connsiteY471" fmla="*/ 5145876 h 6523037"/>
                <a:gd name="connsiteX472" fmla="*/ 2633736 w 12192001"/>
                <a:gd name="connsiteY472" fmla="*/ 5415590 h 6523037"/>
                <a:gd name="connsiteX473" fmla="*/ 2630942 w 12192001"/>
                <a:gd name="connsiteY473" fmla="*/ 5418385 h 6523037"/>
                <a:gd name="connsiteX474" fmla="*/ 2540804 w 12192001"/>
                <a:gd name="connsiteY474" fmla="*/ 5509220 h 6523037"/>
                <a:gd name="connsiteX475" fmla="*/ 2363324 w 12192001"/>
                <a:gd name="connsiteY475" fmla="*/ 5686700 h 6523037"/>
                <a:gd name="connsiteX476" fmla="*/ 2627447 w 12192001"/>
                <a:gd name="connsiteY476" fmla="*/ 5686700 h 6523037"/>
                <a:gd name="connsiteX477" fmla="*/ 2716886 w 12192001"/>
                <a:gd name="connsiteY477" fmla="*/ 5597262 h 6523037"/>
                <a:gd name="connsiteX478" fmla="*/ 2897859 w 12192001"/>
                <a:gd name="connsiteY478" fmla="*/ 5416288 h 6523037"/>
                <a:gd name="connsiteX479" fmla="*/ 2626749 w 12192001"/>
                <a:gd name="connsiteY479" fmla="*/ 5145876 h 6523037"/>
                <a:gd name="connsiteX480" fmla="*/ 1264208 w 12192001"/>
                <a:gd name="connsiteY480" fmla="*/ 5145876 h 6523037"/>
                <a:gd name="connsiteX481" fmla="*/ 1535319 w 12192001"/>
                <a:gd name="connsiteY481" fmla="*/ 5415590 h 6523037"/>
                <a:gd name="connsiteX482" fmla="*/ 1532523 w 12192001"/>
                <a:gd name="connsiteY482" fmla="*/ 5418385 h 6523037"/>
                <a:gd name="connsiteX483" fmla="*/ 1442387 w 12192001"/>
                <a:gd name="connsiteY483" fmla="*/ 5509220 h 6523037"/>
                <a:gd name="connsiteX484" fmla="*/ 1264907 w 12192001"/>
                <a:gd name="connsiteY484" fmla="*/ 5686700 h 6523037"/>
                <a:gd name="connsiteX485" fmla="*/ 1529030 w 12192001"/>
                <a:gd name="connsiteY485" fmla="*/ 5686700 h 6523037"/>
                <a:gd name="connsiteX486" fmla="*/ 1618469 w 12192001"/>
                <a:gd name="connsiteY486" fmla="*/ 5597262 h 6523037"/>
                <a:gd name="connsiteX487" fmla="*/ 1799442 w 12192001"/>
                <a:gd name="connsiteY487" fmla="*/ 5416288 h 6523037"/>
                <a:gd name="connsiteX488" fmla="*/ 1528331 w 12192001"/>
                <a:gd name="connsiteY488" fmla="*/ 5145876 h 6523037"/>
                <a:gd name="connsiteX489" fmla="*/ 715697 w 12192001"/>
                <a:gd name="connsiteY489" fmla="*/ 5145876 h 6523037"/>
                <a:gd name="connsiteX490" fmla="*/ 717095 w 12192001"/>
                <a:gd name="connsiteY490" fmla="*/ 5147274 h 6523037"/>
                <a:gd name="connsiteX491" fmla="*/ 986808 w 12192001"/>
                <a:gd name="connsiteY491" fmla="*/ 5416288 h 6523037"/>
                <a:gd name="connsiteX492" fmla="*/ 716396 w 12192001"/>
                <a:gd name="connsiteY492" fmla="*/ 5687399 h 6523037"/>
                <a:gd name="connsiteX493" fmla="*/ 980520 w 12192001"/>
                <a:gd name="connsiteY493" fmla="*/ 5687399 h 6523037"/>
                <a:gd name="connsiteX494" fmla="*/ 1250932 w 12192001"/>
                <a:gd name="connsiteY494" fmla="*/ 5416288 h 6523037"/>
                <a:gd name="connsiteX495" fmla="*/ 1245342 w 12192001"/>
                <a:gd name="connsiteY495" fmla="*/ 5411397 h 6523037"/>
                <a:gd name="connsiteX496" fmla="*/ 979821 w 12192001"/>
                <a:gd name="connsiteY496" fmla="*/ 5145876 h 6523037"/>
                <a:gd name="connsiteX497" fmla="*/ 2911136 w 12192001"/>
                <a:gd name="connsiteY497" fmla="*/ 5145178 h 6523037"/>
                <a:gd name="connsiteX498" fmla="*/ 3041801 w 12192001"/>
                <a:gd name="connsiteY498" fmla="*/ 5274445 h 6523037"/>
                <a:gd name="connsiteX499" fmla="*/ 3182246 w 12192001"/>
                <a:gd name="connsiteY499" fmla="*/ 5414891 h 6523037"/>
                <a:gd name="connsiteX500" fmla="*/ 2911834 w 12192001"/>
                <a:gd name="connsiteY500" fmla="*/ 5686002 h 6523037"/>
                <a:gd name="connsiteX501" fmla="*/ 3175958 w 12192001"/>
                <a:gd name="connsiteY501" fmla="*/ 5686002 h 6523037"/>
                <a:gd name="connsiteX502" fmla="*/ 3446370 w 12192001"/>
                <a:gd name="connsiteY502" fmla="*/ 5415590 h 6523037"/>
                <a:gd name="connsiteX503" fmla="*/ 3175259 w 12192001"/>
                <a:gd name="connsiteY503" fmla="*/ 5145178 h 6523037"/>
                <a:gd name="connsiteX504" fmla="*/ 3459646 w 12192001"/>
                <a:gd name="connsiteY504" fmla="*/ 5144479 h 6523037"/>
                <a:gd name="connsiteX505" fmla="*/ 3730757 w 12192001"/>
                <a:gd name="connsiteY505" fmla="*/ 5414891 h 6523037"/>
                <a:gd name="connsiteX506" fmla="*/ 3460345 w 12192001"/>
                <a:gd name="connsiteY506" fmla="*/ 5686002 h 6523037"/>
                <a:gd name="connsiteX507" fmla="*/ 3724468 w 12192001"/>
                <a:gd name="connsiteY507" fmla="*/ 5686002 h 6523037"/>
                <a:gd name="connsiteX508" fmla="*/ 3994880 w 12192001"/>
                <a:gd name="connsiteY508" fmla="*/ 5414891 h 6523037"/>
                <a:gd name="connsiteX509" fmla="*/ 3723769 w 12192001"/>
                <a:gd name="connsiteY509" fmla="*/ 5144479 h 6523037"/>
                <a:gd name="connsiteX510" fmla="*/ 4008156 w 12192001"/>
                <a:gd name="connsiteY510" fmla="*/ 5143780 h 6523037"/>
                <a:gd name="connsiteX511" fmla="*/ 4279267 w 12192001"/>
                <a:gd name="connsiteY511" fmla="*/ 5414192 h 6523037"/>
                <a:gd name="connsiteX512" fmla="*/ 4008855 w 12192001"/>
                <a:gd name="connsiteY512" fmla="*/ 5685303 h 6523037"/>
                <a:gd name="connsiteX513" fmla="*/ 4207298 w 12192001"/>
                <a:gd name="connsiteY513" fmla="*/ 5685303 h 6523037"/>
                <a:gd name="connsiteX514" fmla="*/ 4272281 w 12192001"/>
                <a:gd name="connsiteY514" fmla="*/ 5685303 h 6523037"/>
                <a:gd name="connsiteX515" fmla="*/ 4543392 w 12192001"/>
                <a:gd name="connsiteY515" fmla="*/ 5414192 h 6523037"/>
                <a:gd name="connsiteX516" fmla="*/ 4409232 w 12192001"/>
                <a:gd name="connsiteY516" fmla="*/ 5280734 h 6523037"/>
                <a:gd name="connsiteX517" fmla="*/ 4272281 w 12192001"/>
                <a:gd name="connsiteY517" fmla="*/ 5143780 h 6523037"/>
                <a:gd name="connsiteX518" fmla="*/ 4555270 w 12192001"/>
                <a:gd name="connsiteY518" fmla="*/ 5143081 h 6523037"/>
                <a:gd name="connsiteX519" fmla="*/ 4822307 w 12192001"/>
                <a:gd name="connsiteY519" fmla="*/ 5409430 h 6523037"/>
                <a:gd name="connsiteX520" fmla="*/ 5085129 w 12192001"/>
                <a:gd name="connsiteY520" fmla="*/ 5409430 h 6523037"/>
                <a:gd name="connsiteX521" fmla="*/ 4818091 w 12192001"/>
                <a:gd name="connsiteY521" fmla="*/ 5143081 h 6523037"/>
                <a:gd name="connsiteX522" fmla="*/ 4828477 w 12192001"/>
                <a:gd name="connsiteY522" fmla="*/ 5142512 h 6523037"/>
                <a:gd name="connsiteX523" fmla="*/ 4828477 w 12192001"/>
                <a:gd name="connsiteY523" fmla="*/ 5142995 h 6523037"/>
                <a:gd name="connsiteX524" fmla="*/ 5099104 w 12192001"/>
                <a:gd name="connsiteY524" fmla="*/ 5412924 h 6523037"/>
                <a:gd name="connsiteX525" fmla="*/ 4829390 w 12192001"/>
                <a:gd name="connsiteY525" fmla="*/ 5684035 h 6523037"/>
                <a:gd name="connsiteX526" fmla="*/ 5092815 w 12192001"/>
                <a:gd name="connsiteY526" fmla="*/ 5684035 h 6523037"/>
                <a:gd name="connsiteX527" fmla="*/ 5363227 w 12192001"/>
                <a:gd name="connsiteY527" fmla="*/ 5412924 h 6523037"/>
                <a:gd name="connsiteX528" fmla="*/ 5229068 w 12192001"/>
                <a:gd name="connsiteY528" fmla="*/ 5279465 h 6523037"/>
                <a:gd name="connsiteX529" fmla="*/ 5092115 w 12192001"/>
                <a:gd name="connsiteY529" fmla="*/ 5142512 h 6523037"/>
                <a:gd name="connsiteX530" fmla="*/ 6474223 w 12192001"/>
                <a:gd name="connsiteY530" fmla="*/ 5141813 h 6523037"/>
                <a:gd name="connsiteX531" fmla="*/ 6602789 w 12192001"/>
                <a:gd name="connsiteY531" fmla="*/ 5270382 h 6523037"/>
                <a:gd name="connsiteX532" fmla="*/ 6744635 w 12192001"/>
                <a:gd name="connsiteY532" fmla="*/ 5412225 h 6523037"/>
                <a:gd name="connsiteX533" fmla="*/ 6474223 w 12192001"/>
                <a:gd name="connsiteY533" fmla="*/ 5683336 h 6523037"/>
                <a:gd name="connsiteX534" fmla="*/ 6738346 w 12192001"/>
                <a:gd name="connsiteY534" fmla="*/ 5683336 h 6523037"/>
                <a:gd name="connsiteX535" fmla="*/ 7008758 w 12192001"/>
                <a:gd name="connsiteY535" fmla="*/ 5412225 h 6523037"/>
                <a:gd name="connsiteX536" fmla="*/ 7003865 w 12192001"/>
                <a:gd name="connsiteY536" fmla="*/ 5407334 h 6523037"/>
                <a:gd name="connsiteX537" fmla="*/ 6738346 w 12192001"/>
                <a:gd name="connsiteY537" fmla="*/ 5141813 h 6523037"/>
                <a:gd name="connsiteX538" fmla="*/ 7022731 w 12192001"/>
                <a:gd name="connsiteY538" fmla="*/ 5141114 h 6523037"/>
                <a:gd name="connsiteX539" fmla="*/ 7293842 w 12192001"/>
                <a:gd name="connsiteY539" fmla="*/ 5410828 h 6523037"/>
                <a:gd name="connsiteX540" fmla="*/ 7291048 w 12192001"/>
                <a:gd name="connsiteY540" fmla="*/ 5413623 h 6523037"/>
                <a:gd name="connsiteX541" fmla="*/ 7200910 w 12192001"/>
                <a:gd name="connsiteY541" fmla="*/ 5504458 h 6523037"/>
                <a:gd name="connsiteX542" fmla="*/ 7023431 w 12192001"/>
                <a:gd name="connsiteY542" fmla="*/ 5681938 h 6523037"/>
                <a:gd name="connsiteX543" fmla="*/ 7287553 w 12192001"/>
                <a:gd name="connsiteY543" fmla="*/ 5681938 h 6523037"/>
                <a:gd name="connsiteX544" fmla="*/ 7376992 w 12192001"/>
                <a:gd name="connsiteY544" fmla="*/ 5592500 h 6523037"/>
                <a:gd name="connsiteX545" fmla="*/ 7557965 w 12192001"/>
                <a:gd name="connsiteY545" fmla="*/ 5411526 h 6523037"/>
                <a:gd name="connsiteX546" fmla="*/ 7286855 w 12192001"/>
                <a:gd name="connsiteY546" fmla="*/ 5141114 h 6523037"/>
                <a:gd name="connsiteX547" fmla="*/ 5924314 w 12192001"/>
                <a:gd name="connsiteY547" fmla="*/ 5141114 h 6523037"/>
                <a:gd name="connsiteX548" fmla="*/ 6195425 w 12192001"/>
                <a:gd name="connsiteY548" fmla="*/ 5410828 h 6523037"/>
                <a:gd name="connsiteX549" fmla="*/ 6192630 w 12192001"/>
                <a:gd name="connsiteY549" fmla="*/ 5413623 h 6523037"/>
                <a:gd name="connsiteX550" fmla="*/ 6102494 w 12192001"/>
                <a:gd name="connsiteY550" fmla="*/ 5504458 h 6523037"/>
                <a:gd name="connsiteX551" fmla="*/ 5925013 w 12192001"/>
                <a:gd name="connsiteY551" fmla="*/ 5681938 h 6523037"/>
                <a:gd name="connsiteX552" fmla="*/ 6189136 w 12192001"/>
                <a:gd name="connsiteY552" fmla="*/ 5681938 h 6523037"/>
                <a:gd name="connsiteX553" fmla="*/ 6278575 w 12192001"/>
                <a:gd name="connsiteY553" fmla="*/ 5592500 h 6523037"/>
                <a:gd name="connsiteX554" fmla="*/ 6459548 w 12192001"/>
                <a:gd name="connsiteY554" fmla="*/ 5411526 h 6523037"/>
                <a:gd name="connsiteX555" fmla="*/ 6188437 w 12192001"/>
                <a:gd name="connsiteY555" fmla="*/ 5141114 h 6523037"/>
                <a:gd name="connsiteX556" fmla="*/ 5375803 w 12192001"/>
                <a:gd name="connsiteY556" fmla="*/ 5141114 h 6523037"/>
                <a:gd name="connsiteX557" fmla="*/ 5377202 w 12192001"/>
                <a:gd name="connsiteY557" fmla="*/ 5142512 h 6523037"/>
                <a:gd name="connsiteX558" fmla="*/ 5646914 w 12192001"/>
                <a:gd name="connsiteY558" fmla="*/ 5411526 h 6523037"/>
                <a:gd name="connsiteX559" fmla="*/ 5376502 w 12192001"/>
                <a:gd name="connsiteY559" fmla="*/ 5682637 h 6523037"/>
                <a:gd name="connsiteX560" fmla="*/ 5640627 w 12192001"/>
                <a:gd name="connsiteY560" fmla="*/ 5682637 h 6523037"/>
                <a:gd name="connsiteX561" fmla="*/ 5911038 w 12192001"/>
                <a:gd name="connsiteY561" fmla="*/ 5411526 h 6523037"/>
                <a:gd name="connsiteX562" fmla="*/ 5905448 w 12192001"/>
                <a:gd name="connsiteY562" fmla="*/ 5406635 h 6523037"/>
                <a:gd name="connsiteX563" fmla="*/ 5639927 w 12192001"/>
                <a:gd name="connsiteY563" fmla="*/ 5141114 h 6523037"/>
                <a:gd name="connsiteX564" fmla="*/ 7571242 w 12192001"/>
                <a:gd name="connsiteY564" fmla="*/ 5140416 h 6523037"/>
                <a:gd name="connsiteX565" fmla="*/ 7701907 w 12192001"/>
                <a:gd name="connsiteY565" fmla="*/ 5269683 h 6523037"/>
                <a:gd name="connsiteX566" fmla="*/ 7842352 w 12192001"/>
                <a:gd name="connsiteY566" fmla="*/ 5410129 h 6523037"/>
                <a:gd name="connsiteX567" fmla="*/ 7571940 w 12192001"/>
                <a:gd name="connsiteY567" fmla="*/ 5681240 h 6523037"/>
                <a:gd name="connsiteX568" fmla="*/ 7836064 w 12192001"/>
                <a:gd name="connsiteY568" fmla="*/ 5681240 h 6523037"/>
                <a:gd name="connsiteX569" fmla="*/ 8106476 w 12192001"/>
                <a:gd name="connsiteY569" fmla="*/ 5410828 h 6523037"/>
                <a:gd name="connsiteX570" fmla="*/ 7835365 w 12192001"/>
                <a:gd name="connsiteY570" fmla="*/ 5140416 h 6523037"/>
                <a:gd name="connsiteX571" fmla="*/ 8119752 w 12192001"/>
                <a:gd name="connsiteY571" fmla="*/ 5139717 h 6523037"/>
                <a:gd name="connsiteX572" fmla="*/ 8390863 w 12192001"/>
                <a:gd name="connsiteY572" fmla="*/ 5410129 h 6523037"/>
                <a:gd name="connsiteX573" fmla="*/ 8120451 w 12192001"/>
                <a:gd name="connsiteY573" fmla="*/ 5681240 h 6523037"/>
                <a:gd name="connsiteX574" fmla="*/ 8384574 w 12192001"/>
                <a:gd name="connsiteY574" fmla="*/ 5681240 h 6523037"/>
                <a:gd name="connsiteX575" fmla="*/ 8654986 w 12192001"/>
                <a:gd name="connsiteY575" fmla="*/ 5410129 h 6523037"/>
                <a:gd name="connsiteX576" fmla="*/ 8383875 w 12192001"/>
                <a:gd name="connsiteY576" fmla="*/ 5139717 h 6523037"/>
                <a:gd name="connsiteX577" fmla="*/ 9488582 w 12192001"/>
                <a:gd name="connsiteY577" fmla="*/ 5139337 h 6523037"/>
                <a:gd name="connsiteX578" fmla="*/ 9488582 w 12192001"/>
                <a:gd name="connsiteY578" fmla="*/ 5139510 h 6523037"/>
                <a:gd name="connsiteX579" fmla="*/ 9759520 w 12192001"/>
                <a:gd name="connsiteY579" fmla="*/ 5409749 h 6523037"/>
                <a:gd name="connsiteX580" fmla="*/ 9489807 w 12192001"/>
                <a:gd name="connsiteY580" fmla="*/ 5680860 h 6523037"/>
                <a:gd name="connsiteX581" fmla="*/ 9753231 w 12192001"/>
                <a:gd name="connsiteY581" fmla="*/ 5680860 h 6523037"/>
                <a:gd name="connsiteX582" fmla="*/ 10023643 w 12192001"/>
                <a:gd name="connsiteY582" fmla="*/ 5409749 h 6523037"/>
                <a:gd name="connsiteX583" fmla="*/ 9889485 w 12192001"/>
                <a:gd name="connsiteY583" fmla="*/ 5276290 h 6523037"/>
                <a:gd name="connsiteX584" fmla="*/ 9752532 w 12192001"/>
                <a:gd name="connsiteY584" fmla="*/ 5139337 h 6523037"/>
                <a:gd name="connsiteX585" fmla="*/ 8668262 w 12192001"/>
                <a:gd name="connsiteY585" fmla="*/ 5139018 h 6523037"/>
                <a:gd name="connsiteX586" fmla="*/ 8939373 w 12192001"/>
                <a:gd name="connsiteY586" fmla="*/ 5409430 h 6523037"/>
                <a:gd name="connsiteX587" fmla="*/ 8668961 w 12192001"/>
                <a:gd name="connsiteY587" fmla="*/ 5680541 h 6523037"/>
                <a:gd name="connsiteX588" fmla="*/ 8867403 w 12192001"/>
                <a:gd name="connsiteY588" fmla="*/ 5680541 h 6523037"/>
                <a:gd name="connsiteX589" fmla="*/ 8932386 w 12192001"/>
                <a:gd name="connsiteY589" fmla="*/ 5680541 h 6523037"/>
                <a:gd name="connsiteX590" fmla="*/ 9203497 w 12192001"/>
                <a:gd name="connsiteY590" fmla="*/ 5409430 h 6523037"/>
                <a:gd name="connsiteX591" fmla="*/ 9069338 w 12192001"/>
                <a:gd name="connsiteY591" fmla="*/ 5275972 h 6523037"/>
                <a:gd name="connsiteX592" fmla="*/ 8932386 w 12192001"/>
                <a:gd name="connsiteY592" fmla="*/ 5139018 h 6523037"/>
                <a:gd name="connsiteX593" fmla="*/ 11134639 w 12192001"/>
                <a:gd name="connsiteY593" fmla="*/ 5138638 h 6523037"/>
                <a:gd name="connsiteX594" fmla="*/ 11263206 w 12192001"/>
                <a:gd name="connsiteY594" fmla="*/ 5267207 h 6523037"/>
                <a:gd name="connsiteX595" fmla="*/ 11405051 w 12192001"/>
                <a:gd name="connsiteY595" fmla="*/ 5409050 h 6523037"/>
                <a:gd name="connsiteX596" fmla="*/ 11134639 w 12192001"/>
                <a:gd name="connsiteY596" fmla="*/ 5680161 h 6523037"/>
                <a:gd name="connsiteX597" fmla="*/ 11398762 w 12192001"/>
                <a:gd name="connsiteY597" fmla="*/ 5680161 h 6523037"/>
                <a:gd name="connsiteX598" fmla="*/ 11669174 w 12192001"/>
                <a:gd name="connsiteY598" fmla="*/ 5409050 h 6523037"/>
                <a:gd name="connsiteX599" fmla="*/ 11664282 w 12192001"/>
                <a:gd name="connsiteY599" fmla="*/ 5404159 h 6523037"/>
                <a:gd name="connsiteX600" fmla="*/ 11398762 w 12192001"/>
                <a:gd name="connsiteY600" fmla="*/ 5138638 h 6523037"/>
                <a:gd name="connsiteX601" fmla="*/ 9215375 w 12192001"/>
                <a:gd name="connsiteY601" fmla="*/ 5138319 h 6523037"/>
                <a:gd name="connsiteX602" fmla="*/ 9484003 w 12192001"/>
                <a:gd name="connsiteY602" fmla="*/ 5406255 h 6523037"/>
                <a:gd name="connsiteX603" fmla="*/ 9745545 w 12192001"/>
                <a:gd name="connsiteY603" fmla="*/ 5406255 h 6523037"/>
                <a:gd name="connsiteX604" fmla="*/ 9476916 w 12192001"/>
                <a:gd name="connsiteY604" fmla="*/ 5138319 h 6523037"/>
                <a:gd name="connsiteX605" fmla="*/ 10584731 w 12192001"/>
                <a:gd name="connsiteY605" fmla="*/ 5137939 h 6523037"/>
                <a:gd name="connsiteX606" fmla="*/ 10855842 w 12192001"/>
                <a:gd name="connsiteY606" fmla="*/ 5407653 h 6523037"/>
                <a:gd name="connsiteX607" fmla="*/ 10853046 w 12192001"/>
                <a:gd name="connsiteY607" fmla="*/ 5410448 h 6523037"/>
                <a:gd name="connsiteX608" fmla="*/ 10762910 w 12192001"/>
                <a:gd name="connsiteY608" fmla="*/ 5501283 h 6523037"/>
                <a:gd name="connsiteX609" fmla="*/ 10585430 w 12192001"/>
                <a:gd name="connsiteY609" fmla="*/ 5678763 h 6523037"/>
                <a:gd name="connsiteX610" fmla="*/ 10849553 w 12192001"/>
                <a:gd name="connsiteY610" fmla="*/ 5678763 h 6523037"/>
                <a:gd name="connsiteX611" fmla="*/ 10938992 w 12192001"/>
                <a:gd name="connsiteY611" fmla="*/ 5589325 h 6523037"/>
                <a:gd name="connsiteX612" fmla="*/ 11119965 w 12192001"/>
                <a:gd name="connsiteY612" fmla="*/ 5408351 h 6523037"/>
                <a:gd name="connsiteX613" fmla="*/ 10848854 w 12192001"/>
                <a:gd name="connsiteY613" fmla="*/ 5137939 h 6523037"/>
                <a:gd name="connsiteX614" fmla="*/ 10036220 w 12192001"/>
                <a:gd name="connsiteY614" fmla="*/ 5137939 h 6523037"/>
                <a:gd name="connsiteX615" fmla="*/ 10037618 w 12192001"/>
                <a:gd name="connsiteY615" fmla="*/ 5139337 h 6523037"/>
                <a:gd name="connsiteX616" fmla="*/ 10307331 w 12192001"/>
                <a:gd name="connsiteY616" fmla="*/ 5408351 h 6523037"/>
                <a:gd name="connsiteX617" fmla="*/ 10036919 w 12192001"/>
                <a:gd name="connsiteY617" fmla="*/ 5679462 h 6523037"/>
                <a:gd name="connsiteX618" fmla="*/ 10301043 w 12192001"/>
                <a:gd name="connsiteY618" fmla="*/ 5679462 h 6523037"/>
                <a:gd name="connsiteX619" fmla="*/ 10571455 w 12192001"/>
                <a:gd name="connsiteY619" fmla="*/ 5408351 h 6523037"/>
                <a:gd name="connsiteX620" fmla="*/ 10565865 w 12192001"/>
                <a:gd name="connsiteY620" fmla="*/ 5403460 h 6523037"/>
                <a:gd name="connsiteX621" fmla="*/ 10300344 w 12192001"/>
                <a:gd name="connsiteY621" fmla="*/ 5137939 h 6523037"/>
                <a:gd name="connsiteX622" fmla="*/ 708011 w 12192001"/>
                <a:gd name="connsiteY622" fmla="*/ 4871971 h 6523037"/>
                <a:gd name="connsiteX623" fmla="*/ 527737 w 12192001"/>
                <a:gd name="connsiteY623" fmla="*/ 5052944 h 6523037"/>
                <a:gd name="connsiteX624" fmla="*/ 438298 w 12192001"/>
                <a:gd name="connsiteY624" fmla="*/ 5143081 h 6523037"/>
                <a:gd name="connsiteX625" fmla="*/ 572456 w 12192001"/>
                <a:gd name="connsiteY625" fmla="*/ 5276540 h 6523037"/>
                <a:gd name="connsiteX626" fmla="*/ 709409 w 12192001"/>
                <a:gd name="connsiteY626" fmla="*/ 5413494 h 6523037"/>
                <a:gd name="connsiteX627" fmla="*/ 973532 w 12192001"/>
                <a:gd name="connsiteY627" fmla="*/ 5413494 h 6523037"/>
                <a:gd name="connsiteX628" fmla="*/ 702421 w 12192001"/>
                <a:gd name="connsiteY628" fmla="*/ 5143081 h 6523037"/>
                <a:gd name="connsiteX629" fmla="*/ 703819 w 12192001"/>
                <a:gd name="connsiteY629" fmla="*/ 5141684 h 6523037"/>
                <a:gd name="connsiteX630" fmla="*/ 972135 w 12192001"/>
                <a:gd name="connsiteY630" fmla="*/ 4871971 h 6523037"/>
                <a:gd name="connsiteX631" fmla="*/ 1257220 w 12192001"/>
                <a:gd name="connsiteY631" fmla="*/ 4871272 h 6523037"/>
                <a:gd name="connsiteX632" fmla="*/ 986808 w 12192001"/>
                <a:gd name="connsiteY632" fmla="*/ 5142383 h 6523037"/>
                <a:gd name="connsiteX633" fmla="*/ 1257919 w 12192001"/>
                <a:gd name="connsiteY633" fmla="*/ 5412795 h 6523037"/>
                <a:gd name="connsiteX634" fmla="*/ 1522043 w 12192001"/>
                <a:gd name="connsiteY634" fmla="*/ 5412795 h 6523037"/>
                <a:gd name="connsiteX635" fmla="*/ 1250932 w 12192001"/>
                <a:gd name="connsiteY635" fmla="*/ 5142383 h 6523037"/>
                <a:gd name="connsiteX636" fmla="*/ 1521344 w 12192001"/>
                <a:gd name="connsiteY636" fmla="*/ 4871272 h 6523037"/>
                <a:gd name="connsiteX637" fmla="*/ 2904148 w 12192001"/>
                <a:gd name="connsiteY637" fmla="*/ 4870573 h 6523037"/>
                <a:gd name="connsiteX638" fmla="*/ 2633736 w 12192001"/>
                <a:gd name="connsiteY638" fmla="*/ 5141684 h 6523037"/>
                <a:gd name="connsiteX639" fmla="*/ 2904847 w 12192001"/>
                <a:gd name="connsiteY639" fmla="*/ 5412096 h 6523037"/>
                <a:gd name="connsiteX640" fmla="*/ 3168271 w 12192001"/>
                <a:gd name="connsiteY640" fmla="*/ 5412096 h 6523037"/>
                <a:gd name="connsiteX641" fmla="*/ 3037607 w 12192001"/>
                <a:gd name="connsiteY641" fmla="*/ 5282130 h 6523037"/>
                <a:gd name="connsiteX642" fmla="*/ 2897162 w 12192001"/>
                <a:gd name="connsiteY642" fmla="*/ 5141684 h 6523037"/>
                <a:gd name="connsiteX643" fmla="*/ 3168271 w 12192001"/>
                <a:gd name="connsiteY643" fmla="*/ 4870573 h 6523037"/>
                <a:gd name="connsiteX644" fmla="*/ 1805032 w 12192001"/>
                <a:gd name="connsiteY644" fmla="*/ 4870573 h 6523037"/>
                <a:gd name="connsiteX645" fmla="*/ 1534620 w 12192001"/>
                <a:gd name="connsiteY645" fmla="*/ 5141684 h 6523037"/>
                <a:gd name="connsiteX646" fmla="*/ 1805731 w 12192001"/>
                <a:gd name="connsiteY646" fmla="*/ 5412096 h 6523037"/>
                <a:gd name="connsiteX647" fmla="*/ 1807128 w 12192001"/>
                <a:gd name="connsiteY647" fmla="*/ 5413494 h 6523037"/>
                <a:gd name="connsiteX648" fmla="*/ 2071252 w 12192001"/>
                <a:gd name="connsiteY648" fmla="*/ 5413494 h 6523037"/>
                <a:gd name="connsiteX649" fmla="*/ 1939889 w 12192001"/>
                <a:gd name="connsiteY649" fmla="*/ 5282130 h 6523037"/>
                <a:gd name="connsiteX650" fmla="*/ 1802236 w 12192001"/>
                <a:gd name="connsiteY650" fmla="*/ 5144479 h 6523037"/>
                <a:gd name="connsiteX651" fmla="*/ 2071252 w 12192001"/>
                <a:gd name="connsiteY651" fmla="*/ 4870573 h 6523037"/>
                <a:gd name="connsiteX652" fmla="*/ 3451960 w 12192001"/>
                <a:gd name="connsiteY652" fmla="*/ 4869875 h 6523037"/>
                <a:gd name="connsiteX653" fmla="*/ 3181548 w 12192001"/>
                <a:gd name="connsiteY653" fmla="*/ 5140985 h 6523037"/>
                <a:gd name="connsiteX654" fmla="*/ 3452658 w 12192001"/>
                <a:gd name="connsiteY654" fmla="*/ 5411397 h 6523037"/>
                <a:gd name="connsiteX655" fmla="*/ 3716782 w 12192001"/>
                <a:gd name="connsiteY655" fmla="*/ 5411397 h 6523037"/>
                <a:gd name="connsiteX656" fmla="*/ 3445671 w 12192001"/>
                <a:gd name="connsiteY656" fmla="*/ 5140985 h 6523037"/>
                <a:gd name="connsiteX657" fmla="*/ 3630138 w 12192001"/>
                <a:gd name="connsiteY657" fmla="*/ 4956518 h 6523037"/>
                <a:gd name="connsiteX658" fmla="*/ 3714686 w 12192001"/>
                <a:gd name="connsiteY658" fmla="*/ 4869875 h 6523037"/>
                <a:gd name="connsiteX659" fmla="*/ 4000470 w 12192001"/>
                <a:gd name="connsiteY659" fmla="*/ 4869176 h 6523037"/>
                <a:gd name="connsiteX660" fmla="*/ 3730058 w 12192001"/>
                <a:gd name="connsiteY660" fmla="*/ 5140287 h 6523037"/>
                <a:gd name="connsiteX661" fmla="*/ 4001169 w 12192001"/>
                <a:gd name="connsiteY661" fmla="*/ 5410699 h 6523037"/>
                <a:gd name="connsiteX662" fmla="*/ 4265292 w 12192001"/>
                <a:gd name="connsiteY662" fmla="*/ 5410699 h 6523037"/>
                <a:gd name="connsiteX663" fmla="*/ 3994181 w 12192001"/>
                <a:gd name="connsiteY663" fmla="*/ 5140287 h 6523037"/>
                <a:gd name="connsiteX664" fmla="*/ 3995579 w 12192001"/>
                <a:gd name="connsiteY664" fmla="*/ 5138889 h 6523037"/>
                <a:gd name="connsiteX665" fmla="*/ 3994880 w 12192001"/>
                <a:gd name="connsiteY665" fmla="*/ 5138889 h 6523037"/>
                <a:gd name="connsiteX666" fmla="*/ 4263197 w 12192001"/>
                <a:gd name="connsiteY666" fmla="*/ 4869875 h 6523037"/>
                <a:gd name="connsiteX667" fmla="*/ 4004663 w 12192001"/>
                <a:gd name="connsiteY667" fmla="*/ 4869875 h 6523037"/>
                <a:gd name="connsiteX668" fmla="*/ 4006060 w 12192001"/>
                <a:gd name="connsiteY668" fmla="*/ 4869176 h 6523037"/>
                <a:gd name="connsiteX669" fmla="*/ 4823465 w 12192001"/>
                <a:gd name="connsiteY669" fmla="*/ 4868606 h 6523037"/>
                <a:gd name="connsiteX670" fmla="*/ 4555968 w 12192001"/>
                <a:gd name="connsiteY670" fmla="*/ 5136792 h 6523037"/>
                <a:gd name="connsiteX671" fmla="*/ 4816244 w 12192001"/>
                <a:gd name="connsiteY671" fmla="*/ 5136792 h 6523037"/>
                <a:gd name="connsiteX672" fmla="*/ 4998484 w 12192001"/>
                <a:gd name="connsiteY672" fmla="*/ 4954551 h 6523037"/>
                <a:gd name="connsiteX673" fmla="*/ 5084429 w 12192001"/>
                <a:gd name="connsiteY673" fmla="*/ 4868606 h 6523037"/>
                <a:gd name="connsiteX674" fmla="*/ 4548281 w 12192001"/>
                <a:gd name="connsiteY674" fmla="*/ 4868477 h 6523037"/>
                <a:gd name="connsiteX675" fmla="*/ 4367308 w 12192001"/>
                <a:gd name="connsiteY675" fmla="*/ 5049450 h 6523037"/>
                <a:gd name="connsiteX676" fmla="*/ 4368007 w 12192001"/>
                <a:gd name="connsiteY676" fmla="*/ 5050149 h 6523037"/>
                <a:gd name="connsiteX677" fmla="*/ 4278568 w 12192001"/>
                <a:gd name="connsiteY677" fmla="*/ 5140287 h 6523037"/>
                <a:gd name="connsiteX678" fmla="*/ 4412727 w 12192001"/>
                <a:gd name="connsiteY678" fmla="*/ 5273746 h 6523037"/>
                <a:gd name="connsiteX679" fmla="*/ 4548980 w 12192001"/>
                <a:gd name="connsiteY679" fmla="*/ 5410000 h 6523037"/>
                <a:gd name="connsiteX680" fmla="*/ 4810394 w 12192001"/>
                <a:gd name="connsiteY680" fmla="*/ 5410000 h 6523037"/>
                <a:gd name="connsiteX681" fmla="*/ 4665187 w 12192001"/>
                <a:gd name="connsiteY681" fmla="*/ 5264791 h 6523037"/>
                <a:gd name="connsiteX682" fmla="*/ 4665187 w 12192001"/>
                <a:gd name="connsiteY682" fmla="*/ 5262463 h 6523037"/>
                <a:gd name="connsiteX683" fmla="*/ 4541993 w 12192001"/>
                <a:gd name="connsiteY683" fmla="*/ 5139588 h 6523037"/>
                <a:gd name="connsiteX684" fmla="*/ 4665187 w 12192001"/>
                <a:gd name="connsiteY684" fmla="*/ 5016077 h 6523037"/>
                <a:gd name="connsiteX685" fmla="*/ 4665187 w 12192001"/>
                <a:gd name="connsiteY685" fmla="*/ 5013245 h 6523037"/>
                <a:gd name="connsiteX686" fmla="*/ 4809274 w 12192001"/>
                <a:gd name="connsiteY686" fmla="*/ 4868477 h 6523037"/>
                <a:gd name="connsiteX687" fmla="*/ 2621159 w 12192001"/>
                <a:gd name="connsiteY687" fmla="*/ 4868477 h 6523037"/>
                <a:gd name="connsiteX688" fmla="*/ 2354940 w 12192001"/>
                <a:gd name="connsiteY688" fmla="*/ 4871272 h 6523037"/>
                <a:gd name="connsiteX689" fmla="*/ 2084528 w 12192001"/>
                <a:gd name="connsiteY689" fmla="*/ 5142383 h 6523037"/>
                <a:gd name="connsiteX690" fmla="*/ 2355639 w 12192001"/>
                <a:gd name="connsiteY690" fmla="*/ 5412795 h 6523037"/>
                <a:gd name="connsiteX691" fmla="*/ 2619762 w 12192001"/>
                <a:gd name="connsiteY691" fmla="*/ 5412795 h 6523037"/>
                <a:gd name="connsiteX692" fmla="*/ 2348651 w 12192001"/>
                <a:gd name="connsiteY692" fmla="*/ 5142383 h 6523037"/>
                <a:gd name="connsiteX693" fmla="*/ 5368118 w 12192001"/>
                <a:gd name="connsiteY693" fmla="*/ 4867209 h 6523037"/>
                <a:gd name="connsiteX694" fmla="*/ 5187844 w 12192001"/>
                <a:gd name="connsiteY694" fmla="*/ 5048182 h 6523037"/>
                <a:gd name="connsiteX695" fmla="*/ 5098404 w 12192001"/>
                <a:gd name="connsiteY695" fmla="*/ 5138319 h 6523037"/>
                <a:gd name="connsiteX696" fmla="*/ 5232563 w 12192001"/>
                <a:gd name="connsiteY696" fmla="*/ 5271778 h 6523037"/>
                <a:gd name="connsiteX697" fmla="*/ 5369515 w 12192001"/>
                <a:gd name="connsiteY697" fmla="*/ 5408732 h 6523037"/>
                <a:gd name="connsiteX698" fmla="*/ 5633638 w 12192001"/>
                <a:gd name="connsiteY698" fmla="*/ 5408732 h 6523037"/>
                <a:gd name="connsiteX699" fmla="*/ 5362527 w 12192001"/>
                <a:gd name="connsiteY699" fmla="*/ 5138319 h 6523037"/>
                <a:gd name="connsiteX700" fmla="*/ 5363925 w 12192001"/>
                <a:gd name="connsiteY700" fmla="*/ 5136922 h 6523037"/>
                <a:gd name="connsiteX701" fmla="*/ 5632241 w 12192001"/>
                <a:gd name="connsiteY701" fmla="*/ 4867209 h 6523037"/>
                <a:gd name="connsiteX702" fmla="*/ 5917326 w 12192001"/>
                <a:gd name="connsiteY702" fmla="*/ 4866510 h 6523037"/>
                <a:gd name="connsiteX703" fmla="*/ 5646914 w 12192001"/>
                <a:gd name="connsiteY703" fmla="*/ 5137621 h 6523037"/>
                <a:gd name="connsiteX704" fmla="*/ 5918025 w 12192001"/>
                <a:gd name="connsiteY704" fmla="*/ 5408033 h 6523037"/>
                <a:gd name="connsiteX705" fmla="*/ 6182150 w 12192001"/>
                <a:gd name="connsiteY705" fmla="*/ 5408033 h 6523037"/>
                <a:gd name="connsiteX706" fmla="*/ 5911038 w 12192001"/>
                <a:gd name="connsiteY706" fmla="*/ 5137621 h 6523037"/>
                <a:gd name="connsiteX707" fmla="*/ 6181450 w 12192001"/>
                <a:gd name="connsiteY707" fmla="*/ 4866510 h 6523037"/>
                <a:gd name="connsiteX708" fmla="*/ 7564254 w 12192001"/>
                <a:gd name="connsiteY708" fmla="*/ 4865811 h 6523037"/>
                <a:gd name="connsiteX709" fmla="*/ 7293842 w 12192001"/>
                <a:gd name="connsiteY709" fmla="*/ 5136922 h 6523037"/>
                <a:gd name="connsiteX710" fmla="*/ 7564953 w 12192001"/>
                <a:gd name="connsiteY710" fmla="*/ 5407334 h 6523037"/>
                <a:gd name="connsiteX711" fmla="*/ 7828377 w 12192001"/>
                <a:gd name="connsiteY711" fmla="*/ 5407334 h 6523037"/>
                <a:gd name="connsiteX712" fmla="*/ 7697713 w 12192001"/>
                <a:gd name="connsiteY712" fmla="*/ 5277368 h 6523037"/>
                <a:gd name="connsiteX713" fmla="*/ 7557268 w 12192001"/>
                <a:gd name="connsiteY713" fmla="*/ 5136922 h 6523037"/>
                <a:gd name="connsiteX714" fmla="*/ 7828377 w 12192001"/>
                <a:gd name="connsiteY714" fmla="*/ 4865811 h 6523037"/>
                <a:gd name="connsiteX715" fmla="*/ 6465139 w 12192001"/>
                <a:gd name="connsiteY715" fmla="*/ 4865811 h 6523037"/>
                <a:gd name="connsiteX716" fmla="*/ 6194726 w 12192001"/>
                <a:gd name="connsiteY716" fmla="*/ 5136922 h 6523037"/>
                <a:gd name="connsiteX717" fmla="*/ 6465837 w 12192001"/>
                <a:gd name="connsiteY717" fmla="*/ 5407334 h 6523037"/>
                <a:gd name="connsiteX718" fmla="*/ 6467235 w 12192001"/>
                <a:gd name="connsiteY718" fmla="*/ 5408732 h 6523037"/>
                <a:gd name="connsiteX719" fmla="*/ 6731358 w 12192001"/>
                <a:gd name="connsiteY719" fmla="*/ 5408732 h 6523037"/>
                <a:gd name="connsiteX720" fmla="*/ 6599996 w 12192001"/>
                <a:gd name="connsiteY720" fmla="*/ 5277368 h 6523037"/>
                <a:gd name="connsiteX721" fmla="*/ 6462342 w 12192001"/>
                <a:gd name="connsiteY721" fmla="*/ 5139717 h 6523037"/>
                <a:gd name="connsiteX722" fmla="*/ 6731358 w 12192001"/>
                <a:gd name="connsiteY722" fmla="*/ 4865811 h 6523037"/>
                <a:gd name="connsiteX723" fmla="*/ 9481988 w 12192001"/>
                <a:gd name="connsiteY723" fmla="*/ 4865431 h 6523037"/>
                <a:gd name="connsiteX724" fmla="*/ 9216074 w 12192001"/>
                <a:gd name="connsiteY724" fmla="*/ 5132030 h 6523037"/>
                <a:gd name="connsiteX725" fmla="*/ 9478247 w 12192001"/>
                <a:gd name="connsiteY725" fmla="*/ 5132030 h 6523037"/>
                <a:gd name="connsiteX726" fmla="*/ 9658901 w 12192001"/>
                <a:gd name="connsiteY726" fmla="*/ 4951376 h 6523037"/>
                <a:gd name="connsiteX727" fmla="*/ 9744846 w 12192001"/>
                <a:gd name="connsiteY727" fmla="*/ 4865431 h 6523037"/>
                <a:gd name="connsiteX728" fmla="*/ 8112066 w 12192001"/>
                <a:gd name="connsiteY728" fmla="*/ 4865113 h 6523037"/>
                <a:gd name="connsiteX729" fmla="*/ 7841654 w 12192001"/>
                <a:gd name="connsiteY729" fmla="*/ 5136223 h 6523037"/>
                <a:gd name="connsiteX730" fmla="*/ 8112764 w 12192001"/>
                <a:gd name="connsiteY730" fmla="*/ 5406635 h 6523037"/>
                <a:gd name="connsiteX731" fmla="*/ 8376888 w 12192001"/>
                <a:gd name="connsiteY731" fmla="*/ 5406635 h 6523037"/>
                <a:gd name="connsiteX732" fmla="*/ 8105777 w 12192001"/>
                <a:gd name="connsiteY732" fmla="*/ 5136223 h 6523037"/>
                <a:gd name="connsiteX733" fmla="*/ 8290244 w 12192001"/>
                <a:gd name="connsiteY733" fmla="*/ 4951756 h 6523037"/>
                <a:gd name="connsiteX734" fmla="*/ 8374792 w 12192001"/>
                <a:gd name="connsiteY734" fmla="*/ 4865113 h 6523037"/>
                <a:gd name="connsiteX735" fmla="*/ 8660576 w 12192001"/>
                <a:gd name="connsiteY735" fmla="*/ 4864414 h 6523037"/>
                <a:gd name="connsiteX736" fmla="*/ 8390164 w 12192001"/>
                <a:gd name="connsiteY736" fmla="*/ 5135525 h 6523037"/>
                <a:gd name="connsiteX737" fmla="*/ 8661275 w 12192001"/>
                <a:gd name="connsiteY737" fmla="*/ 5405937 h 6523037"/>
                <a:gd name="connsiteX738" fmla="*/ 8925398 w 12192001"/>
                <a:gd name="connsiteY738" fmla="*/ 5405937 h 6523037"/>
                <a:gd name="connsiteX739" fmla="*/ 8654287 w 12192001"/>
                <a:gd name="connsiteY739" fmla="*/ 5135525 h 6523037"/>
                <a:gd name="connsiteX740" fmla="*/ 8655685 w 12192001"/>
                <a:gd name="connsiteY740" fmla="*/ 5134127 h 6523037"/>
                <a:gd name="connsiteX741" fmla="*/ 8654986 w 12192001"/>
                <a:gd name="connsiteY741" fmla="*/ 5134127 h 6523037"/>
                <a:gd name="connsiteX742" fmla="*/ 8923303 w 12192001"/>
                <a:gd name="connsiteY742" fmla="*/ 4865113 h 6523037"/>
                <a:gd name="connsiteX743" fmla="*/ 8664769 w 12192001"/>
                <a:gd name="connsiteY743" fmla="*/ 4865113 h 6523037"/>
                <a:gd name="connsiteX744" fmla="*/ 8666166 w 12192001"/>
                <a:gd name="connsiteY744" fmla="*/ 4864414 h 6523037"/>
                <a:gd name="connsiteX745" fmla="*/ 10028534 w 12192001"/>
                <a:gd name="connsiteY745" fmla="*/ 4864034 h 6523037"/>
                <a:gd name="connsiteX746" fmla="*/ 9848260 w 12192001"/>
                <a:gd name="connsiteY746" fmla="*/ 5045007 h 6523037"/>
                <a:gd name="connsiteX747" fmla="*/ 9758821 w 12192001"/>
                <a:gd name="connsiteY747" fmla="*/ 5135144 h 6523037"/>
                <a:gd name="connsiteX748" fmla="*/ 9892979 w 12192001"/>
                <a:gd name="connsiteY748" fmla="*/ 5268603 h 6523037"/>
                <a:gd name="connsiteX749" fmla="*/ 10029932 w 12192001"/>
                <a:gd name="connsiteY749" fmla="*/ 5405557 h 6523037"/>
                <a:gd name="connsiteX750" fmla="*/ 10294055 w 12192001"/>
                <a:gd name="connsiteY750" fmla="*/ 5405557 h 6523037"/>
                <a:gd name="connsiteX751" fmla="*/ 10022944 w 12192001"/>
                <a:gd name="connsiteY751" fmla="*/ 5135144 h 6523037"/>
                <a:gd name="connsiteX752" fmla="*/ 10024342 w 12192001"/>
                <a:gd name="connsiteY752" fmla="*/ 5133747 h 6523037"/>
                <a:gd name="connsiteX753" fmla="*/ 10292658 w 12192001"/>
                <a:gd name="connsiteY753" fmla="*/ 4864034 h 6523037"/>
                <a:gd name="connsiteX754" fmla="*/ 9208387 w 12192001"/>
                <a:gd name="connsiteY754" fmla="*/ 4863715 h 6523037"/>
                <a:gd name="connsiteX755" fmla="*/ 9027414 w 12192001"/>
                <a:gd name="connsiteY755" fmla="*/ 5044688 h 6523037"/>
                <a:gd name="connsiteX756" fmla="*/ 9028113 w 12192001"/>
                <a:gd name="connsiteY756" fmla="*/ 5045387 h 6523037"/>
                <a:gd name="connsiteX757" fmla="*/ 8938674 w 12192001"/>
                <a:gd name="connsiteY757" fmla="*/ 5135525 h 6523037"/>
                <a:gd name="connsiteX758" fmla="*/ 9072833 w 12192001"/>
                <a:gd name="connsiteY758" fmla="*/ 5268984 h 6523037"/>
                <a:gd name="connsiteX759" fmla="*/ 9209086 w 12192001"/>
                <a:gd name="connsiteY759" fmla="*/ 5405238 h 6523037"/>
                <a:gd name="connsiteX760" fmla="*/ 9469224 w 12192001"/>
                <a:gd name="connsiteY760" fmla="*/ 5405238 h 6523037"/>
                <a:gd name="connsiteX761" fmla="*/ 9325603 w 12192001"/>
                <a:gd name="connsiteY761" fmla="*/ 5261616 h 6523037"/>
                <a:gd name="connsiteX762" fmla="*/ 9325603 w 12192001"/>
                <a:gd name="connsiteY762" fmla="*/ 5258012 h 6523037"/>
                <a:gd name="connsiteX763" fmla="*/ 9202099 w 12192001"/>
                <a:gd name="connsiteY763" fmla="*/ 5134826 h 6523037"/>
                <a:gd name="connsiteX764" fmla="*/ 9325603 w 12192001"/>
                <a:gd name="connsiteY764" fmla="*/ 5011003 h 6523037"/>
                <a:gd name="connsiteX765" fmla="*/ 9325603 w 12192001"/>
                <a:gd name="connsiteY765" fmla="*/ 5010070 h 6523037"/>
                <a:gd name="connsiteX766" fmla="*/ 9471271 w 12192001"/>
                <a:gd name="connsiteY766" fmla="*/ 4863715 h 6523037"/>
                <a:gd name="connsiteX767" fmla="*/ 7281265 w 12192001"/>
                <a:gd name="connsiteY767" fmla="*/ 4863715 h 6523037"/>
                <a:gd name="connsiteX768" fmla="*/ 7015046 w 12192001"/>
                <a:gd name="connsiteY768" fmla="*/ 4866510 h 6523037"/>
                <a:gd name="connsiteX769" fmla="*/ 6744635 w 12192001"/>
                <a:gd name="connsiteY769" fmla="*/ 5137621 h 6523037"/>
                <a:gd name="connsiteX770" fmla="*/ 7015746 w 12192001"/>
                <a:gd name="connsiteY770" fmla="*/ 5408033 h 6523037"/>
                <a:gd name="connsiteX771" fmla="*/ 7279868 w 12192001"/>
                <a:gd name="connsiteY771" fmla="*/ 5408033 h 6523037"/>
                <a:gd name="connsiteX772" fmla="*/ 7008758 w 12192001"/>
                <a:gd name="connsiteY772" fmla="*/ 5137621 h 6523037"/>
                <a:gd name="connsiteX773" fmla="*/ 10577743 w 12192001"/>
                <a:gd name="connsiteY773" fmla="*/ 4863335 h 6523037"/>
                <a:gd name="connsiteX774" fmla="*/ 10307331 w 12192001"/>
                <a:gd name="connsiteY774" fmla="*/ 5134446 h 6523037"/>
                <a:gd name="connsiteX775" fmla="*/ 10578442 w 12192001"/>
                <a:gd name="connsiteY775" fmla="*/ 5404858 h 6523037"/>
                <a:gd name="connsiteX776" fmla="*/ 10842566 w 12192001"/>
                <a:gd name="connsiteY776" fmla="*/ 5404858 h 6523037"/>
                <a:gd name="connsiteX777" fmla="*/ 10571455 w 12192001"/>
                <a:gd name="connsiteY777" fmla="*/ 5134446 h 6523037"/>
                <a:gd name="connsiteX778" fmla="*/ 10841867 w 12192001"/>
                <a:gd name="connsiteY778" fmla="*/ 4863335 h 6523037"/>
                <a:gd name="connsiteX779" fmla="*/ 11125555 w 12192001"/>
                <a:gd name="connsiteY779" fmla="*/ 4862636 h 6523037"/>
                <a:gd name="connsiteX780" fmla="*/ 10855143 w 12192001"/>
                <a:gd name="connsiteY780" fmla="*/ 5133747 h 6523037"/>
                <a:gd name="connsiteX781" fmla="*/ 11126254 w 12192001"/>
                <a:gd name="connsiteY781" fmla="*/ 5404159 h 6523037"/>
                <a:gd name="connsiteX782" fmla="*/ 11127651 w 12192001"/>
                <a:gd name="connsiteY782" fmla="*/ 5405557 h 6523037"/>
                <a:gd name="connsiteX783" fmla="*/ 11391775 w 12192001"/>
                <a:gd name="connsiteY783" fmla="*/ 5405557 h 6523037"/>
                <a:gd name="connsiteX784" fmla="*/ 11260412 w 12192001"/>
                <a:gd name="connsiteY784" fmla="*/ 5274193 h 6523037"/>
                <a:gd name="connsiteX785" fmla="*/ 11122759 w 12192001"/>
                <a:gd name="connsiteY785" fmla="*/ 5136542 h 6523037"/>
                <a:gd name="connsiteX786" fmla="*/ 11391775 w 12192001"/>
                <a:gd name="connsiteY786" fmla="*/ 4862636 h 6523037"/>
                <a:gd name="connsiteX787" fmla="*/ 11941682 w 12192001"/>
                <a:gd name="connsiteY787" fmla="*/ 4860540 h 6523037"/>
                <a:gd name="connsiteX788" fmla="*/ 11675463 w 12192001"/>
                <a:gd name="connsiteY788" fmla="*/ 4863335 h 6523037"/>
                <a:gd name="connsiteX789" fmla="*/ 11405051 w 12192001"/>
                <a:gd name="connsiteY789" fmla="*/ 5134446 h 6523037"/>
                <a:gd name="connsiteX790" fmla="*/ 11676162 w 12192001"/>
                <a:gd name="connsiteY790" fmla="*/ 5404858 h 6523037"/>
                <a:gd name="connsiteX791" fmla="*/ 11940285 w 12192001"/>
                <a:gd name="connsiteY791" fmla="*/ 5404858 h 6523037"/>
                <a:gd name="connsiteX792" fmla="*/ 11669174 w 12192001"/>
                <a:gd name="connsiteY792" fmla="*/ 5134446 h 6523037"/>
                <a:gd name="connsiteX793" fmla="*/ 166488 w 12192001"/>
                <a:gd name="connsiteY793" fmla="*/ 4598764 h 6523037"/>
                <a:gd name="connsiteX794" fmla="*/ 437599 w 12192001"/>
                <a:gd name="connsiteY794" fmla="*/ 4869176 h 6523037"/>
                <a:gd name="connsiteX795" fmla="*/ 434805 w 12192001"/>
                <a:gd name="connsiteY795" fmla="*/ 4871971 h 6523037"/>
                <a:gd name="connsiteX796" fmla="*/ 344667 w 12192001"/>
                <a:gd name="connsiteY796" fmla="*/ 4962807 h 6523037"/>
                <a:gd name="connsiteX797" fmla="*/ 167187 w 12192001"/>
                <a:gd name="connsiteY797" fmla="*/ 5139588 h 6523037"/>
                <a:gd name="connsiteX798" fmla="*/ 431311 w 12192001"/>
                <a:gd name="connsiteY798" fmla="*/ 5139588 h 6523037"/>
                <a:gd name="connsiteX799" fmla="*/ 520749 w 12192001"/>
                <a:gd name="connsiteY799" fmla="*/ 5050149 h 6523037"/>
                <a:gd name="connsiteX800" fmla="*/ 701722 w 12192001"/>
                <a:gd name="connsiteY800" fmla="*/ 4869176 h 6523037"/>
                <a:gd name="connsiteX801" fmla="*/ 430612 w 12192001"/>
                <a:gd name="connsiteY801" fmla="*/ 4598764 h 6523037"/>
                <a:gd name="connsiteX802" fmla="*/ 715697 w 12192001"/>
                <a:gd name="connsiteY802" fmla="*/ 4598065 h 6523037"/>
                <a:gd name="connsiteX803" fmla="*/ 845663 w 12192001"/>
                <a:gd name="connsiteY803" fmla="*/ 4728030 h 6523037"/>
                <a:gd name="connsiteX804" fmla="*/ 986109 w 12192001"/>
                <a:gd name="connsiteY804" fmla="*/ 4867778 h 6523037"/>
                <a:gd name="connsiteX805" fmla="*/ 715697 w 12192001"/>
                <a:gd name="connsiteY805" fmla="*/ 5138889 h 6523037"/>
                <a:gd name="connsiteX806" fmla="*/ 979821 w 12192001"/>
                <a:gd name="connsiteY806" fmla="*/ 5138889 h 6523037"/>
                <a:gd name="connsiteX807" fmla="*/ 1250932 w 12192001"/>
                <a:gd name="connsiteY807" fmla="*/ 4868477 h 6523037"/>
                <a:gd name="connsiteX808" fmla="*/ 979821 w 12192001"/>
                <a:gd name="connsiteY808" fmla="*/ 4598065 h 6523037"/>
                <a:gd name="connsiteX809" fmla="*/ 2911136 w 12192001"/>
                <a:gd name="connsiteY809" fmla="*/ 4597366 h 6523037"/>
                <a:gd name="connsiteX810" fmla="*/ 3040403 w 12192001"/>
                <a:gd name="connsiteY810" fmla="*/ 4725236 h 6523037"/>
                <a:gd name="connsiteX811" fmla="*/ 3040403 w 12192001"/>
                <a:gd name="connsiteY811" fmla="*/ 4725935 h 6523037"/>
                <a:gd name="connsiteX812" fmla="*/ 3182246 w 12192001"/>
                <a:gd name="connsiteY812" fmla="*/ 4867778 h 6523037"/>
                <a:gd name="connsiteX813" fmla="*/ 2911834 w 12192001"/>
                <a:gd name="connsiteY813" fmla="*/ 5138889 h 6523037"/>
                <a:gd name="connsiteX814" fmla="*/ 3175259 w 12192001"/>
                <a:gd name="connsiteY814" fmla="*/ 5138889 h 6523037"/>
                <a:gd name="connsiteX815" fmla="*/ 3445671 w 12192001"/>
                <a:gd name="connsiteY815" fmla="*/ 4867778 h 6523037"/>
                <a:gd name="connsiteX816" fmla="*/ 3440081 w 12192001"/>
                <a:gd name="connsiteY816" fmla="*/ 4862188 h 6523037"/>
                <a:gd name="connsiteX817" fmla="*/ 3439382 w 12192001"/>
                <a:gd name="connsiteY817" fmla="*/ 4862188 h 6523037"/>
                <a:gd name="connsiteX818" fmla="*/ 3173862 w 12192001"/>
                <a:gd name="connsiteY818" fmla="*/ 4597366 h 6523037"/>
                <a:gd name="connsiteX819" fmla="*/ 1813417 w 12192001"/>
                <a:gd name="connsiteY819" fmla="*/ 4597366 h 6523037"/>
                <a:gd name="connsiteX820" fmla="*/ 1815507 w 12192001"/>
                <a:gd name="connsiteY820" fmla="*/ 4600154 h 6523037"/>
                <a:gd name="connsiteX821" fmla="*/ 1814814 w 12192001"/>
                <a:gd name="connsiteY821" fmla="*/ 4599463 h 6523037"/>
                <a:gd name="connsiteX822" fmla="*/ 1815513 w 12192001"/>
                <a:gd name="connsiteY822" fmla="*/ 4600162 h 6523037"/>
                <a:gd name="connsiteX823" fmla="*/ 1815507 w 12192001"/>
                <a:gd name="connsiteY823" fmla="*/ 4600154 h 6523037"/>
                <a:gd name="connsiteX824" fmla="*/ 2074046 w 12192001"/>
                <a:gd name="connsiteY824" fmla="*/ 4857996 h 6523037"/>
                <a:gd name="connsiteX825" fmla="*/ 2083829 w 12192001"/>
                <a:gd name="connsiteY825" fmla="*/ 4867079 h 6523037"/>
                <a:gd name="connsiteX826" fmla="*/ 2085925 w 12192001"/>
                <a:gd name="connsiteY826" fmla="*/ 4869176 h 6523037"/>
                <a:gd name="connsiteX827" fmla="*/ 1821102 w 12192001"/>
                <a:gd name="connsiteY827" fmla="*/ 5138889 h 6523037"/>
                <a:gd name="connsiteX828" fmla="*/ 2080335 w 12192001"/>
                <a:gd name="connsiteY828" fmla="*/ 5139588 h 6523037"/>
                <a:gd name="connsiteX829" fmla="*/ 2350049 w 12192001"/>
                <a:gd name="connsiteY829" fmla="*/ 4869176 h 6523037"/>
                <a:gd name="connsiteX830" fmla="*/ 2214493 w 12192001"/>
                <a:gd name="connsiteY830" fmla="*/ 4734319 h 6523037"/>
                <a:gd name="connsiteX831" fmla="*/ 2197724 w 12192001"/>
                <a:gd name="connsiteY831" fmla="*/ 4717549 h 6523037"/>
                <a:gd name="connsiteX832" fmla="*/ 2078239 w 12192001"/>
                <a:gd name="connsiteY832" fmla="*/ 4598764 h 6523037"/>
                <a:gd name="connsiteX833" fmla="*/ 2074046 w 12192001"/>
                <a:gd name="connsiteY833" fmla="*/ 4597366 h 6523037"/>
                <a:gd name="connsiteX834" fmla="*/ 1263509 w 12192001"/>
                <a:gd name="connsiteY834" fmla="*/ 4597366 h 6523037"/>
                <a:gd name="connsiteX835" fmla="*/ 1534620 w 12192001"/>
                <a:gd name="connsiteY835" fmla="*/ 4867778 h 6523037"/>
                <a:gd name="connsiteX836" fmla="*/ 1264208 w 12192001"/>
                <a:gd name="connsiteY836" fmla="*/ 5138889 h 6523037"/>
                <a:gd name="connsiteX837" fmla="*/ 1528331 w 12192001"/>
                <a:gd name="connsiteY837" fmla="*/ 5138889 h 6523037"/>
                <a:gd name="connsiteX838" fmla="*/ 1798743 w 12192001"/>
                <a:gd name="connsiteY838" fmla="*/ 4867778 h 6523037"/>
                <a:gd name="connsiteX839" fmla="*/ 1527632 w 12192001"/>
                <a:gd name="connsiteY839" fmla="*/ 4597366 h 6523037"/>
                <a:gd name="connsiteX840" fmla="*/ 2626749 w 12192001"/>
                <a:gd name="connsiteY840" fmla="*/ 4595968 h 6523037"/>
                <a:gd name="connsiteX841" fmla="*/ 2363324 w 12192001"/>
                <a:gd name="connsiteY841" fmla="*/ 4596667 h 6523037"/>
                <a:gd name="connsiteX842" fmla="*/ 2632339 w 12192001"/>
                <a:gd name="connsiteY842" fmla="*/ 4864984 h 6523037"/>
                <a:gd name="connsiteX843" fmla="*/ 2631641 w 12192001"/>
                <a:gd name="connsiteY843" fmla="*/ 4865683 h 6523037"/>
                <a:gd name="connsiteX844" fmla="*/ 2633038 w 12192001"/>
                <a:gd name="connsiteY844" fmla="*/ 4867079 h 6523037"/>
                <a:gd name="connsiteX845" fmla="*/ 2362625 w 12192001"/>
                <a:gd name="connsiteY845" fmla="*/ 5138190 h 6523037"/>
                <a:gd name="connsiteX846" fmla="*/ 2626749 w 12192001"/>
                <a:gd name="connsiteY846" fmla="*/ 5138190 h 6523037"/>
                <a:gd name="connsiteX847" fmla="*/ 2716886 w 12192001"/>
                <a:gd name="connsiteY847" fmla="*/ 5048053 h 6523037"/>
                <a:gd name="connsiteX848" fmla="*/ 2896463 w 12192001"/>
                <a:gd name="connsiteY848" fmla="*/ 4864984 h 6523037"/>
                <a:gd name="connsiteX849" fmla="*/ 4555270 w 12192001"/>
                <a:gd name="connsiteY849" fmla="*/ 4595271 h 6523037"/>
                <a:gd name="connsiteX850" fmla="*/ 4822299 w 12192001"/>
                <a:gd name="connsiteY850" fmla="*/ 4861613 h 6523037"/>
                <a:gd name="connsiteX851" fmla="*/ 5084429 w 12192001"/>
                <a:gd name="connsiteY851" fmla="*/ 4860921 h 6523037"/>
                <a:gd name="connsiteX852" fmla="*/ 4818093 w 12192001"/>
                <a:gd name="connsiteY852" fmla="*/ 4595271 h 6523037"/>
                <a:gd name="connsiteX853" fmla="*/ 4006759 w 12192001"/>
                <a:gd name="connsiteY853" fmla="*/ 4595271 h 6523037"/>
                <a:gd name="connsiteX854" fmla="*/ 4136725 w 12192001"/>
                <a:gd name="connsiteY854" fmla="*/ 4724537 h 6523037"/>
                <a:gd name="connsiteX855" fmla="*/ 4277172 w 12192001"/>
                <a:gd name="connsiteY855" fmla="*/ 4864984 h 6523037"/>
                <a:gd name="connsiteX856" fmla="*/ 4184238 w 12192001"/>
                <a:gd name="connsiteY856" fmla="*/ 4958615 h 6523037"/>
                <a:gd name="connsiteX857" fmla="*/ 4184937 w 12192001"/>
                <a:gd name="connsiteY857" fmla="*/ 4959313 h 6523037"/>
                <a:gd name="connsiteX858" fmla="*/ 4008156 w 12192001"/>
                <a:gd name="connsiteY858" fmla="*/ 5136792 h 6523037"/>
                <a:gd name="connsiteX859" fmla="*/ 4270883 w 12192001"/>
                <a:gd name="connsiteY859" fmla="*/ 5136792 h 6523037"/>
                <a:gd name="connsiteX860" fmla="*/ 4541295 w 12192001"/>
                <a:gd name="connsiteY860" fmla="*/ 4865683 h 6523037"/>
                <a:gd name="connsiteX861" fmla="*/ 4270183 w 12192001"/>
                <a:gd name="connsiteY861" fmla="*/ 4595271 h 6523037"/>
                <a:gd name="connsiteX862" fmla="*/ 3458248 w 12192001"/>
                <a:gd name="connsiteY862" fmla="*/ 4595271 h 6523037"/>
                <a:gd name="connsiteX863" fmla="*/ 3729359 w 12192001"/>
                <a:gd name="connsiteY863" fmla="*/ 4865683 h 6523037"/>
                <a:gd name="connsiteX864" fmla="*/ 3730058 w 12192001"/>
                <a:gd name="connsiteY864" fmla="*/ 4866380 h 6523037"/>
                <a:gd name="connsiteX865" fmla="*/ 3459646 w 12192001"/>
                <a:gd name="connsiteY865" fmla="*/ 5137491 h 6523037"/>
                <a:gd name="connsiteX866" fmla="*/ 3723769 w 12192001"/>
                <a:gd name="connsiteY866" fmla="*/ 5137491 h 6523037"/>
                <a:gd name="connsiteX867" fmla="*/ 3813208 w 12192001"/>
                <a:gd name="connsiteY867" fmla="*/ 5047355 h 6523037"/>
                <a:gd name="connsiteX868" fmla="*/ 3812509 w 12192001"/>
                <a:gd name="connsiteY868" fmla="*/ 5047355 h 6523037"/>
                <a:gd name="connsiteX869" fmla="*/ 3993483 w 12192001"/>
                <a:gd name="connsiteY869" fmla="*/ 4866380 h 6523037"/>
                <a:gd name="connsiteX870" fmla="*/ 3988591 w 12192001"/>
                <a:gd name="connsiteY870" fmla="*/ 4860791 h 6523037"/>
                <a:gd name="connsiteX871" fmla="*/ 3722372 w 12192001"/>
                <a:gd name="connsiteY871" fmla="*/ 4595271 h 6523037"/>
                <a:gd name="connsiteX872" fmla="*/ 4828477 w 12192001"/>
                <a:gd name="connsiteY872" fmla="*/ 4594002 h 6523037"/>
                <a:gd name="connsiteX873" fmla="*/ 4828477 w 12192001"/>
                <a:gd name="connsiteY873" fmla="*/ 4595879 h 6523037"/>
                <a:gd name="connsiteX874" fmla="*/ 5097706 w 12192001"/>
                <a:gd name="connsiteY874" fmla="*/ 4864414 h 6523037"/>
                <a:gd name="connsiteX875" fmla="*/ 5094911 w 12192001"/>
                <a:gd name="connsiteY875" fmla="*/ 4867209 h 6523037"/>
                <a:gd name="connsiteX876" fmla="*/ 5004773 w 12192001"/>
                <a:gd name="connsiteY876" fmla="*/ 4958045 h 6523037"/>
                <a:gd name="connsiteX877" fmla="*/ 4828477 w 12192001"/>
                <a:gd name="connsiteY877" fmla="*/ 5133648 h 6523037"/>
                <a:gd name="connsiteX878" fmla="*/ 4828477 w 12192001"/>
                <a:gd name="connsiteY878" fmla="*/ 5134826 h 6523037"/>
                <a:gd name="connsiteX879" fmla="*/ 5091417 w 12192001"/>
                <a:gd name="connsiteY879" fmla="*/ 5134826 h 6523037"/>
                <a:gd name="connsiteX880" fmla="*/ 5180855 w 12192001"/>
                <a:gd name="connsiteY880" fmla="*/ 5045387 h 6523037"/>
                <a:gd name="connsiteX881" fmla="*/ 5361829 w 12192001"/>
                <a:gd name="connsiteY881" fmla="*/ 4864414 h 6523037"/>
                <a:gd name="connsiteX882" fmla="*/ 5090718 w 12192001"/>
                <a:gd name="connsiteY882" fmla="*/ 4594002 h 6523037"/>
                <a:gd name="connsiteX883" fmla="*/ 5375803 w 12192001"/>
                <a:gd name="connsiteY883" fmla="*/ 4593303 h 6523037"/>
                <a:gd name="connsiteX884" fmla="*/ 5505770 w 12192001"/>
                <a:gd name="connsiteY884" fmla="*/ 4723268 h 6523037"/>
                <a:gd name="connsiteX885" fmla="*/ 5646216 w 12192001"/>
                <a:gd name="connsiteY885" fmla="*/ 4863016 h 6523037"/>
                <a:gd name="connsiteX886" fmla="*/ 5375803 w 12192001"/>
                <a:gd name="connsiteY886" fmla="*/ 5134127 h 6523037"/>
                <a:gd name="connsiteX887" fmla="*/ 5639927 w 12192001"/>
                <a:gd name="connsiteY887" fmla="*/ 5134127 h 6523037"/>
                <a:gd name="connsiteX888" fmla="*/ 5911038 w 12192001"/>
                <a:gd name="connsiteY888" fmla="*/ 4863715 h 6523037"/>
                <a:gd name="connsiteX889" fmla="*/ 5639927 w 12192001"/>
                <a:gd name="connsiteY889" fmla="*/ 4593303 h 6523037"/>
                <a:gd name="connsiteX890" fmla="*/ 7571242 w 12192001"/>
                <a:gd name="connsiteY890" fmla="*/ 4592604 h 6523037"/>
                <a:gd name="connsiteX891" fmla="*/ 7700509 w 12192001"/>
                <a:gd name="connsiteY891" fmla="*/ 4720474 h 6523037"/>
                <a:gd name="connsiteX892" fmla="*/ 7700509 w 12192001"/>
                <a:gd name="connsiteY892" fmla="*/ 4721173 h 6523037"/>
                <a:gd name="connsiteX893" fmla="*/ 7842352 w 12192001"/>
                <a:gd name="connsiteY893" fmla="*/ 4863016 h 6523037"/>
                <a:gd name="connsiteX894" fmla="*/ 7571940 w 12192001"/>
                <a:gd name="connsiteY894" fmla="*/ 5134127 h 6523037"/>
                <a:gd name="connsiteX895" fmla="*/ 7835365 w 12192001"/>
                <a:gd name="connsiteY895" fmla="*/ 5134127 h 6523037"/>
                <a:gd name="connsiteX896" fmla="*/ 8105777 w 12192001"/>
                <a:gd name="connsiteY896" fmla="*/ 4863016 h 6523037"/>
                <a:gd name="connsiteX897" fmla="*/ 8100187 w 12192001"/>
                <a:gd name="connsiteY897" fmla="*/ 4857426 h 6523037"/>
                <a:gd name="connsiteX898" fmla="*/ 8099488 w 12192001"/>
                <a:gd name="connsiteY898" fmla="*/ 4857426 h 6523037"/>
                <a:gd name="connsiteX899" fmla="*/ 7833968 w 12192001"/>
                <a:gd name="connsiteY899" fmla="*/ 4592604 h 6523037"/>
                <a:gd name="connsiteX900" fmla="*/ 6473523 w 12192001"/>
                <a:gd name="connsiteY900" fmla="*/ 4592604 h 6523037"/>
                <a:gd name="connsiteX901" fmla="*/ 6475613 w 12192001"/>
                <a:gd name="connsiteY901" fmla="*/ 4595392 h 6523037"/>
                <a:gd name="connsiteX902" fmla="*/ 6474921 w 12192001"/>
                <a:gd name="connsiteY902" fmla="*/ 4594701 h 6523037"/>
                <a:gd name="connsiteX903" fmla="*/ 6475619 w 12192001"/>
                <a:gd name="connsiteY903" fmla="*/ 4595400 h 6523037"/>
                <a:gd name="connsiteX904" fmla="*/ 6475613 w 12192001"/>
                <a:gd name="connsiteY904" fmla="*/ 4595392 h 6523037"/>
                <a:gd name="connsiteX905" fmla="*/ 6734153 w 12192001"/>
                <a:gd name="connsiteY905" fmla="*/ 4853234 h 6523037"/>
                <a:gd name="connsiteX906" fmla="*/ 6743935 w 12192001"/>
                <a:gd name="connsiteY906" fmla="*/ 4862317 h 6523037"/>
                <a:gd name="connsiteX907" fmla="*/ 6746031 w 12192001"/>
                <a:gd name="connsiteY907" fmla="*/ 4864414 h 6523037"/>
                <a:gd name="connsiteX908" fmla="*/ 6481208 w 12192001"/>
                <a:gd name="connsiteY908" fmla="*/ 5134127 h 6523037"/>
                <a:gd name="connsiteX909" fmla="*/ 6740442 w 12192001"/>
                <a:gd name="connsiteY909" fmla="*/ 5134826 h 6523037"/>
                <a:gd name="connsiteX910" fmla="*/ 7010155 w 12192001"/>
                <a:gd name="connsiteY910" fmla="*/ 4864414 h 6523037"/>
                <a:gd name="connsiteX911" fmla="*/ 6874599 w 12192001"/>
                <a:gd name="connsiteY911" fmla="*/ 4729557 h 6523037"/>
                <a:gd name="connsiteX912" fmla="*/ 6857830 w 12192001"/>
                <a:gd name="connsiteY912" fmla="*/ 4712787 h 6523037"/>
                <a:gd name="connsiteX913" fmla="*/ 6738346 w 12192001"/>
                <a:gd name="connsiteY913" fmla="*/ 4594002 h 6523037"/>
                <a:gd name="connsiteX914" fmla="*/ 6734153 w 12192001"/>
                <a:gd name="connsiteY914" fmla="*/ 4592604 h 6523037"/>
                <a:gd name="connsiteX915" fmla="*/ 5923616 w 12192001"/>
                <a:gd name="connsiteY915" fmla="*/ 4592604 h 6523037"/>
                <a:gd name="connsiteX916" fmla="*/ 6194726 w 12192001"/>
                <a:gd name="connsiteY916" fmla="*/ 4863016 h 6523037"/>
                <a:gd name="connsiteX917" fmla="*/ 5924314 w 12192001"/>
                <a:gd name="connsiteY917" fmla="*/ 5134127 h 6523037"/>
                <a:gd name="connsiteX918" fmla="*/ 6188437 w 12192001"/>
                <a:gd name="connsiteY918" fmla="*/ 5134127 h 6523037"/>
                <a:gd name="connsiteX919" fmla="*/ 6458849 w 12192001"/>
                <a:gd name="connsiteY919" fmla="*/ 4863016 h 6523037"/>
                <a:gd name="connsiteX920" fmla="*/ 6187739 w 12192001"/>
                <a:gd name="connsiteY920" fmla="*/ 4592604 h 6523037"/>
                <a:gd name="connsiteX921" fmla="*/ 7286855 w 12192001"/>
                <a:gd name="connsiteY921" fmla="*/ 4591206 h 6523037"/>
                <a:gd name="connsiteX922" fmla="*/ 7023431 w 12192001"/>
                <a:gd name="connsiteY922" fmla="*/ 4591905 h 6523037"/>
                <a:gd name="connsiteX923" fmla="*/ 7292445 w 12192001"/>
                <a:gd name="connsiteY923" fmla="*/ 4860222 h 6523037"/>
                <a:gd name="connsiteX924" fmla="*/ 7291747 w 12192001"/>
                <a:gd name="connsiteY924" fmla="*/ 4860921 h 6523037"/>
                <a:gd name="connsiteX925" fmla="*/ 7293144 w 12192001"/>
                <a:gd name="connsiteY925" fmla="*/ 4862317 h 6523037"/>
                <a:gd name="connsiteX926" fmla="*/ 7022731 w 12192001"/>
                <a:gd name="connsiteY926" fmla="*/ 5133428 h 6523037"/>
                <a:gd name="connsiteX927" fmla="*/ 7286855 w 12192001"/>
                <a:gd name="connsiteY927" fmla="*/ 5133428 h 6523037"/>
                <a:gd name="connsiteX928" fmla="*/ 7376992 w 12192001"/>
                <a:gd name="connsiteY928" fmla="*/ 5043291 h 6523037"/>
                <a:gd name="connsiteX929" fmla="*/ 7556569 w 12192001"/>
                <a:gd name="connsiteY929" fmla="*/ 4860222 h 6523037"/>
                <a:gd name="connsiteX930" fmla="*/ 9488582 w 12192001"/>
                <a:gd name="connsiteY930" fmla="*/ 4590827 h 6523037"/>
                <a:gd name="connsiteX931" fmla="*/ 9488582 w 12192001"/>
                <a:gd name="connsiteY931" fmla="*/ 4592394 h 6523037"/>
                <a:gd name="connsiteX932" fmla="*/ 9758122 w 12192001"/>
                <a:gd name="connsiteY932" fmla="*/ 4861239 h 6523037"/>
                <a:gd name="connsiteX933" fmla="*/ 9755328 w 12192001"/>
                <a:gd name="connsiteY933" fmla="*/ 4864034 h 6523037"/>
                <a:gd name="connsiteX934" fmla="*/ 9665190 w 12192001"/>
                <a:gd name="connsiteY934" fmla="*/ 4954870 h 6523037"/>
                <a:gd name="connsiteX935" fmla="*/ 9488582 w 12192001"/>
                <a:gd name="connsiteY935" fmla="*/ 5130783 h 6523037"/>
                <a:gd name="connsiteX936" fmla="*/ 9488582 w 12192001"/>
                <a:gd name="connsiteY936" fmla="*/ 5131651 h 6523037"/>
                <a:gd name="connsiteX937" fmla="*/ 9751834 w 12192001"/>
                <a:gd name="connsiteY937" fmla="*/ 5131651 h 6523037"/>
                <a:gd name="connsiteX938" fmla="*/ 9841272 w 12192001"/>
                <a:gd name="connsiteY938" fmla="*/ 5042212 h 6523037"/>
                <a:gd name="connsiteX939" fmla="*/ 10022245 w 12192001"/>
                <a:gd name="connsiteY939" fmla="*/ 4861239 h 6523037"/>
                <a:gd name="connsiteX940" fmla="*/ 9751135 w 12192001"/>
                <a:gd name="connsiteY940" fmla="*/ 4590827 h 6523037"/>
                <a:gd name="connsiteX941" fmla="*/ 9215375 w 12192001"/>
                <a:gd name="connsiteY941" fmla="*/ 4590509 h 6523037"/>
                <a:gd name="connsiteX942" fmla="*/ 9483993 w 12192001"/>
                <a:gd name="connsiteY942" fmla="*/ 4858435 h 6523037"/>
                <a:gd name="connsiteX943" fmla="*/ 9744846 w 12192001"/>
                <a:gd name="connsiteY943" fmla="*/ 4857746 h 6523037"/>
                <a:gd name="connsiteX944" fmla="*/ 9476918 w 12192001"/>
                <a:gd name="connsiteY944" fmla="*/ 4590509 h 6523037"/>
                <a:gd name="connsiteX945" fmla="*/ 8666865 w 12192001"/>
                <a:gd name="connsiteY945" fmla="*/ 4590509 h 6523037"/>
                <a:gd name="connsiteX946" fmla="*/ 8796831 w 12192001"/>
                <a:gd name="connsiteY946" fmla="*/ 4719775 h 6523037"/>
                <a:gd name="connsiteX947" fmla="*/ 8937277 w 12192001"/>
                <a:gd name="connsiteY947" fmla="*/ 4860222 h 6523037"/>
                <a:gd name="connsiteX948" fmla="*/ 8844344 w 12192001"/>
                <a:gd name="connsiteY948" fmla="*/ 4953853 h 6523037"/>
                <a:gd name="connsiteX949" fmla="*/ 8845043 w 12192001"/>
                <a:gd name="connsiteY949" fmla="*/ 4954551 h 6523037"/>
                <a:gd name="connsiteX950" fmla="*/ 8668262 w 12192001"/>
                <a:gd name="connsiteY950" fmla="*/ 5132030 h 6523037"/>
                <a:gd name="connsiteX951" fmla="*/ 8930988 w 12192001"/>
                <a:gd name="connsiteY951" fmla="*/ 5132030 h 6523037"/>
                <a:gd name="connsiteX952" fmla="*/ 9201400 w 12192001"/>
                <a:gd name="connsiteY952" fmla="*/ 4860921 h 6523037"/>
                <a:gd name="connsiteX953" fmla="*/ 8930289 w 12192001"/>
                <a:gd name="connsiteY953" fmla="*/ 4590509 h 6523037"/>
                <a:gd name="connsiteX954" fmla="*/ 8118354 w 12192001"/>
                <a:gd name="connsiteY954" fmla="*/ 4590509 h 6523037"/>
                <a:gd name="connsiteX955" fmla="*/ 8389465 w 12192001"/>
                <a:gd name="connsiteY955" fmla="*/ 4860921 h 6523037"/>
                <a:gd name="connsiteX956" fmla="*/ 8390164 w 12192001"/>
                <a:gd name="connsiteY956" fmla="*/ 4861618 h 6523037"/>
                <a:gd name="connsiteX957" fmla="*/ 8119752 w 12192001"/>
                <a:gd name="connsiteY957" fmla="*/ 5132729 h 6523037"/>
                <a:gd name="connsiteX958" fmla="*/ 8383875 w 12192001"/>
                <a:gd name="connsiteY958" fmla="*/ 5132729 h 6523037"/>
                <a:gd name="connsiteX959" fmla="*/ 8473314 w 12192001"/>
                <a:gd name="connsiteY959" fmla="*/ 5042593 h 6523037"/>
                <a:gd name="connsiteX960" fmla="*/ 8472615 w 12192001"/>
                <a:gd name="connsiteY960" fmla="*/ 5042593 h 6523037"/>
                <a:gd name="connsiteX961" fmla="*/ 8653589 w 12192001"/>
                <a:gd name="connsiteY961" fmla="*/ 4861618 h 6523037"/>
                <a:gd name="connsiteX962" fmla="*/ 8648697 w 12192001"/>
                <a:gd name="connsiteY962" fmla="*/ 4856029 h 6523037"/>
                <a:gd name="connsiteX963" fmla="*/ 8382478 w 12192001"/>
                <a:gd name="connsiteY963" fmla="*/ 4590509 h 6523037"/>
                <a:gd name="connsiteX964" fmla="*/ 10036220 w 12192001"/>
                <a:gd name="connsiteY964" fmla="*/ 4590128 h 6523037"/>
                <a:gd name="connsiteX965" fmla="*/ 10166186 w 12192001"/>
                <a:gd name="connsiteY965" fmla="*/ 4720093 h 6523037"/>
                <a:gd name="connsiteX966" fmla="*/ 10306632 w 12192001"/>
                <a:gd name="connsiteY966" fmla="*/ 4859841 h 6523037"/>
                <a:gd name="connsiteX967" fmla="*/ 10036220 w 12192001"/>
                <a:gd name="connsiteY967" fmla="*/ 5130952 h 6523037"/>
                <a:gd name="connsiteX968" fmla="*/ 10300344 w 12192001"/>
                <a:gd name="connsiteY968" fmla="*/ 5130952 h 6523037"/>
                <a:gd name="connsiteX969" fmla="*/ 10571455 w 12192001"/>
                <a:gd name="connsiteY969" fmla="*/ 4860540 h 6523037"/>
                <a:gd name="connsiteX970" fmla="*/ 10300344 w 12192001"/>
                <a:gd name="connsiteY970" fmla="*/ 4590128 h 6523037"/>
                <a:gd name="connsiteX971" fmla="*/ 11133940 w 12192001"/>
                <a:gd name="connsiteY971" fmla="*/ 4589429 h 6523037"/>
                <a:gd name="connsiteX972" fmla="*/ 11136030 w 12192001"/>
                <a:gd name="connsiteY972" fmla="*/ 4592217 h 6523037"/>
                <a:gd name="connsiteX973" fmla="*/ 11135337 w 12192001"/>
                <a:gd name="connsiteY973" fmla="*/ 4591526 h 6523037"/>
                <a:gd name="connsiteX974" fmla="*/ 11136036 w 12192001"/>
                <a:gd name="connsiteY974" fmla="*/ 4592225 h 6523037"/>
                <a:gd name="connsiteX975" fmla="*/ 11136030 w 12192001"/>
                <a:gd name="connsiteY975" fmla="*/ 4592217 h 6523037"/>
                <a:gd name="connsiteX976" fmla="*/ 11394569 w 12192001"/>
                <a:gd name="connsiteY976" fmla="*/ 4850059 h 6523037"/>
                <a:gd name="connsiteX977" fmla="*/ 11404352 w 12192001"/>
                <a:gd name="connsiteY977" fmla="*/ 4859142 h 6523037"/>
                <a:gd name="connsiteX978" fmla="*/ 11406448 w 12192001"/>
                <a:gd name="connsiteY978" fmla="*/ 4861239 h 6523037"/>
                <a:gd name="connsiteX979" fmla="*/ 11141625 w 12192001"/>
                <a:gd name="connsiteY979" fmla="*/ 5130952 h 6523037"/>
                <a:gd name="connsiteX980" fmla="*/ 11400858 w 12192001"/>
                <a:gd name="connsiteY980" fmla="*/ 5131651 h 6523037"/>
                <a:gd name="connsiteX981" fmla="*/ 11670572 w 12192001"/>
                <a:gd name="connsiteY981" fmla="*/ 4861239 h 6523037"/>
                <a:gd name="connsiteX982" fmla="*/ 11535016 w 12192001"/>
                <a:gd name="connsiteY982" fmla="*/ 4726382 h 6523037"/>
                <a:gd name="connsiteX983" fmla="*/ 11518247 w 12192001"/>
                <a:gd name="connsiteY983" fmla="*/ 4709612 h 6523037"/>
                <a:gd name="connsiteX984" fmla="*/ 11398762 w 12192001"/>
                <a:gd name="connsiteY984" fmla="*/ 4590827 h 6523037"/>
                <a:gd name="connsiteX985" fmla="*/ 11394569 w 12192001"/>
                <a:gd name="connsiteY985" fmla="*/ 4589429 h 6523037"/>
                <a:gd name="connsiteX986" fmla="*/ 10584032 w 12192001"/>
                <a:gd name="connsiteY986" fmla="*/ 4589429 h 6523037"/>
                <a:gd name="connsiteX987" fmla="*/ 10855143 w 12192001"/>
                <a:gd name="connsiteY987" fmla="*/ 4859841 h 6523037"/>
                <a:gd name="connsiteX988" fmla="*/ 10584731 w 12192001"/>
                <a:gd name="connsiteY988" fmla="*/ 5130952 h 6523037"/>
                <a:gd name="connsiteX989" fmla="*/ 10848854 w 12192001"/>
                <a:gd name="connsiteY989" fmla="*/ 5130952 h 6523037"/>
                <a:gd name="connsiteX990" fmla="*/ 11119266 w 12192001"/>
                <a:gd name="connsiteY990" fmla="*/ 4859841 h 6523037"/>
                <a:gd name="connsiteX991" fmla="*/ 10848155 w 12192001"/>
                <a:gd name="connsiteY991" fmla="*/ 4589429 h 6523037"/>
                <a:gd name="connsiteX992" fmla="*/ 708011 w 12192001"/>
                <a:gd name="connsiteY992" fmla="*/ 4324160 h 6523037"/>
                <a:gd name="connsiteX993" fmla="*/ 437599 w 12192001"/>
                <a:gd name="connsiteY993" fmla="*/ 4595271 h 6523037"/>
                <a:gd name="connsiteX994" fmla="*/ 709409 w 12192001"/>
                <a:gd name="connsiteY994" fmla="*/ 4865683 h 6523037"/>
                <a:gd name="connsiteX995" fmla="*/ 972833 w 12192001"/>
                <a:gd name="connsiteY995" fmla="*/ 4865683 h 6523037"/>
                <a:gd name="connsiteX996" fmla="*/ 842169 w 12192001"/>
                <a:gd name="connsiteY996" fmla="*/ 4735716 h 6523037"/>
                <a:gd name="connsiteX997" fmla="*/ 701722 w 12192001"/>
                <a:gd name="connsiteY997" fmla="*/ 4595271 h 6523037"/>
                <a:gd name="connsiteX998" fmla="*/ 972135 w 12192001"/>
                <a:gd name="connsiteY998" fmla="*/ 4324160 h 6523037"/>
                <a:gd name="connsiteX999" fmla="*/ 2354241 w 12192001"/>
                <a:gd name="connsiteY999" fmla="*/ 4323461 h 6523037"/>
                <a:gd name="connsiteX1000" fmla="*/ 2083829 w 12192001"/>
                <a:gd name="connsiteY1000" fmla="*/ 4594572 h 6523037"/>
                <a:gd name="connsiteX1001" fmla="*/ 2353542 w 12192001"/>
                <a:gd name="connsiteY1001" fmla="*/ 4863586 h 6523037"/>
                <a:gd name="connsiteX1002" fmla="*/ 2616967 w 12192001"/>
                <a:gd name="connsiteY1002" fmla="*/ 4863586 h 6523037"/>
                <a:gd name="connsiteX1003" fmla="*/ 2347952 w 12192001"/>
                <a:gd name="connsiteY1003" fmla="*/ 4594572 h 6523037"/>
                <a:gd name="connsiteX1004" fmla="*/ 2348651 w 12192001"/>
                <a:gd name="connsiteY1004" fmla="*/ 4593873 h 6523037"/>
                <a:gd name="connsiteX1005" fmla="*/ 2347254 w 12192001"/>
                <a:gd name="connsiteY1005" fmla="*/ 4592475 h 6523037"/>
                <a:gd name="connsiteX1006" fmla="*/ 2615569 w 12192001"/>
                <a:gd name="connsiteY1006" fmla="*/ 4323461 h 6523037"/>
                <a:gd name="connsiteX1007" fmla="*/ 1256521 w 12192001"/>
                <a:gd name="connsiteY1007" fmla="*/ 4323461 h 6523037"/>
                <a:gd name="connsiteX1008" fmla="*/ 986109 w 12192001"/>
                <a:gd name="connsiteY1008" fmla="*/ 4594572 h 6523037"/>
                <a:gd name="connsiteX1009" fmla="*/ 1257220 w 12192001"/>
                <a:gd name="connsiteY1009" fmla="*/ 4864984 h 6523037"/>
                <a:gd name="connsiteX1010" fmla="*/ 1521344 w 12192001"/>
                <a:gd name="connsiteY1010" fmla="*/ 4864984 h 6523037"/>
                <a:gd name="connsiteX1011" fmla="*/ 1250233 w 12192001"/>
                <a:gd name="connsiteY1011" fmla="*/ 4594572 h 6523037"/>
                <a:gd name="connsiteX1012" fmla="*/ 1520645 w 12192001"/>
                <a:gd name="connsiteY1012" fmla="*/ 4323461 h 6523037"/>
                <a:gd name="connsiteX1013" fmla="*/ 1392775 w 12192001"/>
                <a:gd name="connsiteY1013" fmla="*/ 4323461 h 6523037"/>
                <a:gd name="connsiteX1014" fmla="*/ 1805731 w 12192001"/>
                <a:gd name="connsiteY1014" fmla="*/ 4322762 h 6523037"/>
                <a:gd name="connsiteX1015" fmla="*/ 1625456 w 12192001"/>
                <a:gd name="connsiteY1015" fmla="*/ 4503735 h 6523037"/>
                <a:gd name="connsiteX1016" fmla="*/ 1624758 w 12192001"/>
                <a:gd name="connsiteY1016" fmla="*/ 4503735 h 6523037"/>
                <a:gd name="connsiteX1017" fmla="*/ 1534620 w 12192001"/>
                <a:gd name="connsiteY1017" fmla="*/ 4593873 h 6523037"/>
                <a:gd name="connsiteX1018" fmla="*/ 1805032 w 12192001"/>
                <a:gd name="connsiteY1018" fmla="*/ 4864984 h 6523037"/>
                <a:gd name="connsiteX1019" fmla="*/ 2069155 w 12192001"/>
                <a:gd name="connsiteY1019" fmla="*/ 4864984 h 6523037"/>
                <a:gd name="connsiteX1020" fmla="*/ 1798044 w 12192001"/>
                <a:gd name="connsiteY1020" fmla="*/ 4594572 h 6523037"/>
                <a:gd name="connsiteX1021" fmla="*/ 1982512 w 12192001"/>
                <a:gd name="connsiteY1021" fmla="*/ 4410104 h 6523037"/>
                <a:gd name="connsiteX1022" fmla="*/ 1983211 w 12192001"/>
                <a:gd name="connsiteY1022" fmla="*/ 4410104 h 6523037"/>
                <a:gd name="connsiteX1023" fmla="*/ 2069155 w 12192001"/>
                <a:gd name="connsiteY1023" fmla="*/ 4323461 h 6523037"/>
                <a:gd name="connsiteX1024" fmla="*/ 1810622 w 12192001"/>
                <a:gd name="connsiteY1024" fmla="*/ 4323461 h 6523037"/>
                <a:gd name="connsiteX1025" fmla="*/ 3450563 w 12192001"/>
                <a:gd name="connsiteY1025" fmla="*/ 4321364 h 6523037"/>
                <a:gd name="connsiteX1026" fmla="*/ 3269589 w 12192001"/>
                <a:gd name="connsiteY1026" fmla="*/ 4503036 h 6523037"/>
                <a:gd name="connsiteX1027" fmla="*/ 3270986 w 12192001"/>
                <a:gd name="connsiteY1027" fmla="*/ 4503735 h 6523037"/>
                <a:gd name="connsiteX1028" fmla="*/ 3181548 w 12192001"/>
                <a:gd name="connsiteY1028" fmla="*/ 4593174 h 6523037"/>
                <a:gd name="connsiteX1029" fmla="*/ 3451960 w 12192001"/>
                <a:gd name="connsiteY1029" fmla="*/ 4862887 h 6523037"/>
                <a:gd name="connsiteX1030" fmla="*/ 3715384 w 12192001"/>
                <a:gd name="connsiteY1030" fmla="*/ 4862887 h 6523037"/>
                <a:gd name="connsiteX1031" fmla="*/ 3444972 w 12192001"/>
                <a:gd name="connsiteY1031" fmla="*/ 4593174 h 6523037"/>
                <a:gd name="connsiteX1032" fmla="*/ 3444274 w 12192001"/>
                <a:gd name="connsiteY1032" fmla="*/ 4592475 h 6523037"/>
                <a:gd name="connsiteX1033" fmla="*/ 3714686 w 12192001"/>
                <a:gd name="connsiteY1033" fmla="*/ 4321364 h 6523037"/>
                <a:gd name="connsiteX1034" fmla="*/ 2904847 w 12192001"/>
                <a:gd name="connsiteY1034" fmla="*/ 4321364 h 6523037"/>
                <a:gd name="connsiteX1035" fmla="*/ 2908341 w 12192001"/>
                <a:gd name="connsiteY1035" fmla="*/ 4322762 h 6523037"/>
                <a:gd name="connsiteX1036" fmla="*/ 2902751 w 12192001"/>
                <a:gd name="connsiteY1036" fmla="*/ 4322762 h 6523037"/>
                <a:gd name="connsiteX1037" fmla="*/ 2633736 w 12192001"/>
                <a:gd name="connsiteY1037" fmla="*/ 4593174 h 6523037"/>
                <a:gd name="connsiteX1038" fmla="*/ 2903449 w 12192001"/>
                <a:gd name="connsiteY1038" fmla="*/ 4862188 h 6523037"/>
                <a:gd name="connsiteX1039" fmla="*/ 3168271 w 12192001"/>
                <a:gd name="connsiteY1039" fmla="*/ 4863586 h 6523037"/>
                <a:gd name="connsiteX1040" fmla="*/ 2897162 w 12192001"/>
                <a:gd name="connsiteY1040" fmla="*/ 4593174 h 6523037"/>
                <a:gd name="connsiteX1041" fmla="*/ 2895764 w 12192001"/>
                <a:gd name="connsiteY1041" fmla="*/ 4591776 h 6523037"/>
                <a:gd name="connsiteX1042" fmla="*/ 3164778 w 12192001"/>
                <a:gd name="connsiteY1042" fmla="*/ 4322063 h 6523037"/>
                <a:gd name="connsiteX1043" fmla="*/ 2967035 w 12192001"/>
                <a:gd name="connsiteY1043" fmla="*/ 4322063 h 6523037"/>
                <a:gd name="connsiteX1044" fmla="*/ 2967733 w 12192001"/>
                <a:gd name="connsiteY1044" fmla="*/ 4321364 h 6523037"/>
                <a:gd name="connsiteX1045" fmla="*/ 3999073 w 12192001"/>
                <a:gd name="connsiteY1045" fmla="*/ 4320665 h 6523037"/>
                <a:gd name="connsiteX1046" fmla="*/ 3728660 w 12192001"/>
                <a:gd name="connsiteY1046" fmla="*/ 4591776 h 6523037"/>
                <a:gd name="connsiteX1047" fmla="*/ 3999771 w 12192001"/>
                <a:gd name="connsiteY1047" fmla="*/ 4862188 h 6523037"/>
                <a:gd name="connsiteX1048" fmla="*/ 4263197 w 12192001"/>
                <a:gd name="connsiteY1048" fmla="*/ 4862188 h 6523037"/>
                <a:gd name="connsiteX1049" fmla="*/ 4133230 w 12192001"/>
                <a:gd name="connsiteY1049" fmla="*/ 4732223 h 6523037"/>
                <a:gd name="connsiteX1050" fmla="*/ 3992783 w 12192001"/>
                <a:gd name="connsiteY1050" fmla="*/ 4591776 h 6523037"/>
                <a:gd name="connsiteX1051" fmla="*/ 4263197 w 12192001"/>
                <a:gd name="connsiteY1051" fmla="*/ 4320665 h 6523037"/>
                <a:gd name="connsiteX1052" fmla="*/ 4822057 w 12192001"/>
                <a:gd name="connsiteY1052" fmla="*/ 4320097 h 6523037"/>
                <a:gd name="connsiteX1053" fmla="*/ 4554570 w 12192001"/>
                <a:gd name="connsiteY1053" fmla="*/ 4587584 h 6523037"/>
                <a:gd name="connsiteX1054" fmla="*/ 4816244 w 12192001"/>
                <a:gd name="connsiteY1054" fmla="*/ 4587584 h 6523037"/>
                <a:gd name="connsiteX1055" fmla="*/ 5083731 w 12192001"/>
                <a:gd name="connsiteY1055" fmla="*/ 4320097 h 6523037"/>
                <a:gd name="connsiteX1056" fmla="*/ 4547585 w 12192001"/>
                <a:gd name="connsiteY1056" fmla="*/ 4319967 h 6523037"/>
                <a:gd name="connsiteX1057" fmla="*/ 4277172 w 12192001"/>
                <a:gd name="connsiteY1057" fmla="*/ 4591077 h 6523037"/>
                <a:gd name="connsiteX1058" fmla="*/ 4548281 w 12192001"/>
                <a:gd name="connsiteY1058" fmla="*/ 4861489 h 6523037"/>
                <a:gd name="connsiteX1059" fmla="*/ 4810393 w 12192001"/>
                <a:gd name="connsiteY1059" fmla="*/ 4861489 h 6523037"/>
                <a:gd name="connsiteX1060" fmla="*/ 4808427 w 12192001"/>
                <a:gd name="connsiteY1060" fmla="*/ 4859523 h 6523037"/>
                <a:gd name="connsiteX1061" fmla="*/ 4665187 w 12192001"/>
                <a:gd name="connsiteY1061" fmla="*/ 4716979 h 6523037"/>
                <a:gd name="connsiteX1062" fmla="*/ 4665187 w 12192001"/>
                <a:gd name="connsiteY1062" fmla="*/ 4714650 h 6523037"/>
                <a:gd name="connsiteX1063" fmla="*/ 4541295 w 12192001"/>
                <a:gd name="connsiteY1063" fmla="*/ 4591077 h 6523037"/>
                <a:gd name="connsiteX1064" fmla="*/ 4665187 w 12192001"/>
                <a:gd name="connsiteY1064" fmla="*/ 4466865 h 6523037"/>
                <a:gd name="connsiteX1065" fmla="*/ 4665187 w 12192001"/>
                <a:gd name="connsiteY1065" fmla="*/ 4464037 h 6523037"/>
                <a:gd name="connsiteX1066" fmla="*/ 4808574 w 12192001"/>
                <a:gd name="connsiteY1066" fmla="*/ 4319967 h 6523037"/>
                <a:gd name="connsiteX1067" fmla="*/ 5368118 w 12192001"/>
                <a:gd name="connsiteY1067" fmla="*/ 4319398 h 6523037"/>
                <a:gd name="connsiteX1068" fmla="*/ 5097706 w 12192001"/>
                <a:gd name="connsiteY1068" fmla="*/ 4590509 h 6523037"/>
                <a:gd name="connsiteX1069" fmla="*/ 5369515 w 12192001"/>
                <a:gd name="connsiteY1069" fmla="*/ 4860921 h 6523037"/>
                <a:gd name="connsiteX1070" fmla="*/ 5632939 w 12192001"/>
                <a:gd name="connsiteY1070" fmla="*/ 4860921 h 6523037"/>
                <a:gd name="connsiteX1071" fmla="*/ 5502275 w 12192001"/>
                <a:gd name="connsiteY1071" fmla="*/ 4730954 h 6523037"/>
                <a:gd name="connsiteX1072" fmla="*/ 5361829 w 12192001"/>
                <a:gd name="connsiteY1072" fmla="*/ 4590509 h 6523037"/>
                <a:gd name="connsiteX1073" fmla="*/ 5632241 w 12192001"/>
                <a:gd name="connsiteY1073" fmla="*/ 4319398 h 6523037"/>
                <a:gd name="connsiteX1074" fmla="*/ 7014347 w 12192001"/>
                <a:gd name="connsiteY1074" fmla="*/ 4318699 h 6523037"/>
                <a:gd name="connsiteX1075" fmla="*/ 6743935 w 12192001"/>
                <a:gd name="connsiteY1075" fmla="*/ 4589810 h 6523037"/>
                <a:gd name="connsiteX1076" fmla="*/ 7013649 w 12192001"/>
                <a:gd name="connsiteY1076" fmla="*/ 4858824 h 6523037"/>
                <a:gd name="connsiteX1077" fmla="*/ 7277073 w 12192001"/>
                <a:gd name="connsiteY1077" fmla="*/ 4858824 h 6523037"/>
                <a:gd name="connsiteX1078" fmla="*/ 7008058 w 12192001"/>
                <a:gd name="connsiteY1078" fmla="*/ 4589810 h 6523037"/>
                <a:gd name="connsiteX1079" fmla="*/ 7008758 w 12192001"/>
                <a:gd name="connsiteY1079" fmla="*/ 4589111 h 6523037"/>
                <a:gd name="connsiteX1080" fmla="*/ 7007360 w 12192001"/>
                <a:gd name="connsiteY1080" fmla="*/ 4587713 h 6523037"/>
                <a:gd name="connsiteX1081" fmla="*/ 7275675 w 12192001"/>
                <a:gd name="connsiteY1081" fmla="*/ 4318699 h 6523037"/>
                <a:gd name="connsiteX1082" fmla="*/ 5916628 w 12192001"/>
                <a:gd name="connsiteY1082" fmla="*/ 4318699 h 6523037"/>
                <a:gd name="connsiteX1083" fmla="*/ 5646216 w 12192001"/>
                <a:gd name="connsiteY1083" fmla="*/ 4589810 h 6523037"/>
                <a:gd name="connsiteX1084" fmla="*/ 5917326 w 12192001"/>
                <a:gd name="connsiteY1084" fmla="*/ 4860222 h 6523037"/>
                <a:gd name="connsiteX1085" fmla="*/ 6181450 w 12192001"/>
                <a:gd name="connsiteY1085" fmla="*/ 4860222 h 6523037"/>
                <a:gd name="connsiteX1086" fmla="*/ 5910339 w 12192001"/>
                <a:gd name="connsiteY1086" fmla="*/ 4589810 h 6523037"/>
                <a:gd name="connsiteX1087" fmla="*/ 6180751 w 12192001"/>
                <a:gd name="connsiteY1087" fmla="*/ 4318699 h 6523037"/>
                <a:gd name="connsiteX1088" fmla="*/ 6052882 w 12192001"/>
                <a:gd name="connsiteY1088" fmla="*/ 4318699 h 6523037"/>
                <a:gd name="connsiteX1089" fmla="*/ 6465837 w 12192001"/>
                <a:gd name="connsiteY1089" fmla="*/ 4318000 h 6523037"/>
                <a:gd name="connsiteX1090" fmla="*/ 6285563 w 12192001"/>
                <a:gd name="connsiteY1090" fmla="*/ 4498973 h 6523037"/>
                <a:gd name="connsiteX1091" fmla="*/ 6284865 w 12192001"/>
                <a:gd name="connsiteY1091" fmla="*/ 4498973 h 6523037"/>
                <a:gd name="connsiteX1092" fmla="*/ 6194726 w 12192001"/>
                <a:gd name="connsiteY1092" fmla="*/ 4589111 h 6523037"/>
                <a:gd name="connsiteX1093" fmla="*/ 6465139 w 12192001"/>
                <a:gd name="connsiteY1093" fmla="*/ 4860222 h 6523037"/>
                <a:gd name="connsiteX1094" fmla="*/ 6729262 w 12192001"/>
                <a:gd name="connsiteY1094" fmla="*/ 4860222 h 6523037"/>
                <a:gd name="connsiteX1095" fmla="*/ 6458151 w 12192001"/>
                <a:gd name="connsiteY1095" fmla="*/ 4589810 h 6523037"/>
                <a:gd name="connsiteX1096" fmla="*/ 6642619 w 12192001"/>
                <a:gd name="connsiteY1096" fmla="*/ 4405342 h 6523037"/>
                <a:gd name="connsiteX1097" fmla="*/ 6643317 w 12192001"/>
                <a:gd name="connsiteY1097" fmla="*/ 4405342 h 6523037"/>
                <a:gd name="connsiteX1098" fmla="*/ 6729262 w 12192001"/>
                <a:gd name="connsiteY1098" fmla="*/ 4318699 h 6523037"/>
                <a:gd name="connsiteX1099" fmla="*/ 6470728 w 12192001"/>
                <a:gd name="connsiteY1099" fmla="*/ 4318699 h 6523037"/>
                <a:gd name="connsiteX1100" fmla="*/ 9480576 w 12192001"/>
                <a:gd name="connsiteY1100" fmla="*/ 4316922 h 6523037"/>
                <a:gd name="connsiteX1101" fmla="*/ 9214676 w 12192001"/>
                <a:gd name="connsiteY1101" fmla="*/ 4582822 h 6523037"/>
                <a:gd name="connsiteX1102" fmla="*/ 9478247 w 12192001"/>
                <a:gd name="connsiteY1102" fmla="*/ 4582822 h 6523037"/>
                <a:gd name="connsiteX1103" fmla="*/ 9744147 w 12192001"/>
                <a:gd name="connsiteY1103" fmla="*/ 4316922 h 6523037"/>
                <a:gd name="connsiteX1104" fmla="*/ 8110669 w 12192001"/>
                <a:gd name="connsiteY1104" fmla="*/ 4316602 h 6523037"/>
                <a:gd name="connsiteX1105" fmla="*/ 7929695 w 12192001"/>
                <a:gd name="connsiteY1105" fmla="*/ 4498274 h 6523037"/>
                <a:gd name="connsiteX1106" fmla="*/ 7931092 w 12192001"/>
                <a:gd name="connsiteY1106" fmla="*/ 4498973 h 6523037"/>
                <a:gd name="connsiteX1107" fmla="*/ 7841654 w 12192001"/>
                <a:gd name="connsiteY1107" fmla="*/ 4588412 h 6523037"/>
                <a:gd name="connsiteX1108" fmla="*/ 8112066 w 12192001"/>
                <a:gd name="connsiteY1108" fmla="*/ 4858125 h 6523037"/>
                <a:gd name="connsiteX1109" fmla="*/ 8375490 w 12192001"/>
                <a:gd name="connsiteY1109" fmla="*/ 4858125 h 6523037"/>
                <a:gd name="connsiteX1110" fmla="*/ 8105078 w 12192001"/>
                <a:gd name="connsiteY1110" fmla="*/ 4588412 h 6523037"/>
                <a:gd name="connsiteX1111" fmla="*/ 8104380 w 12192001"/>
                <a:gd name="connsiteY1111" fmla="*/ 4587713 h 6523037"/>
                <a:gd name="connsiteX1112" fmla="*/ 8374792 w 12192001"/>
                <a:gd name="connsiteY1112" fmla="*/ 4316602 h 6523037"/>
                <a:gd name="connsiteX1113" fmla="*/ 7564953 w 12192001"/>
                <a:gd name="connsiteY1113" fmla="*/ 4316602 h 6523037"/>
                <a:gd name="connsiteX1114" fmla="*/ 7568447 w 12192001"/>
                <a:gd name="connsiteY1114" fmla="*/ 4318000 h 6523037"/>
                <a:gd name="connsiteX1115" fmla="*/ 7562857 w 12192001"/>
                <a:gd name="connsiteY1115" fmla="*/ 4318000 h 6523037"/>
                <a:gd name="connsiteX1116" fmla="*/ 7293842 w 12192001"/>
                <a:gd name="connsiteY1116" fmla="*/ 4588412 h 6523037"/>
                <a:gd name="connsiteX1117" fmla="*/ 7563555 w 12192001"/>
                <a:gd name="connsiteY1117" fmla="*/ 4857426 h 6523037"/>
                <a:gd name="connsiteX1118" fmla="*/ 7828377 w 12192001"/>
                <a:gd name="connsiteY1118" fmla="*/ 4858824 h 6523037"/>
                <a:gd name="connsiteX1119" fmla="*/ 7557268 w 12192001"/>
                <a:gd name="connsiteY1119" fmla="*/ 4588412 h 6523037"/>
                <a:gd name="connsiteX1120" fmla="*/ 7555870 w 12192001"/>
                <a:gd name="connsiteY1120" fmla="*/ 4587014 h 6523037"/>
                <a:gd name="connsiteX1121" fmla="*/ 7824884 w 12192001"/>
                <a:gd name="connsiteY1121" fmla="*/ 4317301 h 6523037"/>
                <a:gd name="connsiteX1122" fmla="*/ 7627141 w 12192001"/>
                <a:gd name="connsiteY1122" fmla="*/ 4317301 h 6523037"/>
                <a:gd name="connsiteX1123" fmla="*/ 7627839 w 12192001"/>
                <a:gd name="connsiteY1123" fmla="*/ 4316602 h 6523037"/>
                <a:gd name="connsiteX1124" fmla="*/ 10028534 w 12192001"/>
                <a:gd name="connsiteY1124" fmla="*/ 4316223 h 6523037"/>
                <a:gd name="connsiteX1125" fmla="*/ 9758122 w 12192001"/>
                <a:gd name="connsiteY1125" fmla="*/ 4587334 h 6523037"/>
                <a:gd name="connsiteX1126" fmla="*/ 10029932 w 12192001"/>
                <a:gd name="connsiteY1126" fmla="*/ 4857746 h 6523037"/>
                <a:gd name="connsiteX1127" fmla="*/ 10293356 w 12192001"/>
                <a:gd name="connsiteY1127" fmla="*/ 4857746 h 6523037"/>
                <a:gd name="connsiteX1128" fmla="*/ 10162692 w 12192001"/>
                <a:gd name="connsiteY1128" fmla="*/ 4727779 h 6523037"/>
                <a:gd name="connsiteX1129" fmla="*/ 10022245 w 12192001"/>
                <a:gd name="connsiteY1129" fmla="*/ 4587334 h 6523037"/>
                <a:gd name="connsiteX1130" fmla="*/ 10292658 w 12192001"/>
                <a:gd name="connsiteY1130" fmla="*/ 4316223 h 6523037"/>
                <a:gd name="connsiteX1131" fmla="*/ 8659179 w 12192001"/>
                <a:gd name="connsiteY1131" fmla="*/ 4315903 h 6523037"/>
                <a:gd name="connsiteX1132" fmla="*/ 8388766 w 12192001"/>
                <a:gd name="connsiteY1132" fmla="*/ 4587014 h 6523037"/>
                <a:gd name="connsiteX1133" fmla="*/ 8659877 w 12192001"/>
                <a:gd name="connsiteY1133" fmla="*/ 4857426 h 6523037"/>
                <a:gd name="connsiteX1134" fmla="*/ 8923303 w 12192001"/>
                <a:gd name="connsiteY1134" fmla="*/ 4857426 h 6523037"/>
                <a:gd name="connsiteX1135" fmla="*/ 8793336 w 12192001"/>
                <a:gd name="connsiteY1135" fmla="*/ 4727461 h 6523037"/>
                <a:gd name="connsiteX1136" fmla="*/ 8652889 w 12192001"/>
                <a:gd name="connsiteY1136" fmla="*/ 4587014 h 6523037"/>
                <a:gd name="connsiteX1137" fmla="*/ 8923303 w 12192001"/>
                <a:gd name="connsiteY1137" fmla="*/ 4315903 h 6523037"/>
                <a:gd name="connsiteX1138" fmla="*/ 11674764 w 12192001"/>
                <a:gd name="connsiteY1138" fmla="*/ 4315524 h 6523037"/>
                <a:gd name="connsiteX1139" fmla="*/ 11404352 w 12192001"/>
                <a:gd name="connsiteY1139" fmla="*/ 4586635 h 6523037"/>
                <a:gd name="connsiteX1140" fmla="*/ 11674065 w 12192001"/>
                <a:gd name="connsiteY1140" fmla="*/ 4855649 h 6523037"/>
                <a:gd name="connsiteX1141" fmla="*/ 11937490 w 12192001"/>
                <a:gd name="connsiteY1141" fmla="*/ 4855649 h 6523037"/>
                <a:gd name="connsiteX1142" fmla="*/ 11668475 w 12192001"/>
                <a:gd name="connsiteY1142" fmla="*/ 4586635 h 6523037"/>
                <a:gd name="connsiteX1143" fmla="*/ 11669174 w 12192001"/>
                <a:gd name="connsiteY1143" fmla="*/ 4585936 h 6523037"/>
                <a:gd name="connsiteX1144" fmla="*/ 11667777 w 12192001"/>
                <a:gd name="connsiteY1144" fmla="*/ 4584538 h 6523037"/>
                <a:gd name="connsiteX1145" fmla="*/ 11936092 w 12192001"/>
                <a:gd name="connsiteY1145" fmla="*/ 4315524 h 6523037"/>
                <a:gd name="connsiteX1146" fmla="*/ 10577044 w 12192001"/>
                <a:gd name="connsiteY1146" fmla="*/ 4315524 h 6523037"/>
                <a:gd name="connsiteX1147" fmla="*/ 10306632 w 12192001"/>
                <a:gd name="connsiteY1147" fmla="*/ 4586635 h 6523037"/>
                <a:gd name="connsiteX1148" fmla="*/ 10577743 w 12192001"/>
                <a:gd name="connsiteY1148" fmla="*/ 4857047 h 6523037"/>
                <a:gd name="connsiteX1149" fmla="*/ 10841867 w 12192001"/>
                <a:gd name="connsiteY1149" fmla="*/ 4857047 h 6523037"/>
                <a:gd name="connsiteX1150" fmla="*/ 10570756 w 12192001"/>
                <a:gd name="connsiteY1150" fmla="*/ 4586635 h 6523037"/>
                <a:gd name="connsiteX1151" fmla="*/ 10841168 w 12192001"/>
                <a:gd name="connsiteY1151" fmla="*/ 4315524 h 6523037"/>
                <a:gd name="connsiteX1152" fmla="*/ 10713298 w 12192001"/>
                <a:gd name="connsiteY1152" fmla="*/ 4315524 h 6523037"/>
                <a:gd name="connsiteX1153" fmla="*/ 9207690 w 12192001"/>
                <a:gd name="connsiteY1153" fmla="*/ 4315205 h 6523037"/>
                <a:gd name="connsiteX1154" fmla="*/ 8937277 w 12192001"/>
                <a:gd name="connsiteY1154" fmla="*/ 4586315 h 6523037"/>
                <a:gd name="connsiteX1155" fmla="*/ 9208387 w 12192001"/>
                <a:gd name="connsiteY1155" fmla="*/ 4856727 h 6523037"/>
                <a:gd name="connsiteX1156" fmla="*/ 9469223 w 12192001"/>
                <a:gd name="connsiteY1156" fmla="*/ 4856727 h 6523037"/>
                <a:gd name="connsiteX1157" fmla="*/ 9468844 w 12192001"/>
                <a:gd name="connsiteY1157" fmla="*/ 4856348 h 6523037"/>
                <a:gd name="connsiteX1158" fmla="*/ 9325603 w 12192001"/>
                <a:gd name="connsiteY1158" fmla="*/ 4713804 h 6523037"/>
                <a:gd name="connsiteX1159" fmla="*/ 9325603 w 12192001"/>
                <a:gd name="connsiteY1159" fmla="*/ 4710198 h 6523037"/>
                <a:gd name="connsiteX1160" fmla="*/ 9201400 w 12192001"/>
                <a:gd name="connsiteY1160" fmla="*/ 4586315 h 6523037"/>
                <a:gd name="connsiteX1161" fmla="*/ 9325603 w 12192001"/>
                <a:gd name="connsiteY1161" fmla="*/ 4461792 h 6523037"/>
                <a:gd name="connsiteX1162" fmla="*/ 9325603 w 12192001"/>
                <a:gd name="connsiteY1162" fmla="*/ 4460862 h 6523037"/>
                <a:gd name="connsiteX1163" fmla="*/ 9470571 w 12192001"/>
                <a:gd name="connsiteY1163" fmla="*/ 4315205 h 6523037"/>
                <a:gd name="connsiteX1164" fmla="*/ 11126254 w 12192001"/>
                <a:gd name="connsiteY1164" fmla="*/ 4314825 h 6523037"/>
                <a:gd name="connsiteX1165" fmla="*/ 10945979 w 12192001"/>
                <a:gd name="connsiteY1165" fmla="*/ 4495798 h 6523037"/>
                <a:gd name="connsiteX1166" fmla="*/ 10945281 w 12192001"/>
                <a:gd name="connsiteY1166" fmla="*/ 4495798 h 6523037"/>
                <a:gd name="connsiteX1167" fmla="*/ 10855143 w 12192001"/>
                <a:gd name="connsiteY1167" fmla="*/ 4585936 h 6523037"/>
                <a:gd name="connsiteX1168" fmla="*/ 11125555 w 12192001"/>
                <a:gd name="connsiteY1168" fmla="*/ 4857047 h 6523037"/>
                <a:gd name="connsiteX1169" fmla="*/ 11389678 w 12192001"/>
                <a:gd name="connsiteY1169" fmla="*/ 4857047 h 6523037"/>
                <a:gd name="connsiteX1170" fmla="*/ 11118567 w 12192001"/>
                <a:gd name="connsiteY1170" fmla="*/ 4586635 h 6523037"/>
                <a:gd name="connsiteX1171" fmla="*/ 11303035 w 12192001"/>
                <a:gd name="connsiteY1171" fmla="*/ 4402167 h 6523037"/>
                <a:gd name="connsiteX1172" fmla="*/ 11303734 w 12192001"/>
                <a:gd name="connsiteY1172" fmla="*/ 4402167 h 6523037"/>
                <a:gd name="connsiteX1173" fmla="*/ 11389678 w 12192001"/>
                <a:gd name="connsiteY1173" fmla="*/ 4315524 h 6523037"/>
                <a:gd name="connsiteX1174" fmla="*/ 11131145 w 12192001"/>
                <a:gd name="connsiteY1174" fmla="*/ 4315524 h 6523037"/>
                <a:gd name="connsiteX1175" fmla="*/ 717155 w 12192001"/>
                <a:gd name="connsiteY1175" fmla="*/ 4052402 h 6523037"/>
                <a:gd name="connsiteX1176" fmla="*/ 986808 w 12192001"/>
                <a:gd name="connsiteY1176" fmla="*/ 4320665 h 6523037"/>
                <a:gd name="connsiteX1177" fmla="*/ 716396 w 12192001"/>
                <a:gd name="connsiteY1177" fmla="*/ 4591776 h 6523037"/>
                <a:gd name="connsiteX1178" fmla="*/ 979821 w 12192001"/>
                <a:gd name="connsiteY1178" fmla="*/ 4591776 h 6523037"/>
                <a:gd name="connsiteX1179" fmla="*/ 1250233 w 12192001"/>
                <a:gd name="connsiteY1179" fmla="*/ 4320665 h 6523037"/>
                <a:gd name="connsiteX1180" fmla="*/ 1116075 w 12192001"/>
                <a:gd name="connsiteY1180" fmla="*/ 4187206 h 6523037"/>
                <a:gd name="connsiteX1181" fmla="*/ 1019702 w 12192001"/>
                <a:gd name="connsiteY1181" fmla="*/ 4090833 h 6523037"/>
                <a:gd name="connsiteX1182" fmla="*/ 1018761 w 12192001"/>
                <a:gd name="connsiteY1182" fmla="*/ 4090833 h 6523037"/>
                <a:gd name="connsiteX1183" fmla="*/ 980330 w 12192001"/>
                <a:gd name="connsiteY1183" fmla="*/ 4052402 h 6523037"/>
                <a:gd name="connsiteX1184" fmla="*/ 168395 w 12192001"/>
                <a:gd name="connsiteY1184" fmla="*/ 4052402 h 6523037"/>
                <a:gd name="connsiteX1185" fmla="*/ 206127 w 12192001"/>
                <a:gd name="connsiteY1185" fmla="*/ 4090134 h 6523037"/>
                <a:gd name="connsiteX1186" fmla="*/ 205772 w 12192001"/>
                <a:gd name="connsiteY1186" fmla="*/ 4090134 h 6523037"/>
                <a:gd name="connsiteX1187" fmla="*/ 437599 w 12192001"/>
                <a:gd name="connsiteY1187" fmla="*/ 4321364 h 6523037"/>
                <a:gd name="connsiteX1188" fmla="*/ 167187 w 12192001"/>
                <a:gd name="connsiteY1188" fmla="*/ 4591776 h 6523037"/>
                <a:gd name="connsiteX1189" fmla="*/ 431311 w 12192001"/>
                <a:gd name="connsiteY1189" fmla="*/ 4591776 h 6523037"/>
                <a:gd name="connsiteX1190" fmla="*/ 701722 w 12192001"/>
                <a:gd name="connsiteY1190" fmla="*/ 4320665 h 6523037"/>
                <a:gd name="connsiteX1191" fmla="*/ 470596 w 12192001"/>
                <a:gd name="connsiteY1191" fmla="*/ 4090134 h 6523037"/>
                <a:gd name="connsiteX1192" fmla="*/ 470250 w 12192001"/>
                <a:gd name="connsiteY1192" fmla="*/ 4090134 h 6523037"/>
                <a:gd name="connsiteX1193" fmla="*/ 432518 w 12192001"/>
                <a:gd name="connsiteY1193" fmla="*/ 4052402 h 6523037"/>
                <a:gd name="connsiteX1194" fmla="*/ 1816265 w 12192001"/>
                <a:gd name="connsiteY1194" fmla="*/ 4051703 h 6523037"/>
                <a:gd name="connsiteX1195" fmla="*/ 1942683 w 12192001"/>
                <a:gd name="connsiteY1195" fmla="*/ 4178123 h 6523037"/>
                <a:gd name="connsiteX1196" fmla="*/ 2083829 w 12192001"/>
                <a:gd name="connsiteY1196" fmla="*/ 4318569 h 6523037"/>
                <a:gd name="connsiteX1197" fmla="*/ 1813417 w 12192001"/>
                <a:gd name="connsiteY1197" fmla="*/ 4589680 h 6523037"/>
                <a:gd name="connsiteX1198" fmla="*/ 2076842 w 12192001"/>
                <a:gd name="connsiteY1198" fmla="*/ 4589680 h 6523037"/>
                <a:gd name="connsiteX1199" fmla="*/ 2347254 w 12192001"/>
                <a:gd name="connsiteY1199" fmla="*/ 4319268 h 6523037"/>
                <a:gd name="connsiteX1200" fmla="*/ 2214493 w 12192001"/>
                <a:gd name="connsiteY1200" fmla="*/ 4186507 h 6523037"/>
                <a:gd name="connsiteX1201" fmla="*/ 2214493 w 12192001"/>
                <a:gd name="connsiteY1201" fmla="*/ 4185809 h 6523037"/>
                <a:gd name="connsiteX1202" fmla="*/ 2119736 w 12192001"/>
                <a:gd name="connsiteY1202" fmla="*/ 4091531 h 6523037"/>
                <a:gd name="connsiteX1203" fmla="*/ 2116480 w 12192001"/>
                <a:gd name="connsiteY1203" fmla="*/ 4091531 h 6523037"/>
                <a:gd name="connsiteX1204" fmla="*/ 2076652 w 12192001"/>
                <a:gd name="connsiteY1204" fmla="*/ 4051703 h 6523037"/>
                <a:gd name="connsiteX1205" fmla="*/ 1266369 w 12192001"/>
                <a:gd name="connsiteY1205" fmla="*/ 4051703 h 6523037"/>
                <a:gd name="connsiteX1206" fmla="*/ 1534620 w 12192001"/>
                <a:gd name="connsiteY1206" fmla="*/ 4318569 h 6523037"/>
                <a:gd name="connsiteX1207" fmla="*/ 1531824 w 12192001"/>
                <a:gd name="connsiteY1207" fmla="*/ 4321364 h 6523037"/>
                <a:gd name="connsiteX1208" fmla="*/ 1441688 w 12192001"/>
                <a:gd name="connsiteY1208" fmla="*/ 4412201 h 6523037"/>
                <a:gd name="connsiteX1209" fmla="*/ 1440989 w 12192001"/>
                <a:gd name="connsiteY1209" fmla="*/ 4412201 h 6523037"/>
                <a:gd name="connsiteX1210" fmla="*/ 1263509 w 12192001"/>
                <a:gd name="connsiteY1210" fmla="*/ 4590379 h 6523037"/>
                <a:gd name="connsiteX1211" fmla="*/ 1527632 w 12192001"/>
                <a:gd name="connsiteY1211" fmla="*/ 4590379 h 6523037"/>
                <a:gd name="connsiteX1212" fmla="*/ 1798044 w 12192001"/>
                <a:gd name="connsiteY1212" fmla="*/ 4319967 h 6523037"/>
                <a:gd name="connsiteX1213" fmla="*/ 1793153 w 12192001"/>
                <a:gd name="connsiteY1213" fmla="*/ 4315076 h 6523037"/>
                <a:gd name="connsiteX1214" fmla="*/ 1795249 w 12192001"/>
                <a:gd name="connsiteY1214" fmla="*/ 4315775 h 6523037"/>
                <a:gd name="connsiteX1215" fmla="*/ 1569718 w 12192001"/>
                <a:gd name="connsiteY1215" fmla="*/ 4090833 h 6523037"/>
                <a:gd name="connsiteX1216" fmla="*/ 1567271 w 12192001"/>
                <a:gd name="connsiteY1216" fmla="*/ 4090833 h 6523037"/>
                <a:gd name="connsiteX1217" fmla="*/ 1528141 w 12192001"/>
                <a:gd name="connsiteY1217" fmla="*/ 4051703 h 6523037"/>
                <a:gd name="connsiteX1218" fmla="*/ 2363377 w 12192001"/>
                <a:gd name="connsiteY1218" fmla="*/ 4051005 h 6523037"/>
                <a:gd name="connsiteX1219" fmla="*/ 2630942 w 12192001"/>
                <a:gd name="connsiteY1219" fmla="*/ 4318569 h 6523037"/>
                <a:gd name="connsiteX1220" fmla="*/ 2632339 w 12192001"/>
                <a:gd name="connsiteY1220" fmla="*/ 4319967 h 6523037"/>
                <a:gd name="connsiteX1221" fmla="*/ 2363324 w 12192001"/>
                <a:gd name="connsiteY1221" fmla="*/ 4589680 h 6523037"/>
                <a:gd name="connsiteX1222" fmla="*/ 2625352 w 12192001"/>
                <a:gd name="connsiteY1222" fmla="*/ 4589680 h 6523037"/>
                <a:gd name="connsiteX1223" fmla="*/ 2895065 w 12192001"/>
                <a:gd name="connsiteY1223" fmla="*/ 4319268 h 6523037"/>
                <a:gd name="connsiteX1224" fmla="*/ 2890873 w 12192001"/>
                <a:gd name="connsiteY1224" fmla="*/ 4315076 h 6523037"/>
                <a:gd name="connsiteX1225" fmla="*/ 2892968 w 12192001"/>
                <a:gd name="connsiteY1225" fmla="*/ 4315775 h 6523037"/>
                <a:gd name="connsiteX1226" fmla="*/ 2668140 w 12192001"/>
                <a:gd name="connsiteY1226" fmla="*/ 4091531 h 6523037"/>
                <a:gd name="connsiteX1227" fmla="*/ 2666387 w 12192001"/>
                <a:gd name="connsiteY1227" fmla="*/ 4091531 h 6523037"/>
                <a:gd name="connsiteX1228" fmla="*/ 2625861 w 12192001"/>
                <a:gd name="connsiteY1228" fmla="*/ 4051005 h 6523037"/>
                <a:gd name="connsiteX1229" fmla="*/ 2911879 w 12192001"/>
                <a:gd name="connsiteY1229" fmla="*/ 4049607 h 6523037"/>
                <a:gd name="connsiteX1230" fmla="*/ 3179452 w 12192001"/>
                <a:gd name="connsiteY1230" fmla="*/ 4317871 h 6523037"/>
                <a:gd name="connsiteX1231" fmla="*/ 3087218 w 12192001"/>
                <a:gd name="connsiteY1231" fmla="*/ 4410803 h 6523037"/>
                <a:gd name="connsiteX1232" fmla="*/ 3087917 w 12192001"/>
                <a:gd name="connsiteY1232" fmla="*/ 4411502 h 6523037"/>
                <a:gd name="connsiteX1233" fmla="*/ 2911834 w 12192001"/>
                <a:gd name="connsiteY1233" fmla="*/ 4587584 h 6523037"/>
                <a:gd name="connsiteX1234" fmla="*/ 3108180 w 12192001"/>
                <a:gd name="connsiteY1234" fmla="*/ 4587584 h 6523037"/>
                <a:gd name="connsiteX1235" fmla="*/ 3107481 w 12192001"/>
                <a:gd name="connsiteY1235" fmla="*/ 4588982 h 6523037"/>
                <a:gd name="connsiteX1236" fmla="*/ 3173163 w 12192001"/>
                <a:gd name="connsiteY1236" fmla="*/ 4588982 h 6523037"/>
                <a:gd name="connsiteX1237" fmla="*/ 3443575 w 12192001"/>
                <a:gd name="connsiteY1237" fmla="*/ 4317871 h 6523037"/>
                <a:gd name="connsiteX1238" fmla="*/ 3215951 w 12192001"/>
                <a:gd name="connsiteY1238" fmla="*/ 4090833 h 6523037"/>
                <a:gd name="connsiteX1239" fmla="*/ 3215596 w 12192001"/>
                <a:gd name="connsiteY1239" fmla="*/ 4090833 h 6523037"/>
                <a:gd name="connsiteX1240" fmla="*/ 3174371 w 12192001"/>
                <a:gd name="connsiteY1240" fmla="*/ 4049607 h 6523037"/>
                <a:gd name="connsiteX1241" fmla="*/ 3459004 w 12192001"/>
                <a:gd name="connsiteY1241" fmla="*/ 4048908 h 6523037"/>
                <a:gd name="connsiteX1242" fmla="*/ 3728660 w 12192001"/>
                <a:gd name="connsiteY1242" fmla="*/ 4317871 h 6523037"/>
                <a:gd name="connsiteX1243" fmla="*/ 3458248 w 12192001"/>
                <a:gd name="connsiteY1243" fmla="*/ 4588283 h 6523037"/>
                <a:gd name="connsiteX1244" fmla="*/ 3722372 w 12192001"/>
                <a:gd name="connsiteY1244" fmla="*/ 4588283 h 6523037"/>
                <a:gd name="connsiteX1245" fmla="*/ 3992783 w 12192001"/>
                <a:gd name="connsiteY1245" fmla="*/ 4317871 h 6523037"/>
                <a:gd name="connsiteX1246" fmla="*/ 3765160 w 12192001"/>
                <a:gd name="connsiteY1246" fmla="*/ 4090833 h 6523037"/>
                <a:gd name="connsiteX1247" fmla="*/ 3764107 w 12192001"/>
                <a:gd name="connsiteY1247" fmla="*/ 4090833 h 6523037"/>
                <a:gd name="connsiteX1248" fmla="*/ 3722183 w 12192001"/>
                <a:gd name="connsiteY1248" fmla="*/ 4048908 h 6523037"/>
                <a:gd name="connsiteX1249" fmla="*/ 4007520 w 12192001"/>
                <a:gd name="connsiteY1249" fmla="*/ 4048209 h 6523037"/>
                <a:gd name="connsiteX1250" fmla="*/ 4277870 w 12192001"/>
                <a:gd name="connsiteY1250" fmla="*/ 4316473 h 6523037"/>
                <a:gd name="connsiteX1251" fmla="*/ 4007457 w 12192001"/>
                <a:gd name="connsiteY1251" fmla="*/ 4587584 h 6523037"/>
                <a:gd name="connsiteX1252" fmla="*/ 4270883 w 12192001"/>
                <a:gd name="connsiteY1252" fmla="*/ 4587584 h 6523037"/>
                <a:gd name="connsiteX1253" fmla="*/ 4541295 w 12192001"/>
                <a:gd name="connsiteY1253" fmla="*/ 4316473 h 6523037"/>
                <a:gd name="connsiteX1254" fmla="*/ 4407136 w 12192001"/>
                <a:gd name="connsiteY1254" fmla="*/ 4183014 h 6523037"/>
                <a:gd name="connsiteX1255" fmla="*/ 4314483 w 12192001"/>
                <a:gd name="connsiteY1255" fmla="*/ 4090833 h 6523037"/>
                <a:gd name="connsiteX1256" fmla="*/ 4313317 w 12192001"/>
                <a:gd name="connsiteY1256" fmla="*/ 4090833 h 6523037"/>
                <a:gd name="connsiteX1257" fmla="*/ 4270692 w 12192001"/>
                <a:gd name="connsiteY1257" fmla="*/ 4048209 h 6523037"/>
                <a:gd name="connsiteX1258" fmla="*/ 5377262 w 12192001"/>
                <a:gd name="connsiteY1258" fmla="*/ 4047640 h 6523037"/>
                <a:gd name="connsiteX1259" fmla="*/ 5646914 w 12192001"/>
                <a:gd name="connsiteY1259" fmla="*/ 4315903 h 6523037"/>
                <a:gd name="connsiteX1260" fmla="*/ 5376502 w 12192001"/>
                <a:gd name="connsiteY1260" fmla="*/ 4587014 h 6523037"/>
                <a:gd name="connsiteX1261" fmla="*/ 5639927 w 12192001"/>
                <a:gd name="connsiteY1261" fmla="*/ 4587014 h 6523037"/>
                <a:gd name="connsiteX1262" fmla="*/ 5910339 w 12192001"/>
                <a:gd name="connsiteY1262" fmla="*/ 4315903 h 6523037"/>
                <a:gd name="connsiteX1263" fmla="*/ 5776182 w 12192001"/>
                <a:gd name="connsiteY1263" fmla="*/ 4182444 h 6523037"/>
                <a:gd name="connsiteX1264" fmla="*/ 5679808 w 12192001"/>
                <a:gd name="connsiteY1264" fmla="*/ 4086071 h 6523037"/>
                <a:gd name="connsiteX1265" fmla="*/ 5678867 w 12192001"/>
                <a:gd name="connsiteY1265" fmla="*/ 4086071 h 6523037"/>
                <a:gd name="connsiteX1266" fmla="*/ 5640436 w 12192001"/>
                <a:gd name="connsiteY1266" fmla="*/ 4047640 h 6523037"/>
                <a:gd name="connsiteX1267" fmla="*/ 4828501 w 12192001"/>
                <a:gd name="connsiteY1267" fmla="*/ 4047640 h 6523037"/>
                <a:gd name="connsiteX1268" fmla="*/ 4866233 w 12192001"/>
                <a:gd name="connsiteY1268" fmla="*/ 4085372 h 6523037"/>
                <a:gd name="connsiteX1269" fmla="*/ 4865878 w 12192001"/>
                <a:gd name="connsiteY1269" fmla="*/ 4085372 h 6523037"/>
                <a:gd name="connsiteX1270" fmla="*/ 5097706 w 12192001"/>
                <a:gd name="connsiteY1270" fmla="*/ 4316602 h 6523037"/>
                <a:gd name="connsiteX1271" fmla="*/ 4828477 w 12192001"/>
                <a:gd name="connsiteY1271" fmla="*/ 4585831 h 6523037"/>
                <a:gd name="connsiteX1272" fmla="*/ 4828477 w 12192001"/>
                <a:gd name="connsiteY1272" fmla="*/ 4587014 h 6523037"/>
                <a:gd name="connsiteX1273" fmla="*/ 5091417 w 12192001"/>
                <a:gd name="connsiteY1273" fmla="*/ 4587014 h 6523037"/>
                <a:gd name="connsiteX1274" fmla="*/ 5361829 w 12192001"/>
                <a:gd name="connsiteY1274" fmla="*/ 4315903 h 6523037"/>
                <a:gd name="connsiteX1275" fmla="*/ 5130702 w 12192001"/>
                <a:gd name="connsiteY1275" fmla="*/ 4085372 h 6523037"/>
                <a:gd name="connsiteX1276" fmla="*/ 5130356 w 12192001"/>
                <a:gd name="connsiteY1276" fmla="*/ 4085372 h 6523037"/>
                <a:gd name="connsiteX1277" fmla="*/ 5092624 w 12192001"/>
                <a:gd name="connsiteY1277" fmla="*/ 4047640 h 6523037"/>
                <a:gd name="connsiteX1278" fmla="*/ 6476371 w 12192001"/>
                <a:gd name="connsiteY1278" fmla="*/ 4046941 h 6523037"/>
                <a:gd name="connsiteX1279" fmla="*/ 6602789 w 12192001"/>
                <a:gd name="connsiteY1279" fmla="*/ 4173361 h 6523037"/>
                <a:gd name="connsiteX1280" fmla="*/ 6743935 w 12192001"/>
                <a:gd name="connsiteY1280" fmla="*/ 4313807 h 6523037"/>
                <a:gd name="connsiteX1281" fmla="*/ 6473523 w 12192001"/>
                <a:gd name="connsiteY1281" fmla="*/ 4584918 h 6523037"/>
                <a:gd name="connsiteX1282" fmla="*/ 6736948 w 12192001"/>
                <a:gd name="connsiteY1282" fmla="*/ 4584918 h 6523037"/>
                <a:gd name="connsiteX1283" fmla="*/ 7007360 w 12192001"/>
                <a:gd name="connsiteY1283" fmla="*/ 4314506 h 6523037"/>
                <a:gd name="connsiteX1284" fmla="*/ 6874599 w 12192001"/>
                <a:gd name="connsiteY1284" fmla="*/ 4181745 h 6523037"/>
                <a:gd name="connsiteX1285" fmla="*/ 6874599 w 12192001"/>
                <a:gd name="connsiteY1285" fmla="*/ 4181047 h 6523037"/>
                <a:gd name="connsiteX1286" fmla="*/ 6779842 w 12192001"/>
                <a:gd name="connsiteY1286" fmla="*/ 4086769 h 6523037"/>
                <a:gd name="connsiteX1287" fmla="*/ 6776587 w 12192001"/>
                <a:gd name="connsiteY1287" fmla="*/ 4086769 h 6523037"/>
                <a:gd name="connsiteX1288" fmla="*/ 6736759 w 12192001"/>
                <a:gd name="connsiteY1288" fmla="*/ 4046941 h 6523037"/>
                <a:gd name="connsiteX1289" fmla="*/ 5926476 w 12192001"/>
                <a:gd name="connsiteY1289" fmla="*/ 4046941 h 6523037"/>
                <a:gd name="connsiteX1290" fmla="*/ 6194726 w 12192001"/>
                <a:gd name="connsiteY1290" fmla="*/ 4313807 h 6523037"/>
                <a:gd name="connsiteX1291" fmla="*/ 6191930 w 12192001"/>
                <a:gd name="connsiteY1291" fmla="*/ 4316602 h 6523037"/>
                <a:gd name="connsiteX1292" fmla="*/ 6101794 w 12192001"/>
                <a:gd name="connsiteY1292" fmla="*/ 4407439 h 6523037"/>
                <a:gd name="connsiteX1293" fmla="*/ 6101096 w 12192001"/>
                <a:gd name="connsiteY1293" fmla="*/ 4407439 h 6523037"/>
                <a:gd name="connsiteX1294" fmla="*/ 5923616 w 12192001"/>
                <a:gd name="connsiteY1294" fmla="*/ 4585617 h 6523037"/>
                <a:gd name="connsiteX1295" fmla="*/ 6187739 w 12192001"/>
                <a:gd name="connsiteY1295" fmla="*/ 4585617 h 6523037"/>
                <a:gd name="connsiteX1296" fmla="*/ 6458151 w 12192001"/>
                <a:gd name="connsiteY1296" fmla="*/ 4315205 h 6523037"/>
                <a:gd name="connsiteX1297" fmla="*/ 6453259 w 12192001"/>
                <a:gd name="connsiteY1297" fmla="*/ 4310314 h 6523037"/>
                <a:gd name="connsiteX1298" fmla="*/ 6455355 w 12192001"/>
                <a:gd name="connsiteY1298" fmla="*/ 4311013 h 6523037"/>
                <a:gd name="connsiteX1299" fmla="*/ 6229824 w 12192001"/>
                <a:gd name="connsiteY1299" fmla="*/ 4086071 h 6523037"/>
                <a:gd name="connsiteX1300" fmla="*/ 6227377 w 12192001"/>
                <a:gd name="connsiteY1300" fmla="*/ 4086071 h 6523037"/>
                <a:gd name="connsiteX1301" fmla="*/ 6188247 w 12192001"/>
                <a:gd name="connsiteY1301" fmla="*/ 4046941 h 6523037"/>
                <a:gd name="connsiteX1302" fmla="*/ 4555321 w 12192001"/>
                <a:gd name="connsiteY1302" fmla="*/ 4046813 h 6523037"/>
                <a:gd name="connsiteX1303" fmla="*/ 4555968 w 12192001"/>
                <a:gd name="connsiteY1303" fmla="*/ 4047459 h 6523037"/>
                <a:gd name="connsiteX1304" fmla="*/ 4821607 w 12192001"/>
                <a:gd name="connsiteY1304" fmla="*/ 4312410 h 6523037"/>
                <a:gd name="connsiteX1305" fmla="*/ 5083731 w 12192001"/>
                <a:gd name="connsiteY1305" fmla="*/ 4312410 h 6523037"/>
                <a:gd name="connsiteX1306" fmla="*/ 4816757 w 12192001"/>
                <a:gd name="connsiteY1306" fmla="*/ 4046813 h 6523037"/>
                <a:gd name="connsiteX1307" fmla="*/ 7023483 w 12192001"/>
                <a:gd name="connsiteY1307" fmla="*/ 4046243 h 6523037"/>
                <a:gd name="connsiteX1308" fmla="*/ 7291048 w 12192001"/>
                <a:gd name="connsiteY1308" fmla="*/ 4313807 h 6523037"/>
                <a:gd name="connsiteX1309" fmla="*/ 7292445 w 12192001"/>
                <a:gd name="connsiteY1309" fmla="*/ 4315205 h 6523037"/>
                <a:gd name="connsiteX1310" fmla="*/ 7023431 w 12192001"/>
                <a:gd name="connsiteY1310" fmla="*/ 4584918 h 6523037"/>
                <a:gd name="connsiteX1311" fmla="*/ 7285458 w 12192001"/>
                <a:gd name="connsiteY1311" fmla="*/ 4584918 h 6523037"/>
                <a:gd name="connsiteX1312" fmla="*/ 7555171 w 12192001"/>
                <a:gd name="connsiteY1312" fmla="*/ 4314506 h 6523037"/>
                <a:gd name="connsiteX1313" fmla="*/ 7550979 w 12192001"/>
                <a:gd name="connsiteY1313" fmla="*/ 4310314 h 6523037"/>
                <a:gd name="connsiteX1314" fmla="*/ 7553074 w 12192001"/>
                <a:gd name="connsiteY1314" fmla="*/ 4311013 h 6523037"/>
                <a:gd name="connsiteX1315" fmla="*/ 7328246 w 12192001"/>
                <a:gd name="connsiteY1315" fmla="*/ 4086769 h 6523037"/>
                <a:gd name="connsiteX1316" fmla="*/ 7326493 w 12192001"/>
                <a:gd name="connsiteY1316" fmla="*/ 4086769 h 6523037"/>
                <a:gd name="connsiteX1317" fmla="*/ 7285967 w 12192001"/>
                <a:gd name="connsiteY1317" fmla="*/ 4046243 h 6523037"/>
                <a:gd name="connsiteX1318" fmla="*/ 7571985 w 12192001"/>
                <a:gd name="connsiteY1318" fmla="*/ 4044845 h 6523037"/>
                <a:gd name="connsiteX1319" fmla="*/ 7839558 w 12192001"/>
                <a:gd name="connsiteY1319" fmla="*/ 4313109 h 6523037"/>
                <a:gd name="connsiteX1320" fmla="*/ 7747324 w 12192001"/>
                <a:gd name="connsiteY1320" fmla="*/ 4406041 h 6523037"/>
                <a:gd name="connsiteX1321" fmla="*/ 7748023 w 12192001"/>
                <a:gd name="connsiteY1321" fmla="*/ 4406740 h 6523037"/>
                <a:gd name="connsiteX1322" fmla="*/ 7571940 w 12192001"/>
                <a:gd name="connsiteY1322" fmla="*/ 4582822 h 6523037"/>
                <a:gd name="connsiteX1323" fmla="*/ 7768286 w 12192001"/>
                <a:gd name="connsiteY1323" fmla="*/ 4582822 h 6523037"/>
                <a:gd name="connsiteX1324" fmla="*/ 7767587 w 12192001"/>
                <a:gd name="connsiteY1324" fmla="*/ 4584220 h 6523037"/>
                <a:gd name="connsiteX1325" fmla="*/ 7833269 w 12192001"/>
                <a:gd name="connsiteY1325" fmla="*/ 4584220 h 6523037"/>
                <a:gd name="connsiteX1326" fmla="*/ 8103681 w 12192001"/>
                <a:gd name="connsiteY1326" fmla="*/ 4313109 h 6523037"/>
                <a:gd name="connsiteX1327" fmla="*/ 7876057 w 12192001"/>
                <a:gd name="connsiteY1327" fmla="*/ 4086071 h 6523037"/>
                <a:gd name="connsiteX1328" fmla="*/ 7875702 w 12192001"/>
                <a:gd name="connsiteY1328" fmla="*/ 4086071 h 6523037"/>
                <a:gd name="connsiteX1329" fmla="*/ 7834477 w 12192001"/>
                <a:gd name="connsiteY1329" fmla="*/ 4044845 h 6523037"/>
                <a:gd name="connsiteX1330" fmla="*/ 10037678 w 12192001"/>
                <a:gd name="connsiteY1330" fmla="*/ 4044465 h 6523037"/>
                <a:gd name="connsiteX1331" fmla="*/ 10307331 w 12192001"/>
                <a:gd name="connsiteY1331" fmla="*/ 4312728 h 6523037"/>
                <a:gd name="connsiteX1332" fmla="*/ 10036919 w 12192001"/>
                <a:gd name="connsiteY1332" fmla="*/ 4583839 h 6523037"/>
                <a:gd name="connsiteX1333" fmla="*/ 10300344 w 12192001"/>
                <a:gd name="connsiteY1333" fmla="*/ 4583839 h 6523037"/>
                <a:gd name="connsiteX1334" fmla="*/ 10570756 w 12192001"/>
                <a:gd name="connsiteY1334" fmla="*/ 4312728 h 6523037"/>
                <a:gd name="connsiteX1335" fmla="*/ 10436598 w 12192001"/>
                <a:gd name="connsiteY1335" fmla="*/ 4179269 h 6523037"/>
                <a:gd name="connsiteX1336" fmla="*/ 10340225 w 12192001"/>
                <a:gd name="connsiteY1336" fmla="*/ 4082896 h 6523037"/>
                <a:gd name="connsiteX1337" fmla="*/ 10339284 w 12192001"/>
                <a:gd name="connsiteY1337" fmla="*/ 4082896 h 6523037"/>
                <a:gd name="connsiteX1338" fmla="*/ 10300853 w 12192001"/>
                <a:gd name="connsiteY1338" fmla="*/ 4044465 h 6523037"/>
                <a:gd name="connsiteX1339" fmla="*/ 9488918 w 12192001"/>
                <a:gd name="connsiteY1339" fmla="*/ 4044465 h 6523037"/>
                <a:gd name="connsiteX1340" fmla="*/ 9526650 w 12192001"/>
                <a:gd name="connsiteY1340" fmla="*/ 4082197 h 6523037"/>
                <a:gd name="connsiteX1341" fmla="*/ 9526295 w 12192001"/>
                <a:gd name="connsiteY1341" fmla="*/ 4082197 h 6523037"/>
                <a:gd name="connsiteX1342" fmla="*/ 9758122 w 12192001"/>
                <a:gd name="connsiteY1342" fmla="*/ 4313427 h 6523037"/>
                <a:gd name="connsiteX1343" fmla="*/ 9488582 w 12192001"/>
                <a:gd name="connsiteY1343" fmla="*/ 4582967 h 6523037"/>
                <a:gd name="connsiteX1344" fmla="*/ 9488582 w 12192001"/>
                <a:gd name="connsiteY1344" fmla="*/ 4583521 h 6523037"/>
                <a:gd name="connsiteX1345" fmla="*/ 9488264 w 12192001"/>
                <a:gd name="connsiteY1345" fmla="*/ 4583839 h 6523037"/>
                <a:gd name="connsiteX1346" fmla="*/ 9751834 w 12192001"/>
                <a:gd name="connsiteY1346" fmla="*/ 4583839 h 6523037"/>
                <a:gd name="connsiteX1347" fmla="*/ 10022245 w 12192001"/>
                <a:gd name="connsiteY1347" fmla="*/ 4312728 h 6523037"/>
                <a:gd name="connsiteX1348" fmla="*/ 9791119 w 12192001"/>
                <a:gd name="connsiteY1348" fmla="*/ 4082197 h 6523037"/>
                <a:gd name="connsiteX1349" fmla="*/ 9790773 w 12192001"/>
                <a:gd name="connsiteY1349" fmla="*/ 4082197 h 6523037"/>
                <a:gd name="connsiteX1350" fmla="*/ 9753041 w 12192001"/>
                <a:gd name="connsiteY1350" fmla="*/ 4044465 h 6523037"/>
                <a:gd name="connsiteX1351" fmla="*/ 8119110 w 12192001"/>
                <a:gd name="connsiteY1351" fmla="*/ 4044146 h 6523037"/>
                <a:gd name="connsiteX1352" fmla="*/ 8388766 w 12192001"/>
                <a:gd name="connsiteY1352" fmla="*/ 4313109 h 6523037"/>
                <a:gd name="connsiteX1353" fmla="*/ 8118354 w 12192001"/>
                <a:gd name="connsiteY1353" fmla="*/ 4583521 h 6523037"/>
                <a:gd name="connsiteX1354" fmla="*/ 8382478 w 12192001"/>
                <a:gd name="connsiteY1354" fmla="*/ 4583521 h 6523037"/>
                <a:gd name="connsiteX1355" fmla="*/ 8652889 w 12192001"/>
                <a:gd name="connsiteY1355" fmla="*/ 4313109 h 6523037"/>
                <a:gd name="connsiteX1356" fmla="*/ 8425266 w 12192001"/>
                <a:gd name="connsiteY1356" fmla="*/ 4086071 h 6523037"/>
                <a:gd name="connsiteX1357" fmla="*/ 8424213 w 12192001"/>
                <a:gd name="connsiteY1357" fmla="*/ 4086071 h 6523037"/>
                <a:gd name="connsiteX1358" fmla="*/ 8382289 w 12192001"/>
                <a:gd name="connsiteY1358" fmla="*/ 4044146 h 6523037"/>
                <a:gd name="connsiteX1359" fmla="*/ 11136788 w 12192001"/>
                <a:gd name="connsiteY1359" fmla="*/ 4043766 h 6523037"/>
                <a:gd name="connsiteX1360" fmla="*/ 11263206 w 12192001"/>
                <a:gd name="connsiteY1360" fmla="*/ 4170186 h 6523037"/>
                <a:gd name="connsiteX1361" fmla="*/ 11404352 w 12192001"/>
                <a:gd name="connsiteY1361" fmla="*/ 4310632 h 6523037"/>
                <a:gd name="connsiteX1362" fmla="*/ 11133940 w 12192001"/>
                <a:gd name="connsiteY1362" fmla="*/ 4581743 h 6523037"/>
                <a:gd name="connsiteX1363" fmla="*/ 11397365 w 12192001"/>
                <a:gd name="connsiteY1363" fmla="*/ 4581743 h 6523037"/>
                <a:gd name="connsiteX1364" fmla="*/ 11667777 w 12192001"/>
                <a:gd name="connsiteY1364" fmla="*/ 4311331 h 6523037"/>
                <a:gd name="connsiteX1365" fmla="*/ 11535016 w 12192001"/>
                <a:gd name="connsiteY1365" fmla="*/ 4178570 h 6523037"/>
                <a:gd name="connsiteX1366" fmla="*/ 11535016 w 12192001"/>
                <a:gd name="connsiteY1366" fmla="*/ 4177872 h 6523037"/>
                <a:gd name="connsiteX1367" fmla="*/ 11440259 w 12192001"/>
                <a:gd name="connsiteY1367" fmla="*/ 4083594 h 6523037"/>
                <a:gd name="connsiteX1368" fmla="*/ 11437003 w 12192001"/>
                <a:gd name="connsiteY1368" fmla="*/ 4083594 h 6523037"/>
                <a:gd name="connsiteX1369" fmla="*/ 11397175 w 12192001"/>
                <a:gd name="connsiteY1369" fmla="*/ 4043766 h 6523037"/>
                <a:gd name="connsiteX1370" fmla="*/ 10586892 w 12192001"/>
                <a:gd name="connsiteY1370" fmla="*/ 4043766 h 6523037"/>
                <a:gd name="connsiteX1371" fmla="*/ 10855143 w 12192001"/>
                <a:gd name="connsiteY1371" fmla="*/ 4310632 h 6523037"/>
                <a:gd name="connsiteX1372" fmla="*/ 10852347 w 12192001"/>
                <a:gd name="connsiteY1372" fmla="*/ 4313427 h 6523037"/>
                <a:gd name="connsiteX1373" fmla="*/ 10762211 w 12192001"/>
                <a:gd name="connsiteY1373" fmla="*/ 4404264 h 6523037"/>
                <a:gd name="connsiteX1374" fmla="*/ 10761512 w 12192001"/>
                <a:gd name="connsiteY1374" fmla="*/ 4404264 h 6523037"/>
                <a:gd name="connsiteX1375" fmla="*/ 10584032 w 12192001"/>
                <a:gd name="connsiteY1375" fmla="*/ 4582442 h 6523037"/>
                <a:gd name="connsiteX1376" fmla="*/ 10848155 w 12192001"/>
                <a:gd name="connsiteY1376" fmla="*/ 4582442 h 6523037"/>
                <a:gd name="connsiteX1377" fmla="*/ 11118567 w 12192001"/>
                <a:gd name="connsiteY1377" fmla="*/ 4312030 h 6523037"/>
                <a:gd name="connsiteX1378" fmla="*/ 11113676 w 12192001"/>
                <a:gd name="connsiteY1378" fmla="*/ 4307139 h 6523037"/>
                <a:gd name="connsiteX1379" fmla="*/ 11115772 w 12192001"/>
                <a:gd name="connsiteY1379" fmla="*/ 4307838 h 6523037"/>
                <a:gd name="connsiteX1380" fmla="*/ 10890241 w 12192001"/>
                <a:gd name="connsiteY1380" fmla="*/ 4082896 h 6523037"/>
                <a:gd name="connsiteX1381" fmla="*/ 10887794 w 12192001"/>
                <a:gd name="connsiteY1381" fmla="*/ 4082896 h 6523037"/>
                <a:gd name="connsiteX1382" fmla="*/ 10848664 w 12192001"/>
                <a:gd name="connsiteY1382" fmla="*/ 4043766 h 6523037"/>
                <a:gd name="connsiteX1383" fmla="*/ 8667626 w 12192001"/>
                <a:gd name="connsiteY1383" fmla="*/ 4043447 h 6523037"/>
                <a:gd name="connsiteX1384" fmla="*/ 8937975 w 12192001"/>
                <a:gd name="connsiteY1384" fmla="*/ 4311711 h 6523037"/>
                <a:gd name="connsiteX1385" fmla="*/ 8667563 w 12192001"/>
                <a:gd name="connsiteY1385" fmla="*/ 4582822 h 6523037"/>
                <a:gd name="connsiteX1386" fmla="*/ 8930988 w 12192001"/>
                <a:gd name="connsiteY1386" fmla="*/ 4582822 h 6523037"/>
                <a:gd name="connsiteX1387" fmla="*/ 9201400 w 12192001"/>
                <a:gd name="connsiteY1387" fmla="*/ 4311711 h 6523037"/>
                <a:gd name="connsiteX1388" fmla="*/ 9067242 w 12192001"/>
                <a:gd name="connsiteY1388" fmla="*/ 4178252 h 6523037"/>
                <a:gd name="connsiteX1389" fmla="*/ 8974588 w 12192001"/>
                <a:gd name="connsiteY1389" fmla="*/ 4086071 h 6523037"/>
                <a:gd name="connsiteX1390" fmla="*/ 8973422 w 12192001"/>
                <a:gd name="connsiteY1390" fmla="*/ 4086071 h 6523037"/>
                <a:gd name="connsiteX1391" fmla="*/ 8930798 w 12192001"/>
                <a:gd name="connsiteY1391" fmla="*/ 4043447 h 6523037"/>
                <a:gd name="connsiteX1392" fmla="*/ 9215427 w 12192001"/>
                <a:gd name="connsiteY1392" fmla="*/ 4042051 h 6523037"/>
                <a:gd name="connsiteX1393" fmla="*/ 9216074 w 12192001"/>
                <a:gd name="connsiteY1393" fmla="*/ 4042697 h 6523037"/>
                <a:gd name="connsiteX1394" fmla="*/ 9483305 w 12192001"/>
                <a:gd name="connsiteY1394" fmla="*/ 4309235 h 6523037"/>
                <a:gd name="connsiteX1395" fmla="*/ 9744147 w 12192001"/>
                <a:gd name="connsiteY1395" fmla="*/ 4309235 h 6523037"/>
                <a:gd name="connsiteX1396" fmla="*/ 9475578 w 12192001"/>
                <a:gd name="connsiteY1396" fmla="*/ 4042051 h 6523037"/>
                <a:gd name="connsiteX1397" fmla="*/ 2354051 w 12192001"/>
                <a:gd name="connsiteY1397" fmla="*/ 3777098 h 6523037"/>
                <a:gd name="connsiteX1398" fmla="*/ 2084461 w 12192001"/>
                <a:gd name="connsiteY1398" fmla="*/ 4047387 h 6523037"/>
                <a:gd name="connsiteX1399" fmla="*/ 2353542 w 12192001"/>
                <a:gd name="connsiteY1399" fmla="*/ 4315775 h 6523037"/>
                <a:gd name="connsiteX1400" fmla="*/ 2616967 w 12192001"/>
                <a:gd name="connsiteY1400" fmla="*/ 4315775 h 6523037"/>
                <a:gd name="connsiteX1401" fmla="*/ 2392140 w 12192001"/>
                <a:gd name="connsiteY1401" fmla="*/ 4091531 h 6523037"/>
                <a:gd name="connsiteX1402" fmla="*/ 2391783 w 12192001"/>
                <a:gd name="connsiteY1402" fmla="*/ 4091531 h 6523037"/>
                <a:gd name="connsiteX1403" fmla="*/ 2347762 w 12192001"/>
                <a:gd name="connsiteY1403" fmla="*/ 4047510 h 6523037"/>
                <a:gd name="connsiteX1404" fmla="*/ 2347884 w 12192001"/>
                <a:gd name="connsiteY1404" fmla="*/ 4047389 h 6523037"/>
                <a:gd name="connsiteX1405" fmla="*/ 2347254 w 12192001"/>
                <a:gd name="connsiteY1405" fmla="*/ 4046760 h 6523037"/>
                <a:gd name="connsiteX1406" fmla="*/ 2347952 w 12192001"/>
                <a:gd name="connsiteY1406" fmla="*/ 4046061 h 6523037"/>
                <a:gd name="connsiteX1407" fmla="*/ 2346555 w 12192001"/>
                <a:gd name="connsiteY1407" fmla="*/ 4044664 h 6523037"/>
                <a:gd name="connsiteX1408" fmla="*/ 2521938 w 12192001"/>
                <a:gd name="connsiteY1408" fmla="*/ 3868581 h 6523037"/>
                <a:gd name="connsiteX1409" fmla="*/ 2526691 w 12192001"/>
                <a:gd name="connsiteY1409" fmla="*/ 3868581 h 6523037"/>
                <a:gd name="connsiteX1410" fmla="*/ 2532230 w 12192001"/>
                <a:gd name="connsiteY1410" fmla="*/ 3863043 h 6523037"/>
                <a:gd name="connsiteX1411" fmla="*/ 2618174 w 12192001"/>
                <a:gd name="connsiteY1411" fmla="*/ 3777098 h 6523037"/>
                <a:gd name="connsiteX1412" fmla="*/ 1804842 w 12192001"/>
                <a:gd name="connsiteY1412" fmla="*/ 3777098 h 6523037"/>
                <a:gd name="connsiteX1413" fmla="*/ 1535948 w 12192001"/>
                <a:gd name="connsiteY1413" fmla="*/ 4046688 h 6523037"/>
                <a:gd name="connsiteX1414" fmla="*/ 1805731 w 12192001"/>
                <a:gd name="connsiteY1414" fmla="*/ 4315775 h 6523037"/>
                <a:gd name="connsiteX1415" fmla="*/ 2069155 w 12192001"/>
                <a:gd name="connsiteY1415" fmla="*/ 4315775 h 6523037"/>
                <a:gd name="connsiteX1416" fmla="*/ 1939190 w 12192001"/>
                <a:gd name="connsiteY1416" fmla="*/ 4185809 h 6523037"/>
                <a:gd name="connsiteX1417" fmla="*/ 1844912 w 12192001"/>
                <a:gd name="connsiteY1417" fmla="*/ 4091531 h 6523037"/>
                <a:gd name="connsiteX1418" fmla="*/ 1841875 w 12192001"/>
                <a:gd name="connsiteY1418" fmla="*/ 4091531 h 6523037"/>
                <a:gd name="connsiteX1419" fmla="*/ 1798553 w 12192001"/>
                <a:gd name="connsiteY1419" fmla="*/ 4048209 h 6523037"/>
                <a:gd name="connsiteX1420" fmla="*/ 1800069 w 12192001"/>
                <a:gd name="connsiteY1420" fmla="*/ 4046689 h 6523037"/>
                <a:gd name="connsiteX1421" fmla="*/ 1798743 w 12192001"/>
                <a:gd name="connsiteY1421" fmla="*/ 4045363 h 6523037"/>
                <a:gd name="connsiteX1422" fmla="*/ 1974825 w 12192001"/>
                <a:gd name="connsiteY1422" fmla="*/ 3868581 h 6523037"/>
                <a:gd name="connsiteX1423" fmla="*/ 1977718 w 12192001"/>
                <a:gd name="connsiteY1423" fmla="*/ 3868581 h 6523037"/>
                <a:gd name="connsiteX1424" fmla="*/ 2068965 w 12192001"/>
                <a:gd name="connsiteY1424" fmla="*/ 3777098 h 6523037"/>
                <a:gd name="connsiteX1425" fmla="*/ 1257031 w 12192001"/>
                <a:gd name="connsiteY1425" fmla="*/ 3777098 h 6523037"/>
                <a:gd name="connsiteX1426" fmla="*/ 987788 w 12192001"/>
                <a:gd name="connsiteY1426" fmla="*/ 4047037 h 6523037"/>
                <a:gd name="connsiteX1427" fmla="*/ 1257220 w 12192001"/>
                <a:gd name="connsiteY1427" fmla="*/ 4315775 h 6523037"/>
                <a:gd name="connsiteX1428" fmla="*/ 1519946 w 12192001"/>
                <a:gd name="connsiteY1428" fmla="*/ 4315775 h 6523037"/>
                <a:gd name="connsiteX1429" fmla="*/ 1294422 w 12192001"/>
                <a:gd name="connsiteY1429" fmla="*/ 4090833 h 6523037"/>
                <a:gd name="connsiteX1430" fmla="*/ 1293365 w 12192001"/>
                <a:gd name="connsiteY1430" fmla="*/ 4090833 h 6523037"/>
                <a:gd name="connsiteX1431" fmla="*/ 1250742 w 12192001"/>
                <a:gd name="connsiteY1431" fmla="*/ 4048209 h 6523037"/>
                <a:gd name="connsiteX1432" fmla="*/ 1251213 w 12192001"/>
                <a:gd name="connsiteY1432" fmla="*/ 4047737 h 6523037"/>
                <a:gd name="connsiteX1433" fmla="*/ 1249534 w 12192001"/>
                <a:gd name="connsiteY1433" fmla="*/ 4046061 h 6523037"/>
                <a:gd name="connsiteX1434" fmla="*/ 1250932 w 12192001"/>
                <a:gd name="connsiteY1434" fmla="*/ 4044664 h 6523037"/>
                <a:gd name="connsiteX1435" fmla="*/ 1426315 w 12192001"/>
                <a:gd name="connsiteY1435" fmla="*/ 3868581 h 6523037"/>
                <a:gd name="connsiteX1436" fmla="*/ 1429907 w 12192001"/>
                <a:gd name="connsiteY1436" fmla="*/ 3868581 h 6523037"/>
                <a:gd name="connsiteX1437" fmla="*/ 1521154 w 12192001"/>
                <a:gd name="connsiteY1437" fmla="*/ 3777098 h 6523037"/>
                <a:gd name="connsiteX1438" fmla="*/ 709219 w 12192001"/>
                <a:gd name="connsiteY1438" fmla="*/ 3777098 h 6523037"/>
                <a:gd name="connsiteX1439" fmla="*/ 438807 w 12192001"/>
                <a:gd name="connsiteY1439" fmla="*/ 4048209 h 6523037"/>
                <a:gd name="connsiteX1440" fmla="*/ 480732 w 12192001"/>
                <a:gd name="connsiteY1440" fmla="*/ 4090134 h 6523037"/>
                <a:gd name="connsiteX1441" fmla="*/ 480499 w 12192001"/>
                <a:gd name="connsiteY1441" fmla="*/ 4090134 h 6523037"/>
                <a:gd name="connsiteX1442" fmla="*/ 708011 w 12192001"/>
                <a:gd name="connsiteY1442" fmla="*/ 4316473 h 6523037"/>
                <a:gd name="connsiteX1443" fmla="*/ 972135 w 12192001"/>
                <a:gd name="connsiteY1443" fmla="*/ 4316473 h 6523037"/>
                <a:gd name="connsiteX1444" fmla="*/ 745211 w 12192001"/>
                <a:gd name="connsiteY1444" fmla="*/ 4090134 h 6523037"/>
                <a:gd name="connsiteX1445" fmla="*/ 744855 w 12192001"/>
                <a:gd name="connsiteY1445" fmla="*/ 4090134 h 6523037"/>
                <a:gd name="connsiteX1446" fmla="*/ 702930 w 12192001"/>
                <a:gd name="connsiteY1446" fmla="*/ 4048209 h 6523037"/>
                <a:gd name="connsiteX1447" fmla="*/ 703053 w 12192001"/>
                <a:gd name="connsiteY1447" fmla="*/ 4048086 h 6523037"/>
                <a:gd name="connsiteX1448" fmla="*/ 701024 w 12192001"/>
                <a:gd name="connsiteY1448" fmla="*/ 4046061 h 6523037"/>
                <a:gd name="connsiteX1449" fmla="*/ 878504 w 12192001"/>
                <a:gd name="connsiteY1449" fmla="*/ 3868581 h 6523037"/>
                <a:gd name="connsiteX1450" fmla="*/ 882095 w 12192001"/>
                <a:gd name="connsiteY1450" fmla="*/ 3868581 h 6523037"/>
                <a:gd name="connsiteX1451" fmla="*/ 973342 w 12192001"/>
                <a:gd name="connsiteY1451" fmla="*/ 3777098 h 6523037"/>
                <a:gd name="connsiteX1452" fmla="*/ 3451072 w 12192001"/>
                <a:gd name="connsiteY1452" fmla="*/ 3775003 h 6523037"/>
                <a:gd name="connsiteX1453" fmla="*/ 3181135 w 12192001"/>
                <a:gd name="connsiteY1453" fmla="*/ 4045639 h 6523037"/>
                <a:gd name="connsiteX1454" fmla="*/ 3312910 w 12192001"/>
                <a:gd name="connsiteY1454" fmla="*/ 4176725 h 6523037"/>
                <a:gd name="connsiteX1455" fmla="*/ 3312910 w 12192001"/>
                <a:gd name="connsiteY1455" fmla="*/ 4177424 h 6523037"/>
                <a:gd name="connsiteX1456" fmla="*/ 3450563 w 12192001"/>
                <a:gd name="connsiteY1456" fmla="*/ 4314377 h 6523037"/>
                <a:gd name="connsiteX1457" fmla="*/ 3714686 w 12192001"/>
                <a:gd name="connsiteY1457" fmla="*/ 4314377 h 6523037"/>
                <a:gd name="connsiteX1458" fmla="*/ 3490444 w 12192001"/>
                <a:gd name="connsiteY1458" fmla="*/ 4090134 h 6523037"/>
                <a:gd name="connsiteX1459" fmla="*/ 3489503 w 12192001"/>
                <a:gd name="connsiteY1459" fmla="*/ 4090134 h 6523037"/>
                <a:gd name="connsiteX1460" fmla="*/ 3444084 w 12192001"/>
                <a:gd name="connsiteY1460" fmla="*/ 4044716 h 6523037"/>
                <a:gd name="connsiteX1461" fmla="*/ 3444556 w 12192001"/>
                <a:gd name="connsiteY1461" fmla="*/ 4044247 h 6523037"/>
                <a:gd name="connsiteX1462" fmla="*/ 3444274 w 12192001"/>
                <a:gd name="connsiteY1462" fmla="*/ 4043965 h 6523037"/>
                <a:gd name="connsiteX1463" fmla="*/ 3618959 w 12192001"/>
                <a:gd name="connsiteY1463" fmla="*/ 3868581 h 6523037"/>
                <a:gd name="connsiteX1464" fmla="*/ 3621132 w 12192001"/>
                <a:gd name="connsiteY1464" fmla="*/ 3868581 h 6523037"/>
                <a:gd name="connsiteX1465" fmla="*/ 3715195 w 12192001"/>
                <a:gd name="connsiteY1465" fmla="*/ 3775003 h 6523037"/>
                <a:gd name="connsiteX1466" fmla="*/ 3999582 w 12192001"/>
                <a:gd name="connsiteY1466" fmla="*/ 3774304 h 6523037"/>
                <a:gd name="connsiteX1467" fmla="*/ 3729642 w 12192001"/>
                <a:gd name="connsiteY1467" fmla="*/ 4044941 h 6523037"/>
                <a:gd name="connsiteX1468" fmla="*/ 3999073 w 12192001"/>
                <a:gd name="connsiteY1468" fmla="*/ 4313678 h 6523037"/>
                <a:gd name="connsiteX1469" fmla="*/ 4263197 w 12192001"/>
                <a:gd name="connsiteY1469" fmla="*/ 4313678 h 6523037"/>
                <a:gd name="connsiteX1470" fmla="*/ 4039076 w 12192001"/>
                <a:gd name="connsiteY1470" fmla="*/ 4090134 h 6523037"/>
                <a:gd name="connsiteX1471" fmla="*/ 4038711 w 12192001"/>
                <a:gd name="connsiteY1471" fmla="*/ 4090134 h 6523037"/>
                <a:gd name="connsiteX1472" fmla="*/ 3992595 w 12192001"/>
                <a:gd name="connsiteY1472" fmla="*/ 4044017 h 6523037"/>
                <a:gd name="connsiteX1473" fmla="*/ 3992717 w 12192001"/>
                <a:gd name="connsiteY1473" fmla="*/ 4043895 h 6523037"/>
                <a:gd name="connsiteX1474" fmla="*/ 3992086 w 12192001"/>
                <a:gd name="connsiteY1474" fmla="*/ 4043266 h 6523037"/>
                <a:gd name="connsiteX1475" fmla="*/ 4166770 w 12192001"/>
                <a:gd name="connsiteY1475" fmla="*/ 3868581 h 6523037"/>
                <a:gd name="connsiteX1476" fmla="*/ 4168939 w 12192001"/>
                <a:gd name="connsiteY1476" fmla="*/ 3868581 h 6523037"/>
                <a:gd name="connsiteX1477" fmla="*/ 4263707 w 12192001"/>
                <a:gd name="connsiteY1477" fmla="*/ 3774304 h 6523037"/>
                <a:gd name="connsiteX1478" fmla="*/ 4547394 w 12192001"/>
                <a:gd name="connsiteY1478" fmla="*/ 3773605 h 6523037"/>
                <a:gd name="connsiteX1479" fmla="*/ 4277804 w 12192001"/>
                <a:gd name="connsiteY1479" fmla="*/ 4043891 h 6523037"/>
                <a:gd name="connsiteX1480" fmla="*/ 4410631 w 12192001"/>
                <a:gd name="connsiteY1480" fmla="*/ 4176026 h 6523037"/>
                <a:gd name="connsiteX1481" fmla="*/ 4547585 w 12192001"/>
                <a:gd name="connsiteY1481" fmla="*/ 4312979 h 6523037"/>
                <a:gd name="connsiteX1482" fmla="*/ 4809681 w 12192001"/>
                <a:gd name="connsiteY1482" fmla="*/ 4312979 h 6523037"/>
                <a:gd name="connsiteX1483" fmla="*/ 4665187 w 12192001"/>
                <a:gd name="connsiteY1483" fmla="*/ 4169168 h 6523037"/>
                <a:gd name="connsiteX1484" fmla="*/ 4665187 w 12192001"/>
                <a:gd name="connsiteY1484" fmla="*/ 4166459 h 6523037"/>
                <a:gd name="connsiteX1485" fmla="*/ 4588162 w 12192001"/>
                <a:gd name="connsiteY1485" fmla="*/ 4089435 h 6523037"/>
                <a:gd name="connsiteX1486" fmla="*/ 4587920 w 12192001"/>
                <a:gd name="connsiteY1486" fmla="*/ 4089435 h 6523037"/>
                <a:gd name="connsiteX1487" fmla="*/ 4541105 w 12192001"/>
                <a:gd name="connsiteY1487" fmla="*/ 4043318 h 6523037"/>
                <a:gd name="connsiteX1488" fmla="*/ 4541576 w 12192001"/>
                <a:gd name="connsiteY1488" fmla="*/ 4042849 h 6523037"/>
                <a:gd name="connsiteX1489" fmla="*/ 4541295 w 12192001"/>
                <a:gd name="connsiteY1489" fmla="*/ 4042567 h 6523037"/>
                <a:gd name="connsiteX1490" fmla="*/ 4542692 w 12192001"/>
                <a:gd name="connsiteY1490" fmla="*/ 4041170 h 6523037"/>
                <a:gd name="connsiteX1491" fmla="*/ 4660106 w 12192001"/>
                <a:gd name="connsiteY1491" fmla="*/ 3923279 h 6523037"/>
                <a:gd name="connsiteX1492" fmla="*/ 4660106 w 12192001"/>
                <a:gd name="connsiteY1492" fmla="*/ 3920469 h 6523037"/>
                <a:gd name="connsiteX1493" fmla="*/ 4806969 w 12192001"/>
                <a:gd name="connsiteY1493" fmla="*/ 3773605 h 6523037"/>
                <a:gd name="connsiteX1494" fmla="*/ 7014157 w 12192001"/>
                <a:gd name="connsiteY1494" fmla="*/ 3772336 h 6523037"/>
                <a:gd name="connsiteX1495" fmla="*/ 6744567 w 12192001"/>
                <a:gd name="connsiteY1495" fmla="*/ 4042625 h 6523037"/>
                <a:gd name="connsiteX1496" fmla="*/ 7013649 w 12192001"/>
                <a:gd name="connsiteY1496" fmla="*/ 4311013 h 6523037"/>
                <a:gd name="connsiteX1497" fmla="*/ 7277073 w 12192001"/>
                <a:gd name="connsiteY1497" fmla="*/ 4311013 h 6523037"/>
                <a:gd name="connsiteX1498" fmla="*/ 7052246 w 12192001"/>
                <a:gd name="connsiteY1498" fmla="*/ 4086769 h 6523037"/>
                <a:gd name="connsiteX1499" fmla="*/ 7051889 w 12192001"/>
                <a:gd name="connsiteY1499" fmla="*/ 4086769 h 6523037"/>
                <a:gd name="connsiteX1500" fmla="*/ 7007868 w 12192001"/>
                <a:gd name="connsiteY1500" fmla="*/ 4042748 h 6523037"/>
                <a:gd name="connsiteX1501" fmla="*/ 7007990 w 12192001"/>
                <a:gd name="connsiteY1501" fmla="*/ 4042627 h 6523037"/>
                <a:gd name="connsiteX1502" fmla="*/ 7007360 w 12192001"/>
                <a:gd name="connsiteY1502" fmla="*/ 4041998 h 6523037"/>
                <a:gd name="connsiteX1503" fmla="*/ 7008058 w 12192001"/>
                <a:gd name="connsiteY1503" fmla="*/ 4041299 h 6523037"/>
                <a:gd name="connsiteX1504" fmla="*/ 7006662 w 12192001"/>
                <a:gd name="connsiteY1504" fmla="*/ 4039902 h 6523037"/>
                <a:gd name="connsiteX1505" fmla="*/ 7182045 w 12192001"/>
                <a:gd name="connsiteY1505" fmla="*/ 3863819 h 6523037"/>
                <a:gd name="connsiteX1506" fmla="*/ 7186797 w 12192001"/>
                <a:gd name="connsiteY1506" fmla="*/ 3863819 h 6523037"/>
                <a:gd name="connsiteX1507" fmla="*/ 7192337 w 12192001"/>
                <a:gd name="connsiteY1507" fmla="*/ 3858281 h 6523037"/>
                <a:gd name="connsiteX1508" fmla="*/ 7278280 w 12192001"/>
                <a:gd name="connsiteY1508" fmla="*/ 3772336 h 6523037"/>
                <a:gd name="connsiteX1509" fmla="*/ 6464948 w 12192001"/>
                <a:gd name="connsiteY1509" fmla="*/ 3772336 h 6523037"/>
                <a:gd name="connsiteX1510" fmla="*/ 6196054 w 12192001"/>
                <a:gd name="connsiteY1510" fmla="*/ 4041926 h 6523037"/>
                <a:gd name="connsiteX1511" fmla="*/ 6465837 w 12192001"/>
                <a:gd name="connsiteY1511" fmla="*/ 4311013 h 6523037"/>
                <a:gd name="connsiteX1512" fmla="*/ 6729262 w 12192001"/>
                <a:gd name="connsiteY1512" fmla="*/ 4311013 h 6523037"/>
                <a:gd name="connsiteX1513" fmla="*/ 6599296 w 12192001"/>
                <a:gd name="connsiteY1513" fmla="*/ 4181047 h 6523037"/>
                <a:gd name="connsiteX1514" fmla="*/ 6505018 w 12192001"/>
                <a:gd name="connsiteY1514" fmla="*/ 4086769 h 6523037"/>
                <a:gd name="connsiteX1515" fmla="*/ 6501982 w 12192001"/>
                <a:gd name="connsiteY1515" fmla="*/ 4086769 h 6523037"/>
                <a:gd name="connsiteX1516" fmla="*/ 6458659 w 12192001"/>
                <a:gd name="connsiteY1516" fmla="*/ 4043447 h 6523037"/>
                <a:gd name="connsiteX1517" fmla="*/ 6460176 w 12192001"/>
                <a:gd name="connsiteY1517" fmla="*/ 4041927 h 6523037"/>
                <a:gd name="connsiteX1518" fmla="*/ 6458849 w 12192001"/>
                <a:gd name="connsiteY1518" fmla="*/ 4040601 h 6523037"/>
                <a:gd name="connsiteX1519" fmla="*/ 6634931 w 12192001"/>
                <a:gd name="connsiteY1519" fmla="*/ 3863819 h 6523037"/>
                <a:gd name="connsiteX1520" fmla="*/ 6637824 w 12192001"/>
                <a:gd name="connsiteY1520" fmla="*/ 3863819 h 6523037"/>
                <a:gd name="connsiteX1521" fmla="*/ 6729071 w 12192001"/>
                <a:gd name="connsiteY1521" fmla="*/ 3772336 h 6523037"/>
                <a:gd name="connsiteX1522" fmla="*/ 5917138 w 12192001"/>
                <a:gd name="connsiteY1522" fmla="*/ 3772336 h 6523037"/>
                <a:gd name="connsiteX1523" fmla="*/ 5647895 w 12192001"/>
                <a:gd name="connsiteY1523" fmla="*/ 4042275 h 6523037"/>
                <a:gd name="connsiteX1524" fmla="*/ 5917326 w 12192001"/>
                <a:gd name="connsiteY1524" fmla="*/ 4311013 h 6523037"/>
                <a:gd name="connsiteX1525" fmla="*/ 6180052 w 12192001"/>
                <a:gd name="connsiteY1525" fmla="*/ 4311013 h 6523037"/>
                <a:gd name="connsiteX1526" fmla="*/ 5954528 w 12192001"/>
                <a:gd name="connsiteY1526" fmla="*/ 4086071 h 6523037"/>
                <a:gd name="connsiteX1527" fmla="*/ 5953471 w 12192001"/>
                <a:gd name="connsiteY1527" fmla="*/ 4086071 h 6523037"/>
                <a:gd name="connsiteX1528" fmla="*/ 5910849 w 12192001"/>
                <a:gd name="connsiteY1528" fmla="*/ 4043447 h 6523037"/>
                <a:gd name="connsiteX1529" fmla="*/ 5911320 w 12192001"/>
                <a:gd name="connsiteY1529" fmla="*/ 4042975 h 6523037"/>
                <a:gd name="connsiteX1530" fmla="*/ 5909641 w 12192001"/>
                <a:gd name="connsiteY1530" fmla="*/ 4041299 h 6523037"/>
                <a:gd name="connsiteX1531" fmla="*/ 5911038 w 12192001"/>
                <a:gd name="connsiteY1531" fmla="*/ 4039902 h 6523037"/>
                <a:gd name="connsiteX1532" fmla="*/ 6086421 w 12192001"/>
                <a:gd name="connsiteY1532" fmla="*/ 3863819 h 6523037"/>
                <a:gd name="connsiteX1533" fmla="*/ 6090013 w 12192001"/>
                <a:gd name="connsiteY1533" fmla="*/ 3863819 h 6523037"/>
                <a:gd name="connsiteX1534" fmla="*/ 6181261 w 12192001"/>
                <a:gd name="connsiteY1534" fmla="*/ 3772336 h 6523037"/>
                <a:gd name="connsiteX1535" fmla="*/ 5369326 w 12192001"/>
                <a:gd name="connsiteY1535" fmla="*/ 3772336 h 6523037"/>
                <a:gd name="connsiteX1536" fmla="*/ 5098913 w 12192001"/>
                <a:gd name="connsiteY1536" fmla="*/ 4043447 h 6523037"/>
                <a:gd name="connsiteX1537" fmla="*/ 5140838 w 12192001"/>
                <a:gd name="connsiteY1537" fmla="*/ 4085372 h 6523037"/>
                <a:gd name="connsiteX1538" fmla="*/ 5140605 w 12192001"/>
                <a:gd name="connsiteY1538" fmla="*/ 4085372 h 6523037"/>
                <a:gd name="connsiteX1539" fmla="*/ 5368118 w 12192001"/>
                <a:gd name="connsiteY1539" fmla="*/ 4311711 h 6523037"/>
                <a:gd name="connsiteX1540" fmla="*/ 5632241 w 12192001"/>
                <a:gd name="connsiteY1540" fmla="*/ 4311711 h 6523037"/>
                <a:gd name="connsiteX1541" fmla="*/ 5405317 w 12192001"/>
                <a:gd name="connsiteY1541" fmla="*/ 4085372 h 6523037"/>
                <a:gd name="connsiteX1542" fmla="*/ 5404961 w 12192001"/>
                <a:gd name="connsiteY1542" fmla="*/ 4085372 h 6523037"/>
                <a:gd name="connsiteX1543" fmla="*/ 5363036 w 12192001"/>
                <a:gd name="connsiteY1543" fmla="*/ 4043447 h 6523037"/>
                <a:gd name="connsiteX1544" fmla="*/ 5363159 w 12192001"/>
                <a:gd name="connsiteY1544" fmla="*/ 4043324 h 6523037"/>
                <a:gd name="connsiteX1545" fmla="*/ 5361131 w 12192001"/>
                <a:gd name="connsiteY1545" fmla="*/ 4041299 h 6523037"/>
                <a:gd name="connsiteX1546" fmla="*/ 5538610 w 12192001"/>
                <a:gd name="connsiteY1546" fmla="*/ 3863819 h 6523037"/>
                <a:gd name="connsiteX1547" fmla="*/ 5542201 w 12192001"/>
                <a:gd name="connsiteY1547" fmla="*/ 3863819 h 6523037"/>
                <a:gd name="connsiteX1548" fmla="*/ 5633449 w 12192001"/>
                <a:gd name="connsiteY1548" fmla="*/ 3772336 h 6523037"/>
                <a:gd name="connsiteX1549" fmla="*/ 4821872 w 12192001"/>
                <a:gd name="connsiteY1549" fmla="*/ 3771639 h 6523037"/>
                <a:gd name="connsiteX1550" fmla="*/ 4555828 w 12192001"/>
                <a:gd name="connsiteY1550" fmla="*/ 4038375 h 6523037"/>
                <a:gd name="connsiteX1551" fmla="*/ 4816942 w 12192001"/>
                <a:gd name="connsiteY1551" fmla="*/ 4038375 h 6523037"/>
                <a:gd name="connsiteX1552" fmla="*/ 4991497 w 12192001"/>
                <a:gd name="connsiteY1552" fmla="*/ 3863819 h 6523037"/>
                <a:gd name="connsiteX1553" fmla="*/ 4991595 w 12192001"/>
                <a:gd name="connsiteY1553" fmla="*/ 3863819 h 6523037"/>
                <a:gd name="connsiteX1554" fmla="*/ 5082144 w 12192001"/>
                <a:gd name="connsiteY1554" fmla="*/ 3773035 h 6523037"/>
                <a:gd name="connsiteX1555" fmla="*/ 4885799 w 12192001"/>
                <a:gd name="connsiteY1555" fmla="*/ 3773035 h 6523037"/>
                <a:gd name="connsiteX1556" fmla="*/ 4886497 w 12192001"/>
                <a:gd name="connsiteY1556" fmla="*/ 3771639 h 6523037"/>
                <a:gd name="connsiteX1557" fmla="*/ 8111178 w 12192001"/>
                <a:gd name="connsiteY1557" fmla="*/ 3770241 h 6523037"/>
                <a:gd name="connsiteX1558" fmla="*/ 7841241 w 12192001"/>
                <a:gd name="connsiteY1558" fmla="*/ 4040877 h 6523037"/>
                <a:gd name="connsiteX1559" fmla="*/ 7973016 w 12192001"/>
                <a:gd name="connsiteY1559" fmla="*/ 4171963 h 6523037"/>
                <a:gd name="connsiteX1560" fmla="*/ 7973016 w 12192001"/>
                <a:gd name="connsiteY1560" fmla="*/ 4172662 h 6523037"/>
                <a:gd name="connsiteX1561" fmla="*/ 8110669 w 12192001"/>
                <a:gd name="connsiteY1561" fmla="*/ 4309615 h 6523037"/>
                <a:gd name="connsiteX1562" fmla="*/ 8374792 w 12192001"/>
                <a:gd name="connsiteY1562" fmla="*/ 4309615 h 6523037"/>
                <a:gd name="connsiteX1563" fmla="*/ 8150550 w 12192001"/>
                <a:gd name="connsiteY1563" fmla="*/ 4085372 h 6523037"/>
                <a:gd name="connsiteX1564" fmla="*/ 8149609 w 12192001"/>
                <a:gd name="connsiteY1564" fmla="*/ 4085372 h 6523037"/>
                <a:gd name="connsiteX1565" fmla="*/ 8104190 w 12192001"/>
                <a:gd name="connsiteY1565" fmla="*/ 4039954 h 6523037"/>
                <a:gd name="connsiteX1566" fmla="*/ 8104662 w 12192001"/>
                <a:gd name="connsiteY1566" fmla="*/ 4039485 h 6523037"/>
                <a:gd name="connsiteX1567" fmla="*/ 8104380 w 12192001"/>
                <a:gd name="connsiteY1567" fmla="*/ 4039203 h 6523037"/>
                <a:gd name="connsiteX1568" fmla="*/ 8279065 w 12192001"/>
                <a:gd name="connsiteY1568" fmla="*/ 3863819 h 6523037"/>
                <a:gd name="connsiteX1569" fmla="*/ 8281238 w 12192001"/>
                <a:gd name="connsiteY1569" fmla="*/ 3863819 h 6523037"/>
                <a:gd name="connsiteX1570" fmla="*/ 8375301 w 12192001"/>
                <a:gd name="connsiteY1570" fmla="*/ 3770241 h 6523037"/>
                <a:gd name="connsiteX1571" fmla="*/ 8659688 w 12192001"/>
                <a:gd name="connsiteY1571" fmla="*/ 3769542 h 6523037"/>
                <a:gd name="connsiteX1572" fmla="*/ 8389748 w 12192001"/>
                <a:gd name="connsiteY1572" fmla="*/ 4040179 h 6523037"/>
                <a:gd name="connsiteX1573" fmla="*/ 8659179 w 12192001"/>
                <a:gd name="connsiteY1573" fmla="*/ 4308916 h 6523037"/>
                <a:gd name="connsiteX1574" fmla="*/ 8923303 w 12192001"/>
                <a:gd name="connsiteY1574" fmla="*/ 4308916 h 6523037"/>
                <a:gd name="connsiteX1575" fmla="*/ 8699182 w 12192001"/>
                <a:gd name="connsiteY1575" fmla="*/ 4085372 h 6523037"/>
                <a:gd name="connsiteX1576" fmla="*/ 8698817 w 12192001"/>
                <a:gd name="connsiteY1576" fmla="*/ 4085372 h 6523037"/>
                <a:gd name="connsiteX1577" fmla="*/ 8652701 w 12192001"/>
                <a:gd name="connsiteY1577" fmla="*/ 4039255 h 6523037"/>
                <a:gd name="connsiteX1578" fmla="*/ 8652823 w 12192001"/>
                <a:gd name="connsiteY1578" fmla="*/ 4039133 h 6523037"/>
                <a:gd name="connsiteX1579" fmla="*/ 8652192 w 12192001"/>
                <a:gd name="connsiteY1579" fmla="*/ 4038504 h 6523037"/>
                <a:gd name="connsiteX1580" fmla="*/ 8826876 w 12192001"/>
                <a:gd name="connsiteY1580" fmla="*/ 3863819 h 6523037"/>
                <a:gd name="connsiteX1581" fmla="*/ 8829045 w 12192001"/>
                <a:gd name="connsiteY1581" fmla="*/ 3863819 h 6523037"/>
                <a:gd name="connsiteX1582" fmla="*/ 8923812 w 12192001"/>
                <a:gd name="connsiteY1582" fmla="*/ 3769542 h 6523037"/>
                <a:gd name="connsiteX1583" fmla="*/ 11674574 w 12192001"/>
                <a:gd name="connsiteY1583" fmla="*/ 3769161 h 6523037"/>
                <a:gd name="connsiteX1584" fmla="*/ 11404984 w 12192001"/>
                <a:gd name="connsiteY1584" fmla="*/ 4039450 h 6523037"/>
                <a:gd name="connsiteX1585" fmla="*/ 11674065 w 12192001"/>
                <a:gd name="connsiteY1585" fmla="*/ 4307838 h 6523037"/>
                <a:gd name="connsiteX1586" fmla="*/ 11937490 w 12192001"/>
                <a:gd name="connsiteY1586" fmla="*/ 4307838 h 6523037"/>
                <a:gd name="connsiteX1587" fmla="*/ 11712663 w 12192001"/>
                <a:gd name="connsiteY1587" fmla="*/ 4083594 h 6523037"/>
                <a:gd name="connsiteX1588" fmla="*/ 11712306 w 12192001"/>
                <a:gd name="connsiteY1588" fmla="*/ 4083594 h 6523037"/>
                <a:gd name="connsiteX1589" fmla="*/ 11668285 w 12192001"/>
                <a:gd name="connsiteY1589" fmla="*/ 4039573 h 6523037"/>
                <a:gd name="connsiteX1590" fmla="*/ 11668407 w 12192001"/>
                <a:gd name="connsiteY1590" fmla="*/ 4039452 h 6523037"/>
                <a:gd name="connsiteX1591" fmla="*/ 11667777 w 12192001"/>
                <a:gd name="connsiteY1591" fmla="*/ 4038823 h 6523037"/>
                <a:gd name="connsiteX1592" fmla="*/ 11668475 w 12192001"/>
                <a:gd name="connsiteY1592" fmla="*/ 4038124 h 6523037"/>
                <a:gd name="connsiteX1593" fmla="*/ 11667078 w 12192001"/>
                <a:gd name="connsiteY1593" fmla="*/ 4036727 h 6523037"/>
                <a:gd name="connsiteX1594" fmla="*/ 11842461 w 12192001"/>
                <a:gd name="connsiteY1594" fmla="*/ 3860644 h 6523037"/>
                <a:gd name="connsiteX1595" fmla="*/ 11847214 w 12192001"/>
                <a:gd name="connsiteY1595" fmla="*/ 3860644 h 6523037"/>
                <a:gd name="connsiteX1596" fmla="*/ 11852753 w 12192001"/>
                <a:gd name="connsiteY1596" fmla="*/ 3855106 h 6523037"/>
                <a:gd name="connsiteX1597" fmla="*/ 11938697 w 12192001"/>
                <a:gd name="connsiteY1597" fmla="*/ 3769161 h 6523037"/>
                <a:gd name="connsiteX1598" fmla="*/ 11125365 w 12192001"/>
                <a:gd name="connsiteY1598" fmla="*/ 3769161 h 6523037"/>
                <a:gd name="connsiteX1599" fmla="*/ 10856471 w 12192001"/>
                <a:gd name="connsiteY1599" fmla="*/ 4038751 h 6523037"/>
                <a:gd name="connsiteX1600" fmla="*/ 11126254 w 12192001"/>
                <a:gd name="connsiteY1600" fmla="*/ 4307838 h 6523037"/>
                <a:gd name="connsiteX1601" fmla="*/ 11389678 w 12192001"/>
                <a:gd name="connsiteY1601" fmla="*/ 4307838 h 6523037"/>
                <a:gd name="connsiteX1602" fmla="*/ 11259713 w 12192001"/>
                <a:gd name="connsiteY1602" fmla="*/ 4177872 h 6523037"/>
                <a:gd name="connsiteX1603" fmla="*/ 11165435 w 12192001"/>
                <a:gd name="connsiteY1603" fmla="*/ 4083594 h 6523037"/>
                <a:gd name="connsiteX1604" fmla="*/ 11162398 w 12192001"/>
                <a:gd name="connsiteY1604" fmla="*/ 4083594 h 6523037"/>
                <a:gd name="connsiteX1605" fmla="*/ 11119076 w 12192001"/>
                <a:gd name="connsiteY1605" fmla="*/ 4040272 h 6523037"/>
                <a:gd name="connsiteX1606" fmla="*/ 11120592 w 12192001"/>
                <a:gd name="connsiteY1606" fmla="*/ 4038752 h 6523037"/>
                <a:gd name="connsiteX1607" fmla="*/ 11119266 w 12192001"/>
                <a:gd name="connsiteY1607" fmla="*/ 4037426 h 6523037"/>
                <a:gd name="connsiteX1608" fmla="*/ 11295348 w 12192001"/>
                <a:gd name="connsiteY1608" fmla="*/ 3860644 h 6523037"/>
                <a:gd name="connsiteX1609" fmla="*/ 11298241 w 12192001"/>
                <a:gd name="connsiteY1609" fmla="*/ 3860644 h 6523037"/>
                <a:gd name="connsiteX1610" fmla="*/ 11389488 w 12192001"/>
                <a:gd name="connsiteY1610" fmla="*/ 3769161 h 6523037"/>
                <a:gd name="connsiteX1611" fmla="*/ 10577554 w 12192001"/>
                <a:gd name="connsiteY1611" fmla="*/ 3769161 h 6523037"/>
                <a:gd name="connsiteX1612" fmla="*/ 10308311 w 12192001"/>
                <a:gd name="connsiteY1612" fmla="*/ 4039100 h 6523037"/>
                <a:gd name="connsiteX1613" fmla="*/ 10577743 w 12192001"/>
                <a:gd name="connsiteY1613" fmla="*/ 4307838 h 6523037"/>
                <a:gd name="connsiteX1614" fmla="*/ 10840469 w 12192001"/>
                <a:gd name="connsiteY1614" fmla="*/ 4307838 h 6523037"/>
                <a:gd name="connsiteX1615" fmla="*/ 10614945 w 12192001"/>
                <a:gd name="connsiteY1615" fmla="*/ 4082896 h 6523037"/>
                <a:gd name="connsiteX1616" fmla="*/ 10613888 w 12192001"/>
                <a:gd name="connsiteY1616" fmla="*/ 4082896 h 6523037"/>
                <a:gd name="connsiteX1617" fmla="*/ 10571265 w 12192001"/>
                <a:gd name="connsiteY1617" fmla="*/ 4040272 h 6523037"/>
                <a:gd name="connsiteX1618" fmla="*/ 10571736 w 12192001"/>
                <a:gd name="connsiteY1618" fmla="*/ 4039800 h 6523037"/>
                <a:gd name="connsiteX1619" fmla="*/ 10570057 w 12192001"/>
                <a:gd name="connsiteY1619" fmla="*/ 4038124 h 6523037"/>
                <a:gd name="connsiteX1620" fmla="*/ 10571455 w 12192001"/>
                <a:gd name="connsiteY1620" fmla="*/ 4036727 h 6523037"/>
                <a:gd name="connsiteX1621" fmla="*/ 10746838 w 12192001"/>
                <a:gd name="connsiteY1621" fmla="*/ 3860644 h 6523037"/>
                <a:gd name="connsiteX1622" fmla="*/ 10750430 w 12192001"/>
                <a:gd name="connsiteY1622" fmla="*/ 3860644 h 6523037"/>
                <a:gd name="connsiteX1623" fmla="*/ 10841677 w 12192001"/>
                <a:gd name="connsiteY1623" fmla="*/ 3769161 h 6523037"/>
                <a:gd name="connsiteX1624" fmla="*/ 10029742 w 12192001"/>
                <a:gd name="connsiteY1624" fmla="*/ 3769161 h 6523037"/>
                <a:gd name="connsiteX1625" fmla="*/ 9759330 w 12192001"/>
                <a:gd name="connsiteY1625" fmla="*/ 4040272 h 6523037"/>
                <a:gd name="connsiteX1626" fmla="*/ 9801255 w 12192001"/>
                <a:gd name="connsiteY1626" fmla="*/ 4082197 h 6523037"/>
                <a:gd name="connsiteX1627" fmla="*/ 9801022 w 12192001"/>
                <a:gd name="connsiteY1627" fmla="*/ 4082197 h 6523037"/>
                <a:gd name="connsiteX1628" fmla="*/ 10028534 w 12192001"/>
                <a:gd name="connsiteY1628" fmla="*/ 4308536 h 6523037"/>
                <a:gd name="connsiteX1629" fmla="*/ 10292658 w 12192001"/>
                <a:gd name="connsiteY1629" fmla="*/ 4308536 h 6523037"/>
                <a:gd name="connsiteX1630" fmla="*/ 10065734 w 12192001"/>
                <a:gd name="connsiteY1630" fmla="*/ 4082197 h 6523037"/>
                <a:gd name="connsiteX1631" fmla="*/ 10065378 w 12192001"/>
                <a:gd name="connsiteY1631" fmla="*/ 4082197 h 6523037"/>
                <a:gd name="connsiteX1632" fmla="*/ 10023453 w 12192001"/>
                <a:gd name="connsiteY1632" fmla="*/ 4040272 h 6523037"/>
                <a:gd name="connsiteX1633" fmla="*/ 10023576 w 12192001"/>
                <a:gd name="connsiteY1633" fmla="*/ 4040149 h 6523037"/>
                <a:gd name="connsiteX1634" fmla="*/ 10021547 w 12192001"/>
                <a:gd name="connsiteY1634" fmla="*/ 4038124 h 6523037"/>
                <a:gd name="connsiteX1635" fmla="*/ 10199027 w 12192001"/>
                <a:gd name="connsiteY1635" fmla="*/ 3860644 h 6523037"/>
                <a:gd name="connsiteX1636" fmla="*/ 10202618 w 12192001"/>
                <a:gd name="connsiteY1636" fmla="*/ 3860644 h 6523037"/>
                <a:gd name="connsiteX1637" fmla="*/ 10293865 w 12192001"/>
                <a:gd name="connsiteY1637" fmla="*/ 3769161 h 6523037"/>
                <a:gd name="connsiteX1638" fmla="*/ 9207500 w 12192001"/>
                <a:gd name="connsiteY1638" fmla="*/ 3768843 h 6523037"/>
                <a:gd name="connsiteX1639" fmla="*/ 8937910 w 12192001"/>
                <a:gd name="connsiteY1639" fmla="*/ 4039129 h 6523037"/>
                <a:gd name="connsiteX1640" fmla="*/ 9070736 w 12192001"/>
                <a:gd name="connsiteY1640" fmla="*/ 4171264 h 6523037"/>
                <a:gd name="connsiteX1641" fmla="*/ 9207690 w 12192001"/>
                <a:gd name="connsiteY1641" fmla="*/ 4308217 h 6523037"/>
                <a:gd name="connsiteX1642" fmla="*/ 9468504 w 12192001"/>
                <a:gd name="connsiteY1642" fmla="*/ 4308217 h 6523037"/>
                <a:gd name="connsiteX1643" fmla="*/ 9325603 w 12192001"/>
                <a:gd name="connsiteY1643" fmla="*/ 4165993 h 6523037"/>
                <a:gd name="connsiteX1644" fmla="*/ 9325603 w 12192001"/>
                <a:gd name="connsiteY1644" fmla="*/ 4162008 h 6523037"/>
                <a:gd name="connsiteX1645" fmla="*/ 9248268 w 12192001"/>
                <a:gd name="connsiteY1645" fmla="*/ 4084673 h 6523037"/>
                <a:gd name="connsiteX1646" fmla="*/ 9248026 w 12192001"/>
                <a:gd name="connsiteY1646" fmla="*/ 4084673 h 6523037"/>
                <a:gd name="connsiteX1647" fmla="*/ 9201211 w 12192001"/>
                <a:gd name="connsiteY1647" fmla="*/ 4038556 h 6523037"/>
                <a:gd name="connsiteX1648" fmla="*/ 9201682 w 12192001"/>
                <a:gd name="connsiteY1648" fmla="*/ 4038087 h 6523037"/>
                <a:gd name="connsiteX1649" fmla="*/ 9201400 w 12192001"/>
                <a:gd name="connsiteY1649" fmla="*/ 4037805 h 6523037"/>
                <a:gd name="connsiteX1650" fmla="*/ 9202798 w 12192001"/>
                <a:gd name="connsiteY1650" fmla="*/ 4036408 h 6523037"/>
                <a:gd name="connsiteX1651" fmla="*/ 9320523 w 12192001"/>
                <a:gd name="connsiteY1651" fmla="*/ 3918204 h 6523037"/>
                <a:gd name="connsiteX1652" fmla="*/ 9320523 w 12192001"/>
                <a:gd name="connsiteY1652" fmla="*/ 3917294 h 6523037"/>
                <a:gd name="connsiteX1653" fmla="*/ 9468973 w 12192001"/>
                <a:gd name="connsiteY1653" fmla="*/ 3768843 h 6523037"/>
                <a:gd name="connsiteX1654" fmla="*/ 9480395 w 12192001"/>
                <a:gd name="connsiteY1654" fmla="*/ 3768464 h 6523037"/>
                <a:gd name="connsiteX1655" fmla="*/ 9215934 w 12192001"/>
                <a:gd name="connsiteY1655" fmla="*/ 4033613 h 6523037"/>
                <a:gd name="connsiteX1656" fmla="*/ 9478102 w 12192001"/>
                <a:gd name="connsiteY1656" fmla="*/ 4033613 h 6523037"/>
                <a:gd name="connsiteX1657" fmla="*/ 9488582 w 12192001"/>
                <a:gd name="connsiteY1657" fmla="*/ 4023132 h 6523037"/>
                <a:gd name="connsiteX1658" fmla="*/ 9488582 w 12192001"/>
                <a:gd name="connsiteY1658" fmla="*/ 4023976 h 6523037"/>
                <a:gd name="connsiteX1659" fmla="*/ 9651914 w 12192001"/>
                <a:gd name="connsiteY1659" fmla="*/ 3860644 h 6523037"/>
                <a:gd name="connsiteX1660" fmla="*/ 9652012 w 12192001"/>
                <a:gd name="connsiteY1660" fmla="*/ 3860644 h 6523037"/>
                <a:gd name="connsiteX1661" fmla="*/ 9742561 w 12192001"/>
                <a:gd name="connsiteY1661" fmla="*/ 3769860 h 6523037"/>
                <a:gd name="connsiteX1662" fmla="*/ 9546215 w 12192001"/>
                <a:gd name="connsiteY1662" fmla="*/ 3769860 h 6523037"/>
                <a:gd name="connsiteX1663" fmla="*/ 9546914 w 12192001"/>
                <a:gd name="connsiteY1663" fmla="*/ 3768464 h 6523037"/>
                <a:gd name="connsiteX1664" fmla="*/ 1264018 w 12192001"/>
                <a:gd name="connsiteY1664" fmla="*/ 3501795 h 6523037"/>
                <a:gd name="connsiteX1665" fmla="*/ 1535828 w 12192001"/>
                <a:gd name="connsiteY1665" fmla="*/ 3771509 h 6523037"/>
                <a:gd name="connsiteX1666" fmla="*/ 1266165 w 12192001"/>
                <a:gd name="connsiteY1666" fmla="*/ 4041868 h 6523037"/>
                <a:gd name="connsiteX1667" fmla="*/ 1527632 w 12192001"/>
                <a:gd name="connsiteY1667" fmla="*/ 4041868 h 6523037"/>
                <a:gd name="connsiteX1668" fmla="*/ 1700221 w 12192001"/>
                <a:gd name="connsiteY1668" fmla="*/ 3868581 h 6523037"/>
                <a:gd name="connsiteX1669" fmla="*/ 1702878 w 12192001"/>
                <a:gd name="connsiteY1669" fmla="*/ 3868581 h 6523037"/>
                <a:gd name="connsiteX1670" fmla="*/ 1799252 w 12192001"/>
                <a:gd name="connsiteY1670" fmla="*/ 3772207 h 6523037"/>
                <a:gd name="connsiteX1671" fmla="*/ 1665094 w 12192001"/>
                <a:gd name="connsiteY1671" fmla="*/ 3638748 h 6523037"/>
                <a:gd name="connsiteX1672" fmla="*/ 1528141 w 12192001"/>
                <a:gd name="connsiteY1672" fmla="*/ 3501795 h 6523037"/>
                <a:gd name="connsiteX1673" fmla="*/ 715508 w 12192001"/>
                <a:gd name="connsiteY1673" fmla="*/ 3501795 h 6523037"/>
                <a:gd name="connsiteX1674" fmla="*/ 986618 w 12192001"/>
                <a:gd name="connsiteY1674" fmla="*/ 3772207 h 6523037"/>
                <a:gd name="connsiteX1675" fmla="*/ 716955 w 12192001"/>
                <a:gd name="connsiteY1675" fmla="*/ 4042567 h 6523037"/>
                <a:gd name="connsiteX1676" fmla="*/ 979122 w 12192001"/>
                <a:gd name="connsiteY1676" fmla="*/ 4042567 h 6523037"/>
                <a:gd name="connsiteX1677" fmla="*/ 1067862 w 12192001"/>
                <a:gd name="connsiteY1677" fmla="*/ 3953129 h 6523037"/>
                <a:gd name="connsiteX1678" fmla="*/ 1152410 w 12192001"/>
                <a:gd name="connsiteY1678" fmla="*/ 3868581 h 6523037"/>
                <a:gd name="connsiteX1679" fmla="*/ 1154616 w 12192001"/>
                <a:gd name="connsiteY1679" fmla="*/ 3868581 h 6523037"/>
                <a:gd name="connsiteX1680" fmla="*/ 1250742 w 12192001"/>
                <a:gd name="connsiteY1680" fmla="*/ 3772207 h 6523037"/>
                <a:gd name="connsiteX1681" fmla="*/ 979631 w 12192001"/>
                <a:gd name="connsiteY1681" fmla="*/ 3501795 h 6523037"/>
                <a:gd name="connsiteX1682" fmla="*/ 165601 w 12192001"/>
                <a:gd name="connsiteY1682" fmla="*/ 3501795 h 6523037"/>
                <a:gd name="connsiteX1683" fmla="*/ 436711 w 12192001"/>
                <a:gd name="connsiteY1683" fmla="*/ 3772207 h 6523037"/>
                <a:gd name="connsiteX1684" fmla="*/ 438108 w 12192001"/>
                <a:gd name="connsiteY1684" fmla="*/ 3772906 h 6523037"/>
                <a:gd name="connsiteX1685" fmla="*/ 169094 w 12192001"/>
                <a:gd name="connsiteY1685" fmla="*/ 4042619 h 6523037"/>
                <a:gd name="connsiteX1686" fmla="*/ 365440 w 12192001"/>
                <a:gd name="connsiteY1686" fmla="*/ 4042619 h 6523037"/>
                <a:gd name="connsiteX1687" fmla="*/ 365116 w 12192001"/>
                <a:gd name="connsiteY1687" fmla="*/ 4043266 h 6523037"/>
                <a:gd name="connsiteX1688" fmla="*/ 430612 w 12192001"/>
                <a:gd name="connsiteY1688" fmla="*/ 4043266 h 6523037"/>
                <a:gd name="connsiteX1689" fmla="*/ 604598 w 12192001"/>
                <a:gd name="connsiteY1689" fmla="*/ 3868581 h 6523037"/>
                <a:gd name="connsiteX1690" fmla="*/ 606802 w 12192001"/>
                <a:gd name="connsiteY1690" fmla="*/ 3868581 h 6523037"/>
                <a:gd name="connsiteX1691" fmla="*/ 701533 w 12192001"/>
                <a:gd name="connsiteY1691" fmla="*/ 3773605 h 6523037"/>
                <a:gd name="connsiteX1692" fmla="*/ 430423 w 12192001"/>
                <a:gd name="connsiteY1692" fmla="*/ 3503193 h 6523037"/>
                <a:gd name="connsiteX1693" fmla="*/ 362644 w 12192001"/>
                <a:gd name="connsiteY1693" fmla="*/ 3501795 h 6523037"/>
                <a:gd name="connsiteX1694" fmla="*/ 2361039 w 12192001"/>
                <a:gd name="connsiteY1694" fmla="*/ 3501097 h 6523037"/>
                <a:gd name="connsiteX1695" fmla="*/ 2631451 w 12192001"/>
                <a:gd name="connsiteY1695" fmla="*/ 3770111 h 6523037"/>
                <a:gd name="connsiteX1696" fmla="*/ 2628655 w 12192001"/>
                <a:gd name="connsiteY1696" fmla="*/ 3772906 h 6523037"/>
                <a:gd name="connsiteX1697" fmla="*/ 2538519 w 12192001"/>
                <a:gd name="connsiteY1697" fmla="*/ 3863743 h 6523037"/>
                <a:gd name="connsiteX1698" fmla="*/ 2361789 w 12192001"/>
                <a:gd name="connsiteY1698" fmla="*/ 4040472 h 6523037"/>
                <a:gd name="connsiteX1699" fmla="*/ 2624653 w 12192001"/>
                <a:gd name="connsiteY1699" fmla="*/ 4040472 h 6523037"/>
                <a:gd name="connsiteX1700" fmla="*/ 2795844 w 12192001"/>
                <a:gd name="connsiteY1700" fmla="*/ 3868581 h 6523037"/>
                <a:gd name="connsiteX1701" fmla="*/ 2797802 w 12192001"/>
                <a:gd name="connsiteY1701" fmla="*/ 3868581 h 6523037"/>
                <a:gd name="connsiteX1702" fmla="*/ 2895574 w 12192001"/>
                <a:gd name="connsiteY1702" fmla="*/ 3770810 h 6523037"/>
                <a:gd name="connsiteX1703" fmla="*/ 2625162 w 12192001"/>
                <a:gd name="connsiteY1703" fmla="*/ 3501097 h 6523037"/>
                <a:gd name="connsiteX1704" fmla="*/ 1812528 w 12192001"/>
                <a:gd name="connsiteY1704" fmla="*/ 3501097 h 6523037"/>
                <a:gd name="connsiteX1705" fmla="*/ 1813926 w 12192001"/>
                <a:gd name="connsiteY1705" fmla="*/ 3502494 h 6523037"/>
                <a:gd name="connsiteX1706" fmla="*/ 2083639 w 12192001"/>
                <a:gd name="connsiteY1706" fmla="*/ 3771509 h 6523037"/>
                <a:gd name="connsiteX1707" fmla="*/ 1814673 w 12192001"/>
                <a:gd name="connsiteY1707" fmla="*/ 4041170 h 6523037"/>
                <a:gd name="connsiteX1708" fmla="*/ 2076143 w 12192001"/>
                <a:gd name="connsiteY1708" fmla="*/ 4041170 h 6523037"/>
                <a:gd name="connsiteX1709" fmla="*/ 2248033 w 12192001"/>
                <a:gd name="connsiteY1709" fmla="*/ 3868581 h 6523037"/>
                <a:gd name="connsiteX1710" fmla="*/ 2250940 w 12192001"/>
                <a:gd name="connsiteY1710" fmla="*/ 3868581 h 6523037"/>
                <a:gd name="connsiteX1711" fmla="*/ 2347762 w 12192001"/>
                <a:gd name="connsiteY1711" fmla="*/ 3771509 h 6523037"/>
                <a:gd name="connsiteX1712" fmla="*/ 2342173 w 12192001"/>
                <a:gd name="connsiteY1712" fmla="*/ 3766618 h 6523037"/>
                <a:gd name="connsiteX1713" fmla="*/ 2076652 w 12192001"/>
                <a:gd name="connsiteY1713" fmla="*/ 3501097 h 6523037"/>
                <a:gd name="connsiteX1714" fmla="*/ 4005871 w 12192001"/>
                <a:gd name="connsiteY1714" fmla="*/ 3499001 h 6523037"/>
                <a:gd name="connsiteX1715" fmla="*/ 4277680 w 12192001"/>
                <a:gd name="connsiteY1715" fmla="*/ 3768713 h 6523037"/>
                <a:gd name="connsiteX1716" fmla="*/ 4008016 w 12192001"/>
                <a:gd name="connsiteY1716" fmla="*/ 4039074 h 6523037"/>
                <a:gd name="connsiteX1717" fmla="*/ 4270183 w 12192001"/>
                <a:gd name="connsiteY1717" fmla="*/ 4039074 h 6523037"/>
                <a:gd name="connsiteX1718" fmla="*/ 4359622 w 12192001"/>
                <a:gd name="connsiteY1718" fmla="*/ 3949635 h 6523037"/>
                <a:gd name="connsiteX1719" fmla="*/ 4440677 w 12192001"/>
                <a:gd name="connsiteY1719" fmla="*/ 3868581 h 6523037"/>
                <a:gd name="connsiteX1720" fmla="*/ 4441937 w 12192001"/>
                <a:gd name="connsiteY1720" fmla="*/ 3868581 h 6523037"/>
                <a:gd name="connsiteX1721" fmla="*/ 4541105 w 12192001"/>
                <a:gd name="connsiteY1721" fmla="*/ 3769413 h 6523037"/>
                <a:gd name="connsiteX1722" fmla="*/ 4406948 w 12192001"/>
                <a:gd name="connsiteY1722" fmla="*/ 3635954 h 6523037"/>
                <a:gd name="connsiteX1723" fmla="*/ 4269994 w 12192001"/>
                <a:gd name="connsiteY1723" fmla="*/ 3499001 h 6523037"/>
                <a:gd name="connsiteX1724" fmla="*/ 4554381 w 12192001"/>
                <a:gd name="connsiteY1724" fmla="*/ 3498302 h 6523037"/>
                <a:gd name="connsiteX1725" fmla="*/ 4555778 w 12192001"/>
                <a:gd name="connsiteY1725" fmla="*/ 3499699 h 6523037"/>
                <a:gd name="connsiteX1726" fmla="*/ 4820723 w 12192001"/>
                <a:gd name="connsiteY1726" fmla="*/ 3763951 h 6523037"/>
                <a:gd name="connsiteX1727" fmla="*/ 5083541 w 12192001"/>
                <a:gd name="connsiteY1727" fmla="*/ 3763951 h 6523037"/>
                <a:gd name="connsiteX1728" fmla="*/ 4954274 w 12192001"/>
                <a:gd name="connsiteY1728" fmla="*/ 3635384 h 6523037"/>
                <a:gd name="connsiteX1729" fmla="*/ 4816513 w 12192001"/>
                <a:gd name="connsiteY1729" fmla="*/ 3498302 h 6523037"/>
                <a:gd name="connsiteX1730" fmla="*/ 3721484 w 12192001"/>
                <a:gd name="connsiteY1730" fmla="*/ 3498302 h 6523037"/>
                <a:gd name="connsiteX1731" fmla="*/ 3457360 w 12192001"/>
                <a:gd name="connsiteY1731" fmla="*/ 3499001 h 6523037"/>
                <a:gd name="connsiteX1732" fmla="*/ 3728471 w 12192001"/>
                <a:gd name="connsiteY1732" fmla="*/ 3769413 h 6523037"/>
                <a:gd name="connsiteX1733" fmla="*/ 3458808 w 12192001"/>
                <a:gd name="connsiteY1733" fmla="*/ 4039773 h 6523037"/>
                <a:gd name="connsiteX1734" fmla="*/ 3721674 w 12192001"/>
                <a:gd name="connsiteY1734" fmla="*/ 4039773 h 6523037"/>
                <a:gd name="connsiteX1735" fmla="*/ 3892166 w 12192001"/>
                <a:gd name="connsiteY1735" fmla="*/ 3867883 h 6523037"/>
                <a:gd name="connsiteX1736" fmla="*/ 3893935 w 12192001"/>
                <a:gd name="connsiteY1736" fmla="*/ 3867883 h 6523037"/>
                <a:gd name="connsiteX1737" fmla="*/ 3992595 w 12192001"/>
                <a:gd name="connsiteY1737" fmla="*/ 3768713 h 6523037"/>
                <a:gd name="connsiteX1738" fmla="*/ 5924124 w 12192001"/>
                <a:gd name="connsiteY1738" fmla="*/ 3497033 h 6523037"/>
                <a:gd name="connsiteX1739" fmla="*/ 6195934 w 12192001"/>
                <a:gd name="connsiteY1739" fmla="*/ 3766747 h 6523037"/>
                <a:gd name="connsiteX1740" fmla="*/ 5926271 w 12192001"/>
                <a:gd name="connsiteY1740" fmla="*/ 4037106 h 6523037"/>
                <a:gd name="connsiteX1741" fmla="*/ 6187739 w 12192001"/>
                <a:gd name="connsiteY1741" fmla="*/ 4037106 h 6523037"/>
                <a:gd name="connsiteX1742" fmla="*/ 6360328 w 12192001"/>
                <a:gd name="connsiteY1742" fmla="*/ 3863819 h 6523037"/>
                <a:gd name="connsiteX1743" fmla="*/ 6362985 w 12192001"/>
                <a:gd name="connsiteY1743" fmla="*/ 3863819 h 6523037"/>
                <a:gd name="connsiteX1744" fmla="*/ 6459359 w 12192001"/>
                <a:gd name="connsiteY1744" fmla="*/ 3767445 h 6523037"/>
                <a:gd name="connsiteX1745" fmla="*/ 6325200 w 12192001"/>
                <a:gd name="connsiteY1745" fmla="*/ 3633986 h 6523037"/>
                <a:gd name="connsiteX1746" fmla="*/ 6188247 w 12192001"/>
                <a:gd name="connsiteY1746" fmla="*/ 3497033 h 6523037"/>
                <a:gd name="connsiteX1747" fmla="*/ 5375615 w 12192001"/>
                <a:gd name="connsiteY1747" fmla="*/ 3497033 h 6523037"/>
                <a:gd name="connsiteX1748" fmla="*/ 5646724 w 12192001"/>
                <a:gd name="connsiteY1748" fmla="*/ 3767445 h 6523037"/>
                <a:gd name="connsiteX1749" fmla="*/ 5377062 w 12192001"/>
                <a:gd name="connsiteY1749" fmla="*/ 4037805 h 6523037"/>
                <a:gd name="connsiteX1750" fmla="*/ 5639228 w 12192001"/>
                <a:gd name="connsiteY1750" fmla="*/ 4037805 h 6523037"/>
                <a:gd name="connsiteX1751" fmla="*/ 5727968 w 12192001"/>
                <a:gd name="connsiteY1751" fmla="*/ 3948367 h 6523037"/>
                <a:gd name="connsiteX1752" fmla="*/ 5812516 w 12192001"/>
                <a:gd name="connsiteY1752" fmla="*/ 3863819 h 6523037"/>
                <a:gd name="connsiteX1753" fmla="*/ 5814722 w 12192001"/>
                <a:gd name="connsiteY1753" fmla="*/ 3863819 h 6523037"/>
                <a:gd name="connsiteX1754" fmla="*/ 5910849 w 12192001"/>
                <a:gd name="connsiteY1754" fmla="*/ 3767445 h 6523037"/>
                <a:gd name="connsiteX1755" fmla="*/ 5639738 w 12192001"/>
                <a:gd name="connsiteY1755" fmla="*/ 3497033 h 6523037"/>
                <a:gd name="connsiteX1756" fmla="*/ 4825707 w 12192001"/>
                <a:gd name="connsiteY1756" fmla="*/ 3497033 h 6523037"/>
                <a:gd name="connsiteX1757" fmla="*/ 5096817 w 12192001"/>
                <a:gd name="connsiteY1757" fmla="*/ 3767445 h 6523037"/>
                <a:gd name="connsiteX1758" fmla="*/ 5098215 w 12192001"/>
                <a:gd name="connsiteY1758" fmla="*/ 3768144 h 6523037"/>
                <a:gd name="connsiteX1759" fmla="*/ 4829200 w 12192001"/>
                <a:gd name="connsiteY1759" fmla="*/ 4037857 h 6523037"/>
                <a:gd name="connsiteX1760" fmla="*/ 5025547 w 12192001"/>
                <a:gd name="connsiteY1760" fmla="*/ 4037857 h 6523037"/>
                <a:gd name="connsiteX1761" fmla="*/ 5025222 w 12192001"/>
                <a:gd name="connsiteY1761" fmla="*/ 4038504 h 6523037"/>
                <a:gd name="connsiteX1762" fmla="*/ 5090718 w 12192001"/>
                <a:gd name="connsiteY1762" fmla="*/ 4038504 h 6523037"/>
                <a:gd name="connsiteX1763" fmla="*/ 5264704 w 12192001"/>
                <a:gd name="connsiteY1763" fmla="*/ 3863819 h 6523037"/>
                <a:gd name="connsiteX1764" fmla="*/ 5266909 w 12192001"/>
                <a:gd name="connsiteY1764" fmla="*/ 3863819 h 6523037"/>
                <a:gd name="connsiteX1765" fmla="*/ 5361639 w 12192001"/>
                <a:gd name="connsiteY1765" fmla="*/ 3768843 h 6523037"/>
                <a:gd name="connsiteX1766" fmla="*/ 5090530 w 12192001"/>
                <a:gd name="connsiteY1766" fmla="*/ 3498431 h 6523037"/>
                <a:gd name="connsiteX1767" fmla="*/ 5022750 w 12192001"/>
                <a:gd name="connsiteY1767" fmla="*/ 3497033 h 6523037"/>
                <a:gd name="connsiteX1768" fmla="*/ 7021145 w 12192001"/>
                <a:gd name="connsiteY1768" fmla="*/ 3496335 h 6523037"/>
                <a:gd name="connsiteX1769" fmla="*/ 7291557 w 12192001"/>
                <a:gd name="connsiteY1769" fmla="*/ 3765349 h 6523037"/>
                <a:gd name="connsiteX1770" fmla="*/ 7288761 w 12192001"/>
                <a:gd name="connsiteY1770" fmla="*/ 3768144 h 6523037"/>
                <a:gd name="connsiteX1771" fmla="*/ 7198625 w 12192001"/>
                <a:gd name="connsiteY1771" fmla="*/ 3858981 h 6523037"/>
                <a:gd name="connsiteX1772" fmla="*/ 7021895 w 12192001"/>
                <a:gd name="connsiteY1772" fmla="*/ 4035710 h 6523037"/>
                <a:gd name="connsiteX1773" fmla="*/ 7284759 w 12192001"/>
                <a:gd name="connsiteY1773" fmla="*/ 4035710 h 6523037"/>
                <a:gd name="connsiteX1774" fmla="*/ 7455950 w 12192001"/>
                <a:gd name="connsiteY1774" fmla="*/ 3863819 h 6523037"/>
                <a:gd name="connsiteX1775" fmla="*/ 7457908 w 12192001"/>
                <a:gd name="connsiteY1775" fmla="*/ 3863819 h 6523037"/>
                <a:gd name="connsiteX1776" fmla="*/ 7555680 w 12192001"/>
                <a:gd name="connsiteY1776" fmla="*/ 3766048 h 6523037"/>
                <a:gd name="connsiteX1777" fmla="*/ 7285268 w 12192001"/>
                <a:gd name="connsiteY1777" fmla="*/ 3496335 h 6523037"/>
                <a:gd name="connsiteX1778" fmla="*/ 6472634 w 12192001"/>
                <a:gd name="connsiteY1778" fmla="*/ 3496335 h 6523037"/>
                <a:gd name="connsiteX1779" fmla="*/ 6474032 w 12192001"/>
                <a:gd name="connsiteY1779" fmla="*/ 3497732 h 6523037"/>
                <a:gd name="connsiteX1780" fmla="*/ 6743745 w 12192001"/>
                <a:gd name="connsiteY1780" fmla="*/ 3766747 h 6523037"/>
                <a:gd name="connsiteX1781" fmla="*/ 6474780 w 12192001"/>
                <a:gd name="connsiteY1781" fmla="*/ 4036408 h 6523037"/>
                <a:gd name="connsiteX1782" fmla="*/ 6736249 w 12192001"/>
                <a:gd name="connsiteY1782" fmla="*/ 4036408 h 6523037"/>
                <a:gd name="connsiteX1783" fmla="*/ 6908140 w 12192001"/>
                <a:gd name="connsiteY1783" fmla="*/ 3863819 h 6523037"/>
                <a:gd name="connsiteX1784" fmla="*/ 6911046 w 12192001"/>
                <a:gd name="connsiteY1784" fmla="*/ 3863819 h 6523037"/>
                <a:gd name="connsiteX1785" fmla="*/ 7007868 w 12192001"/>
                <a:gd name="connsiteY1785" fmla="*/ 3766747 h 6523037"/>
                <a:gd name="connsiteX1786" fmla="*/ 7002279 w 12192001"/>
                <a:gd name="connsiteY1786" fmla="*/ 3761856 h 6523037"/>
                <a:gd name="connsiteX1787" fmla="*/ 6736759 w 12192001"/>
                <a:gd name="connsiteY1787" fmla="*/ 3496335 h 6523037"/>
                <a:gd name="connsiteX1788" fmla="*/ 8665977 w 12192001"/>
                <a:gd name="connsiteY1788" fmla="*/ 3494239 h 6523037"/>
                <a:gd name="connsiteX1789" fmla="*/ 8937786 w 12192001"/>
                <a:gd name="connsiteY1789" fmla="*/ 3763951 h 6523037"/>
                <a:gd name="connsiteX1790" fmla="*/ 8668122 w 12192001"/>
                <a:gd name="connsiteY1790" fmla="*/ 4034312 h 6523037"/>
                <a:gd name="connsiteX1791" fmla="*/ 8930289 w 12192001"/>
                <a:gd name="connsiteY1791" fmla="*/ 4034312 h 6523037"/>
                <a:gd name="connsiteX1792" fmla="*/ 9019728 w 12192001"/>
                <a:gd name="connsiteY1792" fmla="*/ 3944873 h 6523037"/>
                <a:gd name="connsiteX1793" fmla="*/ 9100782 w 12192001"/>
                <a:gd name="connsiteY1793" fmla="*/ 3863819 h 6523037"/>
                <a:gd name="connsiteX1794" fmla="*/ 9102043 w 12192001"/>
                <a:gd name="connsiteY1794" fmla="*/ 3863819 h 6523037"/>
                <a:gd name="connsiteX1795" fmla="*/ 9201211 w 12192001"/>
                <a:gd name="connsiteY1795" fmla="*/ 3764651 h 6523037"/>
                <a:gd name="connsiteX1796" fmla="*/ 9067053 w 12192001"/>
                <a:gd name="connsiteY1796" fmla="*/ 3631192 h 6523037"/>
                <a:gd name="connsiteX1797" fmla="*/ 8930100 w 12192001"/>
                <a:gd name="connsiteY1797" fmla="*/ 3494239 h 6523037"/>
                <a:gd name="connsiteX1798" fmla="*/ 10584541 w 12192001"/>
                <a:gd name="connsiteY1798" fmla="*/ 3493858 h 6523037"/>
                <a:gd name="connsiteX1799" fmla="*/ 10856351 w 12192001"/>
                <a:gd name="connsiteY1799" fmla="*/ 3763572 h 6523037"/>
                <a:gd name="connsiteX1800" fmla="*/ 10586688 w 12192001"/>
                <a:gd name="connsiteY1800" fmla="*/ 4033931 h 6523037"/>
                <a:gd name="connsiteX1801" fmla="*/ 10848155 w 12192001"/>
                <a:gd name="connsiteY1801" fmla="*/ 4033931 h 6523037"/>
                <a:gd name="connsiteX1802" fmla="*/ 11020744 w 12192001"/>
                <a:gd name="connsiteY1802" fmla="*/ 3860644 h 6523037"/>
                <a:gd name="connsiteX1803" fmla="*/ 11023401 w 12192001"/>
                <a:gd name="connsiteY1803" fmla="*/ 3860644 h 6523037"/>
                <a:gd name="connsiteX1804" fmla="*/ 11119775 w 12192001"/>
                <a:gd name="connsiteY1804" fmla="*/ 3764270 h 6523037"/>
                <a:gd name="connsiteX1805" fmla="*/ 10985617 w 12192001"/>
                <a:gd name="connsiteY1805" fmla="*/ 3630811 h 6523037"/>
                <a:gd name="connsiteX1806" fmla="*/ 10848664 w 12192001"/>
                <a:gd name="connsiteY1806" fmla="*/ 3493858 h 6523037"/>
                <a:gd name="connsiteX1807" fmla="*/ 10036031 w 12192001"/>
                <a:gd name="connsiteY1807" fmla="*/ 3493858 h 6523037"/>
                <a:gd name="connsiteX1808" fmla="*/ 10307141 w 12192001"/>
                <a:gd name="connsiteY1808" fmla="*/ 3764270 h 6523037"/>
                <a:gd name="connsiteX1809" fmla="*/ 10037478 w 12192001"/>
                <a:gd name="connsiteY1809" fmla="*/ 4034630 h 6523037"/>
                <a:gd name="connsiteX1810" fmla="*/ 10299645 w 12192001"/>
                <a:gd name="connsiteY1810" fmla="*/ 4034630 h 6523037"/>
                <a:gd name="connsiteX1811" fmla="*/ 10388385 w 12192001"/>
                <a:gd name="connsiteY1811" fmla="*/ 3945192 h 6523037"/>
                <a:gd name="connsiteX1812" fmla="*/ 10472933 w 12192001"/>
                <a:gd name="connsiteY1812" fmla="*/ 3860644 h 6523037"/>
                <a:gd name="connsiteX1813" fmla="*/ 10475139 w 12192001"/>
                <a:gd name="connsiteY1813" fmla="*/ 3860644 h 6523037"/>
                <a:gd name="connsiteX1814" fmla="*/ 10571265 w 12192001"/>
                <a:gd name="connsiteY1814" fmla="*/ 3764270 h 6523037"/>
                <a:gd name="connsiteX1815" fmla="*/ 10300154 w 12192001"/>
                <a:gd name="connsiteY1815" fmla="*/ 3493858 h 6523037"/>
                <a:gd name="connsiteX1816" fmla="*/ 9486124 w 12192001"/>
                <a:gd name="connsiteY1816" fmla="*/ 3493858 h 6523037"/>
                <a:gd name="connsiteX1817" fmla="*/ 9757234 w 12192001"/>
                <a:gd name="connsiteY1817" fmla="*/ 3764270 h 6523037"/>
                <a:gd name="connsiteX1818" fmla="*/ 9758631 w 12192001"/>
                <a:gd name="connsiteY1818" fmla="*/ 3764969 h 6523037"/>
                <a:gd name="connsiteX1819" fmla="*/ 9489617 w 12192001"/>
                <a:gd name="connsiteY1819" fmla="*/ 4034682 h 6523037"/>
                <a:gd name="connsiteX1820" fmla="*/ 9685963 w 12192001"/>
                <a:gd name="connsiteY1820" fmla="*/ 4034682 h 6523037"/>
                <a:gd name="connsiteX1821" fmla="*/ 9685639 w 12192001"/>
                <a:gd name="connsiteY1821" fmla="*/ 4035329 h 6523037"/>
                <a:gd name="connsiteX1822" fmla="*/ 9751135 w 12192001"/>
                <a:gd name="connsiteY1822" fmla="*/ 4035329 h 6523037"/>
                <a:gd name="connsiteX1823" fmla="*/ 9925121 w 12192001"/>
                <a:gd name="connsiteY1823" fmla="*/ 3860644 h 6523037"/>
                <a:gd name="connsiteX1824" fmla="*/ 9927325 w 12192001"/>
                <a:gd name="connsiteY1824" fmla="*/ 3860644 h 6523037"/>
                <a:gd name="connsiteX1825" fmla="*/ 10022056 w 12192001"/>
                <a:gd name="connsiteY1825" fmla="*/ 3765668 h 6523037"/>
                <a:gd name="connsiteX1826" fmla="*/ 9750946 w 12192001"/>
                <a:gd name="connsiteY1826" fmla="*/ 3495256 h 6523037"/>
                <a:gd name="connsiteX1827" fmla="*/ 9683167 w 12192001"/>
                <a:gd name="connsiteY1827" fmla="*/ 3493858 h 6523037"/>
                <a:gd name="connsiteX1828" fmla="*/ 9214487 w 12192001"/>
                <a:gd name="connsiteY1828" fmla="*/ 3493540 h 6523037"/>
                <a:gd name="connsiteX1829" fmla="*/ 9215884 w 12192001"/>
                <a:gd name="connsiteY1829" fmla="*/ 3494937 h 6523037"/>
                <a:gd name="connsiteX1830" fmla="*/ 9482419 w 12192001"/>
                <a:gd name="connsiteY1830" fmla="*/ 3760776 h 6523037"/>
                <a:gd name="connsiteX1831" fmla="*/ 9743958 w 12192001"/>
                <a:gd name="connsiteY1831" fmla="*/ 3760776 h 6523037"/>
                <a:gd name="connsiteX1832" fmla="*/ 9614691 w 12192001"/>
                <a:gd name="connsiteY1832" fmla="*/ 3632209 h 6523037"/>
                <a:gd name="connsiteX1833" fmla="*/ 9475335 w 12192001"/>
                <a:gd name="connsiteY1833" fmla="*/ 3493540 h 6523037"/>
                <a:gd name="connsiteX1834" fmla="*/ 8381590 w 12192001"/>
                <a:gd name="connsiteY1834" fmla="*/ 3493540 h 6523037"/>
                <a:gd name="connsiteX1835" fmla="*/ 8117466 w 12192001"/>
                <a:gd name="connsiteY1835" fmla="*/ 3494239 h 6523037"/>
                <a:gd name="connsiteX1836" fmla="*/ 8388577 w 12192001"/>
                <a:gd name="connsiteY1836" fmla="*/ 3764651 h 6523037"/>
                <a:gd name="connsiteX1837" fmla="*/ 8118914 w 12192001"/>
                <a:gd name="connsiteY1837" fmla="*/ 4035011 h 6523037"/>
                <a:gd name="connsiteX1838" fmla="*/ 8381780 w 12192001"/>
                <a:gd name="connsiteY1838" fmla="*/ 4035011 h 6523037"/>
                <a:gd name="connsiteX1839" fmla="*/ 8552272 w 12192001"/>
                <a:gd name="connsiteY1839" fmla="*/ 3863121 h 6523037"/>
                <a:gd name="connsiteX1840" fmla="*/ 8554041 w 12192001"/>
                <a:gd name="connsiteY1840" fmla="*/ 3863121 h 6523037"/>
                <a:gd name="connsiteX1841" fmla="*/ 8652701 w 12192001"/>
                <a:gd name="connsiteY1841" fmla="*/ 3763951 h 6523037"/>
                <a:gd name="connsiteX1842" fmla="*/ 11133051 w 12192001"/>
                <a:gd name="connsiteY1842" fmla="*/ 3493160 h 6523037"/>
                <a:gd name="connsiteX1843" fmla="*/ 11134449 w 12192001"/>
                <a:gd name="connsiteY1843" fmla="*/ 3494557 h 6523037"/>
                <a:gd name="connsiteX1844" fmla="*/ 11404162 w 12192001"/>
                <a:gd name="connsiteY1844" fmla="*/ 3763572 h 6523037"/>
                <a:gd name="connsiteX1845" fmla="*/ 11135196 w 12192001"/>
                <a:gd name="connsiteY1845" fmla="*/ 4033233 h 6523037"/>
                <a:gd name="connsiteX1846" fmla="*/ 11396666 w 12192001"/>
                <a:gd name="connsiteY1846" fmla="*/ 4033233 h 6523037"/>
                <a:gd name="connsiteX1847" fmla="*/ 11568556 w 12192001"/>
                <a:gd name="connsiteY1847" fmla="*/ 3860644 h 6523037"/>
                <a:gd name="connsiteX1848" fmla="*/ 11571463 w 12192001"/>
                <a:gd name="connsiteY1848" fmla="*/ 3860644 h 6523037"/>
                <a:gd name="connsiteX1849" fmla="*/ 11668285 w 12192001"/>
                <a:gd name="connsiteY1849" fmla="*/ 3763572 h 6523037"/>
                <a:gd name="connsiteX1850" fmla="*/ 11662696 w 12192001"/>
                <a:gd name="connsiteY1850" fmla="*/ 3758681 h 6523037"/>
                <a:gd name="connsiteX1851" fmla="*/ 11397175 w 12192001"/>
                <a:gd name="connsiteY1851" fmla="*/ 3493160 h 6523037"/>
                <a:gd name="connsiteX1852" fmla="*/ 707821 w 12192001"/>
                <a:gd name="connsiteY1852" fmla="*/ 3228588 h 6523037"/>
                <a:gd name="connsiteX1853" fmla="*/ 437409 w 12192001"/>
                <a:gd name="connsiteY1853" fmla="*/ 3499699 h 6523037"/>
                <a:gd name="connsiteX1854" fmla="*/ 570170 w 12192001"/>
                <a:gd name="connsiteY1854" fmla="*/ 3631761 h 6523037"/>
                <a:gd name="connsiteX1855" fmla="*/ 708520 w 12192001"/>
                <a:gd name="connsiteY1855" fmla="*/ 3769413 h 6523037"/>
                <a:gd name="connsiteX1856" fmla="*/ 972643 w 12192001"/>
                <a:gd name="connsiteY1856" fmla="*/ 3769413 h 6523037"/>
                <a:gd name="connsiteX1857" fmla="*/ 701533 w 12192001"/>
                <a:gd name="connsiteY1857" fmla="*/ 3499001 h 6523037"/>
                <a:gd name="connsiteX1858" fmla="*/ 971945 w 12192001"/>
                <a:gd name="connsiteY1858" fmla="*/ 3228588 h 6523037"/>
                <a:gd name="connsiteX1859" fmla="*/ 1256332 w 12192001"/>
                <a:gd name="connsiteY1859" fmla="*/ 3227890 h 6523037"/>
                <a:gd name="connsiteX1860" fmla="*/ 985920 w 12192001"/>
                <a:gd name="connsiteY1860" fmla="*/ 3499001 h 6523037"/>
                <a:gd name="connsiteX1861" fmla="*/ 1257031 w 12192001"/>
                <a:gd name="connsiteY1861" fmla="*/ 3769413 h 6523037"/>
                <a:gd name="connsiteX1862" fmla="*/ 1521154 w 12192001"/>
                <a:gd name="connsiteY1862" fmla="*/ 3768713 h 6523037"/>
                <a:gd name="connsiteX1863" fmla="*/ 1250043 w 12192001"/>
                <a:gd name="connsiteY1863" fmla="*/ 3498302 h 6523037"/>
                <a:gd name="connsiteX1864" fmla="*/ 1434510 w 12192001"/>
                <a:gd name="connsiteY1864" fmla="*/ 3313835 h 6523037"/>
                <a:gd name="connsiteX1865" fmla="*/ 1520455 w 12192001"/>
                <a:gd name="connsiteY1865" fmla="*/ 3227890 h 6523037"/>
                <a:gd name="connsiteX1866" fmla="*/ 1804143 w 12192001"/>
                <a:gd name="connsiteY1866" fmla="*/ 3227192 h 6523037"/>
                <a:gd name="connsiteX1867" fmla="*/ 1623869 w 12192001"/>
                <a:gd name="connsiteY1867" fmla="*/ 3408165 h 6523037"/>
                <a:gd name="connsiteX1868" fmla="*/ 1534430 w 12192001"/>
                <a:gd name="connsiteY1868" fmla="*/ 3498302 h 6523037"/>
                <a:gd name="connsiteX1869" fmla="*/ 1668588 w 12192001"/>
                <a:gd name="connsiteY1869" fmla="*/ 3631761 h 6523037"/>
                <a:gd name="connsiteX1870" fmla="*/ 1805541 w 12192001"/>
                <a:gd name="connsiteY1870" fmla="*/ 3768713 h 6523037"/>
                <a:gd name="connsiteX1871" fmla="*/ 2069664 w 12192001"/>
                <a:gd name="connsiteY1871" fmla="*/ 3768015 h 6523037"/>
                <a:gd name="connsiteX1872" fmla="*/ 1798553 w 12192001"/>
                <a:gd name="connsiteY1872" fmla="*/ 3497603 h 6523037"/>
                <a:gd name="connsiteX1873" fmla="*/ 1799951 w 12192001"/>
                <a:gd name="connsiteY1873" fmla="*/ 3496206 h 6523037"/>
                <a:gd name="connsiteX1874" fmla="*/ 2068266 w 12192001"/>
                <a:gd name="connsiteY1874" fmla="*/ 3227192 h 6523037"/>
                <a:gd name="connsiteX1875" fmla="*/ 2353352 w 12192001"/>
                <a:gd name="connsiteY1875" fmla="*/ 3226492 h 6523037"/>
                <a:gd name="connsiteX1876" fmla="*/ 2082940 w 12192001"/>
                <a:gd name="connsiteY1876" fmla="*/ 3497603 h 6523037"/>
                <a:gd name="connsiteX1877" fmla="*/ 2354051 w 12192001"/>
                <a:gd name="connsiteY1877" fmla="*/ 3768015 h 6523037"/>
                <a:gd name="connsiteX1878" fmla="*/ 2618174 w 12192001"/>
                <a:gd name="connsiteY1878" fmla="*/ 3768015 h 6523037"/>
                <a:gd name="connsiteX1879" fmla="*/ 2347064 w 12192001"/>
                <a:gd name="connsiteY1879" fmla="*/ 3497603 h 6523037"/>
                <a:gd name="connsiteX1880" fmla="*/ 2617476 w 12192001"/>
                <a:gd name="connsiteY1880" fmla="*/ 3226492 h 6523037"/>
                <a:gd name="connsiteX1881" fmla="*/ 3449674 w 12192001"/>
                <a:gd name="connsiteY1881" fmla="*/ 3225095 h 6523037"/>
                <a:gd name="connsiteX1882" fmla="*/ 3179262 w 12192001"/>
                <a:gd name="connsiteY1882" fmla="*/ 3496206 h 6523037"/>
                <a:gd name="connsiteX1883" fmla="*/ 3450373 w 12192001"/>
                <a:gd name="connsiteY1883" fmla="*/ 3766618 h 6523037"/>
                <a:gd name="connsiteX1884" fmla="*/ 3714496 w 12192001"/>
                <a:gd name="connsiteY1884" fmla="*/ 3766618 h 6523037"/>
                <a:gd name="connsiteX1885" fmla="*/ 3443385 w 12192001"/>
                <a:gd name="connsiteY1885" fmla="*/ 3496206 h 6523037"/>
                <a:gd name="connsiteX1886" fmla="*/ 3713797 w 12192001"/>
                <a:gd name="connsiteY1886" fmla="*/ 3225095 h 6523037"/>
                <a:gd name="connsiteX1887" fmla="*/ 3998184 w 12192001"/>
                <a:gd name="connsiteY1887" fmla="*/ 3224396 h 6523037"/>
                <a:gd name="connsiteX1888" fmla="*/ 3727772 w 12192001"/>
                <a:gd name="connsiteY1888" fmla="*/ 3495507 h 6523037"/>
                <a:gd name="connsiteX1889" fmla="*/ 3998883 w 12192001"/>
                <a:gd name="connsiteY1889" fmla="*/ 3765919 h 6523037"/>
                <a:gd name="connsiteX1890" fmla="*/ 4263007 w 12192001"/>
                <a:gd name="connsiteY1890" fmla="*/ 3765220 h 6523037"/>
                <a:gd name="connsiteX1891" fmla="*/ 3991896 w 12192001"/>
                <a:gd name="connsiteY1891" fmla="*/ 3494808 h 6523037"/>
                <a:gd name="connsiteX1892" fmla="*/ 4176362 w 12192001"/>
                <a:gd name="connsiteY1892" fmla="*/ 3310341 h 6523037"/>
                <a:gd name="connsiteX1893" fmla="*/ 4177062 w 12192001"/>
                <a:gd name="connsiteY1893" fmla="*/ 3310341 h 6523037"/>
                <a:gd name="connsiteX1894" fmla="*/ 4262309 w 12192001"/>
                <a:gd name="connsiteY1894" fmla="*/ 3224396 h 6523037"/>
                <a:gd name="connsiteX1895" fmla="*/ 5367927 w 12192001"/>
                <a:gd name="connsiteY1895" fmla="*/ 3223826 h 6523037"/>
                <a:gd name="connsiteX1896" fmla="*/ 5097515 w 12192001"/>
                <a:gd name="connsiteY1896" fmla="*/ 3494937 h 6523037"/>
                <a:gd name="connsiteX1897" fmla="*/ 5230276 w 12192001"/>
                <a:gd name="connsiteY1897" fmla="*/ 3626999 h 6523037"/>
                <a:gd name="connsiteX1898" fmla="*/ 5368626 w 12192001"/>
                <a:gd name="connsiteY1898" fmla="*/ 3764651 h 6523037"/>
                <a:gd name="connsiteX1899" fmla="*/ 5632749 w 12192001"/>
                <a:gd name="connsiteY1899" fmla="*/ 3764651 h 6523037"/>
                <a:gd name="connsiteX1900" fmla="*/ 5361639 w 12192001"/>
                <a:gd name="connsiteY1900" fmla="*/ 3494239 h 6523037"/>
                <a:gd name="connsiteX1901" fmla="*/ 5632051 w 12192001"/>
                <a:gd name="connsiteY1901" fmla="*/ 3223826 h 6523037"/>
                <a:gd name="connsiteX1902" fmla="*/ 4546696 w 12192001"/>
                <a:gd name="connsiteY1902" fmla="*/ 3223697 h 6523037"/>
                <a:gd name="connsiteX1903" fmla="*/ 4366420 w 12192001"/>
                <a:gd name="connsiteY1903" fmla="*/ 3404671 h 6523037"/>
                <a:gd name="connsiteX1904" fmla="*/ 4365722 w 12192001"/>
                <a:gd name="connsiteY1904" fmla="*/ 3404671 h 6523037"/>
                <a:gd name="connsiteX1905" fmla="*/ 4276283 w 12192001"/>
                <a:gd name="connsiteY1905" fmla="*/ 3494808 h 6523037"/>
                <a:gd name="connsiteX1906" fmla="*/ 4410440 w 12192001"/>
                <a:gd name="connsiteY1906" fmla="*/ 3628267 h 6523037"/>
                <a:gd name="connsiteX1907" fmla="*/ 4547394 w 12192001"/>
                <a:gd name="connsiteY1907" fmla="*/ 3765220 h 6523037"/>
                <a:gd name="connsiteX1908" fmla="*/ 4809493 w 12192001"/>
                <a:gd name="connsiteY1908" fmla="*/ 3765220 h 6523037"/>
                <a:gd name="connsiteX1909" fmla="*/ 4660106 w 12192001"/>
                <a:gd name="connsiteY1909" fmla="*/ 3616519 h 6523037"/>
                <a:gd name="connsiteX1910" fmla="*/ 4660106 w 12192001"/>
                <a:gd name="connsiteY1910" fmla="*/ 3614199 h 6523037"/>
                <a:gd name="connsiteX1911" fmla="*/ 4540406 w 12192001"/>
                <a:gd name="connsiteY1911" fmla="*/ 3494808 h 6523037"/>
                <a:gd name="connsiteX1912" fmla="*/ 4542503 w 12192001"/>
                <a:gd name="connsiteY1912" fmla="*/ 3493410 h 6523037"/>
                <a:gd name="connsiteX1913" fmla="*/ 4660106 w 12192001"/>
                <a:gd name="connsiteY1913" fmla="*/ 3374886 h 6523037"/>
                <a:gd name="connsiteX1914" fmla="*/ 4660106 w 12192001"/>
                <a:gd name="connsiteY1914" fmla="*/ 3371259 h 6523037"/>
                <a:gd name="connsiteX1915" fmla="*/ 4808350 w 12192001"/>
                <a:gd name="connsiteY1915" fmla="*/ 3223697 h 6523037"/>
                <a:gd name="connsiteX1916" fmla="*/ 5916438 w 12192001"/>
                <a:gd name="connsiteY1916" fmla="*/ 3223128 h 6523037"/>
                <a:gd name="connsiteX1917" fmla="*/ 5646026 w 12192001"/>
                <a:gd name="connsiteY1917" fmla="*/ 3494239 h 6523037"/>
                <a:gd name="connsiteX1918" fmla="*/ 5917138 w 12192001"/>
                <a:gd name="connsiteY1918" fmla="*/ 3764651 h 6523037"/>
                <a:gd name="connsiteX1919" fmla="*/ 6181261 w 12192001"/>
                <a:gd name="connsiteY1919" fmla="*/ 3763951 h 6523037"/>
                <a:gd name="connsiteX1920" fmla="*/ 5910149 w 12192001"/>
                <a:gd name="connsiteY1920" fmla="*/ 3493540 h 6523037"/>
                <a:gd name="connsiteX1921" fmla="*/ 6094616 w 12192001"/>
                <a:gd name="connsiteY1921" fmla="*/ 3309073 h 6523037"/>
                <a:gd name="connsiteX1922" fmla="*/ 6180561 w 12192001"/>
                <a:gd name="connsiteY1922" fmla="*/ 3223128 h 6523037"/>
                <a:gd name="connsiteX1923" fmla="*/ 4821874 w 12192001"/>
                <a:gd name="connsiteY1923" fmla="*/ 3223128 h 6523037"/>
                <a:gd name="connsiteX1924" fmla="*/ 4554381 w 12192001"/>
                <a:gd name="connsiteY1924" fmla="*/ 3491315 h 6523037"/>
                <a:gd name="connsiteX1925" fmla="*/ 4815332 w 12192001"/>
                <a:gd name="connsiteY1925" fmla="*/ 3491315 h 6523037"/>
                <a:gd name="connsiteX1926" fmla="*/ 4996199 w 12192001"/>
                <a:gd name="connsiteY1926" fmla="*/ 3309073 h 6523037"/>
                <a:gd name="connsiteX1927" fmla="*/ 5082144 w 12192001"/>
                <a:gd name="connsiteY1927" fmla="*/ 3223128 h 6523037"/>
                <a:gd name="connsiteX1928" fmla="*/ 6464250 w 12192001"/>
                <a:gd name="connsiteY1928" fmla="*/ 3222430 h 6523037"/>
                <a:gd name="connsiteX1929" fmla="*/ 6283976 w 12192001"/>
                <a:gd name="connsiteY1929" fmla="*/ 3403403 h 6523037"/>
                <a:gd name="connsiteX1930" fmla="*/ 6194536 w 12192001"/>
                <a:gd name="connsiteY1930" fmla="*/ 3493540 h 6523037"/>
                <a:gd name="connsiteX1931" fmla="*/ 6328695 w 12192001"/>
                <a:gd name="connsiteY1931" fmla="*/ 3626999 h 6523037"/>
                <a:gd name="connsiteX1932" fmla="*/ 6465647 w 12192001"/>
                <a:gd name="connsiteY1932" fmla="*/ 3763951 h 6523037"/>
                <a:gd name="connsiteX1933" fmla="*/ 6729770 w 12192001"/>
                <a:gd name="connsiteY1933" fmla="*/ 3763253 h 6523037"/>
                <a:gd name="connsiteX1934" fmla="*/ 6458659 w 12192001"/>
                <a:gd name="connsiteY1934" fmla="*/ 3492841 h 6523037"/>
                <a:gd name="connsiteX1935" fmla="*/ 6460057 w 12192001"/>
                <a:gd name="connsiteY1935" fmla="*/ 3491444 h 6523037"/>
                <a:gd name="connsiteX1936" fmla="*/ 6728373 w 12192001"/>
                <a:gd name="connsiteY1936" fmla="*/ 3222430 h 6523037"/>
                <a:gd name="connsiteX1937" fmla="*/ 7013458 w 12192001"/>
                <a:gd name="connsiteY1937" fmla="*/ 3221730 h 6523037"/>
                <a:gd name="connsiteX1938" fmla="*/ 6743046 w 12192001"/>
                <a:gd name="connsiteY1938" fmla="*/ 3492841 h 6523037"/>
                <a:gd name="connsiteX1939" fmla="*/ 7014157 w 12192001"/>
                <a:gd name="connsiteY1939" fmla="*/ 3763253 h 6523037"/>
                <a:gd name="connsiteX1940" fmla="*/ 7278280 w 12192001"/>
                <a:gd name="connsiteY1940" fmla="*/ 3763253 h 6523037"/>
                <a:gd name="connsiteX1941" fmla="*/ 7007170 w 12192001"/>
                <a:gd name="connsiteY1941" fmla="*/ 3492841 h 6523037"/>
                <a:gd name="connsiteX1942" fmla="*/ 7277582 w 12192001"/>
                <a:gd name="connsiteY1942" fmla="*/ 3221730 h 6523037"/>
                <a:gd name="connsiteX1943" fmla="*/ 10028344 w 12192001"/>
                <a:gd name="connsiteY1943" fmla="*/ 3220651 h 6523037"/>
                <a:gd name="connsiteX1944" fmla="*/ 9757932 w 12192001"/>
                <a:gd name="connsiteY1944" fmla="*/ 3491762 h 6523037"/>
                <a:gd name="connsiteX1945" fmla="*/ 9890693 w 12192001"/>
                <a:gd name="connsiteY1945" fmla="*/ 3623824 h 6523037"/>
                <a:gd name="connsiteX1946" fmla="*/ 10029043 w 12192001"/>
                <a:gd name="connsiteY1946" fmla="*/ 3761476 h 6523037"/>
                <a:gd name="connsiteX1947" fmla="*/ 10293166 w 12192001"/>
                <a:gd name="connsiteY1947" fmla="*/ 3761476 h 6523037"/>
                <a:gd name="connsiteX1948" fmla="*/ 10022056 w 12192001"/>
                <a:gd name="connsiteY1948" fmla="*/ 3491064 h 6523037"/>
                <a:gd name="connsiteX1949" fmla="*/ 10292468 w 12192001"/>
                <a:gd name="connsiteY1949" fmla="*/ 3220651 h 6523037"/>
                <a:gd name="connsiteX1950" fmla="*/ 8109780 w 12192001"/>
                <a:gd name="connsiteY1950" fmla="*/ 3220333 h 6523037"/>
                <a:gd name="connsiteX1951" fmla="*/ 7839368 w 12192001"/>
                <a:gd name="connsiteY1951" fmla="*/ 3491444 h 6523037"/>
                <a:gd name="connsiteX1952" fmla="*/ 8110479 w 12192001"/>
                <a:gd name="connsiteY1952" fmla="*/ 3761856 h 6523037"/>
                <a:gd name="connsiteX1953" fmla="*/ 8374602 w 12192001"/>
                <a:gd name="connsiteY1953" fmla="*/ 3761856 h 6523037"/>
                <a:gd name="connsiteX1954" fmla="*/ 8103491 w 12192001"/>
                <a:gd name="connsiteY1954" fmla="*/ 3491444 h 6523037"/>
                <a:gd name="connsiteX1955" fmla="*/ 8373903 w 12192001"/>
                <a:gd name="connsiteY1955" fmla="*/ 3220333 h 6523037"/>
                <a:gd name="connsiteX1956" fmla="*/ 10576855 w 12192001"/>
                <a:gd name="connsiteY1956" fmla="*/ 3219953 h 6523037"/>
                <a:gd name="connsiteX1957" fmla="*/ 10306443 w 12192001"/>
                <a:gd name="connsiteY1957" fmla="*/ 3491064 h 6523037"/>
                <a:gd name="connsiteX1958" fmla="*/ 10577554 w 12192001"/>
                <a:gd name="connsiteY1958" fmla="*/ 3761476 h 6523037"/>
                <a:gd name="connsiteX1959" fmla="*/ 10841677 w 12192001"/>
                <a:gd name="connsiteY1959" fmla="*/ 3760776 h 6523037"/>
                <a:gd name="connsiteX1960" fmla="*/ 10570566 w 12192001"/>
                <a:gd name="connsiteY1960" fmla="*/ 3490365 h 6523037"/>
                <a:gd name="connsiteX1961" fmla="*/ 10755033 w 12192001"/>
                <a:gd name="connsiteY1961" fmla="*/ 3305898 h 6523037"/>
                <a:gd name="connsiteX1962" fmla="*/ 10840978 w 12192001"/>
                <a:gd name="connsiteY1962" fmla="*/ 3219953 h 6523037"/>
                <a:gd name="connsiteX1963" fmla="*/ 9480397 w 12192001"/>
                <a:gd name="connsiteY1963" fmla="*/ 3219953 h 6523037"/>
                <a:gd name="connsiteX1964" fmla="*/ 9214487 w 12192001"/>
                <a:gd name="connsiteY1964" fmla="*/ 3486553 h 6523037"/>
                <a:gd name="connsiteX1965" fmla="*/ 9477324 w 12192001"/>
                <a:gd name="connsiteY1965" fmla="*/ 3486553 h 6523037"/>
                <a:gd name="connsiteX1966" fmla="*/ 9656616 w 12192001"/>
                <a:gd name="connsiteY1966" fmla="*/ 3305898 h 6523037"/>
                <a:gd name="connsiteX1967" fmla="*/ 9742561 w 12192001"/>
                <a:gd name="connsiteY1967" fmla="*/ 3219953 h 6523037"/>
                <a:gd name="connsiteX1968" fmla="*/ 8658290 w 12192001"/>
                <a:gd name="connsiteY1968" fmla="*/ 3219635 h 6523037"/>
                <a:gd name="connsiteX1969" fmla="*/ 8387878 w 12192001"/>
                <a:gd name="connsiteY1969" fmla="*/ 3490745 h 6523037"/>
                <a:gd name="connsiteX1970" fmla="*/ 8658989 w 12192001"/>
                <a:gd name="connsiteY1970" fmla="*/ 3761157 h 6523037"/>
                <a:gd name="connsiteX1971" fmla="*/ 8923113 w 12192001"/>
                <a:gd name="connsiteY1971" fmla="*/ 3760458 h 6523037"/>
                <a:gd name="connsiteX1972" fmla="*/ 8652002 w 12192001"/>
                <a:gd name="connsiteY1972" fmla="*/ 3490046 h 6523037"/>
                <a:gd name="connsiteX1973" fmla="*/ 8836468 w 12192001"/>
                <a:gd name="connsiteY1973" fmla="*/ 3305579 h 6523037"/>
                <a:gd name="connsiteX1974" fmla="*/ 8837168 w 12192001"/>
                <a:gd name="connsiteY1974" fmla="*/ 3305579 h 6523037"/>
                <a:gd name="connsiteX1975" fmla="*/ 8922414 w 12192001"/>
                <a:gd name="connsiteY1975" fmla="*/ 3219635 h 6523037"/>
                <a:gd name="connsiteX1976" fmla="*/ 11124666 w 12192001"/>
                <a:gd name="connsiteY1976" fmla="*/ 3219256 h 6523037"/>
                <a:gd name="connsiteX1977" fmla="*/ 10944392 w 12192001"/>
                <a:gd name="connsiteY1977" fmla="*/ 3400228 h 6523037"/>
                <a:gd name="connsiteX1978" fmla="*/ 10854953 w 12192001"/>
                <a:gd name="connsiteY1978" fmla="*/ 3490365 h 6523037"/>
                <a:gd name="connsiteX1979" fmla="*/ 10989111 w 12192001"/>
                <a:gd name="connsiteY1979" fmla="*/ 3623824 h 6523037"/>
                <a:gd name="connsiteX1980" fmla="*/ 11126064 w 12192001"/>
                <a:gd name="connsiteY1980" fmla="*/ 3760776 h 6523037"/>
                <a:gd name="connsiteX1981" fmla="*/ 11390187 w 12192001"/>
                <a:gd name="connsiteY1981" fmla="*/ 3760078 h 6523037"/>
                <a:gd name="connsiteX1982" fmla="*/ 11119076 w 12192001"/>
                <a:gd name="connsiteY1982" fmla="*/ 3489666 h 6523037"/>
                <a:gd name="connsiteX1983" fmla="*/ 11120474 w 12192001"/>
                <a:gd name="connsiteY1983" fmla="*/ 3488269 h 6523037"/>
                <a:gd name="connsiteX1984" fmla="*/ 11388789 w 12192001"/>
                <a:gd name="connsiteY1984" fmla="*/ 3219256 h 6523037"/>
                <a:gd name="connsiteX1985" fmla="*/ 9206801 w 12192001"/>
                <a:gd name="connsiteY1985" fmla="*/ 3218935 h 6523037"/>
                <a:gd name="connsiteX1986" fmla="*/ 9026526 w 12192001"/>
                <a:gd name="connsiteY1986" fmla="*/ 3399909 h 6523037"/>
                <a:gd name="connsiteX1987" fmla="*/ 9025828 w 12192001"/>
                <a:gd name="connsiteY1987" fmla="*/ 3399909 h 6523037"/>
                <a:gd name="connsiteX1988" fmla="*/ 8936388 w 12192001"/>
                <a:gd name="connsiteY1988" fmla="*/ 3490046 h 6523037"/>
                <a:gd name="connsiteX1989" fmla="*/ 9070546 w 12192001"/>
                <a:gd name="connsiteY1989" fmla="*/ 3623505 h 6523037"/>
                <a:gd name="connsiteX1990" fmla="*/ 9207500 w 12192001"/>
                <a:gd name="connsiteY1990" fmla="*/ 3760458 h 6523037"/>
                <a:gd name="connsiteX1991" fmla="*/ 9468315 w 12192001"/>
                <a:gd name="connsiteY1991" fmla="*/ 3760458 h 6523037"/>
                <a:gd name="connsiteX1992" fmla="*/ 9320523 w 12192001"/>
                <a:gd name="connsiteY1992" fmla="*/ 3613344 h 6523037"/>
                <a:gd name="connsiteX1993" fmla="*/ 9320523 w 12192001"/>
                <a:gd name="connsiteY1993" fmla="*/ 3609748 h 6523037"/>
                <a:gd name="connsiteX1994" fmla="*/ 9200512 w 12192001"/>
                <a:gd name="connsiteY1994" fmla="*/ 3490046 h 6523037"/>
                <a:gd name="connsiteX1995" fmla="*/ 9202609 w 12192001"/>
                <a:gd name="connsiteY1995" fmla="*/ 3488648 h 6523037"/>
                <a:gd name="connsiteX1996" fmla="*/ 9320523 w 12192001"/>
                <a:gd name="connsiteY1996" fmla="*/ 3369810 h 6523037"/>
                <a:gd name="connsiteX1997" fmla="*/ 9320523 w 12192001"/>
                <a:gd name="connsiteY1997" fmla="*/ 3368084 h 6523037"/>
                <a:gd name="connsiteX1998" fmla="*/ 9459449 w 12192001"/>
                <a:gd name="connsiteY1998" fmla="*/ 3229795 h 6523037"/>
                <a:gd name="connsiteX1999" fmla="*/ 9470225 w 12192001"/>
                <a:gd name="connsiteY1999" fmla="*/ 3218935 h 6523037"/>
                <a:gd name="connsiteX2000" fmla="*/ 11673875 w 12192001"/>
                <a:gd name="connsiteY2000" fmla="*/ 3218555 h 6523037"/>
                <a:gd name="connsiteX2001" fmla="*/ 11403463 w 12192001"/>
                <a:gd name="connsiteY2001" fmla="*/ 3489666 h 6523037"/>
                <a:gd name="connsiteX2002" fmla="*/ 11674574 w 12192001"/>
                <a:gd name="connsiteY2002" fmla="*/ 3760078 h 6523037"/>
                <a:gd name="connsiteX2003" fmla="*/ 11938697 w 12192001"/>
                <a:gd name="connsiteY2003" fmla="*/ 3760078 h 6523037"/>
                <a:gd name="connsiteX2004" fmla="*/ 11667587 w 12192001"/>
                <a:gd name="connsiteY2004" fmla="*/ 3489666 h 6523037"/>
                <a:gd name="connsiteX2005" fmla="*/ 11937999 w 12192001"/>
                <a:gd name="connsiteY2005" fmla="*/ 3218555 h 6523037"/>
                <a:gd name="connsiteX2006" fmla="*/ 1263319 w 12192001"/>
                <a:gd name="connsiteY2006" fmla="*/ 2953984 h 6523037"/>
                <a:gd name="connsiteX2007" fmla="*/ 1534430 w 12192001"/>
                <a:gd name="connsiteY2007" fmla="*/ 3223697 h 6523037"/>
                <a:gd name="connsiteX2008" fmla="*/ 1531636 w 12192001"/>
                <a:gd name="connsiteY2008" fmla="*/ 3226492 h 6523037"/>
                <a:gd name="connsiteX2009" fmla="*/ 1441498 w 12192001"/>
                <a:gd name="connsiteY2009" fmla="*/ 3317328 h 6523037"/>
                <a:gd name="connsiteX2010" fmla="*/ 1264018 w 12192001"/>
                <a:gd name="connsiteY2010" fmla="*/ 3494808 h 6523037"/>
                <a:gd name="connsiteX2011" fmla="*/ 1528141 w 12192001"/>
                <a:gd name="connsiteY2011" fmla="*/ 3494808 h 6523037"/>
                <a:gd name="connsiteX2012" fmla="*/ 1617580 w 12192001"/>
                <a:gd name="connsiteY2012" fmla="*/ 3405369 h 6523037"/>
                <a:gd name="connsiteX2013" fmla="*/ 1798553 w 12192001"/>
                <a:gd name="connsiteY2013" fmla="*/ 3224396 h 6523037"/>
                <a:gd name="connsiteX2014" fmla="*/ 1527442 w 12192001"/>
                <a:gd name="connsiteY2014" fmla="*/ 2953984 h 6523037"/>
                <a:gd name="connsiteX2015" fmla="*/ 714809 w 12192001"/>
                <a:gd name="connsiteY2015" fmla="*/ 2953984 h 6523037"/>
                <a:gd name="connsiteX2016" fmla="*/ 843377 w 12192001"/>
                <a:gd name="connsiteY2016" fmla="*/ 3082552 h 6523037"/>
                <a:gd name="connsiteX2017" fmla="*/ 985221 w 12192001"/>
                <a:gd name="connsiteY2017" fmla="*/ 3224396 h 6523037"/>
                <a:gd name="connsiteX2018" fmla="*/ 714809 w 12192001"/>
                <a:gd name="connsiteY2018" fmla="*/ 3495507 h 6523037"/>
                <a:gd name="connsiteX2019" fmla="*/ 978932 w 12192001"/>
                <a:gd name="connsiteY2019" fmla="*/ 3495507 h 6523037"/>
                <a:gd name="connsiteX2020" fmla="*/ 1249344 w 12192001"/>
                <a:gd name="connsiteY2020" fmla="*/ 3224396 h 6523037"/>
                <a:gd name="connsiteX2021" fmla="*/ 1244453 w 12192001"/>
                <a:gd name="connsiteY2021" fmla="*/ 3219505 h 6523037"/>
                <a:gd name="connsiteX2022" fmla="*/ 978932 w 12192001"/>
                <a:gd name="connsiteY2022" fmla="*/ 2953984 h 6523037"/>
                <a:gd name="connsiteX2023" fmla="*/ 164902 w 12192001"/>
                <a:gd name="connsiteY2023" fmla="*/ 2953984 h 6523037"/>
                <a:gd name="connsiteX2024" fmla="*/ 436013 w 12192001"/>
                <a:gd name="connsiteY2024" fmla="*/ 3223697 h 6523037"/>
                <a:gd name="connsiteX2025" fmla="*/ 433217 w 12192001"/>
                <a:gd name="connsiteY2025" fmla="*/ 3226492 h 6523037"/>
                <a:gd name="connsiteX2026" fmla="*/ 343079 w 12192001"/>
                <a:gd name="connsiteY2026" fmla="*/ 3317328 h 6523037"/>
                <a:gd name="connsiteX2027" fmla="*/ 165601 w 12192001"/>
                <a:gd name="connsiteY2027" fmla="*/ 3494808 h 6523037"/>
                <a:gd name="connsiteX2028" fmla="*/ 429724 w 12192001"/>
                <a:gd name="connsiteY2028" fmla="*/ 3494808 h 6523037"/>
                <a:gd name="connsiteX2029" fmla="*/ 519162 w 12192001"/>
                <a:gd name="connsiteY2029" fmla="*/ 3405369 h 6523037"/>
                <a:gd name="connsiteX2030" fmla="*/ 700136 w 12192001"/>
                <a:gd name="connsiteY2030" fmla="*/ 3224396 h 6523037"/>
                <a:gd name="connsiteX2031" fmla="*/ 429025 w 12192001"/>
                <a:gd name="connsiteY2031" fmla="*/ 2953984 h 6523037"/>
                <a:gd name="connsiteX2032" fmla="*/ 2908151 w 12192001"/>
                <a:gd name="connsiteY2032" fmla="*/ 2953285 h 6523037"/>
                <a:gd name="connsiteX2033" fmla="*/ 3179262 w 12192001"/>
                <a:gd name="connsiteY2033" fmla="*/ 3223697 h 6523037"/>
                <a:gd name="connsiteX2034" fmla="*/ 2908850 w 12192001"/>
                <a:gd name="connsiteY2034" fmla="*/ 3494808 h 6523037"/>
                <a:gd name="connsiteX2035" fmla="*/ 3107292 w 12192001"/>
                <a:gd name="connsiteY2035" fmla="*/ 3494808 h 6523037"/>
                <a:gd name="connsiteX2036" fmla="*/ 3103798 w 12192001"/>
                <a:gd name="connsiteY2036" fmla="*/ 3501795 h 6523037"/>
                <a:gd name="connsiteX2037" fmla="*/ 2908850 w 12192001"/>
                <a:gd name="connsiteY2037" fmla="*/ 3501795 h 6523037"/>
                <a:gd name="connsiteX2038" fmla="*/ 3038815 w 12192001"/>
                <a:gd name="connsiteY2038" fmla="*/ 3631761 h 6523037"/>
                <a:gd name="connsiteX2039" fmla="*/ 3035322 w 12192001"/>
                <a:gd name="connsiteY2039" fmla="*/ 3638748 h 6523037"/>
                <a:gd name="connsiteX2040" fmla="*/ 2894875 w 12192001"/>
                <a:gd name="connsiteY2040" fmla="*/ 3498302 h 6523037"/>
                <a:gd name="connsiteX2041" fmla="*/ 3165287 w 12192001"/>
                <a:gd name="connsiteY2041" fmla="*/ 3227192 h 6523037"/>
                <a:gd name="connsiteX2042" fmla="*/ 2901164 w 12192001"/>
                <a:gd name="connsiteY2042" fmla="*/ 3227192 h 6523037"/>
                <a:gd name="connsiteX2043" fmla="*/ 2630752 w 12192001"/>
                <a:gd name="connsiteY2043" fmla="*/ 3498302 h 6523037"/>
                <a:gd name="connsiteX2044" fmla="*/ 2901863 w 12192001"/>
                <a:gd name="connsiteY2044" fmla="*/ 3768713 h 6523037"/>
                <a:gd name="connsiteX2045" fmla="*/ 2970339 w 12192001"/>
                <a:gd name="connsiteY2045" fmla="*/ 3768713 h 6523037"/>
                <a:gd name="connsiteX2046" fmla="*/ 2966846 w 12192001"/>
                <a:gd name="connsiteY2046" fmla="*/ 3775701 h 6523037"/>
                <a:gd name="connsiteX2047" fmla="*/ 2901863 w 12192001"/>
                <a:gd name="connsiteY2047" fmla="*/ 3775701 h 6523037"/>
                <a:gd name="connsiteX2048" fmla="*/ 2721588 w 12192001"/>
                <a:gd name="connsiteY2048" fmla="*/ 3956675 h 6523037"/>
                <a:gd name="connsiteX2049" fmla="*/ 2633317 w 12192001"/>
                <a:gd name="connsiteY2049" fmla="*/ 4045637 h 6523037"/>
                <a:gd name="connsiteX2050" fmla="*/ 2902751 w 12192001"/>
                <a:gd name="connsiteY2050" fmla="*/ 4314377 h 6523037"/>
                <a:gd name="connsiteX2051" fmla="*/ 3165477 w 12192001"/>
                <a:gd name="connsiteY2051" fmla="*/ 4314377 h 6523037"/>
                <a:gd name="connsiteX2052" fmla="*/ 3036210 w 12192001"/>
                <a:gd name="connsiteY2052" fmla="*/ 4185111 h 6523037"/>
                <a:gd name="connsiteX2053" fmla="*/ 3036909 w 12192001"/>
                <a:gd name="connsiteY2053" fmla="*/ 4184412 h 6523037"/>
                <a:gd name="connsiteX2054" fmla="*/ 2942163 w 12192001"/>
                <a:gd name="connsiteY2054" fmla="*/ 4090134 h 6523037"/>
                <a:gd name="connsiteX2055" fmla="*/ 2940992 w 12192001"/>
                <a:gd name="connsiteY2055" fmla="*/ 4090134 h 6523037"/>
                <a:gd name="connsiteX2056" fmla="*/ 2896273 w 12192001"/>
                <a:gd name="connsiteY2056" fmla="*/ 4045415 h 6523037"/>
                <a:gd name="connsiteX2057" fmla="*/ 2896745 w 12192001"/>
                <a:gd name="connsiteY2057" fmla="*/ 4044942 h 6523037"/>
                <a:gd name="connsiteX2058" fmla="*/ 2895764 w 12192001"/>
                <a:gd name="connsiteY2058" fmla="*/ 4043965 h 6523037"/>
                <a:gd name="connsiteX2059" fmla="*/ 3070448 w 12192001"/>
                <a:gd name="connsiteY2059" fmla="*/ 3868581 h 6523037"/>
                <a:gd name="connsiteX2060" fmla="*/ 3072651 w 12192001"/>
                <a:gd name="connsiteY2060" fmla="*/ 3868581 h 6523037"/>
                <a:gd name="connsiteX2061" fmla="*/ 3165986 w 12192001"/>
                <a:gd name="connsiteY2061" fmla="*/ 3775003 h 6523037"/>
                <a:gd name="connsiteX2062" fmla="*/ 2967543 w 12192001"/>
                <a:gd name="connsiteY2062" fmla="*/ 3775003 h 6523037"/>
                <a:gd name="connsiteX2063" fmla="*/ 2971038 w 12192001"/>
                <a:gd name="connsiteY2063" fmla="*/ 3768015 h 6523037"/>
                <a:gd name="connsiteX2064" fmla="*/ 3165986 w 12192001"/>
                <a:gd name="connsiteY2064" fmla="*/ 3768015 h 6523037"/>
                <a:gd name="connsiteX2065" fmla="*/ 3036021 w 12192001"/>
                <a:gd name="connsiteY2065" fmla="*/ 3638050 h 6523037"/>
                <a:gd name="connsiteX2066" fmla="*/ 3039514 w 12192001"/>
                <a:gd name="connsiteY2066" fmla="*/ 3631063 h 6523037"/>
                <a:gd name="connsiteX2067" fmla="*/ 3179961 w 12192001"/>
                <a:gd name="connsiteY2067" fmla="*/ 3771509 h 6523037"/>
                <a:gd name="connsiteX2068" fmla="*/ 2912388 w 12192001"/>
                <a:gd name="connsiteY2068" fmla="*/ 4039773 h 6523037"/>
                <a:gd name="connsiteX2069" fmla="*/ 3173163 w 12192001"/>
                <a:gd name="connsiteY2069" fmla="*/ 4039773 h 6523037"/>
                <a:gd name="connsiteX2070" fmla="*/ 3262601 w 12192001"/>
                <a:gd name="connsiteY2070" fmla="*/ 3950334 h 6523037"/>
                <a:gd name="connsiteX2071" fmla="*/ 3344354 w 12192001"/>
                <a:gd name="connsiteY2071" fmla="*/ 3868581 h 6523037"/>
                <a:gd name="connsiteX2072" fmla="*/ 3347262 w 12192001"/>
                <a:gd name="connsiteY2072" fmla="*/ 3868581 h 6523037"/>
                <a:gd name="connsiteX2073" fmla="*/ 3444084 w 12192001"/>
                <a:gd name="connsiteY2073" fmla="*/ 3771509 h 6523037"/>
                <a:gd name="connsiteX2074" fmla="*/ 3172973 w 12192001"/>
                <a:gd name="connsiteY2074" fmla="*/ 3501795 h 6523037"/>
                <a:gd name="connsiteX2075" fmla="*/ 3104497 w 12192001"/>
                <a:gd name="connsiteY2075" fmla="*/ 3501795 h 6523037"/>
                <a:gd name="connsiteX2076" fmla="*/ 3107990 w 12192001"/>
                <a:gd name="connsiteY2076" fmla="*/ 3494808 h 6523037"/>
                <a:gd name="connsiteX2077" fmla="*/ 3172973 w 12192001"/>
                <a:gd name="connsiteY2077" fmla="*/ 3494808 h 6523037"/>
                <a:gd name="connsiteX2078" fmla="*/ 3443385 w 12192001"/>
                <a:gd name="connsiteY2078" fmla="*/ 3223697 h 6523037"/>
                <a:gd name="connsiteX2079" fmla="*/ 3309227 w 12192001"/>
                <a:gd name="connsiteY2079" fmla="*/ 3090238 h 6523037"/>
                <a:gd name="connsiteX2080" fmla="*/ 3172275 w 12192001"/>
                <a:gd name="connsiteY2080" fmla="*/ 2953285 h 6523037"/>
                <a:gd name="connsiteX2081" fmla="*/ 1811829 w 12192001"/>
                <a:gd name="connsiteY2081" fmla="*/ 2952586 h 6523037"/>
                <a:gd name="connsiteX2082" fmla="*/ 1941795 w 12192001"/>
                <a:gd name="connsiteY2082" fmla="*/ 3082552 h 6523037"/>
                <a:gd name="connsiteX2083" fmla="*/ 2082940 w 12192001"/>
                <a:gd name="connsiteY2083" fmla="*/ 3222998 h 6523037"/>
                <a:gd name="connsiteX2084" fmla="*/ 1812528 w 12192001"/>
                <a:gd name="connsiteY2084" fmla="*/ 3494109 h 6523037"/>
                <a:gd name="connsiteX2085" fmla="*/ 2076652 w 12192001"/>
                <a:gd name="connsiteY2085" fmla="*/ 3494109 h 6523037"/>
                <a:gd name="connsiteX2086" fmla="*/ 2347064 w 12192001"/>
                <a:gd name="connsiteY2086" fmla="*/ 3222998 h 6523037"/>
                <a:gd name="connsiteX2087" fmla="*/ 2075953 w 12192001"/>
                <a:gd name="connsiteY2087" fmla="*/ 2952586 h 6523037"/>
                <a:gd name="connsiteX2088" fmla="*/ 2360340 w 12192001"/>
                <a:gd name="connsiteY2088" fmla="*/ 2951889 h 6523037"/>
                <a:gd name="connsiteX2089" fmla="*/ 2631451 w 12192001"/>
                <a:gd name="connsiteY2089" fmla="*/ 3222301 h 6523037"/>
                <a:gd name="connsiteX2090" fmla="*/ 2361039 w 12192001"/>
                <a:gd name="connsiteY2090" fmla="*/ 3493410 h 6523037"/>
                <a:gd name="connsiteX2091" fmla="*/ 2625162 w 12192001"/>
                <a:gd name="connsiteY2091" fmla="*/ 3493410 h 6523037"/>
                <a:gd name="connsiteX2092" fmla="*/ 2895574 w 12192001"/>
                <a:gd name="connsiteY2092" fmla="*/ 3222301 h 6523037"/>
                <a:gd name="connsiteX2093" fmla="*/ 2624463 w 12192001"/>
                <a:gd name="connsiteY2093" fmla="*/ 2951889 h 6523037"/>
                <a:gd name="connsiteX2094" fmla="*/ 4005871 w 12192001"/>
                <a:gd name="connsiteY2094" fmla="*/ 2951190 h 6523037"/>
                <a:gd name="connsiteX2095" fmla="*/ 4275584 w 12192001"/>
                <a:gd name="connsiteY2095" fmla="*/ 3220204 h 6523037"/>
                <a:gd name="connsiteX2096" fmla="*/ 4272789 w 12192001"/>
                <a:gd name="connsiteY2096" fmla="*/ 3222998 h 6523037"/>
                <a:gd name="connsiteX2097" fmla="*/ 4182652 w 12192001"/>
                <a:gd name="connsiteY2097" fmla="*/ 3313835 h 6523037"/>
                <a:gd name="connsiteX2098" fmla="*/ 4181952 w 12192001"/>
                <a:gd name="connsiteY2098" fmla="*/ 3313835 h 6523037"/>
                <a:gd name="connsiteX2099" fmla="*/ 4005172 w 12192001"/>
                <a:gd name="connsiteY2099" fmla="*/ 3491315 h 6523037"/>
                <a:gd name="connsiteX2100" fmla="*/ 4269296 w 12192001"/>
                <a:gd name="connsiteY2100" fmla="*/ 3491315 h 6523037"/>
                <a:gd name="connsiteX2101" fmla="*/ 4358734 w 12192001"/>
                <a:gd name="connsiteY2101" fmla="*/ 3401876 h 6523037"/>
                <a:gd name="connsiteX2102" fmla="*/ 4359432 w 12192001"/>
                <a:gd name="connsiteY2102" fmla="*/ 3401876 h 6523037"/>
                <a:gd name="connsiteX2103" fmla="*/ 4541105 w 12192001"/>
                <a:gd name="connsiteY2103" fmla="*/ 3221602 h 6523037"/>
                <a:gd name="connsiteX2104" fmla="*/ 4269994 w 12192001"/>
                <a:gd name="connsiteY2104" fmla="*/ 2951190 h 6523037"/>
                <a:gd name="connsiteX2105" fmla="*/ 3457360 w 12192001"/>
                <a:gd name="connsiteY2105" fmla="*/ 2951190 h 6523037"/>
                <a:gd name="connsiteX2106" fmla="*/ 3458059 w 12192001"/>
                <a:gd name="connsiteY2106" fmla="*/ 2951889 h 6523037"/>
                <a:gd name="connsiteX2107" fmla="*/ 3458758 w 12192001"/>
                <a:gd name="connsiteY2107" fmla="*/ 2951889 h 6523037"/>
                <a:gd name="connsiteX2108" fmla="*/ 3727772 w 12192001"/>
                <a:gd name="connsiteY2108" fmla="*/ 3220903 h 6523037"/>
                <a:gd name="connsiteX2109" fmla="*/ 3457360 w 12192001"/>
                <a:gd name="connsiteY2109" fmla="*/ 3492014 h 6523037"/>
                <a:gd name="connsiteX2110" fmla="*/ 3721484 w 12192001"/>
                <a:gd name="connsiteY2110" fmla="*/ 3492014 h 6523037"/>
                <a:gd name="connsiteX2111" fmla="*/ 3991896 w 12192001"/>
                <a:gd name="connsiteY2111" fmla="*/ 3221602 h 6523037"/>
                <a:gd name="connsiteX2112" fmla="*/ 3987005 w 12192001"/>
                <a:gd name="connsiteY2112" fmla="*/ 3216011 h 6523037"/>
                <a:gd name="connsiteX2113" fmla="*/ 3721484 w 12192001"/>
                <a:gd name="connsiteY2113" fmla="*/ 2951190 h 6523037"/>
                <a:gd name="connsiteX2114" fmla="*/ 4554381 w 12192001"/>
                <a:gd name="connsiteY2114" fmla="*/ 2949792 h 6523037"/>
                <a:gd name="connsiteX2115" fmla="*/ 4684346 w 12192001"/>
                <a:gd name="connsiteY2115" fmla="*/ 3079757 h 6523037"/>
                <a:gd name="connsiteX2116" fmla="*/ 4820732 w 12192001"/>
                <a:gd name="connsiteY2116" fmla="*/ 3216141 h 6523037"/>
                <a:gd name="connsiteX2117" fmla="*/ 5082144 w 12192001"/>
                <a:gd name="connsiteY2117" fmla="*/ 3216141 h 6523037"/>
                <a:gd name="connsiteX2118" fmla="*/ 4815107 w 12192001"/>
                <a:gd name="connsiteY2118" fmla="*/ 2949792 h 6523037"/>
                <a:gd name="connsiteX2119" fmla="*/ 5923425 w 12192001"/>
                <a:gd name="connsiteY2119" fmla="*/ 2949222 h 6523037"/>
                <a:gd name="connsiteX2120" fmla="*/ 6194536 w 12192001"/>
                <a:gd name="connsiteY2120" fmla="*/ 3218935 h 6523037"/>
                <a:gd name="connsiteX2121" fmla="*/ 6191742 w 12192001"/>
                <a:gd name="connsiteY2121" fmla="*/ 3221730 h 6523037"/>
                <a:gd name="connsiteX2122" fmla="*/ 6101604 w 12192001"/>
                <a:gd name="connsiteY2122" fmla="*/ 3312566 h 6523037"/>
                <a:gd name="connsiteX2123" fmla="*/ 5924124 w 12192001"/>
                <a:gd name="connsiteY2123" fmla="*/ 3490046 h 6523037"/>
                <a:gd name="connsiteX2124" fmla="*/ 6188247 w 12192001"/>
                <a:gd name="connsiteY2124" fmla="*/ 3490046 h 6523037"/>
                <a:gd name="connsiteX2125" fmla="*/ 6277687 w 12192001"/>
                <a:gd name="connsiteY2125" fmla="*/ 3400607 h 6523037"/>
                <a:gd name="connsiteX2126" fmla="*/ 6458659 w 12192001"/>
                <a:gd name="connsiteY2126" fmla="*/ 3219635 h 6523037"/>
                <a:gd name="connsiteX2127" fmla="*/ 6187548 w 12192001"/>
                <a:gd name="connsiteY2127" fmla="*/ 2949222 h 6523037"/>
                <a:gd name="connsiteX2128" fmla="*/ 5374915 w 12192001"/>
                <a:gd name="connsiteY2128" fmla="*/ 2949222 h 6523037"/>
                <a:gd name="connsiteX2129" fmla="*/ 5503483 w 12192001"/>
                <a:gd name="connsiteY2129" fmla="*/ 3077790 h 6523037"/>
                <a:gd name="connsiteX2130" fmla="*/ 5645327 w 12192001"/>
                <a:gd name="connsiteY2130" fmla="*/ 3219635 h 6523037"/>
                <a:gd name="connsiteX2131" fmla="*/ 5374915 w 12192001"/>
                <a:gd name="connsiteY2131" fmla="*/ 3490745 h 6523037"/>
                <a:gd name="connsiteX2132" fmla="*/ 5639038 w 12192001"/>
                <a:gd name="connsiteY2132" fmla="*/ 3490745 h 6523037"/>
                <a:gd name="connsiteX2133" fmla="*/ 5909450 w 12192001"/>
                <a:gd name="connsiteY2133" fmla="*/ 3219635 h 6523037"/>
                <a:gd name="connsiteX2134" fmla="*/ 5904559 w 12192001"/>
                <a:gd name="connsiteY2134" fmla="*/ 3214743 h 6523037"/>
                <a:gd name="connsiteX2135" fmla="*/ 5639038 w 12192001"/>
                <a:gd name="connsiteY2135" fmla="*/ 2949222 h 6523037"/>
                <a:gd name="connsiteX2136" fmla="*/ 4825009 w 12192001"/>
                <a:gd name="connsiteY2136" fmla="*/ 2949222 h 6523037"/>
                <a:gd name="connsiteX2137" fmla="*/ 5096119 w 12192001"/>
                <a:gd name="connsiteY2137" fmla="*/ 3218935 h 6523037"/>
                <a:gd name="connsiteX2138" fmla="*/ 5093323 w 12192001"/>
                <a:gd name="connsiteY2138" fmla="*/ 3221730 h 6523037"/>
                <a:gd name="connsiteX2139" fmla="*/ 5003186 w 12192001"/>
                <a:gd name="connsiteY2139" fmla="*/ 3312566 h 6523037"/>
                <a:gd name="connsiteX2140" fmla="*/ 4825707 w 12192001"/>
                <a:gd name="connsiteY2140" fmla="*/ 3490046 h 6523037"/>
                <a:gd name="connsiteX2141" fmla="*/ 5089830 w 12192001"/>
                <a:gd name="connsiteY2141" fmla="*/ 3490046 h 6523037"/>
                <a:gd name="connsiteX2142" fmla="*/ 5179268 w 12192001"/>
                <a:gd name="connsiteY2142" fmla="*/ 3400607 h 6523037"/>
                <a:gd name="connsiteX2143" fmla="*/ 5360242 w 12192001"/>
                <a:gd name="connsiteY2143" fmla="*/ 3219635 h 6523037"/>
                <a:gd name="connsiteX2144" fmla="*/ 5089132 w 12192001"/>
                <a:gd name="connsiteY2144" fmla="*/ 2949222 h 6523037"/>
                <a:gd name="connsiteX2145" fmla="*/ 7568257 w 12192001"/>
                <a:gd name="connsiteY2145" fmla="*/ 2948523 h 6523037"/>
                <a:gd name="connsiteX2146" fmla="*/ 7839368 w 12192001"/>
                <a:gd name="connsiteY2146" fmla="*/ 3218935 h 6523037"/>
                <a:gd name="connsiteX2147" fmla="*/ 7568956 w 12192001"/>
                <a:gd name="connsiteY2147" fmla="*/ 3490046 h 6523037"/>
                <a:gd name="connsiteX2148" fmla="*/ 7767398 w 12192001"/>
                <a:gd name="connsiteY2148" fmla="*/ 3490046 h 6523037"/>
                <a:gd name="connsiteX2149" fmla="*/ 7763904 w 12192001"/>
                <a:gd name="connsiteY2149" fmla="*/ 3497033 h 6523037"/>
                <a:gd name="connsiteX2150" fmla="*/ 7568956 w 12192001"/>
                <a:gd name="connsiteY2150" fmla="*/ 3497033 h 6523037"/>
                <a:gd name="connsiteX2151" fmla="*/ 7698921 w 12192001"/>
                <a:gd name="connsiteY2151" fmla="*/ 3626999 h 6523037"/>
                <a:gd name="connsiteX2152" fmla="*/ 7695428 w 12192001"/>
                <a:gd name="connsiteY2152" fmla="*/ 3633986 h 6523037"/>
                <a:gd name="connsiteX2153" fmla="*/ 7554981 w 12192001"/>
                <a:gd name="connsiteY2153" fmla="*/ 3493540 h 6523037"/>
                <a:gd name="connsiteX2154" fmla="*/ 7825393 w 12192001"/>
                <a:gd name="connsiteY2154" fmla="*/ 3222430 h 6523037"/>
                <a:gd name="connsiteX2155" fmla="*/ 7561270 w 12192001"/>
                <a:gd name="connsiteY2155" fmla="*/ 3222430 h 6523037"/>
                <a:gd name="connsiteX2156" fmla="*/ 7290858 w 12192001"/>
                <a:gd name="connsiteY2156" fmla="*/ 3493540 h 6523037"/>
                <a:gd name="connsiteX2157" fmla="*/ 7561969 w 12192001"/>
                <a:gd name="connsiteY2157" fmla="*/ 3763951 h 6523037"/>
                <a:gd name="connsiteX2158" fmla="*/ 7630445 w 12192001"/>
                <a:gd name="connsiteY2158" fmla="*/ 3763951 h 6523037"/>
                <a:gd name="connsiteX2159" fmla="*/ 7626952 w 12192001"/>
                <a:gd name="connsiteY2159" fmla="*/ 3770939 h 6523037"/>
                <a:gd name="connsiteX2160" fmla="*/ 7561969 w 12192001"/>
                <a:gd name="connsiteY2160" fmla="*/ 3770939 h 6523037"/>
                <a:gd name="connsiteX2161" fmla="*/ 7381694 w 12192001"/>
                <a:gd name="connsiteY2161" fmla="*/ 3951913 h 6523037"/>
                <a:gd name="connsiteX2162" fmla="*/ 7293423 w 12192001"/>
                <a:gd name="connsiteY2162" fmla="*/ 4040875 h 6523037"/>
                <a:gd name="connsiteX2163" fmla="*/ 7562857 w 12192001"/>
                <a:gd name="connsiteY2163" fmla="*/ 4309615 h 6523037"/>
                <a:gd name="connsiteX2164" fmla="*/ 7825583 w 12192001"/>
                <a:gd name="connsiteY2164" fmla="*/ 4309615 h 6523037"/>
                <a:gd name="connsiteX2165" fmla="*/ 7696316 w 12192001"/>
                <a:gd name="connsiteY2165" fmla="*/ 4180349 h 6523037"/>
                <a:gd name="connsiteX2166" fmla="*/ 7697015 w 12192001"/>
                <a:gd name="connsiteY2166" fmla="*/ 4179650 h 6523037"/>
                <a:gd name="connsiteX2167" fmla="*/ 7602269 w 12192001"/>
                <a:gd name="connsiteY2167" fmla="*/ 4085372 h 6523037"/>
                <a:gd name="connsiteX2168" fmla="*/ 7601098 w 12192001"/>
                <a:gd name="connsiteY2168" fmla="*/ 4085372 h 6523037"/>
                <a:gd name="connsiteX2169" fmla="*/ 7556379 w 12192001"/>
                <a:gd name="connsiteY2169" fmla="*/ 4040653 h 6523037"/>
                <a:gd name="connsiteX2170" fmla="*/ 7556851 w 12192001"/>
                <a:gd name="connsiteY2170" fmla="*/ 4040180 h 6523037"/>
                <a:gd name="connsiteX2171" fmla="*/ 7555870 w 12192001"/>
                <a:gd name="connsiteY2171" fmla="*/ 4039203 h 6523037"/>
                <a:gd name="connsiteX2172" fmla="*/ 7730554 w 12192001"/>
                <a:gd name="connsiteY2172" fmla="*/ 3863819 h 6523037"/>
                <a:gd name="connsiteX2173" fmla="*/ 7732757 w 12192001"/>
                <a:gd name="connsiteY2173" fmla="*/ 3863819 h 6523037"/>
                <a:gd name="connsiteX2174" fmla="*/ 7826092 w 12192001"/>
                <a:gd name="connsiteY2174" fmla="*/ 3770241 h 6523037"/>
                <a:gd name="connsiteX2175" fmla="*/ 7627649 w 12192001"/>
                <a:gd name="connsiteY2175" fmla="*/ 3770241 h 6523037"/>
                <a:gd name="connsiteX2176" fmla="*/ 7631144 w 12192001"/>
                <a:gd name="connsiteY2176" fmla="*/ 3763253 h 6523037"/>
                <a:gd name="connsiteX2177" fmla="*/ 7826092 w 12192001"/>
                <a:gd name="connsiteY2177" fmla="*/ 3763253 h 6523037"/>
                <a:gd name="connsiteX2178" fmla="*/ 7696127 w 12192001"/>
                <a:gd name="connsiteY2178" fmla="*/ 3633288 h 6523037"/>
                <a:gd name="connsiteX2179" fmla="*/ 7699620 w 12192001"/>
                <a:gd name="connsiteY2179" fmla="*/ 3626301 h 6523037"/>
                <a:gd name="connsiteX2180" fmla="*/ 7840067 w 12192001"/>
                <a:gd name="connsiteY2180" fmla="*/ 3766747 h 6523037"/>
                <a:gd name="connsiteX2181" fmla="*/ 7572494 w 12192001"/>
                <a:gd name="connsiteY2181" fmla="*/ 4035011 h 6523037"/>
                <a:gd name="connsiteX2182" fmla="*/ 7833269 w 12192001"/>
                <a:gd name="connsiteY2182" fmla="*/ 4035011 h 6523037"/>
                <a:gd name="connsiteX2183" fmla="*/ 7922707 w 12192001"/>
                <a:gd name="connsiteY2183" fmla="*/ 3945572 h 6523037"/>
                <a:gd name="connsiteX2184" fmla="*/ 8004460 w 12192001"/>
                <a:gd name="connsiteY2184" fmla="*/ 3863819 h 6523037"/>
                <a:gd name="connsiteX2185" fmla="*/ 8007368 w 12192001"/>
                <a:gd name="connsiteY2185" fmla="*/ 3863819 h 6523037"/>
                <a:gd name="connsiteX2186" fmla="*/ 8104190 w 12192001"/>
                <a:gd name="connsiteY2186" fmla="*/ 3766747 h 6523037"/>
                <a:gd name="connsiteX2187" fmla="*/ 7833079 w 12192001"/>
                <a:gd name="connsiteY2187" fmla="*/ 3497033 h 6523037"/>
                <a:gd name="connsiteX2188" fmla="*/ 7764603 w 12192001"/>
                <a:gd name="connsiteY2188" fmla="*/ 3497033 h 6523037"/>
                <a:gd name="connsiteX2189" fmla="*/ 7768096 w 12192001"/>
                <a:gd name="connsiteY2189" fmla="*/ 3490046 h 6523037"/>
                <a:gd name="connsiteX2190" fmla="*/ 7833079 w 12192001"/>
                <a:gd name="connsiteY2190" fmla="*/ 3490046 h 6523037"/>
                <a:gd name="connsiteX2191" fmla="*/ 8103491 w 12192001"/>
                <a:gd name="connsiteY2191" fmla="*/ 3218935 h 6523037"/>
                <a:gd name="connsiteX2192" fmla="*/ 7969333 w 12192001"/>
                <a:gd name="connsiteY2192" fmla="*/ 3085476 h 6523037"/>
                <a:gd name="connsiteX2193" fmla="*/ 7832381 w 12192001"/>
                <a:gd name="connsiteY2193" fmla="*/ 2948523 h 6523037"/>
                <a:gd name="connsiteX2194" fmla="*/ 6471935 w 12192001"/>
                <a:gd name="connsiteY2194" fmla="*/ 2947824 h 6523037"/>
                <a:gd name="connsiteX2195" fmla="*/ 6601902 w 12192001"/>
                <a:gd name="connsiteY2195" fmla="*/ 3077790 h 6523037"/>
                <a:gd name="connsiteX2196" fmla="*/ 6743046 w 12192001"/>
                <a:gd name="connsiteY2196" fmla="*/ 3218236 h 6523037"/>
                <a:gd name="connsiteX2197" fmla="*/ 6472634 w 12192001"/>
                <a:gd name="connsiteY2197" fmla="*/ 3489347 h 6523037"/>
                <a:gd name="connsiteX2198" fmla="*/ 6736759 w 12192001"/>
                <a:gd name="connsiteY2198" fmla="*/ 3489347 h 6523037"/>
                <a:gd name="connsiteX2199" fmla="*/ 7007170 w 12192001"/>
                <a:gd name="connsiteY2199" fmla="*/ 3218236 h 6523037"/>
                <a:gd name="connsiteX2200" fmla="*/ 6736059 w 12192001"/>
                <a:gd name="connsiteY2200" fmla="*/ 2947824 h 6523037"/>
                <a:gd name="connsiteX2201" fmla="*/ 7020446 w 12192001"/>
                <a:gd name="connsiteY2201" fmla="*/ 2947127 h 6523037"/>
                <a:gd name="connsiteX2202" fmla="*/ 7291557 w 12192001"/>
                <a:gd name="connsiteY2202" fmla="*/ 3217539 h 6523037"/>
                <a:gd name="connsiteX2203" fmla="*/ 7021145 w 12192001"/>
                <a:gd name="connsiteY2203" fmla="*/ 3488648 h 6523037"/>
                <a:gd name="connsiteX2204" fmla="*/ 7285268 w 12192001"/>
                <a:gd name="connsiteY2204" fmla="*/ 3488648 h 6523037"/>
                <a:gd name="connsiteX2205" fmla="*/ 7555680 w 12192001"/>
                <a:gd name="connsiteY2205" fmla="*/ 3217539 h 6523037"/>
                <a:gd name="connsiteX2206" fmla="*/ 7284569 w 12192001"/>
                <a:gd name="connsiteY2206" fmla="*/ 2947127 h 6523037"/>
                <a:gd name="connsiteX2207" fmla="*/ 8665977 w 12192001"/>
                <a:gd name="connsiteY2207" fmla="*/ 2946428 h 6523037"/>
                <a:gd name="connsiteX2208" fmla="*/ 8935690 w 12192001"/>
                <a:gd name="connsiteY2208" fmla="*/ 3215442 h 6523037"/>
                <a:gd name="connsiteX2209" fmla="*/ 8932895 w 12192001"/>
                <a:gd name="connsiteY2209" fmla="*/ 3218236 h 6523037"/>
                <a:gd name="connsiteX2210" fmla="*/ 8842758 w 12192001"/>
                <a:gd name="connsiteY2210" fmla="*/ 3309073 h 6523037"/>
                <a:gd name="connsiteX2211" fmla="*/ 8842058 w 12192001"/>
                <a:gd name="connsiteY2211" fmla="*/ 3309073 h 6523037"/>
                <a:gd name="connsiteX2212" fmla="*/ 8665278 w 12192001"/>
                <a:gd name="connsiteY2212" fmla="*/ 3486553 h 6523037"/>
                <a:gd name="connsiteX2213" fmla="*/ 8929401 w 12192001"/>
                <a:gd name="connsiteY2213" fmla="*/ 3486553 h 6523037"/>
                <a:gd name="connsiteX2214" fmla="*/ 9018840 w 12192001"/>
                <a:gd name="connsiteY2214" fmla="*/ 3397114 h 6523037"/>
                <a:gd name="connsiteX2215" fmla="*/ 9019538 w 12192001"/>
                <a:gd name="connsiteY2215" fmla="*/ 3397114 h 6523037"/>
                <a:gd name="connsiteX2216" fmla="*/ 9201211 w 12192001"/>
                <a:gd name="connsiteY2216" fmla="*/ 3216840 h 6523037"/>
                <a:gd name="connsiteX2217" fmla="*/ 8930100 w 12192001"/>
                <a:gd name="connsiteY2217" fmla="*/ 2946428 h 6523037"/>
                <a:gd name="connsiteX2218" fmla="*/ 8117466 w 12192001"/>
                <a:gd name="connsiteY2218" fmla="*/ 2946428 h 6523037"/>
                <a:gd name="connsiteX2219" fmla="*/ 8118165 w 12192001"/>
                <a:gd name="connsiteY2219" fmla="*/ 2947127 h 6523037"/>
                <a:gd name="connsiteX2220" fmla="*/ 8118864 w 12192001"/>
                <a:gd name="connsiteY2220" fmla="*/ 2947127 h 6523037"/>
                <a:gd name="connsiteX2221" fmla="*/ 8387878 w 12192001"/>
                <a:gd name="connsiteY2221" fmla="*/ 3216141 h 6523037"/>
                <a:gd name="connsiteX2222" fmla="*/ 8117466 w 12192001"/>
                <a:gd name="connsiteY2222" fmla="*/ 3487252 h 6523037"/>
                <a:gd name="connsiteX2223" fmla="*/ 8381590 w 12192001"/>
                <a:gd name="connsiteY2223" fmla="*/ 3487252 h 6523037"/>
                <a:gd name="connsiteX2224" fmla="*/ 8652002 w 12192001"/>
                <a:gd name="connsiteY2224" fmla="*/ 3216840 h 6523037"/>
                <a:gd name="connsiteX2225" fmla="*/ 8647111 w 12192001"/>
                <a:gd name="connsiteY2225" fmla="*/ 3211249 h 6523037"/>
                <a:gd name="connsiteX2226" fmla="*/ 8381590 w 12192001"/>
                <a:gd name="connsiteY2226" fmla="*/ 2946428 h 6523037"/>
                <a:gd name="connsiteX2227" fmla="*/ 10583842 w 12192001"/>
                <a:gd name="connsiteY2227" fmla="*/ 2946047 h 6523037"/>
                <a:gd name="connsiteX2228" fmla="*/ 10854953 w 12192001"/>
                <a:gd name="connsiteY2228" fmla="*/ 3215760 h 6523037"/>
                <a:gd name="connsiteX2229" fmla="*/ 10852159 w 12192001"/>
                <a:gd name="connsiteY2229" fmla="*/ 3218555 h 6523037"/>
                <a:gd name="connsiteX2230" fmla="*/ 10762021 w 12192001"/>
                <a:gd name="connsiteY2230" fmla="*/ 3309391 h 6523037"/>
                <a:gd name="connsiteX2231" fmla="*/ 10584541 w 12192001"/>
                <a:gd name="connsiteY2231" fmla="*/ 3486871 h 6523037"/>
                <a:gd name="connsiteX2232" fmla="*/ 10848664 w 12192001"/>
                <a:gd name="connsiteY2232" fmla="*/ 3486871 h 6523037"/>
                <a:gd name="connsiteX2233" fmla="*/ 10938103 w 12192001"/>
                <a:gd name="connsiteY2233" fmla="*/ 3397432 h 6523037"/>
                <a:gd name="connsiteX2234" fmla="*/ 11119076 w 12192001"/>
                <a:gd name="connsiteY2234" fmla="*/ 3216459 h 6523037"/>
                <a:gd name="connsiteX2235" fmla="*/ 10847965 w 12192001"/>
                <a:gd name="connsiteY2235" fmla="*/ 2946047 h 6523037"/>
                <a:gd name="connsiteX2236" fmla="*/ 10035332 w 12192001"/>
                <a:gd name="connsiteY2236" fmla="*/ 2946047 h 6523037"/>
                <a:gd name="connsiteX2237" fmla="*/ 10163900 w 12192001"/>
                <a:gd name="connsiteY2237" fmla="*/ 3074615 h 6523037"/>
                <a:gd name="connsiteX2238" fmla="*/ 10305744 w 12192001"/>
                <a:gd name="connsiteY2238" fmla="*/ 3216459 h 6523037"/>
                <a:gd name="connsiteX2239" fmla="*/ 10035332 w 12192001"/>
                <a:gd name="connsiteY2239" fmla="*/ 3487570 h 6523037"/>
                <a:gd name="connsiteX2240" fmla="*/ 10299455 w 12192001"/>
                <a:gd name="connsiteY2240" fmla="*/ 3487570 h 6523037"/>
                <a:gd name="connsiteX2241" fmla="*/ 10569867 w 12192001"/>
                <a:gd name="connsiteY2241" fmla="*/ 3216459 h 6523037"/>
                <a:gd name="connsiteX2242" fmla="*/ 10564976 w 12192001"/>
                <a:gd name="connsiteY2242" fmla="*/ 3211568 h 6523037"/>
                <a:gd name="connsiteX2243" fmla="*/ 10299455 w 12192001"/>
                <a:gd name="connsiteY2243" fmla="*/ 2946047 h 6523037"/>
                <a:gd name="connsiteX2244" fmla="*/ 9485425 w 12192001"/>
                <a:gd name="connsiteY2244" fmla="*/ 2946047 h 6523037"/>
                <a:gd name="connsiteX2245" fmla="*/ 9756536 w 12192001"/>
                <a:gd name="connsiteY2245" fmla="*/ 3215760 h 6523037"/>
                <a:gd name="connsiteX2246" fmla="*/ 9753740 w 12192001"/>
                <a:gd name="connsiteY2246" fmla="*/ 3218555 h 6523037"/>
                <a:gd name="connsiteX2247" fmla="*/ 9663602 w 12192001"/>
                <a:gd name="connsiteY2247" fmla="*/ 3309391 h 6523037"/>
                <a:gd name="connsiteX2248" fmla="*/ 9486124 w 12192001"/>
                <a:gd name="connsiteY2248" fmla="*/ 3486871 h 6523037"/>
                <a:gd name="connsiteX2249" fmla="*/ 9750247 w 12192001"/>
                <a:gd name="connsiteY2249" fmla="*/ 3486871 h 6523037"/>
                <a:gd name="connsiteX2250" fmla="*/ 9839685 w 12192001"/>
                <a:gd name="connsiteY2250" fmla="*/ 3397432 h 6523037"/>
                <a:gd name="connsiteX2251" fmla="*/ 10020659 w 12192001"/>
                <a:gd name="connsiteY2251" fmla="*/ 3216459 h 6523037"/>
                <a:gd name="connsiteX2252" fmla="*/ 9749548 w 12192001"/>
                <a:gd name="connsiteY2252" fmla="*/ 2946047 h 6523037"/>
                <a:gd name="connsiteX2253" fmla="*/ 9214487 w 12192001"/>
                <a:gd name="connsiteY2253" fmla="*/ 2945031 h 6523037"/>
                <a:gd name="connsiteX2254" fmla="*/ 9344452 w 12192001"/>
                <a:gd name="connsiteY2254" fmla="*/ 3074995 h 6523037"/>
                <a:gd name="connsiteX2255" fmla="*/ 9482424 w 12192001"/>
                <a:gd name="connsiteY2255" fmla="*/ 3212966 h 6523037"/>
                <a:gd name="connsiteX2256" fmla="*/ 9742561 w 12192001"/>
                <a:gd name="connsiteY2256" fmla="*/ 3212966 h 6523037"/>
                <a:gd name="connsiteX2257" fmla="*/ 9473932 w 12192001"/>
                <a:gd name="connsiteY2257" fmla="*/ 2945031 h 6523037"/>
                <a:gd name="connsiteX2258" fmla="*/ 11132352 w 12192001"/>
                <a:gd name="connsiteY2258" fmla="*/ 2944649 h 6523037"/>
                <a:gd name="connsiteX2259" fmla="*/ 11262318 w 12192001"/>
                <a:gd name="connsiteY2259" fmla="*/ 3074615 h 6523037"/>
                <a:gd name="connsiteX2260" fmla="*/ 11403463 w 12192001"/>
                <a:gd name="connsiteY2260" fmla="*/ 3215061 h 6523037"/>
                <a:gd name="connsiteX2261" fmla="*/ 11133051 w 12192001"/>
                <a:gd name="connsiteY2261" fmla="*/ 3486172 h 6523037"/>
                <a:gd name="connsiteX2262" fmla="*/ 11397175 w 12192001"/>
                <a:gd name="connsiteY2262" fmla="*/ 3486172 h 6523037"/>
                <a:gd name="connsiteX2263" fmla="*/ 11667587 w 12192001"/>
                <a:gd name="connsiteY2263" fmla="*/ 3215061 h 6523037"/>
                <a:gd name="connsiteX2264" fmla="*/ 11396476 w 12192001"/>
                <a:gd name="connsiteY2264" fmla="*/ 2944649 h 6523037"/>
                <a:gd name="connsiteX2265" fmla="*/ 1255633 w 12192001"/>
                <a:gd name="connsiteY2265" fmla="*/ 2679380 h 6523037"/>
                <a:gd name="connsiteX2266" fmla="*/ 985221 w 12192001"/>
                <a:gd name="connsiteY2266" fmla="*/ 2950491 h 6523037"/>
                <a:gd name="connsiteX2267" fmla="*/ 1256332 w 12192001"/>
                <a:gd name="connsiteY2267" fmla="*/ 3220903 h 6523037"/>
                <a:gd name="connsiteX2268" fmla="*/ 1520455 w 12192001"/>
                <a:gd name="connsiteY2268" fmla="*/ 3220903 h 6523037"/>
                <a:gd name="connsiteX2269" fmla="*/ 1249344 w 12192001"/>
                <a:gd name="connsiteY2269" fmla="*/ 2950491 h 6523037"/>
                <a:gd name="connsiteX2270" fmla="*/ 1519757 w 12192001"/>
                <a:gd name="connsiteY2270" fmla="*/ 2679380 h 6523037"/>
                <a:gd name="connsiteX2271" fmla="*/ 1804143 w 12192001"/>
                <a:gd name="connsiteY2271" fmla="*/ 2678681 h 6523037"/>
                <a:gd name="connsiteX2272" fmla="*/ 1533731 w 12192001"/>
                <a:gd name="connsiteY2272" fmla="*/ 2949792 h 6523037"/>
                <a:gd name="connsiteX2273" fmla="*/ 1805541 w 12192001"/>
                <a:gd name="connsiteY2273" fmla="*/ 3220204 h 6523037"/>
                <a:gd name="connsiteX2274" fmla="*/ 2068965 w 12192001"/>
                <a:gd name="connsiteY2274" fmla="*/ 3220204 h 6523037"/>
                <a:gd name="connsiteX2275" fmla="*/ 1938301 w 12192001"/>
                <a:gd name="connsiteY2275" fmla="*/ 3090238 h 6523037"/>
                <a:gd name="connsiteX2276" fmla="*/ 1797854 w 12192001"/>
                <a:gd name="connsiteY2276" fmla="*/ 2949792 h 6523037"/>
                <a:gd name="connsiteX2277" fmla="*/ 2068266 w 12192001"/>
                <a:gd name="connsiteY2277" fmla="*/ 2678681 h 6523037"/>
                <a:gd name="connsiteX2278" fmla="*/ 705027 w 12192001"/>
                <a:gd name="connsiteY2278" fmla="*/ 2678681 h 6523037"/>
                <a:gd name="connsiteX2279" fmla="*/ 434615 w 12192001"/>
                <a:gd name="connsiteY2279" fmla="*/ 2949792 h 6523037"/>
                <a:gd name="connsiteX2280" fmla="*/ 705726 w 12192001"/>
                <a:gd name="connsiteY2280" fmla="*/ 3220204 h 6523037"/>
                <a:gd name="connsiteX2281" fmla="*/ 774202 w 12192001"/>
                <a:gd name="connsiteY2281" fmla="*/ 3220204 h 6523037"/>
                <a:gd name="connsiteX2282" fmla="*/ 773503 w 12192001"/>
                <a:gd name="connsiteY2282" fmla="*/ 3221602 h 6523037"/>
                <a:gd name="connsiteX2283" fmla="*/ 971247 w 12192001"/>
                <a:gd name="connsiteY2283" fmla="*/ 3221602 h 6523037"/>
                <a:gd name="connsiteX2284" fmla="*/ 839884 w 12192001"/>
                <a:gd name="connsiteY2284" fmla="*/ 3090238 h 6523037"/>
                <a:gd name="connsiteX2285" fmla="*/ 699437 w 12192001"/>
                <a:gd name="connsiteY2285" fmla="*/ 2949792 h 6523037"/>
                <a:gd name="connsiteX2286" fmla="*/ 968451 w 12192001"/>
                <a:gd name="connsiteY2286" fmla="*/ 2680079 h 6523037"/>
                <a:gd name="connsiteX2287" fmla="*/ 772105 w 12192001"/>
                <a:gd name="connsiteY2287" fmla="*/ 2680079 h 6523037"/>
                <a:gd name="connsiteX2288" fmla="*/ 772804 w 12192001"/>
                <a:gd name="connsiteY2288" fmla="*/ 2678681 h 6523037"/>
                <a:gd name="connsiteX2289" fmla="*/ 2352653 w 12192001"/>
                <a:gd name="connsiteY2289" fmla="*/ 2677982 h 6523037"/>
                <a:gd name="connsiteX2290" fmla="*/ 2082241 w 12192001"/>
                <a:gd name="connsiteY2290" fmla="*/ 2949093 h 6523037"/>
                <a:gd name="connsiteX2291" fmla="*/ 2353352 w 12192001"/>
                <a:gd name="connsiteY2291" fmla="*/ 3219505 h 6523037"/>
                <a:gd name="connsiteX2292" fmla="*/ 2617476 w 12192001"/>
                <a:gd name="connsiteY2292" fmla="*/ 3219505 h 6523037"/>
                <a:gd name="connsiteX2293" fmla="*/ 2346365 w 12192001"/>
                <a:gd name="connsiteY2293" fmla="*/ 2949093 h 6523037"/>
                <a:gd name="connsiteX2294" fmla="*/ 2616777 w 12192001"/>
                <a:gd name="connsiteY2294" fmla="*/ 2677982 h 6523037"/>
                <a:gd name="connsiteX2295" fmla="*/ 3998184 w 12192001"/>
                <a:gd name="connsiteY2295" fmla="*/ 2675886 h 6523037"/>
                <a:gd name="connsiteX2296" fmla="*/ 3727772 w 12192001"/>
                <a:gd name="connsiteY2296" fmla="*/ 2946997 h 6523037"/>
                <a:gd name="connsiteX2297" fmla="*/ 3998883 w 12192001"/>
                <a:gd name="connsiteY2297" fmla="*/ 3217408 h 6523037"/>
                <a:gd name="connsiteX2298" fmla="*/ 4263007 w 12192001"/>
                <a:gd name="connsiteY2298" fmla="*/ 3217408 h 6523037"/>
                <a:gd name="connsiteX2299" fmla="*/ 3991896 w 12192001"/>
                <a:gd name="connsiteY2299" fmla="*/ 2946997 h 6523037"/>
                <a:gd name="connsiteX2300" fmla="*/ 4262309 w 12192001"/>
                <a:gd name="connsiteY2300" fmla="*/ 2675886 h 6523037"/>
                <a:gd name="connsiteX2301" fmla="*/ 4546696 w 12192001"/>
                <a:gd name="connsiteY2301" fmla="*/ 2675187 h 6523037"/>
                <a:gd name="connsiteX2302" fmla="*/ 4276283 w 12192001"/>
                <a:gd name="connsiteY2302" fmla="*/ 2946297 h 6523037"/>
                <a:gd name="connsiteX2303" fmla="*/ 4547394 w 12192001"/>
                <a:gd name="connsiteY2303" fmla="*/ 3216709 h 6523037"/>
                <a:gd name="connsiteX2304" fmla="*/ 4809087 w 12192001"/>
                <a:gd name="connsiteY2304" fmla="*/ 3216709 h 6523037"/>
                <a:gd name="connsiteX2305" fmla="*/ 4806841 w 12192001"/>
                <a:gd name="connsiteY2305" fmla="*/ 3214743 h 6523037"/>
                <a:gd name="connsiteX2306" fmla="*/ 4660106 w 12192001"/>
                <a:gd name="connsiteY2306" fmla="*/ 3068707 h 6523037"/>
                <a:gd name="connsiteX2307" fmla="*/ 4660106 w 12192001"/>
                <a:gd name="connsiteY2307" fmla="*/ 3065999 h 6523037"/>
                <a:gd name="connsiteX2308" fmla="*/ 4540406 w 12192001"/>
                <a:gd name="connsiteY2308" fmla="*/ 2946297 h 6523037"/>
                <a:gd name="connsiteX2309" fmla="*/ 4660106 w 12192001"/>
                <a:gd name="connsiteY2309" fmla="*/ 2826288 h 6523037"/>
                <a:gd name="connsiteX2310" fmla="*/ 4660106 w 12192001"/>
                <a:gd name="connsiteY2310" fmla="*/ 2822050 h 6523037"/>
                <a:gd name="connsiteX2311" fmla="*/ 4806970 w 12192001"/>
                <a:gd name="connsiteY2311" fmla="*/ 2675187 h 6523037"/>
                <a:gd name="connsiteX2312" fmla="*/ 5915740 w 12192001"/>
                <a:gd name="connsiteY2312" fmla="*/ 2674618 h 6523037"/>
                <a:gd name="connsiteX2313" fmla="*/ 5645327 w 12192001"/>
                <a:gd name="connsiteY2313" fmla="*/ 2945729 h 6523037"/>
                <a:gd name="connsiteX2314" fmla="*/ 5916438 w 12192001"/>
                <a:gd name="connsiteY2314" fmla="*/ 3216141 h 6523037"/>
                <a:gd name="connsiteX2315" fmla="*/ 6180561 w 12192001"/>
                <a:gd name="connsiteY2315" fmla="*/ 3216141 h 6523037"/>
                <a:gd name="connsiteX2316" fmla="*/ 5909450 w 12192001"/>
                <a:gd name="connsiteY2316" fmla="*/ 2945729 h 6523037"/>
                <a:gd name="connsiteX2317" fmla="*/ 6179863 w 12192001"/>
                <a:gd name="connsiteY2317" fmla="*/ 2674618 h 6523037"/>
                <a:gd name="connsiteX2318" fmla="*/ 4821179 w 12192001"/>
                <a:gd name="connsiteY2318" fmla="*/ 2674618 h 6523037"/>
                <a:gd name="connsiteX2319" fmla="*/ 4554381 w 12192001"/>
                <a:gd name="connsiteY2319" fmla="*/ 2942106 h 6523037"/>
                <a:gd name="connsiteX2320" fmla="*/ 4814648 w 12192001"/>
                <a:gd name="connsiteY2320" fmla="*/ 2942106 h 6523037"/>
                <a:gd name="connsiteX2321" fmla="*/ 5081446 w 12192001"/>
                <a:gd name="connsiteY2321" fmla="*/ 2674618 h 6523037"/>
                <a:gd name="connsiteX2322" fmla="*/ 6464250 w 12192001"/>
                <a:gd name="connsiteY2322" fmla="*/ 2673919 h 6523037"/>
                <a:gd name="connsiteX2323" fmla="*/ 6193838 w 12192001"/>
                <a:gd name="connsiteY2323" fmla="*/ 2945031 h 6523037"/>
                <a:gd name="connsiteX2324" fmla="*/ 6465647 w 12192001"/>
                <a:gd name="connsiteY2324" fmla="*/ 3215442 h 6523037"/>
                <a:gd name="connsiteX2325" fmla="*/ 6729071 w 12192001"/>
                <a:gd name="connsiteY2325" fmla="*/ 3215442 h 6523037"/>
                <a:gd name="connsiteX2326" fmla="*/ 6598407 w 12192001"/>
                <a:gd name="connsiteY2326" fmla="*/ 3085476 h 6523037"/>
                <a:gd name="connsiteX2327" fmla="*/ 6457961 w 12192001"/>
                <a:gd name="connsiteY2327" fmla="*/ 2945031 h 6523037"/>
                <a:gd name="connsiteX2328" fmla="*/ 6728373 w 12192001"/>
                <a:gd name="connsiteY2328" fmla="*/ 2673919 h 6523037"/>
                <a:gd name="connsiteX2329" fmla="*/ 5365133 w 12192001"/>
                <a:gd name="connsiteY2329" fmla="*/ 2673919 h 6523037"/>
                <a:gd name="connsiteX2330" fmla="*/ 5094721 w 12192001"/>
                <a:gd name="connsiteY2330" fmla="*/ 2945031 h 6523037"/>
                <a:gd name="connsiteX2331" fmla="*/ 5365832 w 12192001"/>
                <a:gd name="connsiteY2331" fmla="*/ 3215442 h 6523037"/>
                <a:gd name="connsiteX2332" fmla="*/ 5434309 w 12192001"/>
                <a:gd name="connsiteY2332" fmla="*/ 3215442 h 6523037"/>
                <a:gd name="connsiteX2333" fmla="*/ 5433609 w 12192001"/>
                <a:gd name="connsiteY2333" fmla="*/ 3216840 h 6523037"/>
                <a:gd name="connsiteX2334" fmla="*/ 5631353 w 12192001"/>
                <a:gd name="connsiteY2334" fmla="*/ 3216840 h 6523037"/>
                <a:gd name="connsiteX2335" fmla="*/ 5499990 w 12192001"/>
                <a:gd name="connsiteY2335" fmla="*/ 3085476 h 6523037"/>
                <a:gd name="connsiteX2336" fmla="*/ 5359544 w 12192001"/>
                <a:gd name="connsiteY2336" fmla="*/ 2945031 h 6523037"/>
                <a:gd name="connsiteX2337" fmla="*/ 5628558 w 12192001"/>
                <a:gd name="connsiteY2337" fmla="*/ 2675317 h 6523037"/>
                <a:gd name="connsiteX2338" fmla="*/ 5432211 w 12192001"/>
                <a:gd name="connsiteY2338" fmla="*/ 2675317 h 6523037"/>
                <a:gd name="connsiteX2339" fmla="*/ 5432910 w 12192001"/>
                <a:gd name="connsiteY2339" fmla="*/ 2673919 h 6523037"/>
                <a:gd name="connsiteX2340" fmla="*/ 7012759 w 12192001"/>
                <a:gd name="connsiteY2340" fmla="*/ 2673220 h 6523037"/>
                <a:gd name="connsiteX2341" fmla="*/ 6742348 w 12192001"/>
                <a:gd name="connsiteY2341" fmla="*/ 2944331 h 6523037"/>
                <a:gd name="connsiteX2342" fmla="*/ 7013458 w 12192001"/>
                <a:gd name="connsiteY2342" fmla="*/ 3214743 h 6523037"/>
                <a:gd name="connsiteX2343" fmla="*/ 7277582 w 12192001"/>
                <a:gd name="connsiteY2343" fmla="*/ 3214743 h 6523037"/>
                <a:gd name="connsiteX2344" fmla="*/ 7006471 w 12192001"/>
                <a:gd name="connsiteY2344" fmla="*/ 2944331 h 6523037"/>
                <a:gd name="connsiteX2345" fmla="*/ 7276883 w 12192001"/>
                <a:gd name="connsiteY2345" fmla="*/ 2673220 h 6523037"/>
                <a:gd name="connsiteX2346" fmla="*/ 10576156 w 12192001"/>
                <a:gd name="connsiteY2346" fmla="*/ 2671443 h 6523037"/>
                <a:gd name="connsiteX2347" fmla="*/ 10305744 w 12192001"/>
                <a:gd name="connsiteY2347" fmla="*/ 2942554 h 6523037"/>
                <a:gd name="connsiteX2348" fmla="*/ 10576855 w 12192001"/>
                <a:gd name="connsiteY2348" fmla="*/ 3212966 h 6523037"/>
                <a:gd name="connsiteX2349" fmla="*/ 10840978 w 12192001"/>
                <a:gd name="connsiteY2349" fmla="*/ 3212966 h 6523037"/>
                <a:gd name="connsiteX2350" fmla="*/ 10569867 w 12192001"/>
                <a:gd name="connsiteY2350" fmla="*/ 2942554 h 6523037"/>
                <a:gd name="connsiteX2351" fmla="*/ 10840280 w 12192001"/>
                <a:gd name="connsiteY2351" fmla="*/ 2671443 h 6523037"/>
                <a:gd name="connsiteX2352" fmla="*/ 9479701 w 12192001"/>
                <a:gd name="connsiteY2352" fmla="*/ 2671443 h 6523037"/>
                <a:gd name="connsiteX2353" fmla="*/ 9214487 w 12192001"/>
                <a:gd name="connsiteY2353" fmla="*/ 2937344 h 6523037"/>
                <a:gd name="connsiteX2354" fmla="*/ 9476647 w 12192001"/>
                <a:gd name="connsiteY2354" fmla="*/ 2937344 h 6523037"/>
                <a:gd name="connsiteX2355" fmla="*/ 9741862 w 12192001"/>
                <a:gd name="connsiteY2355" fmla="*/ 2671443 h 6523037"/>
                <a:gd name="connsiteX2356" fmla="*/ 8658290 w 12192001"/>
                <a:gd name="connsiteY2356" fmla="*/ 2671124 h 6523037"/>
                <a:gd name="connsiteX2357" fmla="*/ 8387878 w 12192001"/>
                <a:gd name="connsiteY2357" fmla="*/ 2942235 h 6523037"/>
                <a:gd name="connsiteX2358" fmla="*/ 8658989 w 12192001"/>
                <a:gd name="connsiteY2358" fmla="*/ 3212646 h 6523037"/>
                <a:gd name="connsiteX2359" fmla="*/ 8923113 w 12192001"/>
                <a:gd name="connsiteY2359" fmla="*/ 3212646 h 6523037"/>
                <a:gd name="connsiteX2360" fmla="*/ 8652002 w 12192001"/>
                <a:gd name="connsiteY2360" fmla="*/ 2942235 h 6523037"/>
                <a:gd name="connsiteX2361" fmla="*/ 8922414 w 12192001"/>
                <a:gd name="connsiteY2361" fmla="*/ 2671124 h 6523037"/>
                <a:gd name="connsiteX2362" fmla="*/ 11124666 w 12192001"/>
                <a:gd name="connsiteY2362" fmla="*/ 2670744 h 6523037"/>
                <a:gd name="connsiteX2363" fmla="*/ 10854254 w 12192001"/>
                <a:gd name="connsiteY2363" fmla="*/ 2941855 h 6523037"/>
                <a:gd name="connsiteX2364" fmla="*/ 11126064 w 12192001"/>
                <a:gd name="connsiteY2364" fmla="*/ 3212267 h 6523037"/>
                <a:gd name="connsiteX2365" fmla="*/ 11389488 w 12192001"/>
                <a:gd name="connsiteY2365" fmla="*/ 3212267 h 6523037"/>
                <a:gd name="connsiteX2366" fmla="*/ 11258824 w 12192001"/>
                <a:gd name="connsiteY2366" fmla="*/ 3082301 h 6523037"/>
                <a:gd name="connsiteX2367" fmla="*/ 11118377 w 12192001"/>
                <a:gd name="connsiteY2367" fmla="*/ 2941855 h 6523037"/>
                <a:gd name="connsiteX2368" fmla="*/ 11388789 w 12192001"/>
                <a:gd name="connsiteY2368" fmla="*/ 2670744 h 6523037"/>
                <a:gd name="connsiteX2369" fmla="*/ 10025550 w 12192001"/>
                <a:gd name="connsiteY2369" fmla="*/ 2670744 h 6523037"/>
                <a:gd name="connsiteX2370" fmla="*/ 9755138 w 12192001"/>
                <a:gd name="connsiteY2370" fmla="*/ 2941855 h 6523037"/>
                <a:gd name="connsiteX2371" fmla="*/ 10026249 w 12192001"/>
                <a:gd name="connsiteY2371" fmla="*/ 3212267 h 6523037"/>
                <a:gd name="connsiteX2372" fmla="*/ 10094725 w 12192001"/>
                <a:gd name="connsiteY2372" fmla="*/ 3212267 h 6523037"/>
                <a:gd name="connsiteX2373" fmla="*/ 10094026 w 12192001"/>
                <a:gd name="connsiteY2373" fmla="*/ 3213665 h 6523037"/>
                <a:gd name="connsiteX2374" fmla="*/ 10291770 w 12192001"/>
                <a:gd name="connsiteY2374" fmla="*/ 3213665 h 6523037"/>
                <a:gd name="connsiteX2375" fmla="*/ 10160407 w 12192001"/>
                <a:gd name="connsiteY2375" fmla="*/ 3082301 h 6523037"/>
                <a:gd name="connsiteX2376" fmla="*/ 10019960 w 12192001"/>
                <a:gd name="connsiteY2376" fmla="*/ 2941855 h 6523037"/>
                <a:gd name="connsiteX2377" fmla="*/ 10288974 w 12192001"/>
                <a:gd name="connsiteY2377" fmla="*/ 2672142 h 6523037"/>
                <a:gd name="connsiteX2378" fmla="*/ 10092628 w 12192001"/>
                <a:gd name="connsiteY2378" fmla="*/ 2672142 h 6523037"/>
                <a:gd name="connsiteX2379" fmla="*/ 10093327 w 12192001"/>
                <a:gd name="connsiteY2379" fmla="*/ 2670744 h 6523037"/>
                <a:gd name="connsiteX2380" fmla="*/ 3517239 w 12192001"/>
                <a:gd name="connsiteY2380" fmla="*/ 2670723 h 6523037"/>
                <a:gd name="connsiteX2381" fmla="*/ 3513958 w 12192001"/>
                <a:gd name="connsiteY2381" fmla="*/ 2677283 h 6523037"/>
                <a:gd name="connsiteX2382" fmla="*/ 3448975 w 12192001"/>
                <a:gd name="connsiteY2382" fmla="*/ 2677283 h 6523037"/>
                <a:gd name="connsiteX2383" fmla="*/ 3268701 w 12192001"/>
                <a:gd name="connsiteY2383" fmla="*/ 2858257 h 6523037"/>
                <a:gd name="connsiteX2384" fmla="*/ 3179262 w 12192001"/>
                <a:gd name="connsiteY2384" fmla="*/ 2947695 h 6523037"/>
                <a:gd name="connsiteX2385" fmla="*/ 3312721 w 12192001"/>
                <a:gd name="connsiteY2385" fmla="*/ 3081853 h 6523037"/>
                <a:gd name="connsiteX2386" fmla="*/ 3451072 w 12192001"/>
                <a:gd name="connsiteY2386" fmla="*/ 3215313 h 6523037"/>
                <a:gd name="connsiteX2387" fmla="*/ 3715195 w 12192001"/>
                <a:gd name="connsiteY2387" fmla="*/ 3215313 h 6523037"/>
                <a:gd name="connsiteX2388" fmla="*/ 3444084 w 12192001"/>
                <a:gd name="connsiteY2388" fmla="*/ 2944901 h 6523037"/>
                <a:gd name="connsiteX2389" fmla="*/ 3445482 w 12192001"/>
                <a:gd name="connsiteY2389" fmla="*/ 2943503 h 6523037"/>
                <a:gd name="connsiteX2390" fmla="*/ 3713797 w 12192001"/>
                <a:gd name="connsiteY2390" fmla="*/ 2674489 h 6523037"/>
                <a:gd name="connsiteX2391" fmla="*/ 3515356 w 12192001"/>
                <a:gd name="connsiteY2391" fmla="*/ 2674489 h 6523037"/>
                <a:gd name="connsiteX2392" fmla="*/ 9206801 w 12192001"/>
                <a:gd name="connsiteY2392" fmla="*/ 2670425 h 6523037"/>
                <a:gd name="connsiteX2393" fmla="*/ 8936388 w 12192001"/>
                <a:gd name="connsiteY2393" fmla="*/ 2941535 h 6523037"/>
                <a:gd name="connsiteX2394" fmla="*/ 9207500 w 12192001"/>
                <a:gd name="connsiteY2394" fmla="*/ 3211947 h 6523037"/>
                <a:gd name="connsiteX2395" fmla="*/ 9467691 w 12192001"/>
                <a:gd name="connsiteY2395" fmla="*/ 3211947 h 6523037"/>
                <a:gd name="connsiteX2396" fmla="*/ 9467258 w 12192001"/>
                <a:gd name="connsiteY2396" fmla="*/ 3211568 h 6523037"/>
                <a:gd name="connsiteX2397" fmla="*/ 9320523 w 12192001"/>
                <a:gd name="connsiteY2397" fmla="*/ 3065532 h 6523037"/>
                <a:gd name="connsiteX2398" fmla="*/ 9320523 w 12192001"/>
                <a:gd name="connsiteY2398" fmla="*/ 3061548 h 6523037"/>
                <a:gd name="connsiteX2399" fmla="*/ 9200512 w 12192001"/>
                <a:gd name="connsiteY2399" fmla="*/ 2941535 h 6523037"/>
                <a:gd name="connsiteX2400" fmla="*/ 9320523 w 12192001"/>
                <a:gd name="connsiteY2400" fmla="*/ 2821214 h 6523037"/>
                <a:gd name="connsiteX2401" fmla="*/ 9320523 w 12192001"/>
                <a:gd name="connsiteY2401" fmla="*/ 2818876 h 6523037"/>
                <a:gd name="connsiteX2402" fmla="*/ 9468974 w 12192001"/>
                <a:gd name="connsiteY2402" fmla="*/ 2670425 h 6523037"/>
                <a:gd name="connsiteX2403" fmla="*/ 11673176 w 12192001"/>
                <a:gd name="connsiteY2403" fmla="*/ 2670045 h 6523037"/>
                <a:gd name="connsiteX2404" fmla="*/ 11402764 w 12192001"/>
                <a:gd name="connsiteY2404" fmla="*/ 2941156 h 6523037"/>
                <a:gd name="connsiteX2405" fmla="*/ 11673875 w 12192001"/>
                <a:gd name="connsiteY2405" fmla="*/ 3211568 h 6523037"/>
                <a:gd name="connsiteX2406" fmla="*/ 11937999 w 12192001"/>
                <a:gd name="connsiteY2406" fmla="*/ 3211568 h 6523037"/>
                <a:gd name="connsiteX2407" fmla="*/ 11666888 w 12192001"/>
                <a:gd name="connsiteY2407" fmla="*/ 2941156 h 6523037"/>
                <a:gd name="connsiteX2408" fmla="*/ 11937300 w 12192001"/>
                <a:gd name="connsiteY2408" fmla="*/ 2670045 h 6523037"/>
                <a:gd name="connsiteX2409" fmla="*/ 8177520 w 12192001"/>
                <a:gd name="connsiteY2409" fmla="*/ 2665610 h 6523037"/>
                <a:gd name="connsiteX2410" fmla="*/ 8174064 w 12192001"/>
                <a:gd name="connsiteY2410" fmla="*/ 2672521 h 6523037"/>
                <a:gd name="connsiteX2411" fmla="*/ 8109081 w 12192001"/>
                <a:gd name="connsiteY2411" fmla="*/ 2672521 h 6523037"/>
                <a:gd name="connsiteX2412" fmla="*/ 7928807 w 12192001"/>
                <a:gd name="connsiteY2412" fmla="*/ 2853496 h 6523037"/>
                <a:gd name="connsiteX2413" fmla="*/ 7839368 w 12192001"/>
                <a:gd name="connsiteY2413" fmla="*/ 2942933 h 6523037"/>
                <a:gd name="connsiteX2414" fmla="*/ 7972827 w 12192001"/>
                <a:gd name="connsiteY2414" fmla="*/ 3077091 h 6523037"/>
                <a:gd name="connsiteX2415" fmla="*/ 8111178 w 12192001"/>
                <a:gd name="connsiteY2415" fmla="*/ 3210551 h 6523037"/>
                <a:gd name="connsiteX2416" fmla="*/ 8375301 w 12192001"/>
                <a:gd name="connsiteY2416" fmla="*/ 3210551 h 6523037"/>
                <a:gd name="connsiteX2417" fmla="*/ 8104190 w 12192001"/>
                <a:gd name="connsiteY2417" fmla="*/ 2940139 h 6523037"/>
                <a:gd name="connsiteX2418" fmla="*/ 8105588 w 12192001"/>
                <a:gd name="connsiteY2418" fmla="*/ 2938741 h 6523037"/>
                <a:gd name="connsiteX2419" fmla="*/ 8373903 w 12192001"/>
                <a:gd name="connsiteY2419" fmla="*/ 2669727 h 6523037"/>
                <a:gd name="connsiteX2420" fmla="*/ 8175462 w 12192001"/>
                <a:gd name="connsiteY2420" fmla="*/ 2669727 h 6523037"/>
                <a:gd name="connsiteX2421" fmla="*/ 164203 w 12192001"/>
                <a:gd name="connsiteY2421" fmla="*/ 2405474 h 6523037"/>
                <a:gd name="connsiteX2422" fmla="*/ 435314 w 12192001"/>
                <a:gd name="connsiteY2422" fmla="*/ 2675886 h 6523037"/>
                <a:gd name="connsiteX2423" fmla="*/ 164902 w 12192001"/>
                <a:gd name="connsiteY2423" fmla="*/ 2946997 h 6523037"/>
                <a:gd name="connsiteX2424" fmla="*/ 429025 w 12192001"/>
                <a:gd name="connsiteY2424" fmla="*/ 2946997 h 6523037"/>
                <a:gd name="connsiteX2425" fmla="*/ 699437 w 12192001"/>
                <a:gd name="connsiteY2425" fmla="*/ 2675886 h 6523037"/>
                <a:gd name="connsiteX2426" fmla="*/ 428326 w 12192001"/>
                <a:gd name="connsiteY2426" fmla="*/ 2405474 h 6523037"/>
                <a:gd name="connsiteX2427" fmla="*/ 1811131 w 12192001"/>
                <a:gd name="connsiteY2427" fmla="*/ 2404775 h 6523037"/>
                <a:gd name="connsiteX2428" fmla="*/ 2082940 w 12192001"/>
                <a:gd name="connsiteY2428" fmla="*/ 2675187 h 6523037"/>
                <a:gd name="connsiteX2429" fmla="*/ 1812528 w 12192001"/>
                <a:gd name="connsiteY2429" fmla="*/ 2946297 h 6523037"/>
                <a:gd name="connsiteX2430" fmla="*/ 2075953 w 12192001"/>
                <a:gd name="connsiteY2430" fmla="*/ 2946297 h 6523037"/>
                <a:gd name="connsiteX2431" fmla="*/ 2346365 w 12192001"/>
                <a:gd name="connsiteY2431" fmla="*/ 2675187 h 6523037"/>
                <a:gd name="connsiteX2432" fmla="*/ 2212208 w 12192001"/>
                <a:gd name="connsiteY2432" fmla="*/ 2541728 h 6523037"/>
                <a:gd name="connsiteX2433" fmla="*/ 2075254 w 12192001"/>
                <a:gd name="connsiteY2433" fmla="*/ 2404775 h 6523037"/>
                <a:gd name="connsiteX2434" fmla="*/ 1262620 w 12192001"/>
                <a:gd name="connsiteY2434" fmla="*/ 2404775 h 6523037"/>
                <a:gd name="connsiteX2435" fmla="*/ 1533731 w 12192001"/>
                <a:gd name="connsiteY2435" fmla="*/ 2675187 h 6523037"/>
                <a:gd name="connsiteX2436" fmla="*/ 1263319 w 12192001"/>
                <a:gd name="connsiteY2436" fmla="*/ 2946297 h 6523037"/>
                <a:gd name="connsiteX2437" fmla="*/ 1527442 w 12192001"/>
                <a:gd name="connsiteY2437" fmla="*/ 2946297 h 6523037"/>
                <a:gd name="connsiteX2438" fmla="*/ 1797854 w 12192001"/>
                <a:gd name="connsiteY2438" fmla="*/ 2675187 h 6523037"/>
                <a:gd name="connsiteX2439" fmla="*/ 1526744 w 12192001"/>
                <a:gd name="connsiteY2439" fmla="*/ 2404775 h 6523037"/>
                <a:gd name="connsiteX2440" fmla="*/ 2359641 w 12192001"/>
                <a:gd name="connsiteY2440" fmla="*/ 2404076 h 6523037"/>
                <a:gd name="connsiteX2441" fmla="*/ 2361039 w 12192001"/>
                <a:gd name="connsiteY2441" fmla="*/ 2405474 h 6523037"/>
                <a:gd name="connsiteX2442" fmla="*/ 2629354 w 12192001"/>
                <a:gd name="connsiteY2442" fmla="*/ 2673790 h 6523037"/>
                <a:gd name="connsiteX2443" fmla="*/ 2358942 w 12192001"/>
                <a:gd name="connsiteY2443" fmla="*/ 2944901 h 6523037"/>
                <a:gd name="connsiteX2444" fmla="*/ 2623065 w 12192001"/>
                <a:gd name="connsiteY2444" fmla="*/ 2944901 h 6523037"/>
                <a:gd name="connsiteX2445" fmla="*/ 2893477 w 12192001"/>
                <a:gd name="connsiteY2445" fmla="*/ 2673790 h 6523037"/>
                <a:gd name="connsiteX2446" fmla="*/ 2888586 w 12192001"/>
                <a:gd name="connsiteY2446" fmla="*/ 2668899 h 6523037"/>
                <a:gd name="connsiteX2447" fmla="*/ 2906055 w 12192001"/>
                <a:gd name="connsiteY2447" fmla="*/ 2677283 h 6523037"/>
                <a:gd name="connsiteX2448" fmla="*/ 2900465 w 12192001"/>
                <a:gd name="connsiteY2448" fmla="*/ 2677283 h 6523037"/>
                <a:gd name="connsiteX2449" fmla="*/ 2630053 w 12192001"/>
                <a:gd name="connsiteY2449" fmla="*/ 2948394 h 6523037"/>
                <a:gd name="connsiteX2450" fmla="*/ 2901164 w 12192001"/>
                <a:gd name="connsiteY2450" fmla="*/ 3218806 h 6523037"/>
                <a:gd name="connsiteX2451" fmla="*/ 3165287 w 12192001"/>
                <a:gd name="connsiteY2451" fmla="*/ 3218806 h 6523037"/>
                <a:gd name="connsiteX2452" fmla="*/ 2894875 w 12192001"/>
                <a:gd name="connsiteY2452" fmla="*/ 2947695 h 6523037"/>
                <a:gd name="connsiteX2453" fmla="*/ 3079343 w 12192001"/>
                <a:gd name="connsiteY2453" fmla="*/ 2763229 h 6523037"/>
                <a:gd name="connsiteX2454" fmla="*/ 3165287 w 12192001"/>
                <a:gd name="connsiteY2454" fmla="*/ 2677283 h 6523037"/>
                <a:gd name="connsiteX2455" fmla="*/ 2906754 w 12192001"/>
                <a:gd name="connsiteY2455" fmla="*/ 2677283 h 6523037"/>
                <a:gd name="connsiteX2456" fmla="*/ 2889285 w 12192001"/>
                <a:gd name="connsiteY2456" fmla="*/ 2668899 h 6523037"/>
                <a:gd name="connsiteX2457" fmla="*/ 2623764 w 12192001"/>
                <a:gd name="connsiteY2457" fmla="*/ 2404076 h 6523037"/>
                <a:gd name="connsiteX2458" fmla="*/ 713412 w 12192001"/>
                <a:gd name="connsiteY2458" fmla="*/ 2404076 h 6523037"/>
                <a:gd name="connsiteX2459" fmla="*/ 844775 w 12192001"/>
                <a:gd name="connsiteY2459" fmla="*/ 2535440 h 6523037"/>
                <a:gd name="connsiteX2460" fmla="*/ 985221 w 12192001"/>
                <a:gd name="connsiteY2460" fmla="*/ 2675886 h 6523037"/>
                <a:gd name="connsiteX2461" fmla="*/ 716206 w 12192001"/>
                <a:gd name="connsiteY2461" fmla="*/ 2945599 h 6523037"/>
                <a:gd name="connsiteX2462" fmla="*/ 912552 w 12192001"/>
                <a:gd name="connsiteY2462" fmla="*/ 2945599 h 6523037"/>
                <a:gd name="connsiteX2463" fmla="*/ 911853 w 12192001"/>
                <a:gd name="connsiteY2463" fmla="*/ 2946997 h 6523037"/>
                <a:gd name="connsiteX2464" fmla="*/ 978932 w 12192001"/>
                <a:gd name="connsiteY2464" fmla="*/ 2946997 h 6523037"/>
                <a:gd name="connsiteX2465" fmla="*/ 1248646 w 12192001"/>
                <a:gd name="connsiteY2465" fmla="*/ 2675886 h 6523037"/>
                <a:gd name="connsiteX2466" fmla="*/ 1113090 w 12192001"/>
                <a:gd name="connsiteY2466" fmla="*/ 2541029 h 6523037"/>
                <a:gd name="connsiteX2467" fmla="*/ 1094923 w 12192001"/>
                <a:gd name="connsiteY2467" fmla="*/ 2522863 h 6523037"/>
                <a:gd name="connsiteX2468" fmla="*/ 977535 w 12192001"/>
                <a:gd name="connsiteY2468" fmla="*/ 2406173 h 6523037"/>
                <a:gd name="connsiteX2469" fmla="*/ 909058 w 12192001"/>
                <a:gd name="connsiteY2469" fmla="*/ 2406173 h 6523037"/>
                <a:gd name="connsiteX2470" fmla="*/ 909757 w 12192001"/>
                <a:gd name="connsiteY2470" fmla="*/ 2404775 h 6523037"/>
                <a:gd name="connsiteX2471" fmla="*/ 2907452 w 12192001"/>
                <a:gd name="connsiteY2471" fmla="*/ 2402679 h 6523037"/>
                <a:gd name="connsiteX2472" fmla="*/ 3178563 w 12192001"/>
                <a:gd name="connsiteY2472" fmla="*/ 2673091 h 6523037"/>
                <a:gd name="connsiteX2473" fmla="*/ 3175769 w 12192001"/>
                <a:gd name="connsiteY2473" fmla="*/ 2675886 h 6523037"/>
                <a:gd name="connsiteX2474" fmla="*/ 3085631 w 12192001"/>
                <a:gd name="connsiteY2474" fmla="*/ 2766722 h 6523037"/>
                <a:gd name="connsiteX2475" fmla="*/ 2908151 w 12192001"/>
                <a:gd name="connsiteY2475" fmla="*/ 2944202 h 6523037"/>
                <a:gd name="connsiteX2476" fmla="*/ 3172275 w 12192001"/>
                <a:gd name="connsiteY2476" fmla="*/ 2944202 h 6523037"/>
                <a:gd name="connsiteX2477" fmla="*/ 3262412 w 12192001"/>
                <a:gd name="connsiteY2477" fmla="*/ 2854763 h 6523037"/>
                <a:gd name="connsiteX2478" fmla="*/ 3442687 w 12192001"/>
                <a:gd name="connsiteY2478" fmla="*/ 2673091 h 6523037"/>
                <a:gd name="connsiteX2479" fmla="*/ 3171576 w 12192001"/>
                <a:gd name="connsiteY2479" fmla="*/ 2402679 h 6523037"/>
                <a:gd name="connsiteX2480" fmla="*/ 4004473 w 12192001"/>
                <a:gd name="connsiteY2480" fmla="*/ 2401981 h 6523037"/>
                <a:gd name="connsiteX2481" fmla="*/ 4275584 w 12192001"/>
                <a:gd name="connsiteY2481" fmla="*/ 2671694 h 6523037"/>
                <a:gd name="connsiteX2482" fmla="*/ 4005172 w 12192001"/>
                <a:gd name="connsiteY2482" fmla="*/ 2942805 h 6523037"/>
                <a:gd name="connsiteX2483" fmla="*/ 4269296 w 12192001"/>
                <a:gd name="connsiteY2483" fmla="*/ 2942805 h 6523037"/>
                <a:gd name="connsiteX2484" fmla="*/ 4539707 w 12192001"/>
                <a:gd name="connsiteY2484" fmla="*/ 2672393 h 6523037"/>
                <a:gd name="connsiteX2485" fmla="*/ 4268598 w 12192001"/>
                <a:gd name="connsiteY2485" fmla="*/ 2401981 h 6523037"/>
                <a:gd name="connsiteX2486" fmla="*/ 4824309 w 12192001"/>
                <a:gd name="connsiteY2486" fmla="*/ 2400713 h 6523037"/>
                <a:gd name="connsiteX2487" fmla="*/ 5095421 w 12192001"/>
                <a:gd name="connsiteY2487" fmla="*/ 2671124 h 6523037"/>
                <a:gd name="connsiteX2488" fmla="*/ 4825009 w 12192001"/>
                <a:gd name="connsiteY2488" fmla="*/ 2942235 h 6523037"/>
                <a:gd name="connsiteX2489" fmla="*/ 5089132 w 12192001"/>
                <a:gd name="connsiteY2489" fmla="*/ 2942235 h 6523037"/>
                <a:gd name="connsiteX2490" fmla="*/ 5359544 w 12192001"/>
                <a:gd name="connsiteY2490" fmla="*/ 2671124 h 6523037"/>
                <a:gd name="connsiteX2491" fmla="*/ 5088432 w 12192001"/>
                <a:gd name="connsiteY2491" fmla="*/ 2400713 h 6523037"/>
                <a:gd name="connsiteX2492" fmla="*/ 4553683 w 12192001"/>
                <a:gd name="connsiteY2492" fmla="*/ 2400583 h 6523037"/>
                <a:gd name="connsiteX2493" fmla="*/ 4821422 w 12192001"/>
                <a:gd name="connsiteY2493" fmla="*/ 2667631 h 6523037"/>
                <a:gd name="connsiteX2494" fmla="*/ 5082144 w 12192001"/>
                <a:gd name="connsiteY2494" fmla="*/ 2667631 h 6523037"/>
                <a:gd name="connsiteX2495" fmla="*/ 4814405 w 12192001"/>
                <a:gd name="connsiteY2495" fmla="*/ 2400583 h 6523037"/>
                <a:gd name="connsiteX2496" fmla="*/ 6471238 w 12192001"/>
                <a:gd name="connsiteY2496" fmla="*/ 2400013 h 6523037"/>
                <a:gd name="connsiteX2497" fmla="*/ 6743046 w 12192001"/>
                <a:gd name="connsiteY2497" fmla="*/ 2670425 h 6523037"/>
                <a:gd name="connsiteX2498" fmla="*/ 6472634 w 12192001"/>
                <a:gd name="connsiteY2498" fmla="*/ 2941535 h 6523037"/>
                <a:gd name="connsiteX2499" fmla="*/ 6736059 w 12192001"/>
                <a:gd name="connsiteY2499" fmla="*/ 2941535 h 6523037"/>
                <a:gd name="connsiteX2500" fmla="*/ 7006471 w 12192001"/>
                <a:gd name="connsiteY2500" fmla="*/ 2670425 h 6523037"/>
                <a:gd name="connsiteX2501" fmla="*/ 6872314 w 12192001"/>
                <a:gd name="connsiteY2501" fmla="*/ 2536966 h 6523037"/>
                <a:gd name="connsiteX2502" fmla="*/ 6735361 w 12192001"/>
                <a:gd name="connsiteY2502" fmla="*/ 2400013 h 6523037"/>
                <a:gd name="connsiteX2503" fmla="*/ 5922727 w 12192001"/>
                <a:gd name="connsiteY2503" fmla="*/ 2400013 h 6523037"/>
                <a:gd name="connsiteX2504" fmla="*/ 6193838 w 12192001"/>
                <a:gd name="connsiteY2504" fmla="*/ 2670425 h 6523037"/>
                <a:gd name="connsiteX2505" fmla="*/ 5923425 w 12192001"/>
                <a:gd name="connsiteY2505" fmla="*/ 2941535 h 6523037"/>
                <a:gd name="connsiteX2506" fmla="*/ 6187548 w 12192001"/>
                <a:gd name="connsiteY2506" fmla="*/ 2941535 h 6523037"/>
                <a:gd name="connsiteX2507" fmla="*/ 6457961 w 12192001"/>
                <a:gd name="connsiteY2507" fmla="*/ 2670425 h 6523037"/>
                <a:gd name="connsiteX2508" fmla="*/ 6186850 w 12192001"/>
                <a:gd name="connsiteY2508" fmla="*/ 2400013 h 6523037"/>
                <a:gd name="connsiteX2509" fmla="*/ 7019748 w 12192001"/>
                <a:gd name="connsiteY2509" fmla="*/ 2399314 h 6523037"/>
                <a:gd name="connsiteX2510" fmla="*/ 7021145 w 12192001"/>
                <a:gd name="connsiteY2510" fmla="*/ 2400713 h 6523037"/>
                <a:gd name="connsiteX2511" fmla="*/ 7289460 w 12192001"/>
                <a:gd name="connsiteY2511" fmla="*/ 2669028 h 6523037"/>
                <a:gd name="connsiteX2512" fmla="*/ 7019048 w 12192001"/>
                <a:gd name="connsiteY2512" fmla="*/ 2940139 h 6523037"/>
                <a:gd name="connsiteX2513" fmla="*/ 7283171 w 12192001"/>
                <a:gd name="connsiteY2513" fmla="*/ 2940139 h 6523037"/>
                <a:gd name="connsiteX2514" fmla="*/ 7553583 w 12192001"/>
                <a:gd name="connsiteY2514" fmla="*/ 2669028 h 6523037"/>
                <a:gd name="connsiteX2515" fmla="*/ 7548692 w 12192001"/>
                <a:gd name="connsiteY2515" fmla="*/ 2664137 h 6523037"/>
                <a:gd name="connsiteX2516" fmla="*/ 7566161 w 12192001"/>
                <a:gd name="connsiteY2516" fmla="*/ 2672521 h 6523037"/>
                <a:gd name="connsiteX2517" fmla="*/ 7560571 w 12192001"/>
                <a:gd name="connsiteY2517" fmla="*/ 2672521 h 6523037"/>
                <a:gd name="connsiteX2518" fmla="*/ 7290159 w 12192001"/>
                <a:gd name="connsiteY2518" fmla="*/ 2943632 h 6523037"/>
                <a:gd name="connsiteX2519" fmla="*/ 7561270 w 12192001"/>
                <a:gd name="connsiteY2519" fmla="*/ 3214044 h 6523037"/>
                <a:gd name="connsiteX2520" fmla="*/ 7825393 w 12192001"/>
                <a:gd name="connsiteY2520" fmla="*/ 3214044 h 6523037"/>
                <a:gd name="connsiteX2521" fmla="*/ 7554981 w 12192001"/>
                <a:gd name="connsiteY2521" fmla="*/ 2942933 h 6523037"/>
                <a:gd name="connsiteX2522" fmla="*/ 7739449 w 12192001"/>
                <a:gd name="connsiteY2522" fmla="*/ 2758467 h 6523037"/>
                <a:gd name="connsiteX2523" fmla="*/ 7825393 w 12192001"/>
                <a:gd name="connsiteY2523" fmla="*/ 2672521 h 6523037"/>
                <a:gd name="connsiteX2524" fmla="*/ 7566860 w 12192001"/>
                <a:gd name="connsiteY2524" fmla="*/ 2672521 h 6523037"/>
                <a:gd name="connsiteX2525" fmla="*/ 7549391 w 12192001"/>
                <a:gd name="connsiteY2525" fmla="*/ 2664137 h 6523037"/>
                <a:gd name="connsiteX2526" fmla="*/ 7283870 w 12192001"/>
                <a:gd name="connsiteY2526" fmla="*/ 2399314 h 6523037"/>
                <a:gd name="connsiteX2527" fmla="*/ 5373519 w 12192001"/>
                <a:gd name="connsiteY2527" fmla="*/ 2399314 h 6523037"/>
                <a:gd name="connsiteX2528" fmla="*/ 5504881 w 12192001"/>
                <a:gd name="connsiteY2528" fmla="*/ 2530678 h 6523037"/>
                <a:gd name="connsiteX2529" fmla="*/ 5645327 w 12192001"/>
                <a:gd name="connsiteY2529" fmla="*/ 2671124 h 6523037"/>
                <a:gd name="connsiteX2530" fmla="*/ 5376313 w 12192001"/>
                <a:gd name="connsiteY2530" fmla="*/ 2940837 h 6523037"/>
                <a:gd name="connsiteX2531" fmla="*/ 5572659 w 12192001"/>
                <a:gd name="connsiteY2531" fmla="*/ 2940837 h 6523037"/>
                <a:gd name="connsiteX2532" fmla="*/ 5571959 w 12192001"/>
                <a:gd name="connsiteY2532" fmla="*/ 2942235 h 6523037"/>
                <a:gd name="connsiteX2533" fmla="*/ 5639038 w 12192001"/>
                <a:gd name="connsiteY2533" fmla="*/ 2942235 h 6523037"/>
                <a:gd name="connsiteX2534" fmla="*/ 5908752 w 12192001"/>
                <a:gd name="connsiteY2534" fmla="*/ 2671124 h 6523037"/>
                <a:gd name="connsiteX2535" fmla="*/ 5773197 w 12192001"/>
                <a:gd name="connsiteY2535" fmla="*/ 2536267 h 6523037"/>
                <a:gd name="connsiteX2536" fmla="*/ 5755029 w 12192001"/>
                <a:gd name="connsiteY2536" fmla="*/ 2518101 h 6523037"/>
                <a:gd name="connsiteX2537" fmla="*/ 5637642 w 12192001"/>
                <a:gd name="connsiteY2537" fmla="*/ 2401411 h 6523037"/>
                <a:gd name="connsiteX2538" fmla="*/ 5569164 w 12192001"/>
                <a:gd name="connsiteY2538" fmla="*/ 2401411 h 6523037"/>
                <a:gd name="connsiteX2539" fmla="*/ 5569864 w 12192001"/>
                <a:gd name="connsiteY2539" fmla="*/ 2400013 h 6523037"/>
                <a:gd name="connsiteX2540" fmla="*/ 7567558 w 12192001"/>
                <a:gd name="connsiteY2540" fmla="*/ 2397917 h 6523037"/>
                <a:gd name="connsiteX2541" fmla="*/ 7838669 w 12192001"/>
                <a:gd name="connsiteY2541" fmla="*/ 2668329 h 6523037"/>
                <a:gd name="connsiteX2542" fmla="*/ 7835875 w 12192001"/>
                <a:gd name="connsiteY2542" fmla="*/ 2671124 h 6523037"/>
                <a:gd name="connsiteX2543" fmla="*/ 7745737 w 12192001"/>
                <a:gd name="connsiteY2543" fmla="*/ 2761960 h 6523037"/>
                <a:gd name="connsiteX2544" fmla="*/ 7568257 w 12192001"/>
                <a:gd name="connsiteY2544" fmla="*/ 2939440 h 6523037"/>
                <a:gd name="connsiteX2545" fmla="*/ 7832381 w 12192001"/>
                <a:gd name="connsiteY2545" fmla="*/ 2939440 h 6523037"/>
                <a:gd name="connsiteX2546" fmla="*/ 7922518 w 12192001"/>
                <a:gd name="connsiteY2546" fmla="*/ 2850001 h 6523037"/>
                <a:gd name="connsiteX2547" fmla="*/ 8102793 w 12192001"/>
                <a:gd name="connsiteY2547" fmla="*/ 2668329 h 6523037"/>
                <a:gd name="connsiteX2548" fmla="*/ 7831682 w 12192001"/>
                <a:gd name="connsiteY2548" fmla="*/ 2397917 h 6523037"/>
                <a:gd name="connsiteX2549" fmla="*/ 9484726 w 12192001"/>
                <a:gd name="connsiteY2549" fmla="*/ 2397537 h 6523037"/>
                <a:gd name="connsiteX2550" fmla="*/ 9755837 w 12192001"/>
                <a:gd name="connsiteY2550" fmla="*/ 2667949 h 6523037"/>
                <a:gd name="connsiteX2551" fmla="*/ 9485425 w 12192001"/>
                <a:gd name="connsiteY2551" fmla="*/ 2939060 h 6523037"/>
                <a:gd name="connsiteX2552" fmla="*/ 9749548 w 12192001"/>
                <a:gd name="connsiteY2552" fmla="*/ 2939060 h 6523037"/>
                <a:gd name="connsiteX2553" fmla="*/ 10019960 w 12192001"/>
                <a:gd name="connsiteY2553" fmla="*/ 2667949 h 6523037"/>
                <a:gd name="connsiteX2554" fmla="*/ 9748849 w 12192001"/>
                <a:gd name="connsiteY2554" fmla="*/ 2397537 h 6523037"/>
                <a:gd name="connsiteX2555" fmla="*/ 8664579 w 12192001"/>
                <a:gd name="connsiteY2555" fmla="*/ 2397219 h 6523037"/>
                <a:gd name="connsiteX2556" fmla="*/ 8935690 w 12192001"/>
                <a:gd name="connsiteY2556" fmla="*/ 2666932 h 6523037"/>
                <a:gd name="connsiteX2557" fmla="*/ 8665278 w 12192001"/>
                <a:gd name="connsiteY2557" fmla="*/ 2938043 h 6523037"/>
                <a:gd name="connsiteX2558" fmla="*/ 8929401 w 12192001"/>
                <a:gd name="connsiteY2558" fmla="*/ 2938043 h 6523037"/>
                <a:gd name="connsiteX2559" fmla="*/ 9199813 w 12192001"/>
                <a:gd name="connsiteY2559" fmla="*/ 2667631 h 6523037"/>
                <a:gd name="connsiteX2560" fmla="*/ 8928703 w 12192001"/>
                <a:gd name="connsiteY2560" fmla="*/ 2397219 h 6523037"/>
                <a:gd name="connsiteX2561" fmla="*/ 11131654 w 12192001"/>
                <a:gd name="connsiteY2561" fmla="*/ 2396838 h 6523037"/>
                <a:gd name="connsiteX2562" fmla="*/ 11403463 w 12192001"/>
                <a:gd name="connsiteY2562" fmla="*/ 2667250 h 6523037"/>
                <a:gd name="connsiteX2563" fmla="*/ 11133051 w 12192001"/>
                <a:gd name="connsiteY2563" fmla="*/ 2938360 h 6523037"/>
                <a:gd name="connsiteX2564" fmla="*/ 11396476 w 12192001"/>
                <a:gd name="connsiteY2564" fmla="*/ 2938360 h 6523037"/>
                <a:gd name="connsiteX2565" fmla="*/ 11666888 w 12192001"/>
                <a:gd name="connsiteY2565" fmla="*/ 2667250 h 6523037"/>
                <a:gd name="connsiteX2566" fmla="*/ 11532731 w 12192001"/>
                <a:gd name="connsiteY2566" fmla="*/ 2533791 h 6523037"/>
                <a:gd name="connsiteX2567" fmla="*/ 11395777 w 12192001"/>
                <a:gd name="connsiteY2567" fmla="*/ 2396838 h 6523037"/>
                <a:gd name="connsiteX2568" fmla="*/ 10583143 w 12192001"/>
                <a:gd name="connsiteY2568" fmla="*/ 2396838 h 6523037"/>
                <a:gd name="connsiteX2569" fmla="*/ 10854254 w 12192001"/>
                <a:gd name="connsiteY2569" fmla="*/ 2667250 h 6523037"/>
                <a:gd name="connsiteX2570" fmla="*/ 10583842 w 12192001"/>
                <a:gd name="connsiteY2570" fmla="*/ 2938360 h 6523037"/>
                <a:gd name="connsiteX2571" fmla="*/ 10847965 w 12192001"/>
                <a:gd name="connsiteY2571" fmla="*/ 2938360 h 6523037"/>
                <a:gd name="connsiteX2572" fmla="*/ 11118377 w 12192001"/>
                <a:gd name="connsiteY2572" fmla="*/ 2667250 h 6523037"/>
                <a:gd name="connsiteX2573" fmla="*/ 10847267 w 12192001"/>
                <a:gd name="connsiteY2573" fmla="*/ 2396838 h 6523037"/>
                <a:gd name="connsiteX2574" fmla="*/ 10033935 w 12192001"/>
                <a:gd name="connsiteY2574" fmla="*/ 2396139 h 6523037"/>
                <a:gd name="connsiteX2575" fmla="*/ 10165298 w 12192001"/>
                <a:gd name="connsiteY2575" fmla="*/ 2527503 h 6523037"/>
                <a:gd name="connsiteX2576" fmla="*/ 10305744 w 12192001"/>
                <a:gd name="connsiteY2576" fmla="*/ 2667949 h 6523037"/>
                <a:gd name="connsiteX2577" fmla="*/ 10036729 w 12192001"/>
                <a:gd name="connsiteY2577" fmla="*/ 2937662 h 6523037"/>
                <a:gd name="connsiteX2578" fmla="*/ 10233075 w 12192001"/>
                <a:gd name="connsiteY2578" fmla="*/ 2937662 h 6523037"/>
                <a:gd name="connsiteX2579" fmla="*/ 10232376 w 12192001"/>
                <a:gd name="connsiteY2579" fmla="*/ 2939060 h 6523037"/>
                <a:gd name="connsiteX2580" fmla="*/ 10299455 w 12192001"/>
                <a:gd name="connsiteY2580" fmla="*/ 2939060 h 6523037"/>
                <a:gd name="connsiteX2581" fmla="*/ 10569169 w 12192001"/>
                <a:gd name="connsiteY2581" fmla="*/ 2667949 h 6523037"/>
                <a:gd name="connsiteX2582" fmla="*/ 10433613 w 12192001"/>
                <a:gd name="connsiteY2582" fmla="*/ 2533092 h 6523037"/>
                <a:gd name="connsiteX2583" fmla="*/ 10415446 w 12192001"/>
                <a:gd name="connsiteY2583" fmla="*/ 2514926 h 6523037"/>
                <a:gd name="connsiteX2584" fmla="*/ 10298058 w 12192001"/>
                <a:gd name="connsiteY2584" fmla="*/ 2398236 h 6523037"/>
                <a:gd name="connsiteX2585" fmla="*/ 10229581 w 12192001"/>
                <a:gd name="connsiteY2585" fmla="*/ 2398236 h 6523037"/>
                <a:gd name="connsiteX2586" fmla="*/ 10230280 w 12192001"/>
                <a:gd name="connsiteY2586" fmla="*/ 2396838 h 6523037"/>
                <a:gd name="connsiteX2587" fmla="*/ 9213788 w 12192001"/>
                <a:gd name="connsiteY2587" fmla="*/ 2395821 h 6523037"/>
                <a:gd name="connsiteX2588" fmla="*/ 9483119 w 12192001"/>
                <a:gd name="connsiteY2588" fmla="*/ 2664456 h 6523037"/>
                <a:gd name="connsiteX2589" fmla="*/ 9742561 w 12192001"/>
                <a:gd name="connsiteY2589" fmla="*/ 2664456 h 6523037"/>
                <a:gd name="connsiteX2590" fmla="*/ 9473232 w 12192001"/>
                <a:gd name="connsiteY2590" fmla="*/ 2395821 h 6523037"/>
                <a:gd name="connsiteX2591" fmla="*/ 1255633 w 12192001"/>
                <a:gd name="connsiteY2591" fmla="*/ 2130870 h 6523037"/>
                <a:gd name="connsiteX2592" fmla="*/ 985221 w 12192001"/>
                <a:gd name="connsiteY2592" fmla="*/ 2401981 h 6523037"/>
                <a:gd name="connsiteX2593" fmla="*/ 1117282 w 12192001"/>
                <a:gd name="connsiteY2593" fmla="*/ 2534042 h 6523037"/>
                <a:gd name="connsiteX2594" fmla="*/ 1255633 w 12192001"/>
                <a:gd name="connsiteY2594" fmla="*/ 2672393 h 6523037"/>
                <a:gd name="connsiteX2595" fmla="*/ 1519757 w 12192001"/>
                <a:gd name="connsiteY2595" fmla="*/ 2672393 h 6523037"/>
                <a:gd name="connsiteX2596" fmla="*/ 1248646 w 12192001"/>
                <a:gd name="connsiteY2596" fmla="*/ 2401981 h 6523037"/>
                <a:gd name="connsiteX2597" fmla="*/ 1519757 w 12192001"/>
                <a:gd name="connsiteY2597" fmla="*/ 2130870 h 6523037"/>
                <a:gd name="connsiteX2598" fmla="*/ 2351955 w 12192001"/>
                <a:gd name="connsiteY2598" fmla="*/ 2130171 h 6523037"/>
                <a:gd name="connsiteX2599" fmla="*/ 2171680 w 12192001"/>
                <a:gd name="connsiteY2599" fmla="*/ 2311144 h 6523037"/>
                <a:gd name="connsiteX2600" fmla="*/ 2170981 w 12192001"/>
                <a:gd name="connsiteY2600" fmla="*/ 2311144 h 6523037"/>
                <a:gd name="connsiteX2601" fmla="*/ 2081543 w 12192001"/>
                <a:gd name="connsiteY2601" fmla="*/ 2400583 h 6523037"/>
                <a:gd name="connsiteX2602" fmla="*/ 2215701 w 12192001"/>
                <a:gd name="connsiteY2602" fmla="*/ 2534741 h 6523037"/>
                <a:gd name="connsiteX2603" fmla="*/ 2352653 w 12192001"/>
                <a:gd name="connsiteY2603" fmla="*/ 2670995 h 6523037"/>
                <a:gd name="connsiteX2604" fmla="*/ 2616078 w 12192001"/>
                <a:gd name="connsiteY2604" fmla="*/ 2670995 h 6523037"/>
                <a:gd name="connsiteX2605" fmla="*/ 2344968 w 12192001"/>
                <a:gd name="connsiteY2605" fmla="*/ 2400583 h 6523037"/>
                <a:gd name="connsiteX2606" fmla="*/ 2346365 w 12192001"/>
                <a:gd name="connsiteY2606" fmla="*/ 2399185 h 6523037"/>
                <a:gd name="connsiteX2607" fmla="*/ 2347064 w 12192001"/>
                <a:gd name="connsiteY2607" fmla="*/ 2399185 h 6523037"/>
                <a:gd name="connsiteX2608" fmla="*/ 2615379 w 12192001"/>
                <a:gd name="connsiteY2608" fmla="*/ 2130171 h 6523037"/>
                <a:gd name="connsiteX2609" fmla="*/ 1803445 w 12192001"/>
                <a:gd name="connsiteY2609" fmla="*/ 2130171 h 6523037"/>
                <a:gd name="connsiteX2610" fmla="*/ 1533032 w 12192001"/>
                <a:gd name="connsiteY2610" fmla="*/ 2401282 h 6523037"/>
                <a:gd name="connsiteX2611" fmla="*/ 1803445 w 12192001"/>
                <a:gd name="connsiteY2611" fmla="*/ 2670995 h 6523037"/>
                <a:gd name="connsiteX2612" fmla="*/ 2067568 w 12192001"/>
                <a:gd name="connsiteY2612" fmla="*/ 2670995 h 6523037"/>
                <a:gd name="connsiteX2613" fmla="*/ 1796458 w 12192001"/>
                <a:gd name="connsiteY2613" fmla="*/ 2400583 h 6523037"/>
                <a:gd name="connsiteX2614" fmla="*/ 1980924 w 12192001"/>
                <a:gd name="connsiteY2614" fmla="*/ 2216115 h 6523037"/>
                <a:gd name="connsiteX2615" fmla="*/ 1981623 w 12192001"/>
                <a:gd name="connsiteY2615" fmla="*/ 2216115 h 6523037"/>
                <a:gd name="connsiteX2616" fmla="*/ 2067568 w 12192001"/>
                <a:gd name="connsiteY2616" fmla="*/ 2130171 h 6523037"/>
                <a:gd name="connsiteX2617" fmla="*/ 2900465 w 12192001"/>
                <a:gd name="connsiteY2617" fmla="*/ 2129472 h 6523037"/>
                <a:gd name="connsiteX2618" fmla="*/ 2630053 w 12192001"/>
                <a:gd name="connsiteY2618" fmla="*/ 2400583 h 6523037"/>
                <a:gd name="connsiteX2619" fmla="*/ 2901164 w 12192001"/>
                <a:gd name="connsiteY2619" fmla="*/ 2670995 h 6523037"/>
                <a:gd name="connsiteX2620" fmla="*/ 3165287 w 12192001"/>
                <a:gd name="connsiteY2620" fmla="*/ 2670995 h 6523037"/>
                <a:gd name="connsiteX2621" fmla="*/ 2894176 w 12192001"/>
                <a:gd name="connsiteY2621" fmla="*/ 2400583 h 6523037"/>
                <a:gd name="connsiteX2622" fmla="*/ 3164588 w 12192001"/>
                <a:gd name="connsiteY2622" fmla="*/ 2129472 h 6523037"/>
                <a:gd name="connsiteX2623" fmla="*/ 3997486 w 12192001"/>
                <a:gd name="connsiteY2623" fmla="*/ 2128074 h 6523037"/>
                <a:gd name="connsiteX2624" fmla="*/ 3727074 w 12192001"/>
                <a:gd name="connsiteY2624" fmla="*/ 2399185 h 6523037"/>
                <a:gd name="connsiteX2625" fmla="*/ 3998184 w 12192001"/>
                <a:gd name="connsiteY2625" fmla="*/ 2669597 h 6523037"/>
                <a:gd name="connsiteX2626" fmla="*/ 4262309 w 12192001"/>
                <a:gd name="connsiteY2626" fmla="*/ 2669597 h 6523037"/>
                <a:gd name="connsiteX2627" fmla="*/ 3991197 w 12192001"/>
                <a:gd name="connsiteY2627" fmla="*/ 2399185 h 6523037"/>
                <a:gd name="connsiteX2628" fmla="*/ 4261609 w 12192001"/>
                <a:gd name="connsiteY2628" fmla="*/ 2128074 h 6523037"/>
                <a:gd name="connsiteX2629" fmla="*/ 4545996 w 12192001"/>
                <a:gd name="connsiteY2629" fmla="*/ 2127376 h 6523037"/>
                <a:gd name="connsiteX2630" fmla="*/ 4275584 w 12192001"/>
                <a:gd name="connsiteY2630" fmla="*/ 2398486 h 6523037"/>
                <a:gd name="connsiteX2631" fmla="*/ 4545996 w 12192001"/>
                <a:gd name="connsiteY2631" fmla="*/ 2668200 h 6523037"/>
                <a:gd name="connsiteX2632" fmla="*/ 4808096 w 12192001"/>
                <a:gd name="connsiteY2632" fmla="*/ 2668200 h 6523037"/>
                <a:gd name="connsiteX2633" fmla="*/ 4660106 w 12192001"/>
                <a:gd name="connsiteY2633" fmla="*/ 2520896 h 6523037"/>
                <a:gd name="connsiteX2634" fmla="*/ 4660106 w 12192001"/>
                <a:gd name="connsiteY2634" fmla="*/ 2518573 h 6523037"/>
                <a:gd name="connsiteX2635" fmla="*/ 4539009 w 12192001"/>
                <a:gd name="connsiteY2635" fmla="*/ 2397788 h 6523037"/>
                <a:gd name="connsiteX2636" fmla="*/ 4660106 w 12192001"/>
                <a:gd name="connsiteY2636" fmla="*/ 2276691 h 6523037"/>
                <a:gd name="connsiteX2637" fmla="*/ 4660106 w 12192001"/>
                <a:gd name="connsiteY2637" fmla="*/ 2272842 h 6523037"/>
                <a:gd name="connsiteX2638" fmla="*/ 4805573 w 12192001"/>
                <a:gd name="connsiteY2638" fmla="*/ 2127376 h 6523037"/>
                <a:gd name="connsiteX2639" fmla="*/ 5915740 w 12192001"/>
                <a:gd name="connsiteY2639" fmla="*/ 2126108 h 6523037"/>
                <a:gd name="connsiteX2640" fmla="*/ 5645327 w 12192001"/>
                <a:gd name="connsiteY2640" fmla="*/ 2397219 h 6523037"/>
                <a:gd name="connsiteX2641" fmla="*/ 5777388 w 12192001"/>
                <a:gd name="connsiteY2641" fmla="*/ 2529280 h 6523037"/>
                <a:gd name="connsiteX2642" fmla="*/ 5915740 w 12192001"/>
                <a:gd name="connsiteY2642" fmla="*/ 2667631 h 6523037"/>
                <a:gd name="connsiteX2643" fmla="*/ 6179863 w 12192001"/>
                <a:gd name="connsiteY2643" fmla="*/ 2667631 h 6523037"/>
                <a:gd name="connsiteX2644" fmla="*/ 5908752 w 12192001"/>
                <a:gd name="connsiteY2644" fmla="*/ 2397219 h 6523037"/>
                <a:gd name="connsiteX2645" fmla="*/ 6179863 w 12192001"/>
                <a:gd name="connsiteY2645" fmla="*/ 2126108 h 6523037"/>
                <a:gd name="connsiteX2646" fmla="*/ 4821171 w 12192001"/>
                <a:gd name="connsiteY2646" fmla="*/ 2126108 h 6523037"/>
                <a:gd name="connsiteX2647" fmla="*/ 4731163 w 12192001"/>
                <a:gd name="connsiteY2647" fmla="*/ 2216814 h 6523037"/>
                <a:gd name="connsiteX2648" fmla="*/ 4553683 w 12192001"/>
                <a:gd name="connsiteY2648" fmla="*/ 2394294 h 6523037"/>
                <a:gd name="connsiteX2649" fmla="*/ 4813944 w 12192001"/>
                <a:gd name="connsiteY2649" fmla="*/ 2394294 h 6523037"/>
                <a:gd name="connsiteX2650" fmla="*/ 5080746 w 12192001"/>
                <a:gd name="connsiteY2650" fmla="*/ 2126108 h 6523037"/>
                <a:gd name="connsiteX2651" fmla="*/ 7012061 w 12192001"/>
                <a:gd name="connsiteY2651" fmla="*/ 2125409 h 6523037"/>
                <a:gd name="connsiteX2652" fmla="*/ 6831786 w 12192001"/>
                <a:gd name="connsiteY2652" fmla="*/ 2306383 h 6523037"/>
                <a:gd name="connsiteX2653" fmla="*/ 6831088 w 12192001"/>
                <a:gd name="connsiteY2653" fmla="*/ 2306383 h 6523037"/>
                <a:gd name="connsiteX2654" fmla="*/ 6741650 w 12192001"/>
                <a:gd name="connsiteY2654" fmla="*/ 2395821 h 6523037"/>
                <a:gd name="connsiteX2655" fmla="*/ 6875807 w 12192001"/>
                <a:gd name="connsiteY2655" fmla="*/ 2529979 h 6523037"/>
                <a:gd name="connsiteX2656" fmla="*/ 7012759 w 12192001"/>
                <a:gd name="connsiteY2656" fmla="*/ 2666233 h 6523037"/>
                <a:gd name="connsiteX2657" fmla="*/ 7276184 w 12192001"/>
                <a:gd name="connsiteY2657" fmla="*/ 2666233 h 6523037"/>
                <a:gd name="connsiteX2658" fmla="*/ 7005075 w 12192001"/>
                <a:gd name="connsiteY2658" fmla="*/ 2395821 h 6523037"/>
                <a:gd name="connsiteX2659" fmla="*/ 7006471 w 12192001"/>
                <a:gd name="connsiteY2659" fmla="*/ 2394423 h 6523037"/>
                <a:gd name="connsiteX2660" fmla="*/ 7007170 w 12192001"/>
                <a:gd name="connsiteY2660" fmla="*/ 2394423 h 6523037"/>
                <a:gd name="connsiteX2661" fmla="*/ 7275485 w 12192001"/>
                <a:gd name="connsiteY2661" fmla="*/ 2125409 h 6523037"/>
                <a:gd name="connsiteX2662" fmla="*/ 6463552 w 12192001"/>
                <a:gd name="connsiteY2662" fmla="*/ 2125409 h 6523037"/>
                <a:gd name="connsiteX2663" fmla="*/ 6193138 w 12192001"/>
                <a:gd name="connsiteY2663" fmla="*/ 2396520 h 6523037"/>
                <a:gd name="connsiteX2664" fmla="*/ 6463552 w 12192001"/>
                <a:gd name="connsiteY2664" fmla="*/ 2666233 h 6523037"/>
                <a:gd name="connsiteX2665" fmla="*/ 6727675 w 12192001"/>
                <a:gd name="connsiteY2665" fmla="*/ 2666233 h 6523037"/>
                <a:gd name="connsiteX2666" fmla="*/ 6456565 w 12192001"/>
                <a:gd name="connsiteY2666" fmla="*/ 2395821 h 6523037"/>
                <a:gd name="connsiteX2667" fmla="*/ 6641030 w 12192001"/>
                <a:gd name="connsiteY2667" fmla="*/ 2211353 h 6523037"/>
                <a:gd name="connsiteX2668" fmla="*/ 6641730 w 12192001"/>
                <a:gd name="connsiteY2668" fmla="*/ 2211353 h 6523037"/>
                <a:gd name="connsiteX2669" fmla="*/ 6727675 w 12192001"/>
                <a:gd name="connsiteY2669" fmla="*/ 2125409 h 6523037"/>
                <a:gd name="connsiteX2670" fmla="*/ 7560571 w 12192001"/>
                <a:gd name="connsiteY2670" fmla="*/ 2124710 h 6523037"/>
                <a:gd name="connsiteX2671" fmla="*/ 7290159 w 12192001"/>
                <a:gd name="connsiteY2671" fmla="*/ 2395821 h 6523037"/>
                <a:gd name="connsiteX2672" fmla="*/ 7561270 w 12192001"/>
                <a:gd name="connsiteY2672" fmla="*/ 2666233 h 6523037"/>
                <a:gd name="connsiteX2673" fmla="*/ 7825393 w 12192001"/>
                <a:gd name="connsiteY2673" fmla="*/ 2666233 h 6523037"/>
                <a:gd name="connsiteX2674" fmla="*/ 7554282 w 12192001"/>
                <a:gd name="connsiteY2674" fmla="*/ 2395821 h 6523037"/>
                <a:gd name="connsiteX2675" fmla="*/ 7824694 w 12192001"/>
                <a:gd name="connsiteY2675" fmla="*/ 2124710 h 6523037"/>
                <a:gd name="connsiteX2676" fmla="*/ 8657592 w 12192001"/>
                <a:gd name="connsiteY2676" fmla="*/ 2123312 h 6523037"/>
                <a:gd name="connsiteX2677" fmla="*/ 8387180 w 12192001"/>
                <a:gd name="connsiteY2677" fmla="*/ 2394423 h 6523037"/>
                <a:gd name="connsiteX2678" fmla="*/ 8658290 w 12192001"/>
                <a:gd name="connsiteY2678" fmla="*/ 2664835 h 6523037"/>
                <a:gd name="connsiteX2679" fmla="*/ 8922414 w 12192001"/>
                <a:gd name="connsiteY2679" fmla="*/ 2664835 h 6523037"/>
                <a:gd name="connsiteX2680" fmla="*/ 8651303 w 12192001"/>
                <a:gd name="connsiteY2680" fmla="*/ 2394423 h 6523037"/>
                <a:gd name="connsiteX2681" fmla="*/ 8921715 w 12192001"/>
                <a:gd name="connsiteY2681" fmla="*/ 2123312 h 6523037"/>
                <a:gd name="connsiteX2682" fmla="*/ 10576156 w 12192001"/>
                <a:gd name="connsiteY2682" fmla="*/ 2122933 h 6523037"/>
                <a:gd name="connsiteX2683" fmla="*/ 10305744 w 12192001"/>
                <a:gd name="connsiteY2683" fmla="*/ 2394044 h 6523037"/>
                <a:gd name="connsiteX2684" fmla="*/ 10437805 w 12192001"/>
                <a:gd name="connsiteY2684" fmla="*/ 2526105 h 6523037"/>
                <a:gd name="connsiteX2685" fmla="*/ 10576156 w 12192001"/>
                <a:gd name="connsiteY2685" fmla="*/ 2664456 h 6523037"/>
                <a:gd name="connsiteX2686" fmla="*/ 10840280 w 12192001"/>
                <a:gd name="connsiteY2686" fmla="*/ 2664456 h 6523037"/>
                <a:gd name="connsiteX2687" fmla="*/ 10569169 w 12192001"/>
                <a:gd name="connsiteY2687" fmla="*/ 2394044 h 6523037"/>
                <a:gd name="connsiteX2688" fmla="*/ 10840280 w 12192001"/>
                <a:gd name="connsiteY2688" fmla="*/ 2122933 h 6523037"/>
                <a:gd name="connsiteX2689" fmla="*/ 9479702 w 12192001"/>
                <a:gd name="connsiteY2689" fmla="*/ 2122933 h 6523037"/>
                <a:gd name="connsiteX2690" fmla="*/ 9391268 w 12192001"/>
                <a:gd name="connsiteY2690" fmla="*/ 2212052 h 6523037"/>
                <a:gd name="connsiteX2691" fmla="*/ 9213788 w 12192001"/>
                <a:gd name="connsiteY2691" fmla="*/ 2389532 h 6523037"/>
                <a:gd name="connsiteX2692" fmla="*/ 9475939 w 12192001"/>
                <a:gd name="connsiteY2692" fmla="*/ 2389532 h 6523037"/>
                <a:gd name="connsiteX2693" fmla="*/ 9741163 w 12192001"/>
                <a:gd name="connsiteY2693" fmla="*/ 2122933 h 6523037"/>
                <a:gd name="connsiteX2694" fmla="*/ 9206102 w 12192001"/>
                <a:gd name="connsiteY2694" fmla="*/ 2122614 h 6523037"/>
                <a:gd name="connsiteX2695" fmla="*/ 8935690 w 12192001"/>
                <a:gd name="connsiteY2695" fmla="*/ 2393724 h 6523037"/>
                <a:gd name="connsiteX2696" fmla="*/ 9206102 w 12192001"/>
                <a:gd name="connsiteY2696" fmla="*/ 2663438 h 6523037"/>
                <a:gd name="connsiteX2697" fmla="*/ 9466918 w 12192001"/>
                <a:gd name="connsiteY2697" fmla="*/ 2663438 h 6523037"/>
                <a:gd name="connsiteX2698" fmla="*/ 9320523 w 12192001"/>
                <a:gd name="connsiteY2698" fmla="*/ 2517721 h 6523037"/>
                <a:gd name="connsiteX2699" fmla="*/ 9320523 w 12192001"/>
                <a:gd name="connsiteY2699" fmla="*/ 2514122 h 6523037"/>
                <a:gd name="connsiteX2700" fmla="*/ 9199115 w 12192001"/>
                <a:gd name="connsiteY2700" fmla="*/ 2393026 h 6523037"/>
                <a:gd name="connsiteX2701" fmla="*/ 9320523 w 12192001"/>
                <a:gd name="connsiteY2701" fmla="*/ 2271618 h 6523037"/>
                <a:gd name="connsiteX2702" fmla="*/ 9320523 w 12192001"/>
                <a:gd name="connsiteY2702" fmla="*/ 2269668 h 6523037"/>
                <a:gd name="connsiteX2703" fmla="*/ 9467576 w 12192001"/>
                <a:gd name="connsiteY2703" fmla="*/ 2122614 h 6523037"/>
                <a:gd name="connsiteX2704" fmla="*/ 11672478 w 12192001"/>
                <a:gd name="connsiteY2704" fmla="*/ 2122234 h 6523037"/>
                <a:gd name="connsiteX2705" fmla="*/ 11492203 w 12192001"/>
                <a:gd name="connsiteY2705" fmla="*/ 2303207 h 6523037"/>
                <a:gd name="connsiteX2706" fmla="*/ 11491504 w 12192001"/>
                <a:gd name="connsiteY2706" fmla="*/ 2303207 h 6523037"/>
                <a:gd name="connsiteX2707" fmla="*/ 11402066 w 12192001"/>
                <a:gd name="connsiteY2707" fmla="*/ 2392646 h 6523037"/>
                <a:gd name="connsiteX2708" fmla="*/ 11536224 w 12192001"/>
                <a:gd name="connsiteY2708" fmla="*/ 2526804 h 6523037"/>
                <a:gd name="connsiteX2709" fmla="*/ 11673176 w 12192001"/>
                <a:gd name="connsiteY2709" fmla="*/ 2663058 h 6523037"/>
                <a:gd name="connsiteX2710" fmla="*/ 11936601 w 12192001"/>
                <a:gd name="connsiteY2710" fmla="*/ 2663058 h 6523037"/>
                <a:gd name="connsiteX2711" fmla="*/ 11665491 w 12192001"/>
                <a:gd name="connsiteY2711" fmla="*/ 2392646 h 6523037"/>
                <a:gd name="connsiteX2712" fmla="*/ 11666888 w 12192001"/>
                <a:gd name="connsiteY2712" fmla="*/ 2391248 h 6523037"/>
                <a:gd name="connsiteX2713" fmla="*/ 11667587 w 12192001"/>
                <a:gd name="connsiteY2713" fmla="*/ 2391248 h 6523037"/>
                <a:gd name="connsiteX2714" fmla="*/ 11935902 w 12192001"/>
                <a:gd name="connsiteY2714" fmla="*/ 2122234 h 6523037"/>
                <a:gd name="connsiteX2715" fmla="*/ 11123968 w 12192001"/>
                <a:gd name="connsiteY2715" fmla="*/ 2122234 h 6523037"/>
                <a:gd name="connsiteX2716" fmla="*/ 10853555 w 12192001"/>
                <a:gd name="connsiteY2716" fmla="*/ 2393345 h 6523037"/>
                <a:gd name="connsiteX2717" fmla="*/ 11123968 w 12192001"/>
                <a:gd name="connsiteY2717" fmla="*/ 2663058 h 6523037"/>
                <a:gd name="connsiteX2718" fmla="*/ 11388091 w 12192001"/>
                <a:gd name="connsiteY2718" fmla="*/ 2663058 h 6523037"/>
                <a:gd name="connsiteX2719" fmla="*/ 11116981 w 12192001"/>
                <a:gd name="connsiteY2719" fmla="*/ 2392646 h 6523037"/>
                <a:gd name="connsiteX2720" fmla="*/ 11301447 w 12192001"/>
                <a:gd name="connsiteY2720" fmla="*/ 2208178 h 6523037"/>
                <a:gd name="connsiteX2721" fmla="*/ 11302146 w 12192001"/>
                <a:gd name="connsiteY2721" fmla="*/ 2208178 h 6523037"/>
                <a:gd name="connsiteX2722" fmla="*/ 11388091 w 12192001"/>
                <a:gd name="connsiteY2722" fmla="*/ 2122234 h 6523037"/>
                <a:gd name="connsiteX2723" fmla="*/ 1261921 w 12192001"/>
                <a:gd name="connsiteY2723" fmla="*/ 1856964 h 6523037"/>
                <a:gd name="connsiteX2724" fmla="*/ 1262620 w 12192001"/>
                <a:gd name="connsiteY2724" fmla="*/ 1857662 h 6523037"/>
                <a:gd name="connsiteX2725" fmla="*/ 1263319 w 12192001"/>
                <a:gd name="connsiteY2725" fmla="*/ 1857662 h 6523037"/>
                <a:gd name="connsiteX2726" fmla="*/ 1532333 w 12192001"/>
                <a:gd name="connsiteY2726" fmla="*/ 2126677 h 6523037"/>
                <a:gd name="connsiteX2727" fmla="*/ 1261921 w 12192001"/>
                <a:gd name="connsiteY2727" fmla="*/ 2397788 h 6523037"/>
                <a:gd name="connsiteX2728" fmla="*/ 1526046 w 12192001"/>
                <a:gd name="connsiteY2728" fmla="*/ 2397788 h 6523037"/>
                <a:gd name="connsiteX2729" fmla="*/ 1796458 w 12192001"/>
                <a:gd name="connsiteY2729" fmla="*/ 2126677 h 6523037"/>
                <a:gd name="connsiteX2730" fmla="*/ 1791566 w 12192001"/>
                <a:gd name="connsiteY2730" fmla="*/ 2121786 h 6523037"/>
                <a:gd name="connsiteX2731" fmla="*/ 1526046 w 12192001"/>
                <a:gd name="connsiteY2731" fmla="*/ 1856964 h 6523037"/>
                <a:gd name="connsiteX2732" fmla="*/ 164203 w 12192001"/>
                <a:gd name="connsiteY2732" fmla="*/ 1856964 h 6523037"/>
                <a:gd name="connsiteX2733" fmla="*/ 165601 w 12192001"/>
                <a:gd name="connsiteY2733" fmla="*/ 1858361 h 6523037"/>
                <a:gd name="connsiteX2734" fmla="*/ 434615 w 12192001"/>
                <a:gd name="connsiteY2734" fmla="*/ 2127376 h 6523037"/>
                <a:gd name="connsiteX2735" fmla="*/ 164203 w 12192001"/>
                <a:gd name="connsiteY2735" fmla="*/ 2397089 h 6523037"/>
                <a:gd name="connsiteX2736" fmla="*/ 428326 w 12192001"/>
                <a:gd name="connsiteY2736" fmla="*/ 2397089 h 6523037"/>
                <a:gd name="connsiteX2737" fmla="*/ 698738 w 12192001"/>
                <a:gd name="connsiteY2737" fmla="*/ 2125979 h 6523037"/>
                <a:gd name="connsiteX2738" fmla="*/ 695191 w 12192001"/>
                <a:gd name="connsiteY2738" fmla="*/ 2122430 h 6523037"/>
                <a:gd name="connsiteX2739" fmla="*/ 709860 w 12192001"/>
                <a:gd name="connsiteY2739" fmla="*/ 2129472 h 6523037"/>
                <a:gd name="connsiteX2740" fmla="*/ 705726 w 12192001"/>
                <a:gd name="connsiteY2740" fmla="*/ 2129472 h 6523037"/>
                <a:gd name="connsiteX2741" fmla="*/ 435314 w 12192001"/>
                <a:gd name="connsiteY2741" fmla="*/ 2400583 h 6523037"/>
                <a:gd name="connsiteX2742" fmla="*/ 706425 w 12192001"/>
                <a:gd name="connsiteY2742" fmla="*/ 2670995 h 6523037"/>
                <a:gd name="connsiteX2743" fmla="*/ 970548 w 12192001"/>
                <a:gd name="connsiteY2743" fmla="*/ 2670995 h 6523037"/>
                <a:gd name="connsiteX2744" fmla="*/ 699437 w 12192001"/>
                <a:gd name="connsiteY2744" fmla="*/ 2400583 h 6523037"/>
                <a:gd name="connsiteX2745" fmla="*/ 883903 w 12192001"/>
                <a:gd name="connsiteY2745" fmla="*/ 2216115 h 6523037"/>
                <a:gd name="connsiteX2746" fmla="*/ 969849 w 12192001"/>
                <a:gd name="connsiteY2746" fmla="*/ 2130171 h 6523037"/>
                <a:gd name="connsiteX2747" fmla="*/ 711316 w 12192001"/>
                <a:gd name="connsiteY2747" fmla="*/ 2130171 h 6523037"/>
                <a:gd name="connsiteX2748" fmla="*/ 709860 w 12192001"/>
                <a:gd name="connsiteY2748" fmla="*/ 2129472 h 6523037"/>
                <a:gd name="connsiteX2749" fmla="*/ 711316 w 12192001"/>
                <a:gd name="connsiteY2749" fmla="*/ 2129472 h 6523037"/>
                <a:gd name="connsiteX2750" fmla="*/ 693847 w 12192001"/>
                <a:gd name="connsiteY2750" fmla="*/ 2121087 h 6523037"/>
                <a:gd name="connsiteX2751" fmla="*/ 695191 w 12192001"/>
                <a:gd name="connsiteY2751" fmla="*/ 2122430 h 6523037"/>
                <a:gd name="connsiteX2752" fmla="*/ 693847 w 12192001"/>
                <a:gd name="connsiteY2752" fmla="*/ 2121786 h 6523037"/>
                <a:gd name="connsiteX2753" fmla="*/ 428326 w 12192001"/>
                <a:gd name="connsiteY2753" fmla="*/ 1856964 h 6523037"/>
                <a:gd name="connsiteX2754" fmla="*/ 712014 w 12192001"/>
                <a:gd name="connsiteY2754" fmla="*/ 1856265 h 6523037"/>
                <a:gd name="connsiteX2755" fmla="*/ 983125 w 12192001"/>
                <a:gd name="connsiteY2755" fmla="*/ 2125979 h 6523037"/>
                <a:gd name="connsiteX2756" fmla="*/ 980330 w 12192001"/>
                <a:gd name="connsiteY2756" fmla="*/ 2128773 h 6523037"/>
                <a:gd name="connsiteX2757" fmla="*/ 890192 w 12192001"/>
                <a:gd name="connsiteY2757" fmla="*/ 2219610 h 6523037"/>
                <a:gd name="connsiteX2758" fmla="*/ 712713 w 12192001"/>
                <a:gd name="connsiteY2758" fmla="*/ 2397089 h 6523037"/>
                <a:gd name="connsiteX2759" fmla="*/ 976837 w 12192001"/>
                <a:gd name="connsiteY2759" fmla="*/ 2397089 h 6523037"/>
                <a:gd name="connsiteX2760" fmla="*/ 1066275 w 12192001"/>
                <a:gd name="connsiteY2760" fmla="*/ 2307651 h 6523037"/>
                <a:gd name="connsiteX2761" fmla="*/ 1247249 w 12192001"/>
                <a:gd name="connsiteY2761" fmla="*/ 2126677 h 6523037"/>
                <a:gd name="connsiteX2762" fmla="*/ 1114488 w 12192001"/>
                <a:gd name="connsiteY2762" fmla="*/ 1994616 h 6523037"/>
                <a:gd name="connsiteX2763" fmla="*/ 976138 w 12192001"/>
                <a:gd name="connsiteY2763" fmla="*/ 1856265 h 6523037"/>
                <a:gd name="connsiteX2764" fmla="*/ 2359641 w 12192001"/>
                <a:gd name="connsiteY2764" fmla="*/ 1855567 h 6523037"/>
                <a:gd name="connsiteX2765" fmla="*/ 2489606 w 12192001"/>
                <a:gd name="connsiteY2765" fmla="*/ 1985532 h 6523037"/>
                <a:gd name="connsiteX2766" fmla="*/ 2630053 w 12192001"/>
                <a:gd name="connsiteY2766" fmla="*/ 2125979 h 6523037"/>
                <a:gd name="connsiteX2767" fmla="*/ 2359641 w 12192001"/>
                <a:gd name="connsiteY2767" fmla="*/ 2397089 h 6523037"/>
                <a:gd name="connsiteX2768" fmla="*/ 2623764 w 12192001"/>
                <a:gd name="connsiteY2768" fmla="*/ 2397089 h 6523037"/>
                <a:gd name="connsiteX2769" fmla="*/ 2894176 w 12192001"/>
                <a:gd name="connsiteY2769" fmla="*/ 2125979 h 6523037"/>
                <a:gd name="connsiteX2770" fmla="*/ 2623065 w 12192001"/>
                <a:gd name="connsiteY2770" fmla="*/ 1855567 h 6523037"/>
                <a:gd name="connsiteX2771" fmla="*/ 1810432 w 12192001"/>
                <a:gd name="connsiteY2771" fmla="*/ 1855567 h 6523037"/>
                <a:gd name="connsiteX2772" fmla="*/ 2081543 w 12192001"/>
                <a:gd name="connsiteY2772" fmla="*/ 2125979 h 6523037"/>
                <a:gd name="connsiteX2773" fmla="*/ 2078748 w 12192001"/>
                <a:gd name="connsiteY2773" fmla="*/ 2128773 h 6523037"/>
                <a:gd name="connsiteX2774" fmla="*/ 1988611 w 12192001"/>
                <a:gd name="connsiteY2774" fmla="*/ 2219610 h 6523037"/>
                <a:gd name="connsiteX2775" fmla="*/ 1987912 w 12192001"/>
                <a:gd name="connsiteY2775" fmla="*/ 2219610 h 6523037"/>
                <a:gd name="connsiteX2776" fmla="*/ 1811131 w 12192001"/>
                <a:gd name="connsiteY2776" fmla="*/ 2397089 h 6523037"/>
                <a:gd name="connsiteX2777" fmla="*/ 2074555 w 12192001"/>
                <a:gd name="connsiteY2777" fmla="*/ 2396391 h 6523037"/>
                <a:gd name="connsiteX2778" fmla="*/ 2163994 w 12192001"/>
                <a:gd name="connsiteY2778" fmla="*/ 2306952 h 6523037"/>
                <a:gd name="connsiteX2779" fmla="*/ 2164693 w 12192001"/>
                <a:gd name="connsiteY2779" fmla="*/ 2306952 h 6523037"/>
                <a:gd name="connsiteX2780" fmla="*/ 2345666 w 12192001"/>
                <a:gd name="connsiteY2780" fmla="*/ 2125979 h 6523037"/>
                <a:gd name="connsiteX2781" fmla="*/ 2074555 w 12192001"/>
                <a:gd name="connsiteY2781" fmla="*/ 1855567 h 6523037"/>
                <a:gd name="connsiteX2782" fmla="*/ 2907452 w 12192001"/>
                <a:gd name="connsiteY2782" fmla="*/ 1854868 h 6523037"/>
                <a:gd name="connsiteX2783" fmla="*/ 3178563 w 12192001"/>
                <a:gd name="connsiteY2783" fmla="*/ 2125280 h 6523037"/>
                <a:gd name="connsiteX2784" fmla="*/ 2908151 w 12192001"/>
                <a:gd name="connsiteY2784" fmla="*/ 2396391 h 6523037"/>
                <a:gd name="connsiteX2785" fmla="*/ 3172275 w 12192001"/>
                <a:gd name="connsiteY2785" fmla="*/ 2396391 h 6523037"/>
                <a:gd name="connsiteX2786" fmla="*/ 3442687 w 12192001"/>
                <a:gd name="connsiteY2786" fmla="*/ 2125280 h 6523037"/>
                <a:gd name="connsiteX2787" fmla="*/ 3171576 w 12192001"/>
                <a:gd name="connsiteY2787" fmla="*/ 1854868 h 6523037"/>
                <a:gd name="connsiteX2788" fmla="*/ 4552984 w 12192001"/>
                <a:gd name="connsiteY2788" fmla="*/ 1852771 h 6523037"/>
                <a:gd name="connsiteX2789" fmla="*/ 4820022 w 12192001"/>
                <a:gd name="connsiteY2789" fmla="*/ 2119120 h 6523037"/>
                <a:gd name="connsiteX2790" fmla="*/ 5080746 w 12192001"/>
                <a:gd name="connsiteY2790" fmla="*/ 2119120 h 6523037"/>
                <a:gd name="connsiteX2791" fmla="*/ 4813709 w 12192001"/>
                <a:gd name="connsiteY2791" fmla="*/ 1852771 h 6523037"/>
                <a:gd name="connsiteX2792" fmla="*/ 4004473 w 12192001"/>
                <a:gd name="connsiteY2792" fmla="*/ 1852771 h 6523037"/>
                <a:gd name="connsiteX2793" fmla="*/ 4005871 w 12192001"/>
                <a:gd name="connsiteY2793" fmla="*/ 1854169 h 6523037"/>
                <a:gd name="connsiteX2794" fmla="*/ 4274885 w 12192001"/>
                <a:gd name="connsiteY2794" fmla="*/ 2123183 h 6523037"/>
                <a:gd name="connsiteX2795" fmla="*/ 4004473 w 12192001"/>
                <a:gd name="connsiteY2795" fmla="*/ 2394294 h 6523037"/>
                <a:gd name="connsiteX2796" fmla="*/ 4268598 w 12192001"/>
                <a:gd name="connsiteY2796" fmla="*/ 2394294 h 6523037"/>
                <a:gd name="connsiteX2797" fmla="*/ 4539009 w 12192001"/>
                <a:gd name="connsiteY2797" fmla="*/ 2123183 h 6523037"/>
                <a:gd name="connsiteX2798" fmla="*/ 4534118 w 12192001"/>
                <a:gd name="connsiteY2798" fmla="*/ 2118292 h 6523037"/>
                <a:gd name="connsiteX2799" fmla="*/ 4268598 w 12192001"/>
                <a:gd name="connsiteY2799" fmla="*/ 1852771 h 6523037"/>
                <a:gd name="connsiteX2800" fmla="*/ 5922027 w 12192001"/>
                <a:gd name="connsiteY2800" fmla="*/ 1852202 h 6523037"/>
                <a:gd name="connsiteX2801" fmla="*/ 5922727 w 12192001"/>
                <a:gd name="connsiteY2801" fmla="*/ 1852900 h 6523037"/>
                <a:gd name="connsiteX2802" fmla="*/ 5923425 w 12192001"/>
                <a:gd name="connsiteY2802" fmla="*/ 1852900 h 6523037"/>
                <a:gd name="connsiteX2803" fmla="*/ 6192439 w 12192001"/>
                <a:gd name="connsiteY2803" fmla="*/ 2121915 h 6523037"/>
                <a:gd name="connsiteX2804" fmla="*/ 5922027 w 12192001"/>
                <a:gd name="connsiteY2804" fmla="*/ 2393026 h 6523037"/>
                <a:gd name="connsiteX2805" fmla="*/ 6186152 w 12192001"/>
                <a:gd name="connsiteY2805" fmla="*/ 2393026 h 6523037"/>
                <a:gd name="connsiteX2806" fmla="*/ 6456565 w 12192001"/>
                <a:gd name="connsiteY2806" fmla="*/ 2121915 h 6523037"/>
                <a:gd name="connsiteX2807" fmla="*/ 6451672 w 12192001"/>
                <a:gd name="connsiteY2807" fmla="*/ 2117024 h 6523037"/>
                <a:gd name="connsiteX2808" fmla="*/ 6186152 w 12192001"/>
                <a:gd name="connsiteY2808" fmla="*/ 1852202 h 6523037"/>
                <a:gd name="connsiteX2809" fmla="*/ 4824309 w 12192001"/>
                <a:gd name="connsiteY2809" fmla="*/ 1852202 h 6523037"/>
                <a:gd name="connsiteX2810" fmla="*/ 4825707 w 12192001"/>
                <a:gd name="connsiteY2810" fmla="*/ 1853599 h 6523037"/>
                <a:gd name="connsiteX2811" fmla="*/ 5094721 w 12192001"/>
                <a:gd name="connsiteY2811" fmla="*/ 2122614 h 6523037"/>
                <a:gd name="connsiteX2812" fmla="*/ 4824309 w 12192001"/>
                <a:gd name="connsiteY2812" fmla="*/ 2392327 h 6523037"/>
                <a:gd name="connsiteX2813" fmla="*/ 5088432 w 12192001"/>
                <a:gd name="connsiteY2813" fmla="*/ 2392327 h 6523037"/>
                <a:gd name="connsiteX2814" fmla="*/ 5358844 w 12192001"/>
                <a:gd name="connsiteY2814" fmla="*/ 2121217 h 6523037"/>
                <a:gd name="connsiteX2815" fmla="*/ 5355297 w 12192001"/>
                <a:gd name="connsiteY2815" fmla="*/ 2117668 h 6523037"/>
                <a:gd name="connsiteX2816" fmla="*/ 5369967 w 12192001"/>
                <a:gd name="connsiteY2816" fmla="*/ 2124710 h 6523037"/>
                <a:gd name="connsiteX2817" fmla="*/ 5365832 w 12192001"/>
                <a:gd name="connsiteY2817" fmla="*/ 2124710 h 6523037"/>
                <a:gd name="connsiteX2818" fmla="*/ 5095421 w 12192001"/>
                <a:gd name="connsiteY2818" fmla="*/ 2395821 h 6523037"/>
                <a:gd name="connsiteX2819" fmla="*/ 5366532 w 12192001"/>
                <a:gd name="connsiteY2819" fmla="*/ 2666233 h 6523037"/>
                <a:gd name="connsiteX2820" fmla="*/ 5630655 w 12192001"/>
                <a:gd name="connsiteY2820" fmla="*/ 2666233 h 6523037"/>
                <a:gd name="connsiteX2821" fmla="*/ 5359544 w 12192001"/>
                <a:gd name="connsiteY2821" fmla="*/ 2395821 h 6523037"/>
                <a:gd name="connsiteX2822" fmla="*/ 5544009 w 12192001"/>
                <a:gd name="connsiteY2822" fmla="*/ 2211353 h 6523037"/>
                <a:gd name="connsiteX2823" fmla="*/ 5629955 w 12192001"/>
                <a:gd name="connsiteY2823" fmla="*/ 2125409 h 6523037"/>
                <a:gd name="connsiteX2824" fmla="*/ 5371422 w 12192001"/>
                <a:gd name="connsiteY2824" fmla="*/ 2125409 h 6523037"/>
                <a:gd name="connsiteX2825" fmla="*/ 5369967 w 12192001"/>
                <a:gd name="connsiteY2825" fmla="*/ 2124710 h 6523037"/>
                <a:gd name="connsiteX2826" fmla="*/ 5371422 w 12192001"/>
                <a:gd name="connsiteY2826" fmla="*/ 2124710 h 6523037"/>
                <a:gd name="connsiteX2827" fmla="*/ 5353953 w 12192001"/>
                <a:gd name="connsiteY2827" fmla="*/ 2116325 h 6523037"/>
                <a:gd name="connsiteX2828" fmla="*/ 5355297 w 12192001"/>
                <a:gd name="connsiteY2828" fmla="*/ 2117668 h 6523037"/>
                <a:gd name="connsiteX2829" fmla="*/ 5353953 w 12192001"/>
                <a:gd name="connsiteY2829" fmla="*/ 2117024 h 6523037"/>
                <a:gd name="connsiteX2830" fmla="*/ 5088432 w 12192001"/>
                <a:gd name="connsiteY2830" fmla="*/ 1852202 h 6523037"/>
                <a:gd name="connsiteX2831" fmla="*/ 5372120 w 12192001"/>
                <a:gd name="connsiteY2831" fmla="*/ 1851503 h 6523037"/>
                <a:gd name="connsiteX2832" fmla="*/ 5643231 w 12192001"/>
                <a:gd name="connsiteY2832" fmla="*/ 2121217 h 6523037"/>
                <a:gd name="connsiteX2833" fmla="*/ 5640436 w 12192001"/>
                <a:gd name="connsiteY2833" fmla="*/ 2124011 h 6523037"/>
                <a:gd name="connsiteX2834" fmla="*/ 5550298 w 12192001"/>
                <a:gd name="connsiteY2834" fmla="*/ 2214848 h 6523037"/>
                <a:gd name="connsiteX2835" fmla="*/ 5372819 w 12192001"/>
                <a:gd name="connsiteY2835" fmla="*/ 2392327 h 6523037"/>
                <a:gd name="connsiteX2836" fmla="*/ 5636944 w 12192001"/>
                <a:gd name="connsiteY2836" fmla="*/ 2392327 h 6523037"/>
                <a:gd name="connsiteX2837" fmla="*/ 5726382 w 12192001"/>
                <a:gd name="connsiteY2837" fmla="*/ 2302889 h 6523037"/>
                <a:gd name="connsiteX2838" fmla="*/ 5907355 w 12192001"/>
                <a:gd name="connsiteY2838" fmla="*/ 2121915 h 6523037"/>
                <a:gd name="connsiteX2839" fmla="*/ 5774594 w 12192001"/>
                <a:gd name="connsiteY2839" fmla="*/ 1989854 h 6523037"/>
                <a:gd name="connsiteX2840" fmla="*/ 5636244 w 12192001"/>
                <a:gd name="connsiteY2840" fmla="*/ 1851503 h 6523037"/>
                <a:gd name="connsiteX2841" fmla="*/ 7019748 w 12192001"/>
                <a:gd name="connsiteY2841" fmla="*/ 1850805 h 6523037"/>
                <a:gd name="connsiteX2842" fmla="*/ 7149712 w 12192001"/>
                <a:gd name="connsiteY2842" fmla="*/ 1980770 h 6523037"/>
                <a:gd name="connsiteX2843" fmla="*/ 7290159 w 12192001"/>
                <a:gd name="connsiteY2843" fmla="*/ 2121217 h 6523037"/>
                <a:gd name="connsiteX2844" fmla="*/ 7019748 w 12192001"/>
                <a:gd name="connsiteY2844" fmla="*/ 2392327 h 6523037"/>
                <a:gd name="connsiteX2845" fmla="*/ 7283870 w 12192001"/>
                <a:gd name="connsiteY2845" fmla="*/ 2392327 h 6523037"/>
                <a:gd name="connsiteX2846" fmla="*/ 7554282 w 12192001"/>
                <a:gd name="connsiteY2846" fmla="*/ 2121217 h 6523037"/>
                <a:gd name="connsiteX2847" fmla="*/ 7283171 w 12192001"/>
                <a:gd name="connsiteY2847" fmla="*/ 1850805 h 6523037"/>
                <a:gd name="connsiteX2848" fmla="*/ 6470538 w 12192001"/>
                <a:gd name="connsiteY2848" fmla="*/ 1850805 h 6523037"/>
                <a:gd name="connsiteX2849" fmla="*/ 6741650 w 12192001"/>
                <a:gd name="connsiteY2849" fmla="*/ 2121217 h 6523037"/>
                <a:gd name="connsiteX2850" fmla="*/ 6738854 w 12192001"/>
                <a:gd name="connsiteY2850" fmla="*/ 2124011 h 6523037"/>
                <a:gd name="connsiteX2851" fmla="*/ 6648717 w 12192001"/>
                <a:gd name="connsiteY2851" fmla="*/ 2214848 h 6523037"/>
                <a:gd name="connsiteX2852" fmla="*/ 6648019 w 12192001"/>
                <a:gd name="connsiteY2852" fmla="*/ 2214848 h 6523037"/>
                <a:gd name="connsiteX2853" fmla="*/ 6471238 w 12192001"/>
                <a:gd name="connsiteY2853" fmla="*/ 2392327 h 6523037"/>
                <a:gd name="connsiteX2854" fmla="*/ 6734661 w 12192001"/>
                <a:gd name="connsiteY2854" fmla="*/ 2391629 h 6523037"/>
                <a:gd name="connsiteX2855" fmla="*/ 6824100 w 12192001"/>
                <a:gd name="connsiteY2855" fmla="*/ 2302190 h 6523037"/>
                <a:gd name="connsiteX2856" fmla="*/ 6824799 w 12192001"/>
                <a:gd name="connsiteY2856" fmla="*/ 2302190 h 6523037"/>
                <a:gd name="connsiteX2857" fmla="*/ 7005773 w 12192001"/>
                <a:gd name="connsiteY2857" fmla="*/ 2121217 h 6523037"/>
                <a:gd name="connsiteX2858" fmla="*/ 6734661 w 12192001"/>
                <a:gd name="connsiteY2858" fmla="*/ 1850805 h 6523037"/>
                <a:gd name="connsiteX2859" fmla="*/ 7567558 w 12192001"/>
                <a:gd name="connsiteY2859" fmla="*/ 1850106 h 6523037"/>
                <a:gd name="connsiteX2860" fmla="*/ 7838669 w 12192001"/>
                <a:gd name="connsiteY2860" fmla="*/ 2120518 h 6523037"/>
                <a:gd name="connsiteX2861" fmla="*/ 7568257 w 12192001"/>
                <a:gd name="connsiteY2861" fmla="*/ 2391629 h 6523037"/>
                <a:gd name="connsiteX2862" fmla="*/ 7832381 w 12192001"/>
                <a:gd name="connsiteY2862" fmla="*/ 2391629 h 6523037"/>
                <a:gd name="connsiteX2863" fmla="*/ 8102793 w 12192001"/>
                <a:gd name="connsiteY2863" fmla="*/ 2120518 h 6523037"/>
                <a:gd name="connsiteX2864" fmla="*/ 7831682 w 12192001"/>
                <a:gd name="connsiteY2864" fmla="*/ 1850106 h 6523037"/>
                <a:gd name="connsiteX2865" fmla="*/ 10582444 w 12192001"/>
                <a:gd name="connsiteY2865" fmla="*/ 1849027 h 6523037"/>
                <a:gd name="connsiteX2866" fmla="*/ 10583143 w 12192001"/>
                <a:gd name="connsiteY2866" fmla="*/ 1849725 h 6523037"/>
                <a:gd name="connsiteX2867" fmla="*/ 10583842 w 12192001"/>
                <a:gd name="connsiteY2867" fmla="*/ 1849725 h 6523037"/>
                <a:gd name="connsiteX2868" fmla="*/ 10852856 w 12192001"/>
                <a:gd name="connsiteY2868" fmla="*/ 2118740 h 6523037"/>
                <a:gd name="connsiteX2869" fmla="*/ 10582444 w 12192001"/>
                <a:gd name="connsiteY2869" fmla="*/ 2389851 h 6523037"/>
                <a:gd name="connsiteX2870" fmla="*/ 10846569 w 12192001"/>
                <a:gd name="connsiteY2870" fmla="*/ 2389851 h 6523037"/>
                <a:gd name="connsiteX2871" fmla="*/ 11116981 w 12192001"/>
                <a:gd name="connsiteY2871" fmla="*/ 2118740 h 6523037"/>
                <a:gd name="connsiteX2872" fmla="*/ 11112089 w 12192001"/>
                <a:gd name="connsiteY2872" fmla="*/ 2113849 h 6523037"/>
                <a:gd name="connsiteX2873" fmla="*/ 10846569 w 12192001"/>
                <a:gd name="connsiteY2873" fmla="*/ 1849027 h 6523037"/>
                <a:gd name="connsiteX2874" fmla="*/ 9484726 w 12192001"/>
                <a:gd name="connsiteY2874" fmla="*/ 1849027 h 6523037"/>
                <a:gd name="connsiteX2875" fmla="*/ 9486124 w 12192001"/>
                <a:gd name="connsiteY2875" fmla="*/ 1850424 h 6523037"/>
                <a:gd name="connsiteX2876" fmla="*/ 9755138 w 12192001"/>
                <a:gd name="connsiteY2876" fmla="*/ 2119439 h 6523037"/>
                <a:gd name="connsiteX2877" fmla="*/ 9484726 w 12192001"/>
                <a:gd name="connsiteY2877" fmla="*/ 2389152 h 6523037"/>
                <a:gd name="connsiteX2878" fmla="*/ 9748849 w 12192001"/>
                <a:gd name="connsiteY2878" fmla="*/ 2389152 h 6523037"/>
                <a:gd name="connsiteX2879" fmla="*/ 10019261 w 12192001"/>
                <a:gd name="connsiteY2879" fmla="*/ 2118042 h 6523037"/>
                <a:gd name="connsiteX2880" fmla="*/ 10015714 w 12192001"/>
                <a:gd name="connsiteY2880" fmla="*/ 2114494 h 6523037"/>
                <a:gd name="connsiteX2881" fmla="*/ 10030383 w 12192001"/>
                <a:gd name="connsiteY2881" fmla="*/ 2121535 h 6523037"/>
                <a:gd name="connsiteX2882" fmla="*/ 10026249 w 12192001"/>
                <a:gd name="connsiteY2882" fmla="*/ 2121535 h 6523037"/>
                <a:gd name="connsiteX2883" fmla="*/ 9755837 w 12192001"/>
                <a:gd name="connsiteY2883" fmla="*/ 2392646 h 6523037"/>
                <a:gd name="connsiteX2884" fmla="*/ 10026948 w 12192001"/>
                <a:gd name="connsiteY2884" fmla="*/ 2663058 h 6523037"/>
                <a:gd name="connsiteX2885" fmla="*/ 10291071 w 12192001"/>
                <a:gd name="connsiteY2885" fmla="*/ 2663058 h 6523037"/>
                <a:gd name="connsiteX2886" fmla="*/ 10019960 w 12192001"/>
                <a:gd name="connsiteY2886" fmla="*/ 2392646 h 6523037"/>
                <a:gd name="connsiteX2887" fmla="*/ 10204426 w 12192001"/>
                <a:gd name="connsiteY2887" fmla="*/ 2208178 h 6523037"/>
                <a:gd name="connsiteX2888" fmla="*/ 10290372 w 12192001"/>
                <a:gd name="connsiteY2888" fmla="*/ 2122234 h 6523037"/>
                <a:gd name="connsiteX2889" fmla="*/ 10031839 w 12192001"/>
                <a:gd name="connsiteY2889" fmla="*/ 2122234 h 6523037"/>
                <a:gd name="connsiteX2890" fmla="*/ 10030383 w 12192001"/>
                <a:gd name="connsiteY2890" fmla="*/ 2121535 h 6523037"/>
                <a:gd name="connsiteX2891" fmla="*/ 10031839 w 12192001"/>
                <a:gd name="connsiteY2891" fmla="*/ 2121535 h 6523037"/>
                <a:gd name="connsiteX2892" fmla="*/ 10014370 w 12192001"/>
                <a:gd name="connsiteY2892" fmla="*/ 2113150 h 6523037"/>
                <a:gd name="connsiteX2893" fmla="*/ 10015714 w 12192001"/>
                <a:gd name="connsiteY2893" fmla="*/ 2114494 h 6523037"/>
                <a:gd name="connsiteX2894" fmla="*/ 10014370 w 12192001"/>
                <a:gd name="connsiteY2894" fmla="*/ 2113849 h 6523037"/>
                <a:gd name="connsiteX2895" fmla="*/ 9748849 w 12192001"/>
                <a:gd name="connsiteY2895" fmla="*/ 1849027 h 6523037"/>
                <a:gd name="connsiteX2896" fmla="*/ 10032537 w 12192001"/>
                <a:gd name="connsiteY2896" fmla="*/ 1848328 h 6523037"/>
                <a:gd name="connsiteX2897" fmla="*/ 10303648 w 12192001"/>
                <a:gd name="connsiteY2897" fmla="*/ 2118042 h 6523037"/>
                <a:gd name="connsiteX2898" fmla="*/ 10300853 w 12192001"/>
                <a:gd name="connsiteY2898" fmla="*/ 2120836 h 6523037"/>
                <a:gd name="connsiteX2899" fmla="*/ 10210715 w 12192001"/>
                <a:gd name="connsiteY2899" fmla="*/ 2211673 h 6523037"/>
                <a:gd name="connsiteX2900" fmla="*/ 10033236 w 12192001"/>
                <a:gd name="connsiteY2900" fmla="*/ 2389152 h 6523037"/>
                <a:gd name="connsiteX2901" fmla="*/ 10297360 w 12192001"/>
                <a:gd name="connsiteY2901" fmla="*/ 2389152 h 6523037"/>
                <a:gd name="connsiteX2902" fmla="*/ 10386798 w 12192001"/>
                <a:gd name="connsiteY2902" fmla="*/ 2299714 h 6523037"/>
                <a:gd name="connsiteX2903" fmla="*/ 10567772 w 12192001"/>
                <a:gd name="connsiteY2903" fmla="*/ 2118740 h 6523037"/>
                <a:gd name="connsiteX2904" fmla="*/ 10435011 w 12192001"/>
                <a:gd name="connsiteY2904" fmla="*/ 1986679 h 6523037"/>
                <a:gd name="connsiteX2905" fmla="*/ 10296661 w 12192001"/>
                <a:gd name="connsiteY2905" fmla="*/ 1848328 h 6523037"/>
                <a:gd name="connsiteX2906" fmla="*/ 9213090 w 12192001"/>
                <a:gd name="connsiteY2906" fmla="*/ 1848009 h 6523037"/>
                <a:gd name="connsiteX2907" fmla="*/ 9481718 w 12192001"/>
                <a:gd name="connsiteY2907" fmla="*/ 2115945 h 6523037"/>
                <a:gd name="connsiteX2908" fmla="*/ 9741163 w 12192001"/>
                <a:gd name="connsiteY2908" fmla="*/ 2115945 h 6523037"/>
                <a:gd name="connsiteX2909" fmla="*/ 9472534 w 12192001"/>
                <a:gd name="connsiteY2909" fmla="*/ 1848009 h 6523037"/>
                <a:gd name="connsiteX2910" fmla="*/ 8664579 w 12192001"/>
                <a:gd name="connsiteY2910" fmla="*/ 1848009 h 6523037"/>
                <a:gd name="connsiteX2911" fmla="*/ 8665977 w 12192001"/>
                <a:gd name="connsiteY2911" fmla="*/ 1849407 h 6523037"/>
                <a:gd name="connsiteX2912" fmla="*/ 8934991 w 12192001"/>
                <a:gd name="connsiteY2912" fmla="*/ 2118421 h 6523037"/>
                <a:gd name="connsiteX2913" fmla="*/ 8664579 w 12192001"/>
                <a:gd name="connsiteY2913" fmla="*/ 2389532 h 6523037"/>
                <a:gd name="connsiteX2914" fmla="*/ 8928703 w 12192001"/>
                <a:gd name="connsiteY2914" fmla="*/ 2389532 h 6523037"/>
                <a:gd name="connsiteX2915" fmla="*/ 9199115 w 12192001"/>
                <a:gd name="connsiteY2915" fmla="*/ 2118421 h 6523037"/>
                <a:gd name="connsiteX2916" fmla="*/ 9194224 w 12192001"/>
                <a:gd name="connsiteY2916" fmla="*/ 2113530 h 6523037"/>
                <a:gd name="connsiteX2917" fmla="*/ 8928703 w 12192001"/>
                <a:gd name="connsiteY2917" fmla="*/ 1848009 h 6523037"/>
                <a:gd name="connsiteX2918" fmla="*/ 11130955 w 12192001"/>
                <a:gd name="connsiteY2918" fmla="*/ 1847630 h 6523037"/>
                <a:gd name="connsiteX2919" fmla="*/ 11402066 w 12192001"/>
                <a:gd name="connsiteY2919" fmla="*/ 2118042 h 6523037"/>
                <a:gd name="connsiteX2920" fmla="*/ 11399271 w 12192001"/>
                <a:gd name="connsiteY2920" fmla="*/ 2120836 h 6523037"/>
                <a:gd name="connsiteX2921" fmla="*/ 11309134 w 12192001"/>
                <a:gd name="connsiteY2921" fmla="*/ 2211673 h 6523037"/>
                <a:gd name="connsiteX2922" fmla="*/ 11308435 w 12192001"/>
                <a:gd name="connsiteY2922" fmla="*/ 2211673 h 6523037"/>
                <a:gd name="connsiteX2923" fmla="*/ 11131654 w 12192001"/>
                <a:gd name="connsiteY2923" fmla="*/ 2389152 h 6523037"/>
                <a:gd name="connsiteX2924" fmla="*/ 11395078 w 12192001"/>
                <a:gd name="connsiteY2924" fmla="*/ 2388455 h 6523037"/>
                <a:gd name="connsiteX2925" fmla="*/ 11484517 w 12192001"/>
                <a:gd name="connsiteY2925" fmla="*/ 2299015 h 6523037"/>
                <a:gd name="connsiteX2926" fmla="*/ 11485216 w 12192001"/>
                <a:gd name="connsiteY2926" fmla="*/ 2299015 h 6523037"/>
                <a:gd name="connsiteX2927" fmla="*/ 11666189 w 12192001"/>
                <a:gd name="connsiteY2927" fmla="*/ 2118042 h 6523037"/>
                <a:gd name="connsiteX2928" fmla="*/ 11395078 w 12192001"/>
                <a:gd name="connsiteY2928" fmla="*/ 1847630 h 6523037"/>
                <a:gd name="connsiteX2929" fmla="*/ 705027 w 12192001"/>
                <a:gd name="connsiteY2929" fmla="*/ 1582359 h 6523037"/>
                <a:gd name="connsiteX2930" fmla="*/ 434615 w 12192001"/>
                <a:gd name="connsiteY2930" fmla="*/ 1853470 h 6523037"/>
                <a:gd name="connsiteX2931" fmla="*/ 705726 w 12192001"/>
                <a:gd name="connsiteY2931" fmla="*/ 2123882 h 6523037"/>
                <a:gd name="connsiteX2932" fmla="*/ 969849 w 12192001"/>
                <a:gd name="connsiteY2932" fmla="*/ 2123882 h 6523037"/>
                <a:gd name="connsiteX2933" fmla="*/ 698738 w 12192001"/>
                <a:gd name="connsiteY2933" fmla="*/ 1853470 h 6523037"/>
                <a:gd name="connsiteX2934" fmla="*/ 969150 w 12192001"/>
                <a:gd name="connsiteY2934" fmla="*/ 1582359 h 6523037"/>
                <a:gd name="connsiteX2935" fmla="*/ 1802746 w 12192001"/>
                <a:gd name="connsiteY2935" fmla="*/ 1581660 h 6523037"/>
                <a:gd name="connsiteX2936" fmla="*/ 1532333 w 12192001"/>
                <a:gd name="connsiteY2936" fmla="*/ 1852771 h 6523037"/>
                <a:gd name="connsiteX2937" fmla="*/ 1803445 w 12192001"/>
                <a:gd name="connsiteY2937" fmla="*/ 2123183 h 6523037"/>
                <a:gd name="connsiteX2938" fmla="*/ 2067568 w 12192001"/>
                <a:gd name="connsiteY2938" fmla="*/ 2123183 h 6523037"/>
                <a:gd name="connsiteX2939" fmla="*/ 1796458 w 12192001"/>
                <a:gd name="connsiteY2939" fmla="*/ 1852771 h 6523037"/>
                <a:gd name="connsiteX2940" fmla="*/ 2066870 w 12192001"/>
                <a:gd name="connsiteY2940" fmla="*/ 1581660 h 6523037"/>
                <a:gd name="connsiteX2941" fmla="*/ 1252838 w 12192001"/>
                <a:gd name="connsiteY2941" fmla="*/ 1581660 h 6523037"/>
                <a:gd name="connsiteX2942" fmla="*/ 983125 w 12192001"/>
                <a:gd name="connsiteY2942" fmla="*/ 1852771 h 6523037"/>
                <a:gd name="connsiteX2943" fmla="*/ 1183663 w 12192001"/>
                <a:gd name="connsiteY2943" fmla="*/ 2053309 h 6523037"/>
                <a:gd name="connsiteX2944" fmla="*/ 1254236 w 12192001"/>
                <a:gd name="connsiteY2944" fmla="*/ 2123183 h 6523037"/>
                <a:gd name="connsiteX2945" fmla="*/ 1322712 w 12192001"/>
                <a:gd name="connsiteY2945" fmla="*/ 2123183 h 6523037"/>
                <a:gd name="connsiteX2946" fmla="*/ 1322014 w 12192001"/>
                <a:gd name="connsiteY2946" fmla="*/ 2124581 h 6523037"/>
                <a:gd name="connsiteX2947" fmla="*/ 1519058 w 12192001"/>
                <a:gd name="connsiteY2947" fmla="*/ 2124581 h 6523037"/>
                <a:gd name="connsiteX2948" fmla="*/ 1247947 w 12192001"/>
                <a:gd name="connsiteY2948" fmla="*/ 1854169 h 6523037"/>
                <a:gd name="connsiteX2949" fmla="*/ 1248646 w 12192001"/>
                <a:gd name="connsiteY2949" fmla="*/ 1853470 h 6523037"/>
                <a:gd name="connsiteX2950" fmla="*/ 1246550 w 12192001"/>
                <a:gd name="connsiteY2950" fmla="*/ 1852771 h 6523037"/>
                <a:gd name="connsiteX2951" fmla="*/ 1516962 w 12192001"/>
                <a:gd name="connsiteY2951" fmla="*/ 1581660 h 6523037"/>
                <a:gd name="connsiteX2952" fmla="*/ 2899766 w 12192001"/>
                <a:gd name="connsiteY2952" fmla="*/ 1580961 h 6523037"/>
                <a:gd name="connsiteX2953" fmla="*/ 2629354 w 12192001"/>
                <a:gd name="connsiteY2953" fmla="*/ 1852072 h 6523037"/>
                <a:gd name="connsiteX2954" fmla="*/ 2900465 w 12192001"/>
                <a:gd name="connsiteY2954" fmla="*/ 2122484 h 6523037"/>
                <a:gd name="connsiteX2955" fmla="*/ 3164588 w 12192001"/>
                <a:gd name="connsiteY2955" fmla="*/ 2122484 h 6523037"/>
                <a:gd name="connsiteX2956" fmla="*/ 2893477 w 12192001"/>
                <a:gd name="connsiteY2956" fmla="*/ 1852072 h 6523037"/>
                <a:gd name="connsiteX2957" fmla="*/ 3163889 w 12192001"/>
                <a:gd name="connsiteY2957" fmla="*/ 1580961 h 6523037"/>
                <a:gd name="connsiteX2958" fmla="*/ 2351257 w 12192001"/>
                <a:gd name="connsiteY2958" fmla="*/ 1580961 h 6523037"/>
                <a:gd name="connsiteX2959" fmla="*/ 2080844 w 12192001"/>
                <a:gd name="connsiteY2959" fmla="*/ 1852072 h 6523037"/>
                <a:gd name="connsiteX2960" fmla="*/ 2351955 w 12192001"/>
                <a:gd name="connsiteY2960" fmla="*/ 2122484 h 6523037"/>
                <a:gd name="connsiteX2961" fmla="*/ 2615379 w 12192001"/>
                <a:gd name="connsiteY2961" fmla="*/ 2122484 h 6523037"/>
                <a:gd name="connsiteX2962" fmla="*/ 2485414 w 12192001"/>
                <a:gd name="connsiteY2962" fmla="*/ 1992519 h 6523037"/>
                <a:gd name="connsiteX2963" fmla="*/ 2344968 w 12192001"/>
                <a:gd name="connsiteY2963" fmla="*/ 1852072 h 6523037"/>
                <a:gd name="connsiteX2964" fmla="*/ 2615379 w 12192001"/>
                <a:gd name="connsiteY2964" fmla="*/ 1580961 h 6523037"/>
                <a:gd name="connsiteX2965" fmla="*/ 3448276 w 12192001"/>
                <a:gd name="connsiteY2965" fmla="*/ 1580263 h 6523037"/>
                <a:gd name="connsiteX2966" fmla="*/ 3177864 w 12192001"/>
                <a:gd name="connsiteY2966" fmla="*/ 1851373 h 6523037"/>
                <a:gd name="connsiteX2967" fmla="*/ 3448975 w 12192001"/>
                <a:gd name="connsiteY2967" fmla="*/ 2121087 h 6523037"/>
                <a:gd name="connsiteX2968" fmla="*/ 3713099 w 12192001"/>
                <a:gd name="connsiteY2968" fmla="*/ 2121087 h 6523037"/>
                <a:gd name="connsiteX2969" fmla="*/ 3441988 w 12192001"/>
                <a:gd name="connsiteY2969" fmla="*/ 1850676 h 6523037"/>
                <a:gd name="connsiteX2970" fmla="*/ 3626455 w 12192001"/>
                <a:gd name="connsiteY2970" fmla="*/ 1666208 h 6523037"/>
                <a:gd name="connsiteX2971" fmla="*/ 3712400 w 12192001"/>
                <a:gd name="connsiteY2971" fmla="*/ 1580263 h 6523037"/>
                <a:gd name="connsiteX2972" fmla="*/ 4545297 w 12192001"/>
                <a:gd name="connsiteY2972" fmla="*/ 1578866 h 6523037"/>
                <a:gd name="connsiteX2973" fmla="*/ 4274885 w 12192001"/>
                <a:gd name="connsiteY2973" fmla="*/ 1849977 h 6523037"/>
                <a:gd name="connsiteX2974" fmla="*/ 4545996 w 12192001"/>
                <a:gd name="connsiteY2974" fmla="*/ 2119690 h 6523037"/>
                <a:gd name="connsiteX2975" fmla="*/ 4807395 w 12192001"/>
                <a:gd name="connsiteY2975" fmla="*/ 2119690 h 6523037"/>
                <a:gd name="connsiteX2976" fmla="*/ 4676176 w 12192001"/>
                <a:gd name="connsiteY2976" fmla="*/ 1989155 h 6523037"/>
                <a:gd name="connsiteX2977" fmla="*/ 4660106 w 12192001"/>
                <a:gd name="connsiteY2977" fmla="*/ 1973084 h 6523037"/>
                <a:gd name="connsiteX2978" fmla="*/ 4660106 w 12192001"/>
                <a:gd name="connsiteY2978" fmla="*/ 1970063 h 6523037"/>
                <a:gd name="connsiteX2979" fmla="*/ 4539009 w 12192001"/>
                <a:gd name="connsiteY2979" fmla="*/ 1849278 h 6523037"/>
                <a:gd name="connsiteX2980" fmla="*/ 4660106 w 12192001"/>
                <a:gd name="connsiteY2980" fmla="*/ 1728181 h 6523037"/>
                <a:gd name="connsiteX2981" fmla="*/ 4660106 w 12192001"/>
                <a:gd name="connsiteY2981" fmla="*/ 1724332 h 6523037"/>
                <a:gd name="connsiteX2982" fmla="*/ 4805571 w 12192001"/>
                <a:gd name="connsiteY2982" fmla="*/ 1578866 h 6523037"/>
                <a:gd name="connsiteX2983" fmla="*/ 4819782 w 12192001"/>
                <a:gd name="connsiteY2983" fmla="*/ 1578296 h 6523037"/>
                <a:gd name="connsiteX2984" fmla="*/ 4552984 w 12192001"/>
                <a:gd name="connsiteY2984" fmla="*/ 1845784 h 6523037"/>
                <a:gd name="connsiteX2985" fmla="*/ 4813254 w 12192001"/>
                <a:gd name="connsiteY2985" fmla="*/ 1845784 h 6523037"/>
                <a:gd name="connsiteX2986" fmla="*/ 5080048 w 12192001"/>
                <a:gd name="connsiteY2986" fmla="*/ 1578296 h 6523037"/>
                <a:gd name="connsiteX2987" fmla="*/ 5365133 w 12192001"/>
                <a:gd name="connsiteY2987" fmla="*/ 1577597 h 6523037"/>
                <a:gd name="connsiteX2988" fmla="*/ 5094721 w 12192001"/>
                <a:gd name="connsiteY2988" fmla="*/ 1848708 h 6523037"/>
                <a:gd name="connsiteX2989" fmla="*/ 5365832 w 12192001"/>
                <a:gd name="connsiteY2989" fmla="*/ 2119120 h 6523037"/>
                <a:gd name="connsiteX2990" fmla="*/ 5629955 w 12192001"/>
                <a:gd name="connsiteY2990" fmla="*/ 2119120 h 6523037"/>
                <a:gd name="connsiteX2991" fmla="*/ 5358844 w 12192001"/>
                <a:gd name="connsiteY2991" fmla="*/ 1848708 h 6523037"/>
                <a:gd name="connsiteX2992" fmla="*/ 5629256 w 12192001"/>
                <a:gd name="connsiteY2992" fmla="*/ 1577597 h 6523037"/>
                <a:gd name="connsiteX2993" fmla="*/ 6462852 w 12192001"/>
                <a:gd name="connsiteY2993" fmla="*/ 1576898 h 6523037"/>
                <a:gd name="connsiteX2994" fmla="*/ 6192439 w 12192001"/>
                <a:gd name="connsiteY2994" fmla="*/ 1848009 h 6523037"/>
                <a:gd name="connsiteX2995" fmla="*/ 6463552 w 12192001"/>
                <a:gd name="connsiteY2995" fmla="*/ 2118421 h 6523037"/>
                <a:gd name="connsiteX2996" fmla="*/ 6727675 w 12192001"/>
                <a:gd name="connsiteY2996" fmla="*/ 2118421 h 6523037"/>
                <a:gd name="connsiteX2997" fmla="*/ 6456565 w 12192001"/>
                <a:gd name="connsiteY2997" fmla="*/ 1848009 h 6523037"/>
                <a:gd name="connsiteX2998" fmla="*/ 6726977 w 12192001"/>
                <a:gd name="connsiteY2998" fmla="*/ 1576898 h 6523037"/>
                <a:gd name="connsiteX2999" fmla="*/ 5912945 w 12192001"/>
                <a:gd name="connsiteY2999" fmla="*/ 1576898 h 6523037"/>
                <a:gd name="connsiteX3000" fmla="*/ 5643231 w 12192001"/>
                <a:gd name="connsiteY3000" fmla="*/ 1848009 h 6523037"/>
                <a:gd name="connsiteX3001" fmla="*/ 5843769 w 12192001"/>
                <a:gd name="connsiteY3001" fmla="*/ 2048547 h 6523037"/>
                <a:gd name="connsiteX3002" fmla="*/ 5914342 w 12192001"/>
                <a:gd name="connsiteY3002" fmla="*/ 2118421 h 6523037"/>
                <a:gd name="connsiteX3003" fmla="*/ 5982819 w 12192001"/>
                <a:gd name="connsiteY3003" fmla="*/ 2118421 h 6523037"/>
                <a:gd name="connsiteX3004" fmla="*/ 5982120 w 12192001"/>
                <a:gd name="connsiteY3004" fmla="*/ 2119819 h 6523037"/>
                <a:gd name="connsiteX3005" fmla="*/ 6179165 w 12192001"/>
                <a:gd name="connsiteY3005" fmla="*/ 2119819 h 6523037"/>
                <a:gd name="connsiteX3006" fmla="*/ 5908054 w 12192001"/>
                <a:gd name="connsiteY3006" fmla="*/ 1849407 h 6523037"/>
                <a:gd name="connsiteX3007" fmla="*/ 5908752 w 12192001"/>
                <a:gd name="connsiteY3007" fmla="*/ 1848708 h 6523037"/>
                <a:gd name="connsiteX3008" fmla="*/ 5906656 w 12192001"/>
                <a:gd name="connsiteY3008" fmla="*/ 1848009 h 6523037"/>
                <a:gd name="connsiteX3009" fmla="*/ 6177068 w 12192001"/>
                <a:gd name="connsiteY3009" fmla="*/ 1576898 h 6523037"/>
                <a:gd name="connsiteX3010" fmla="*/ 7559872 w 12192001"/>
                <a:gd name="connsiteY3010" fmla="*/ 1576199 h 6523037"/>
                <a:gd name="connsiteX3011" fmla="*/ 7289460 w 12192001"/>
                <a:gd name="connsiteY3011" fmla="*/ 1847310 h 6523037"/>
                <a:gd name="connsiteX3012" fmla="*/ 7560571 w 12192001"/>
                <a:gd name="connsiteY3012" fmla="*/ 2117722 h 6523037"/>
                <a:gd name="connsiteX3013" fmla="*/ 7824694 w 12192001"/>
                <a:gd name="connsiteY3013" fmla="*/ 2117722 h 6523037"/>
                <a:gd name="connsiteX3014" fmla="*/ 7553583 w 12192001"/>
                <a:gd name="connsiteY3014" fmla="*/ 1847310 h 6523037"/>
                <a:gd name="connsiteX3015" fmla="*/ 7823995 w 12192001"/>
                <a:gd name="connsiteY3015" fmla="*/ 1576199 h 6523037"/>
                <a:gd name="connsiteX3016" fmla="*/ 7011363 w 12192001"/>
                <a:gd name="connsiteY3016" fmla="*/ 1576199 h 6523037"/>
                <a:gd name="connsiteX3017" fmla="*/ 6740950 w 12192001"/>
                <a:gd name="connsiteY3017" fmla="*/ 1847310 h 6523037"/>
                <a:gd name="connsiteX3018" fmla="*/ 7012061 w 12192001"/>
                <a:gd name="connsiteY3018" fmla="*/ 2117722 h 6523037"/>
                <a:gd name="connsiteX3019" fmla="*/ 7275485 w 12192001"/>
                <a:gd name="connsiteY3019" fmla="*/ 2117722 h 6523037"/>
                <a:gd name="connsiteX3020" fmla="*/ 7145521 w 12192001"/>
                <a:gd name="connsiteY3020" fmla="*/ 1987757 h 6523037"/>
                <a:gd name="connsiteX3021" fmla="*/ 7005075 w 12192001"/>
                <a:gd name="connsiteY3021" fmla="*/ 1847310 h 6523037"/>
                <a:gd name="connsiteX3022" fmla="*/ 7275485 w 12192001"/>
                <a:gd name="connsiteY3022" fmla="*/ 1576199 h 6523037"/>
                <a:gd name="connsiteX3023" fmla="*/ 8108382 w 12192001"/>
                <a:gd name="connsiteY3023" fmla="*/ 1575501 h 6523037"/>
                <a:gd name="connsiteX3024" fmla="*/ 7837970 w 12192001"/>
                <a:gd name="connsiteY3024" fmla="*/ 1846611 h 6523037"/>
                <a:gd name="connsiteX3025" fmla="*/ 8109081 w 12192001"/>
                <a:gd name="connsiteY3025" fmla="*/ 2116325 h 6523037"/>
                <a:gd name="connsiteX3026" fmla="*/ 8373205 w 12192001"/>
                <a:gd name="connsiteY3026" fmla="*/ 2116325 h 6523037"/>
                <a:gd name="connsiteX3027" fmla="*/ 8102094 w 12192001"/>
                <a:gd name="connsiteY3027" fmla="*/ 1845914 h 6523037"/>
                <a:gd name="connsiteX3028" fmla="*/ 8286561 w 12192001"/>
                <a:gd name="connsiteY3028" fmla="*/ 1661446 h 6523037"/>
                <a:gd name="connsiteX3029" fmla="*/ 8372506 w 12192001"/>
                <a:gd name="connsiteY3029" fmla="*/ 1575501 h 6523037"/>
                <a:gd name="connsiteX3030" fmla="*/ 9478306 w 12192001"/>
                <a:gd name="connsiteY3030" fmla="*/ 1575121 h 6523037"/>
                <a:gd name="connsiteX3031" fmla="*/ 9213090 w 12192001"/>
                <a:gd name="connsiteY3031" fmla="*/ 1841022 h 6523037"/>
                <a:gd name="connsiteX3032" fmla="*/ 9475254 w 12192001"/>
                <a:gd name="connsiteY3032" fmla="*/ 1841022 h 6523037"/>
                <a:gd name="connsiteX3033" fmla="*/ 9740464 w 12192001"/>
                <a:gd name="connsiteY3033" fmla="*/ 1575121 h 6523037"/>
                <a:gd name="connsiteX3034" fmla="*/ 10025550 w 12192001"/>
                <a:gd name="connsiteY3034" fmla="*/ 1574422 h 6523037"/>
                <a:gd name="connsiteX3035" fmla="*/ 9755138 w 12192001"/>
                <a:gd name="connsiteY3035" fmla="*/ 1845533 h 6523037"/>
                <a:gd name="connsiteX3036" fmla="*/ 10026249 w 12192001"/>
                <a:gd name="connsiteY3036" fmla="*/ 2115945 h 6523037"/>
                <a:gd name="connsiteX3037" fmla="*/ 10290372 w 12192001"/>
                <a:gd name="connsiteY3037" fmla="*/ 2115945 h 6523037"/>
                <a:gd name="connsiteX3038" fmla="*/ 10019261 w 12192001"/>
                <a:gd name="connsiteY3038" fmla="*/ 1845533 h 6523037"/>
                <a:gd name="connsiteX3039" fmla="*/ 10289673 w 12192001"/>
                <a:gd name="connsiteY3039" fmla="*/ 1574422 h 6523037"/>
                <a:gd name="connsiteX3040" fmla="*/ 9205403 w 12192001"/>
                <a:gd name="connsiteY3040" fmla="*/ 1574104 h 6523037"/>
                <a:gd name="connsiteX3041" fmla="*/ 8934991 w 12192001"/>
                <a:gd name="connsiteY3041" fmla="*/ 1845215 h 6523037"/>
                <a:gd name="connsiteX3042" fmla="*/ 9206102 w 12192001"/>
                <a:gd name="connsiteY3042" fmla="*/ 2114928 h 6523037"/>
                <a:gd name="connsiteX3043" fmla="*/ 9466216 w 12192001"/>
                <a:gd name="connsiteY3043" fmla="*/ 2114928 h 6523037"/>
                <a:gd name="connsiteX3044" fmla="*/ 9336593 w 12192001"/>
                <a:gd name="connsiteY3044" fmla="*/ 1985980 h 6523037"/>
                <a:gd name="connsiteX3045" fmla="*/ 9320523 w 12192001"/>
                <a:gd name="connsiteY3045" fmla="*/ 1969909 h 6523037"/>
                <a:gd name="connsiteX3046" fmla="*/ 9320523 w 12192001"/>
                <a:gd name="connsiteY3046" fmla="*/ 1965612 h 6523037"/>
                <a:gd name="connsiteX3047" fmla="*/ 9199115 w 12192001"/>
                <a:gd name="connsiteY3047" fmla="*/ 1844516 h 6523037"/>
                <a:gd name="connsiteX3048" fmla="*/ 9320523 w 12192001"/>
                <a:gd name="connsiteY3048" fmla="*/ 1723108 h 6523037"/>
                <a:gd name="connsiteX3049" fmla="*/ 9320523 w 12192001"/>
                <a:gd name="connsiteY3049" fmla="*/ 1721157 h 6523037"/>
                <a:gd name="connsiteX3050" fmla="*/ 9467575 w 12192001"/>
                <a:gd name="connsiteY3050" fmla="*/ 1574104 h 6523037"/>
                <a:gd name="connsiteX3051" fmla="*/ 11123269 w 12192001"/>
                <a:gd name="connsiteY3051" fmla="*/ 1573723 h 6523037"/>
                <a:gd name="connsiteX3052" fmla="*/ 10852856 w 12192001"/>
                <a:gd name="connsiteY3052" fmla="*/ 1844834 h 6523037"/>
                <a:gd name="connsiteX3053" fmla="*/ 11123968 w 12192001"/>
                <a:gd name="connsiteY3053" fmla="*/ 2115246 h 6523037"/>
                <a:gd name="connsiteX3054" fmla="*/ 11388091 w 12192001"/>
                <a:gd name="connsiteY3054" fmla="*/ 2115246 h 6523037"/>
                <a:gd name="connsiteX3055" fmla="*/ 11116981 w 12192001"/>
                <a:gd name="connsiteY3055" fmla="*/ 1844834 h 6523037"/>
                <a:gd name="connsiteX3056" fmla="*/ 11387393 w 12192001"/>
                <a:gd name="connsiteY3056" fmla="*/ 1573723 h 6523037"/>
                <a:gd name="connsiteX3057" fmla="*/ 10573361 w 12192001"/>
                <a:gd name="connsiteY3057" fmla="*/ 1573723 h 6523037"/>
                <a:gd name="connsiteX3058" fmla="*/ 10303648 w 12192001"/>
                <a:gd name="connsiteY3058" fmla="*/ 1844834 h 6523037"/>
                <a:gd name="connsiteX3059" fmla="*/ 10504186 w 12192001"/>
                <a:gd name="connsiteY3059" fmla="*/ 2045372 h 6523037"/>
                <a:gd name="connsiteX3060" fmla="*/ 10574759 w 12192001"/>
                <a:gd name="connsiteY3060" fmla="*/ 2115246 h 6523037"/>
                <a:gd name="connsiteX3061" fmla="*/ 10643235 w 12192001"/>
                <a:gd name="connsiteY3061" fmla="*/ 2115246 h 6523037"/>
                <a:gd name="connsiteX3062" fmla="*/ 10642537 w 12192001"/>
                <a:gd name="connsiteY3062" fmla="*/ 2116644 h 6523037"/>
                <a:gd name="connsiteX3063" fmla="*/ 10839581 w 12192001"/>
                <a:gd name="connsiteY3063" fmla="*/ 2116644 h 6523037"/>
                <a:gd name="connsiteX3064" fmla="*/ 10568470 w 12192001"/>
                <a:gd name="connsiteY3064" fmla="*/ 1846232 h 6523037"/>
                <a:gd name="connsiteX3065" fmla="*/ 10569169 w 12192001"/>
                <a:gd name="connsiteY3065" fmla="*/ 1845533 h 6523037"/>
                <a:gd name="connsiteX3066" fmla="*/ 10567073 w 12192001"/>
                <a:gd name="connsiteY3066" fmla="*/ 1844834 h 6523037"/>
                <a:gd name="connsiteX3067" fmla="*/ 10837485 w 12192001"/>
                <a:gd name="connsiteY3067" fmla="*/ 1573723 h 6523037"/>
                <a:gd name="connsiteX3068" fmla="*/ 11671780 w 12192001"/>
                <a:gd name="connsiteY3068" fmla="*/ 1573024 h 6523037"/>
                <a:gd name="connsiteX3069" fmla="*/ 11401367 w 12192001"/>
                <a:gd name="connsiteY3069" fmla="*/ 1844135 h 6523037"/>
                <a:gd name="connsiteX3070" fmla="*/ 11672478 w 12192001"/>
                <a:gd name="connsiteY3070" fmla="*/ 2114547 h 6523037"/>
                <a:gd name="connsiteX3071" fmla="*/ 11935902 w 12192001"/>
                <a:gd name="connsiteY3071" fmla="*/ 2114547 h 6523037"/>
                <a:gd name="connsiteX3072" fmla="*/ 11805937 w 12192001"/>
                <a:gd name="connsiteY3072" fmla="*/ 1984582 h 6523037"/>
                <a:gd name="connsiteX3073" fmla="*/ 11665491 w 12192001"/>
                <a:gd name="connsiteY3073" fmla="*/ 1844135 h 6523037"/>
                <a:gd name="connsiteX3074" fmla="*/ 11935902 w 12192001"/>
                <a:gd name="connsiteY3074" fmla="*/ 1573024 h 6523037"/>
                <a:gd name="connsiteX3075" fmla="*/ 164203 w 12192001"/>
                <a:gd name="connsiteY3075" fmla="*/ 1308454 h 6523037"/>
                <a:gd name="connsiteX3076" fmla="*/ 294168 w 12192001"/>
                <a:gd name="connsiteY3076" fmla="*/ 1438419 h 6523037"/>
                <a:gd name="connsiteX3077" fmla="*/ 434615 w 12192001"/>
                <a:gd name="connsiteY3077" fmla="*/ 1578866 h 6523037"/>
                <a:gd name="connsiteX3078" fmla="*/ 164203 w 12192001"/>
                <a:gd name="connsiteY3078" fmla="*/ 1849977 h 6523037"/>
                <a:gd name="connsiteX3079" fmla="*/ 428326 w 12192001"/>
                <a:gd name="connsiteY3079" fmla="*/ 1849977 h 6523037"/>
                <a:gd name="connsiteX3080" fmla="*/ 698738 w 12192001"/>
                <a:gd name="connsiteY3080" fmla="*/ 1578866 h 6523037"/>
                <a:gd name="connsiteX3081" fmla="*/ 427627 w 12192001"/>
                <a:gd name="connsiteY3081" fmla="*/ 1308454 h 6523037"/>
                <a:gd name="connsiteX3082" fmla="*/ 1809733 w 12192001"/>
                <a:gd name="connsiteY3082" fmla="*/ 1307755 h 6523037"/>
                <a:gd name="connsiteX3083" fmla="*/ 2080844 w 12192001"/>
                <a:gd name="connsiteY3083" fmla="*/ 1578167 h 6523037"/>
                <a:gd name="connsiteX3084" fmla="*/ 1810432 w 12192001"/>
                <a:gd name="connsiteY3084" fmla="*/ 1848579 h 6523037"/>
                <a:gd name="connsiteX3085" fmla="*/ 2074555 w 12192001"/>
                <a:gd name="connsiteY3085" fmla="*/ 1848579 h 6523037"/>
                <a:gd name="connsiteX3086" fmla="*/ 2344968 w 12192001"/>
                <a:gd name="connsiteY3086" fmla="*/ 1578167 h 6523037"/>
                <a:gd name="connsiteX3087" fmla="*/ 2073856 w 12192001"/>
                <a:gd name="connsiteY3087" fmla="*/ 1307755 h 6523037"/>
                <a:gd name="connsiteX3088" fmla="*/ 712014 w 12192001"/>
                <a:gd name="connsiteY3088" fmla="*/ 1307755 h 6523037"/>
                <a:gd name="connsiteX3089" fmla="*/ 983125 w 12192001"/>
                <a:gd name="connsiteY3089" fmla="*/ 1578167 h 6523037"/>
                <a:gd name="connsiteX3090" fmla="*/ 712713 w 12192001"/>
                <a:gd name="connsiteY3090" fmla="*/ 1849278 h 6523037"/>
                <a:gd name="connsiteX3091" fmla="*/ 976837 w 12192001"/>
                <a:gd name="connsiteY3091" fmla="*/ 1849278 h 6523037"/>
                <a:gd name="connsiteX3092" fmla="*/ 1247249 w 12192001"/>
                <a:gd name="connsiteY3092" fmla="*/ 1578167 h 6523037"/>
                <a:gd name="connsiteX3093" fmla="*/ 976138 w 12192001"/>
                <a:gd name="connsiteY3093" fmla="*/ 1307755 h 6523037"/>
                <a:gd name="connsiteX3094" fmla="*/ 2358243 w 12192001"/>
                <a:gd name="connsiteY3094" fmla="*/ 1307056 h 6523037"/>
                <a:gd name="connsiteX3095" fmla="*/ 2629354 w 12192001"/>
                <a:gd name="connsiteY3095" fmla="*/ 1577468 h 6523037"/>
                <a:gd name="connsiteX3096" fmla="*/ 2359641 w 12192001"/>
                <a:gd name="connsiteY3096" fmla="*/ 1848579 h 6523037"/>
                <a:gd name="connsiteX3097" fmla="*/ 2623065 w 12192001"/>
                <a:gd name="connsiteY3097" fmla="*/ 1848579 h 6523037"/>
                <a:gd name="connsiteX3098" fmla="*/ 2893477 w 12192001"/>
                <a:gd name="connsiteY3098" fmla="*/ 1577468 h 6523037"/>
                <a:gd name="connsiteX3099" fmla="*/ 2759320 w 12192001"/>
                <a:gd name="connsiteY3099" fmla="*/ 1444009 h 6523037"/>
                <a:gd name="connsiteX3100" fmla="*/ 2622367 w 12192001"/>
                <a:gd name="connsiteY3100" fmla="*/ 1307056 h 6523037"/>
                <a:gd name="connsiteX3101" fmla="*/ 2906754 w 12192001"/>
                <a:gd name="connsiteY3101" fmla="*/ 1306358 h 6523037"/>
                <a:gd name="connsiteX3102" fmla="*/ 2908151 w 12192001"/>
                <a:gd name="connsiteY3102" fmla="*/ 1307755 h 6523037"/>
                <a:gd name="connsiteX3103" fmla="*/ 3177864 w 12192001"/>
                <a:gd name="connsiteY3103" fmla="*/ 1576769 h 6523037"/>
                <a:gd name="connsiteX3104" fmla="*/ 2907452 w 12192001"/>
                <a:gd name="connsiteY3104" fmla="*/ 1847181 h 6523037"/>
                <a:gd name="connsiteX3105" fmla="*/ 3171576 w 12192001"/>
                <a:gd name="connsiteY3105" fmla="*/ 1847181 h 6523037"/>
                <a:gd name="connsiteX3106" fmla="*/ 3441988 w 12192001"/>
                <a:gd name="connsiteY3106" fmla="*/ 1576769 h 6523037"/>
                <a:gd name="connsiteX3107" fmla="*/ 3436398 w 12192001"/>
                <a:gd name="connsiteY3107" fmla="*/ 1571878 h 6523037"/>
                <a:gd name="connsiteX3108" fmla="*/ 3170877 w 12192001"/>
                <a:gd name="connsiteY3108" fmla="*/ 1306358 h 6523037"/>
                <a:gd name="connsiteX3109" fmla="*/ 1525347 w 12192001"/>
                <a:gd name="connsiteY3109" fmla="*/ 1306358 h 6523037"/>
                <a:gd name="connsiteX3110" fmla="*/ 1523949 w 12192001"/>
                <a:gd name="connsiteY3110" fmla="*/ 1307056 h 6523037"/>
                <a:gd name="connsiteX3111" fmla="*/ 1259826 w 12192001"/>
                <a:gd name="connsiteY3111" fmla="*/ 1307056 h 6523037"/>
                <a:gd name="connsiteX3112" fmla="*/ 1530937 w 12192001"/>
                <a:gd name="connsiteY3112" fmla="*/ 1577468 h 6523037"/>
                <a:gd name="connsiteX3113" fmla="*/ 1526744 w 12192001"/>
                <a:gd name="connsiteY3113" fmla="*/ 1581660 h 6523037"/>
                <a:gd name="connsiteX3114" fmla="*/ 1532333 w 12192001"/>
                <a:gd name="connsiteY3114" fmla="*/ 1578866 h 6523037"/>
                <a:gd name="connsiteX3115" fmla="*/ 1261921 w 12192001"/>
                <a:gd name="connsiteY3115" fmla="*/ 1849977 h 6523037"/>
                <a:gd name="connsiteX3116" fmla="*/ 1526046 w 12192001"/>
                <a:gd name="connsiteY3116" fmla="*/ 1849977 h 6523037"/>
                <a:gd name="connsiteX3117" fmla="*/ 1796458 w 12192001"/>
                <a:gd name="connsiteY3117" fmla="*/ 1578866 h 6523037"/>
                <a:gd name="connsiteX3118" fmla="*/ 1525347 w 12192001"/>
                <a:gd name="connsiteY3118" fmla="*/ 1308454 h 6523037"/>
                <a:gd name="connsiteX3119" fmla="*/ 3454565 w 12192001"/>
                <a:gd name="connsiteY3119" fmla="*/ 1305659 h 6523037"/>
                <a:gd name="connsiteX3120" fmla="*/ 3725676 w 12192001"/>
                <a:gd name="connsiteY3120" fmla="*/ 1576071 h 6523037"/>
                <a:gd name="connsiteX3121" fmla="*/ 3722882 w 12192001"/>
                <a:gd name="connsiteY3121" fmla="*/ 1578866 h 6523037"/>
                <a:gd name="connsiteX3122" fmla="*/ 3632744 w 12192001"/>
                <a:gd name="connsiteY3122" fmla="*/ 1669701 h 6523037"/>
                <a:gd name="connsiteX3123" fmla="*/ 3455264 w 12192001"/>
                <a:gd name="connsiteY3123" fmla="*/ 1846482 h 6523037"/>
                <a:gd name="connsiteX3124" fmla="*/ 3719387 w 12192001"/>
                <a:gd name="connsiteY3124" fmla="*/ 1846482 h 6523037"/>
                <a:gd name="connsiteX3125" fmla="*/ 3808826 w 12192001"/>
                <a:gd name="connsiteY3125" fmla="*/ 1757044 h 6523037"/>
                <a:gd name="connsiteX3126" fmla="*/ 3989799 w 12192001"/>
                <a:gd name="connsiteY3126" fmla="*/ 1576071 h 6523037"/>
                <a:gd name="connsiteX3127" fmla="*/ 3718688 w 12192001"/>
                <a:gd name="connsiteY3127" fmla="*/ 1305659 h 6523037"/>
                <a:gd name="connsiteX3128" fmla="*/ 4813703 w 12192001"/>
                <a:gd name="connsiteY3128" fmla="*/ 1304267 h 6523037"/>
                <a:gd name="connsiteX3129" fmla="*/ 4551587 w 12192001"/>
                <a:gd name="connsiteY3129" fmla="*/ 1304960 h 6523037"/>
                <a:gd name="connsiteX3130" fmla="*/ 4819301 w 12192001"/>
                <a:gd name="connsiteY3130" fmla="*/ 1570610 h 6523037"/>
                <a:gd name="connsiteX3131" fmla="*/ 5080048 w 12192001"/>
                <a:gd name="connsiteY3131" fmla="*/ 1570610 h 6523037"/>
                <a:gd name="connsiteX3132" fmla="*/ 4950082 w 12192001"/>
                <a:gd name="connsiteY3132" fmla="*/ 1440645 h 6523037"/>
                <a:gd name="connsiteX3133" fmla="*/ 4824309 w 12192001"/>
                <a:gd name="connsiteY3133" fmla="*/ 1303692 h 6523037"/>
                <a:gd name="connsiteX3134" fmla="*/ 4954274 w 12192001"/>
                <a:gd name="connsiteY3134" fmla="*/ 1433657 h 6523037"/>
                <a:gd name="connsiteX3135" fmla="*/ 5094721 w 12192001"/>
                <a:gd name="connsiteY3135" fmla="*/ 1574104 h 6523037"/>
                <a:gd name="connsiteX3136" fmla="*/ 4824309 w 12192001"/>
                <a:gd name="connsiteY3136" fmla="*/ 1845215 h 6523037"/>
                <a:gd name="connsiteX3137" fmla="*/ 5088432 w 12192001"/>
                <a:gd name="connsiteY3137" fmla="*/ 1845215 h 6523037"/>
                <a:gd name="connsiteX3138" fmla="*/ 5358844 w 12192001"/>
                <a:gd name="connsiteY3138" fmla="*/ 1574104 h 6523037"/>
                <a:gd name="connsiteX3139" fmla="*/ 5087733 w 12192001"/>
                <a:gd name="connsiteY3139" fmla="*/ 1303692 h 6523037"/>
                <a:gd name="connsiteX3140" fmla="*/ 6469839 w 12192001"/>
                <a:gd name="connsiteY3140" fmla="*/ 1302993 h 6523037"/>
                <a:gd name="connsiteX3141" fmla="*/ 6740950 w 12192001"/>
                <a:gd name="connsiteY3141" fmla="*/ 1573405 h 6523037"/>
                <a:gd name="connsiteX3142" fmla="*/ 6470538 w 12192001"/>
                <a:gd name="connsiteY3142" fmla="*/ 1843817 h 6523037"/>
                <a:gd name="connsiteX3143" fmla="*/ 6734661 w 12192001"/>
                <a:gd name="connsiteY3143" fmla="*/ 1843817 h 6523037"/>
                <a:gd name="connsiteX3144" fmla="*/ 7005075 w 12192001"/>
                <a:gd name="connsiteY3144" fmla="*/ 1573405 h 6523037"/>
                <a:gd name="connsiteX3145" fmla="*/ 6733962 w 12192001"/>
                <a:gd name="connsiteY3145" fmla="*/ 1302993 h 6523037"/>
                <a:gd name="connsiteX3146" fmla="*/ 5372120 w 12192001"/>
                <a:gd name="connsiteY3146" fmla="*/ 1302993 h 6523037"/>
                <a:gd name="connsiteX3147" fmla="*/ 5643231 w 12192001"/>
                <a:gd name="connsiteY3147" fmla="*/ 1573405 h 6523037"/>
                <a:gd name="connsiteX3148" fmla="*/ 5372819 w 12192001"/>
                <a:gd name="connsiteY3148" fmla="*/ 1844516 h 6523037"/>
                <a:gd name="connsiteX3149" fmla="*/ 5636944 w 12192001"/>
                <a:gd name="connsiteY3149" fmla="*/ 1844516 h 6523037"/>
                <a:gd name="connsiteX3150" fmla="*/ 5907355 w 12192001"/>
                <a:gd name="connsiteY3150" fmla="*/ 1573405 h 6523037"/>
                <a:gd name="connsiteX3151" fmla="*/ 5636244 w 12192001"/>
                <a:gd name="connsiteY3151" fmla="*/ 1302993 h 6523037"/>
                <a:gd name="connsiteX3152" fmla="*/ 7018349 w 12192001"/>
                <a:gd name="connsiteY3152" fmla="*/ 1302294 h 6523037"/>
                <a:gd name="connsiteX3153" fmla="*/ 7289460 w 12192001"/>
                <a:gd name="connsiteY3153" fmla="*/ 1572706 h 6523037"/>
                <a:gd name="connsiteX3154" fmla="*/ 7019748 w 12192001"/>
                <a:gd name="connsiteY3154" fmla="*/ 1843817 h 6523037"/>
                <a:gd name="connsiteX3155" fmla="*/ 7283171 w 12192001"/>
                <a:gd name="connsiteY3155" fmla="*/ 1843817 h 6523037"/>
                <a:gd name="connsiteX3156" fmla="*/ 7553583 w 12192001"/>
                <a:gd name="connsiteY3156" fmla="*/ 1572706 h 6523037"/>
                <a:gd name="connsiteX3157" fmla="*/ 7419426 w 12192001"/>
                <a:gd name="connsiteY3157" fmla="*/ 1439247 h 6523037"/>
                <a:gd name="connsiteX3158" fmla="*/ 7282473 w 12192001"/>
                <a:gd name="connsiteY3158" fmla="*/ 1302294 h 6523037"/>
                <a:gd name="connsiteX3159" fmla="*/ 7566860 w 12192001"/>
                <a:gd name="connsiteY3159" fmla="*/ 1301596 h 6523037"/>
                <a:gd name="connsiteX3160" fmla="*/ 7568257 w 12192001"/>
                <a:gd name="connsiteY3160" fmla="*/ 1302993 h 6523037"/>
                <a:gd name="connsiteX3161" fmla="*/ 7837970 w 12192001"/>
                <a:gd name="connsiteY3161" fmla="*/ 1572007 h 6523037"/>
                <a:gd name="connsiteX3162" fmla="*/ 7567558 w 12192001"/>
                <a:gd name="connsiteY3162" fmla="*/ 1842419 h 6523037"/>
                <a:gd name="connsiteX3163" fmla="*/ 7831682 w 12192001"/>
                <a:gd name="connsiteY3163" fmla="*/ 1842419 h 6523037"/>
                <a:gd name="connsiteX3164" fmla="*/ 8102094 w 12192001"/>
                <a:gd name="connsiteY3164" fmla="*/ 1572007 h 6523037"/>
                <a:gd name="connsiteX3165" fmla="*/ 8096504 w 12192001"/>
                <a:gd name="connsiteY3165" fmla="*/ 1567116 h 6523037"/>
                <a:gd name="connsiteX3166" fmla="*/ 7830983 w 12192001"/>
                <a:gd name="connsiteY3166" fmla="*/ 1301596 h 6523037"/>
                <a:gd name="connsiteX3167" fmla="*/ 6185454 w 12192001"/>
                <a:gd name="connsiteY3167" fmla="*/ 1301596 h 6523037"/>
                <a:gd name="connsiteX3168" fmla="*/ 6184056 w 12192001"/>
                <a:gd name="connsiteY3168" fmla="*/ 1302294 h 6523037"/>
                <a:gd name="connsiteX3169" fmla="*/ 5919933 w 12192001"/>
                <a:gd name="connsiteY3169" fmla="*/ 1302294 h 6523037"/>
                <a:gd name="connsiteX3170" fmla="*/ 6191043 w 12192001"/>
                <a:gd name="connsiteY3170" fmla="*/ 1572706 h 6523037"/>
                <a:gd name="connsiteX3171" fmla="*/ 6186850 w 12192001"/>
                <a:gd name="connsiteY3171" fmla="*/ 1576898 h 6523037"/>
                <a:gd name="connsiteX3172" fmla="*/ 6192439 w 12192001"/>
                <a:gd name="connsiteY3172" fmla="*/ 1574104 h 6523037"/>
                <a:gd name="connsiteX3173" fmla="*/ 5922027 w 12192001"/>
                <a:gd name="connsiteY3173" fmla="*/ 1845215 h 6523037"/>
                <a:gd name="connsiteX3174" fmla="*/ 6186152 w 12192001"/>
                <a:gd name="connsiteY3174" fmla="*/ 1845215 h 6523037"/>
                <a:gd name="connsiteX3175" fmla="*/ 6456565 w 12192001"/>
                <a:gd name="connsiteY3175" fmla="*/ 1574104 h 6523037"/>
                <a:gd name="connsiteX3176" fmla="*/ 6185454 w 12192001"/>
                <a:gd name="connsiteY3176" fmla="*/ 1303692 h 6523037"/>
                <a:gd name="connsiteX3177" fmla="*/ 8114671 w 12192001"/>
                <a:gd name="connsiteY3177" fmla="*/ 1300897 h 6523037"/>
                <a:gd name="connsiteX3178" fmla="*/ 8385782 w 12192001"/>
                <a:gd name="connsiteY3178" fmla="*/ 1571309 h 6523037"/>
                <a:gd name="connsiteX3179" fmla="*/ 8382988 w 12192001"/>
                <a:gd name="connsiteY3179" fmla="*/ 1574104 h 6523037"/>
                <a:gd name="connsiteX3180" fmla="*/ 8292850 w 12192001"/>
                <a:gd name="connsiteY3180" fmla="*/ 1664939 h 6523037"/>
                <a:gd name="connsiteX3181" fmla="*/ 8115370 w 12192001"/>
                <a:gd name="connsiteY3181" fmla="*/ 1841720 h 6523037"/>
                <a:gd name="connsiteX3182" fmla="*/ 8379493 w 12192001"/>
                <a:gd name="connsiteY3182" fmla="*/ 1841720 h 6523037"/>
                <a:gd name="connsiteX3183" fmla="*/ 8468932 w 12192001"/>
                <a:gd name="connsiteY3183" fmla="*/ 1752282 h 6523037"/>
                <a:gd name="connsiteX3184" fmla="*/ 8649905 w 12192001"/>
                <a:gd name="connsiteY3184" fmla="*/ 1571309 h 6523037"/>
                <a:gd name="connsiteX3185" fmla="*/ 8378794 w 12192001"/>
                <a:gd name="connsiteY3185" fmla="*/ 1300897 h 6523037"/>
                <a:gd name="connsiteX3186" fmla="*/ 9484726 w 12192001"/>
                <a:gd name="connsiteY3186" fmla="*/ 1300517 h 6523037"/>
                <a:gd name="connsiteX3187" fmla="*/ 9614691 w 12192001"/>
                <a:gd name="connsiteY3187" fmla="*/ 1430482 h 6523037"/>
                <a:gd name="connsiteX3188" fmla="*/ 9755138 w 12192001"/>
                <a:gd name="connsiteY3188" fmla="*/ 1570929 h 6523037"/>
                <a:gd name="connsiteX3189" fmla="*/ 9484726 w 12192001"/>
                <a:gd name="connsiteY3189" fmla="*/ 1842040 h 6523037"/>
                <a:gd name="connsiteX3190" fmla="*/ 9748849 w 12192001"/>
                <a:gd name="connsiteY3190" fmla="*/ 1842040 h 6523037"/>
                <a:gd name="connsiteX3191" fmla="*/ 10019261 w 12192001"/>
                <a:gd name="connsiteY3191" fmla="*/ 1570929 h 6523037"/>
                <a:gd name="connsiteX3192" fmla="*/ 9748150 w 12192001"/>
                <a:gd name="connsiteY3192" fmla="*/ 1300517 h 6523037"/>
                <a:gd name="connsiteX3193" fmla="*/ 11130256 w 12192001"/>
                <a:gd name="connsiteY3193" fmla="*/ 1299818 h 6523037"/>
                <a:gd name="connsiteX3194" fmla="*/ 11401367 w 12192001"/>
                <a:gd name="connsiteY3194" fmla="*/ 1570230 h 6523037"/>
                <a:gd name="connsiteX3195" fmla="*/ 11130955 w 12192001"/>
                <a:gd name="connsiteY3195" fmla="*/ 1840642 h 6523037"/>
                <a:gd name="connsiteX3196" fmla="*/ 11395078 w 12192001"/>
                <a:gd name="connsiteY3196" fmla="*/ 1840642 h 6523037"/>
                <a:gd name="connsiteX3197" fmla="*/ 11665491 w 12192001"/>
                <a:gd name="connsiteY3197" fmla="*/ 1570230 h 6523037"/>
                <a:gd name="connsiteX3198" fmla="*/ 11394379 w 12192001"/>
                <a:gd name="connsiteY3198" fmla="*/ 1299818 h 6523037"/>
                <a:gd name="connsiteX3199" fmla="*/ 10032537 w 12192001"/>
                <a:gd name="connsiteY3199" fmla="*/ 1299818 h 6523037"/>
                <a:gd name="connsiteX3200" fmla="*/ 10303648 w 12192001"/>
                <a:gd name="connsiteY3200" fmla="*/ 1570230 h 6523037"/>
                <a:gd name="connsiteX3201" fmla="*/ 10033236 w 12192001"/>
                <a:gd name="connsiteY3201" fmla="*/ 1841341 h 6523037"/>
                <a:gd name="connsiteX3202" fmla="*/ 10297360 w 12192001"/>
                <a:gd name="connsiteY3202" fmla="*/ 1841341 h 6523037"/>
                <a:gd name="connsiteX3203" fmla="*/ 10567772 w 12192001"/>
                <a:gd name="connsiteY3203" fmla="*/ 1570230 h 6523037"/>
                <a:gd name="connsiteX3204" fmla="*/ 10296661 w 12192001"/>
                <a:gd name="connsiteY3204" fmla="*/ 1299818 h 6523037"/>
                <a:gd name="connsiteX3205" fmla="*/ 9472537 w 12192001"/>
                <a:gd name="connsiteY3205" fmla="*/ 1299508 h 6523037"/>
                <a:gd name="connsiteX3206" fmla="*/ 9211692 w 12192001"/>
                <a:gd name="connsiteY3206" fmla="*/ 1300198 h 6523037"/>
                <a:gd name="connsiteX3207" fmla="*/ 9481007 w 12192001"/>
                <a:gd name="connsiteY3207" fmla="*/ 1567435 h 6523037"/>
                <a:gd name="connsiteX3208" fmla="*/ 9740464 w 12192001"/>
                <a:gd name="connsiteY3208" fmla="*/ 1567435 h 6523037"/>
                <a:gd name="connsiteX3209" fmla="*/ 9610499 w 12192001"/>
                <a:gd name="connsiteY3209" fmla="*/ 1437470 h 6523037"/>
                <a:gd name="connsiteX3210" fmla="*/ 10845870 w 12192001"/>
                <a:gd name="connsiteY3210" fmla="*/ 1298421 h 6523037"/>
                <a:gd name="connsiteX3211" fmla="*/ 10844472 w 12192001"/>
                <a:gd name="connsiteY3211" fmla="*/ 1299119 h 6523037"/>
                <a:gd name="connsiteX3212" fmla="*/ 10580349 w 12192001"/>
                <a:gd name="connsiteY3212" fmla="*/ 1299119 h 6523037"/>
                <a:gd name="connsiteX3213" fmla="*/ 10851460 w 12192001"/>
                <a:gd name="connsiteY3213" fmla="*/ 1569531 h 6523037"/>
                <a:gd name="connsiteX3214" fmla="*/ 10847267 w 12192001"/>
                <a:gd name="connsiteY3214" fmla="*/ 1573723 h 6523037"/>
                <a:gd name="connsiteX3215" fmla="*/ 10852856 w 12192001"/>
                <a:gd name="connsiteY3215" fmla="*/ 1570929 h 6523037"/>
                <a:gd name="connsiteX3216" fmla="*/ 10582444 w 12192001"/>
                <a:gd name="connsiteY3216" fmla="*/ 1842040 h 6523037"/>
                <a:gd name="connsiteX3217" fmla="*/ 10846569 w 12192001"/>
                <a:gd name="connsiteY3217" fmla="*/ 1842040 h 6523037"/>
                <a:gd name="connsiteX3218" fmla="*/ 11116981 w 12192001"/>
                <a:gd name="connsiteY3218" fmla="*/ 1570929 h 6523037"/>
                <a:gd name="connsiteX3219" fmla="*/ 10845870 w 12192001"/>
                <a:gd name="connsiteY3219" fmla="*/ 1300517 h 6523037"/>
                <a:gd name="connsiteX3220" fmla="*/ 1802048 w 12192001"/>
                <a:gd name="connsiteY3220" fmla="*/ 1033150 h 6523037"/>
                <a:gd name="connsiteX3221" fmla="*/ 1531636 w 12192001"/>
                <a:gd name="connsiteY3221" fmla="*/ 1304261 h 6523037"/>
                <a:gd name="connsiteX3222" fmla="*/ 1802746 w 12192001"/>
                <a:gd name="connsiteY3222" fmla="*/ 1574673 h 6523037"/>
                <a:gd name="connsiteX3223" fmla="*/ 2066870 w 12192001"/>
                <a:gd name="connsiteY3223" fmla="*/ 1574673 h 6523037"/>
                <a:gd name="connsiteX3224" fmla="*/ 1795759 w 12192001"/>
                <a:gd name="connsiteY3224" fmla="*/ 1304261 h 6523037"/>
                <a:gd name="connsiteX3225" fmla="*/ 2066171 w 12192001"/>
                <a:gd name="connsiteY3225" fmla="*/ 1033150 h 6523037"/>
                <a:gd name="connsiteX3226" fmla="*/ 704328 w 12192001"/>
                <a:gd name="connsiteY3226" fmla="*/ 1033150 h 6523037"/>
                <a:gd name="connsiteX3227" fmla="*/ 433916 w 12192001"/>
                <a:gd name="connsiteY3227" fmla="*/ 1304261 h 6523037"/>
                <a:gd name="connsiteX3228" fmla="*/ 705027 w 12192001"/>
                <a:gd name="connsiteY3228" fmla="*/ 1574673 h 6523037"/>
                <a:gd name="connsiteX3229" fmla="*/ 969150 w 12192001"/>
                <a:gd name="connsiteY3229" fmla="*/ 1574673 h 6523037"/>
                <a:gd name="connsiteX3230" fmla="*/ 698039 w 12192001"/>
                <a:gd name="connsiteY3230" fmla="*/ 1304261 h 6523037"/>
                <a:gd name="connsiteX3231" fmla="*/ 967752 w 12192001"/>
                <a:gd name="connsiteY3231" fmla="*/ 1033150 h 6523037"/>
                <a:gd name="connsiteX3232" fmla="*/ 2899067 w 12192001"/>
                <a:gd name="connsiteY3232" fmla="*/ 1032451 h 6523037"/>
                <a:gd name="connsiteX3233" fmla="*/ 2718793 w 12192001"/>
                <a:gd name="connsiteY3233" fmla="*/ 1212727 h 6523037"/>
                <a:gd name="connsiteX3234" fmla="*/ 2629354 w 12192001"/>
                <a:gd name="connsiteY3234" fmla="*/ 1302864 h 6523037"/>
                <a:gd name="connsiteX3235" fmla="*/ 2763512 w 12192001"/>
                <a:gd name="connsiteY3235" fmla="*/ 1436323 h 6523037"/>
                <a:gd name="connsiteX3236" fmla="*/ 2900465 w 12192001"/>
                <a:gd name="connsiteY3236" fmla="*/ 1573275 h 6523037"/>
                <a:gd name="connsiteX3237" fmla="*/ 3164588 w 12192001"/>
                <a:gd name="connsiteY3237" fmla="*/ 1573275 h 6523037"/>
                <a:gd name="connsiteX3238" fmla="*/ 2893477 w 12192001"/>
                <a:gd name="connsiteY3238" fmla="*/ 1302864 h 6523037"/>
                <a:gd name="connsiteX3239" fmla="*/ 2894875 w 12192001"/>
                <a:gd name="connsiteY3239" fmla="*/ 1301467 h 6523037"/>
                <a:gd name="connsiteX3240" fmla="*/ 3163191 w 12192001"/>
                <a:gd name="connsiteY3240" fmla="*/ 1032451 h 6523037"/>
                <a:gd name="connsiteX3241" fmla="*/ 2350558 w 12192001"/>
                <a:gd name="connsiteY3241" fmla="*/ 1032451 h 6523037"/>
                <a:gd name="connsiteX3242" fmla="*/ 2080145 w 12192001"/>
                <a:gd name="connsiteY3242" fmla="*/ 1303562 h 6523037"/>
                <a:gd name="connsiteX3243" fmla="*/ 2351257 w 12192001"/>
                <a:gd name="connsiteY3243" fmla="*/ 1573974 h 6523037"/>
                <a:gd name="connsiteX3244" fmla="*/ 2615379 w 12192001"/>
                <a:gd name="connsiteY3244" fmla="*/ 1573974 h 6523037"/>
                <a:gd name="connsiteX3245" fmla="*/ 2344269 w 12192001"/>
                <a:gd name="connsiteY3245" fmla="*/ 1303562 h 6523037"/>
                <a:gd name="connsiteX3246" fmla="*/ 2528736 w 12192001"/>
                <a:gd name="connsiteY3246" fmla="*/ 1119096 h 6523037"/>
                <a:gd name="connsiteX3247" fmla="*/ 2614681 w 12192001"/>
                <a:gd name="connsiteY3247" fmla="*/ 1033150 h 6523037"/>
                <a:gd name="connsiteX3248" fmla="*/ 2356148 w 12192001"/>
                <a:gd name="connsiteY3248" fmla="*/ 1033150 h 6523037"/>
                <a:gd name="connsiteX3249" fmla="*/ 1252838 w 12192001"/>
                <a:gd name="connsiteY3249" fmla="*/ 1032451 h 6523037"/>
                <a:gd name="connsiteX3250" fmla="*/ 982426 w 12192001"/>
                <a:gd name="connsiteY3250" fmla="*/ 1303562 h 6523037"/>
                <a:gd name="connsiteX3251" fmla="*/ 1253537 w 12192001"/>
                <a:gd name="connsiteY3251" fmla="*/ 1573974 h 6523037"/>
                <a:gd name="connsiteX3252" fmla="*/ 1517660 w 12192001"/>
                <a:gd name="connsiteY3252" fmla="*/ 1573974 h 6523037"/>
                <a:gd name="connsiteX3253" fmla="*/ 1246550 w 12192001"/>
                <a:gd name="connsiteY3253" fmla="*/ 1303562 h 6523037"/>
                <a:gd name="connsiteX3254" fmla="*/ 1431017 w 12192001"/>
                <a:gd name="connsiteY3254" fmla="*/ 1119096 h 6523037"/>
                <a:gd name="connsiteX3255" fmla="*/ 1516962 w 12192001"/>
                <a:gd name="connsiteY3255" fmla="*/ 1032451 h 6523037"/>
                <a:gd name="connsiteX3256" fmla="*/ 3447578 w 12192001"/>
                <a:gd name="connsiteY3256" fmla="*/ 1031753 h 6523037"/>
                <a:gd name="connsiteX3257" fmla="*/ 3177166 w 12192001"/>
                <a:gd name="connsiteY3257" fmla="*/ 1302864 h 6523037"/>
                <a:gd name="connsiteX3258" fmla="*/ 3448276 w 12192001"/>
                <a:gd name="connsiteY3258" fmla="*/ 1573275 h 6523037"/>
                <a:gd name="connsiteX3259" fmla="*/ 3712400 w 12192001"/>
                <a:gd name="connsiteY3259" fmla="*/ 1573275 h 6523037"/>
                <a:gd name="connsiteX3260" fmla="*/ 3441289 w 12192001"/>
                <a:gd name="connsiteY3260" fmla="*/ 1302864 h 6523037"/>
                <a:gd name="connsiteX3261" fmla="*/ 3711701 w 12192001"/>
                <a:gd name="connsiteY3261" fmla="*/ 1031753 h 6523037"/>
                <a:gd name="connsiteX3262" fmla="*/ 4544599 w 12192001"/>
                <a:gd name="connsiteY3262" fmla="*/ 1030356 h 6523037"/>
                <a:gd name="connsiteX3263" fmla="*/ 4274187 w 12192001"/>
                <a:gd name="connsiteY3263" fmla="*/ 1301467 h 6523037"/>
                <a:gd name="connsiteX3264" fmla="*/ 4545297 w 12192001"/>
                <a:gd name="connsiteY3264" fmla="*/ 1571878 h 6523037"/>
                <a:gd name="connsiteX3265" fmla="*/ 4806712 w 12192001"/>
                <a:gd name="connsiteY3265" fmla="*/ 1571878 h 6523037"/>
                <a:gd name="connsiteX3266" fmla="*/ 4660106 w 12192001"/>
                <a:gd name="connsiteY3266" fmla="*/ 1425273 h 6523037"/>
                <a:gd name="connsiteX3267" fmla="*/ 4660106 w 12192001"/>
                <a:gd name="connsiteY3267" fmla="*/ 1422949 h 6523037"/>
                <a:gd name="connsiteX3268" fmla="*/ 4538310 w 12192001"/>
                <a:gd name="connsiteY3268" fmla="*/ 1301467 h 6523037"/>
                <a:gd name="connsiteX3269" fmla="*/ 4660106 w 12192001"/>
                <a:gd name="connsiteY3269" fmla="*/ 1179209 h 6523037"/>
                <a:gd name="connsiteX3270" fmla="*/ 4660106 w 12192001"/>
                <a:gd name="connsiteY3270" fmla="*/ 1175123 h 6523037"/>
                <a:gd name="connsiteX3271" fmla="*/ 4804873 w 12192001"/>
                <a:gd name="connsiteY3271" fmla="*/ 1030356 h 6523037"/>
                <a:gd name="connsiteX3272" fmla="*/ 3995389 w 12192001"/>
                <a:gd name="connsiteY3272" fmla="*/ 1030356 h 6523037"/>
                <a:gd name="connsiteX3273" fmla="*/ 3724977 w 12192001"/>
                <a:gd name="connsiteY3273" fmla="*/ 1301467 h 6523037"/>
                <a:gd name="connsiteX3274" fmla="*/ 3996088 w 12192001"/>
                <a:gd name="connsiteY3274" fmla="*/ 1571878 h 6523037"/>
                <a:gd name="connsiteX3275" fmla="*/ 4064564 w 12192001"/>
                <a:gd name="connsiteY3275" fmla="*/ 1571878 h 6523037"/>
                <a:gd name="connsiteX3276" fmla="*/ 4061071 w 12192001"/>
                <a:gd name="connsiteY3276" fmla="*/ 1578866 h 6523037"/>
                <a:gd name="connsiteX3277" fmla="*/ 3996088 w 12192001"/>
                <a:gd name="connsiteY3277" fmla="*/ 1578866 h 6523037"/>
                <a:gd name="connsiteX3278" fmla="*/ 3815814 w 12192001"/>
                <a:gd name="connsiteY3278" fmla="*/ 1759839 h 6523037"/>
                <a:gd name="connsiteX3279" fmla="*/ 3726375 w 12192001"/>
                <a:gd name="connsiteY3279" fmla="*/ 1849977 h 6523037"/>
                <a:gd name="connsiteX3280" fmla="*/ 3859834 w 12192001"/>
                <a:gd name="connsiteY3280" fmla="*/ 1983435 h 6523037"/>
                <a:gd name="connsiteX3281" fmla="*/ 3857039 w 12192001"/>
                <a:gd name="connsiteY3281" fmla="*/ 1989025 h 6523037"/>
                <a:gd name="connsiteX3282" fmla="*/ 3857739 w 12192001"/>
                <a:gd name="connsiteY3282" fmla="*/ 1989722 h 6523037"/>
                <a:gd name="connsiteX3283" fmla="*/ 3857039 w 12192001"/>
                <a:gd name="connsiteY3283" fmla="*/ 1991122 h 6523037"/>
                <a:gd name="connsiteX3284" fmla="*/ 3720086 w 12192001"/>
                <a:gd name="connsiteY3284" fmla="*/ 1854169 h 6523037"/>
                <a:gd name="connsiteX3285" fmla="*/ 3455963 w 12192001"/>
                <a:gd name="connsiteY3285" fmla="*/ 1854169 h 6523037"/>
                <a:gd name="connsiteX3286" fmla="*/ 3727074 w 12192001"/>
                <a:gd name="connsiteY3286" fmla="*/ 2124581 h 6523037"/>
                <a:gd name="connsiteX3287" fmla="*/ 3456662 w 12192001"/>
                <a:gd name="connsiteY3287" fmla="*/ 2395692 h 6523037"/>
                <a:gd name="connsiteX3288" fmla="*/ 3654754 w 12192001"/>
                <a:gd name="connsiteY3288" fmla="*/ 2395692 h 6523037"/>
                <a:gd name="connsiteX3289" fmla="*/ 3652309 w 12192001"/>
                <a:gd name="connsiteY3289" fmla="*/ 2400583 h 6523037"/>
                <a:gd name="connsiteX3290" fmla="*/ 3652658 w 12192001"/>
                <a:gd name="connsiteY3290" fmla="*/ 2400583 h 6523037"/>
                <a:gd name="connsiteX3291" fmla="*/ 3651610 w 12192001"/>
                <a:gd name="connsiteY3291" fmla="*/ 2402679 h 6523037"/>
                <a:gd name="connsiteX3292" fmla="*/ 3456662 w 12192001"/>
                <a:gd name="connsiteY3292" fmla="*/ 2402679 h 6523037"/>
                <a:gd name="connsiteX3293" fmla="*/ 3586394 w 12192001"/>
                <a:gd name="connsiteY3293" fmla="*/ 2532412 h 6523037"/>
                <a:gd name="connsiteX3294" fmla="*/ 3583832 w 12192001"/>
                <a:gd name="connsiteY3294" fmla="*/ 2537535 h 6523037"/>
                <a:gd name="connsiteX3295" fmla="*/ 3584065 w 12192001"/>
                <a:gd name="connsiteY3295" fmla="*/ 2537768 h 6523037"/>
                <a:gd name="connsiteX3296" fmla="*/ 3583133 w 12192001"/>
                <a:gd name="connsiteY3296" fmla="*/ 2539632 h 6523037"/>
                <a:gd name="connsiteX3297" fmla="*/ 3442687 w 12192001"/>
                <a:gd name="connsiteY3297" fmla="*/ 2399185 h 6523037"/>
                <a:gd name="connsiteX3298" fmla="*/ 3713099 w 12192001"/>
                <a:gd name="connsiteY3298" fmla="*/ 2128074 h 6523037"/>
                <a:gd name="connsiteX3299" fmla="*/ 3448975 w 12192001"/>
                <a:gd name="connsiteY3299" fmla="*/ 2128074 h 6523037"/>
                <a:gd name="connsiteX3300" fmla="*/ 3178563 w 12192001"/>
                <a:gd name="connsiteY3300" fmla="*/ 2399185 h 6523037"/>
                <a:gd name="connsiteX3301" fmla="*/ 3448975 w 12192001"/>
                <a:gd name="connsiteY3301" fmla="*/ 2670296 h 6523037"/>
                <a:gd name="connsiteX3302" fmla="*/ 3517452 w 12192001"/>
                <a:gd name="connsiteY3302" fmla="*/ 2670296 h 6523037"/>
                <a:gd name="connsiteX3303" fmla="*/ 3518849 w 12192001"/>
                <a:gd name="connsiteY3303" fmla="*/ 2667501 h 6523037"/>
                <a:gd name="connsiteX3304" fmla="*/ 3713797 w 12192001"/>
                <a:gd name="connsiteY3304" fmla="*/ 2667501 h 6523037"/>
                <a:gd name="connsiteX3305" fmla="*/ 3584065 w 12192001"/>
                <a:gd name="connsiteY3305" fmla="*/ 2537768 h 6523037"/>
                <a:gd name="connsiteX3306" fmla="*/ 3586627 w 12192001"/>
                <a:gd name="connsiteY3306" fmla="*/ 2532645 h 6523037"/>
                <a:gd name="connsiteX3307" fmla="*/ 3586394 w 12192001"/>
                <a:gd name="connsiteY3307" fmla="*/ 2532412 h 6523037"/>
                <a:gd name="connsiteX3308" fmla="*/ 3587326 w 12192001"/>
                <a:gd name="connsiteY3308" fmla="*/ 2530548 h 6523037"/>
                <a:gd name="connsiteX3309" fmla="*/ 3727772 w 12192001"/>
                <a:gd name="connsiteY3309" fmla="*/ 2670995 h 6523037"/>
                <a:gd name="connsiteX3310" fmla="*/ 3457360 w 12192001"/>
                <a:gd name="connsiteY3310" fmla="*/ 2942106 h 6523037"/>
                <a:gd name="connsiteX3311" fmla="*/ 3721484 w 12192001"/>
                <a:gd name="connsiteY3311" fmla="*/ 2942106 h 6523037"/>
                <a:gd name="connsiteX3312" fmla="*/ 3991896 w 12192001"/>
                <a:gd name="connsiteY3312" fmla="*/ 2670995 h 6523037"/>
                <a:gd name="connsiteX3313" fmla="*/ 3720785 w 12192001"/>
                <a:gd name="connsiteY3313" fmla="*/ 2400583 h 6523037"/>
                <a:gd name="connsiteX3314" fmla="*/ 3652658 w 12192001"/>
                <a:gd name="connsiteY3314" fmla="*/ 2400583 h 6523037"/>
                <a:gd name="connsiteX3315" fmla="*/ 3655103 w 12192001"/>
                <a:gd name="connsiteY3315" fmla="*/ 2395692 h 6523037"/>
                <a:gd name="connsiteX3316" fmla="*/ 3654754 w 12192001"/>
                <a:gd name="connsiteY3316" fmla="*/ 2395692 h 6523037"/>
                <a:gd name="connsiteX3317" fmla="*/ 3655802 w 12192001"/>
                <a:gd name="connsiteY3317" fmla="*/ 2393595 h 6523037"/>
                <a:gd name="connsiteX3318" fmla="*/ 3720785 w 12192001"/>
                <a:gd name="connsiteY3318" fmla="*/ 2393595 h 6523037"/>
                <a:gd name="connsiteX3319" fmla="*/ 3991197 w 12192001"/>
                <a:gd name="connsiteY3319" fmla="*/ 2122484 h 6523037"/>
                <a:gd name="connsiteX3320" fmla="*/ 3857739 w 12192001"/>
                <a:gd name="connsiteY3320" fmla="*/ 1989722 h 6523037"/>
                <a:gd name="connsiteX3321" fmla="*/ 3860533 w 12192001"/>
                <a:gd name="connsiteY3321" fmla="*/ 1984134 h 6523037"/>
                <a:gd name="connsiteX3322" fmla="*/ 3859834 w 12192001"/>
                <a:gd name="connsiteY3322" fmla="*/ 1983435 h 6523037"/>
                <a:gd name="connsiteX3323" fmla="*/ 3860533 w 12192001"/>
                <a:gd name="connsiteY3323" fmla="*/ 1982038 h 6523037"/>
                <a:gd name="connsiteX3324" fmla="*/ 3997486 w 12192001"/>
                <a:gd name="connsiteY3324" fmla="*/ 2118991 h 6523037"/>
                <a:gd name="connsiteX3325" fmla="*/ 4261609 w 12192001"/>
                <a:gd name="connsiteY3325" fmla="*/ 2118991 h 6523037"/>
                <a:gd name="connsiteX3326" fmla="*/ 3990498 w 12192001"/>
                <a:gd name="connsiteY3326" fmla="*/ 1848579 h 6523037"/>
                <a:gd name="connsiteX3327" fmla="*/ 3991896 w 12192001"/>
                <a:gd name="connsiteY3327" fmla="*/ 1847181 h 6523037"/>
                <a:gd name="connsiteX3328" fmla="*/ 4260212 w 12192001"/>
                <a:gd name="connsiteY3328" fmla="*/ 1578167 h 6523037"/>
                <a:gd name="connsiteX3329" fmla="*/ 4061770 w 12192001"/>
                <a:gd name="connsiteY3329" fmla="*/ 1578167 h 6523037"/>
                <a:gd name="connsiteX3330" fmla="*/ 4065263 w 12192001"/>
                <a:gd name="connsiteY3330" fmla="*/ 1571180 h 6523037"/>
                <a:gd name="connsiteX3331" fmla="*/ 4260212 w 12192001"/>
                <a:gd name="connsiteY3331" fmla="*/ 1571180 h 6523037"/>
                <a:gd name="connsiteX3332" fmla="*/ 4130246 w 12192001"/>
                <a:gd name="connsiteY3332" fmla="*/ 1441215 h 6523037"/>
                <a:gd name="connsiteX3333" fmla="*/ 4133739 w 12192001"/>
                <a:gd name="connsiteY3333" fmla="*/ 1434227 h 6523037"/>
                <a:gd name="connsiteX3334" fmla="*/ 4274187 w 12192001"/>
                <a:gd name="connsiteY3334" fmla="*/ 1574673 h 6523037"/>
                <a:gd name="connsiteX3335" fmla="*/ 4003774 w 12192001"/>
                <a:gd name="connsiteY3335" fmla="*/ 1845784 h 6523037"/>
                <a:gd name="connsiteX3336" fmla="*/ 4267898 w 12192001"/>
                <a:gd name="connsiteY3336" fmla="*/ 1845784 h 6523037"/>
                <a:gd name="connsiteX3337" fmla="*/ 4538310 w 12192001"/>
                <a:gd name="connsiteY3337" fmla="*/ 1574673 h 6523037"/>
                <a:gd name="connsiteX3338" fmla="*/ 4267200 w 12192001"/>
                <a:gd name="connsiteY3338" fmla="*/ 1304960 h 6523037"/>
                <a:gd name="connsiteX3339" fmla="*/ 4198724 w 12192001"/>
                <a:gd name="connsiteY3339" fmla="*/ 1304960 h 6523037"/>
                <a:gd name="connsiteX3340" fmla="*/ 4003774 w 12192001"/>
                <a:gd name="connsiteY3340" fmla="*/ 1304960 h 6523037"/>
                <a:gd name="connsiteX3341" fmla="*/ 4133040 w 12192001"/>
                <a:gd name="connsiteY3341" fmla="*/ 1434926 h 6523037"/>
                <a:gd name="connsiteX3342" fmla="*/ 4129547 w 12192001"/>
                <a:gd name="connsiteY3342" fmla="*/ 1441912 h 6523037"/>
                <a:gd name="connsiteX3343" fmla="*/ 3989100 w 12192001"/>
                <a:gd name="connsiteY3343" fmla="*/ 1301467 h 6523037"/>
                <a:gd name="connsiteX3344" fmla="*/ 4259512 w 12192001"/>
                <a:gd name="connsiteY3344" fmla="*/ 1030356 h 6523037"/>
                <a:gd name="connsiteX3345" fmla="*/ 4819080 w 12192001"/>
                <a:gd name="connsiteY3345" fmla="*/ 1029786 h 6523037"/>
                <a:gd name="connsiteX3346" fmla="*/ 4551587 w 12192001"/>
                <a:gd name="connsiteY3346" fmla="*/ 1297972 h 6523037"/>
                <a:gd name="connsiteX3347" fmla="*/ 4811861 w 12192001"/>
                <a:gd name="connsiteY3347" fmla="*/ 1297972 h 6523037"/>
                <a:gd name="connsiteX3348" fmla="*/ 5080048 w 12192001"/>
                <a:gd name="connsiteY3348" fmla="*/ 1029786 h 6523037"/>
                <a:gd name="connsiteX3349" fmla="*/ 6462154 w 12192001"/>
                <a:gd name="connsiteY3349" fmla="*/ 1028388 h 6523037"/>
                <a:gd name="connsiteX3350" fmla="*/ 6191742 w 12192001"/>
                <a:gd name="connsiteY3350" fmla="*/ 1299499 h 6523037"/>
                <a:gd name="connsiteX3351" fmla="*/ 6462852 w 12192001"/>
                <a:gd name="connsiteY3351" fmla="*/ 1569911 h 6523037"/>
                <a:gd name="connsiteX3352" fmla="*/ 6726977 w 12192001"/>
                <a:gd name="connsiteY3352" fmla="*/ 1569911 h 6523037"/>
                <a:gd name="connsiteX3353" fmla="*/ 6455865 w 12192001"/>
                <a:gd name="connsiteY3353" fmla="*/ 1299499 h 6523037"/>
                <a:gd name="connsiteX3354" fmla="*/ 6726277 w 12192001"/>
                <a:gd name="connsiteY3354" fmla="*/ 1028388 h 6523037"/>
                <a:gd name="connsiteX3355" fmla="*/ 5364435 w 12192001"/>
                <a:gd name="connsiteY3355" fmla="*/ 1028388 h 6523037"/>
                <a:gd name="connsiteX3356" fmla="*/ 5094022 w 12192001"/>
                <a:gd name="connsiteY3356" fmla="*/ 1299499 h 6523037"/>
                <a:gd name="connsiteX3357" fmla="*/ 5365133 w 12192001"/>
                <a:gd name="connsiteY3357" fmla="*/ 1569911 h 6523037"/>
                <a:gd name="connsiteX3358" fmla="*/ 5629256 w 12192001"/>
                <a:gd name="connsiteY3358" fmla="*/ 1569911 h 6523037"/>
                <a:gd name="connsiteX3359" fmla="*/ 5358145 w 12192001"/>
                <a:gd name="connsiteY3359" fmla="*/ 1299499 h 6523037"/>
                <a:gd name="connsiteX3360" fmla="*/ 5627858 w 12192001"/>
                <a:gd name="connsiteY3360" fmla="*/ 1028388 h 6523037"/>
                <a:gd name="connsiteX3361" fmla="*/ 7559173 w 12192001"/>
                <a:gd name="connsiteY3361" fmla="*/ 1027689 h 6523037"/>
                <a:gd name="connsiteX3362" fmla="*/ 7378899 w 12192001"/>
                <a:gd name="connsiteY3362" fmla="*/ 1207965 h 6523037"/>
                <a:gd name="connsiteX3363" fmla="*/ 7289460 w 12192001"/>
                <a:gd name="connsiteY3363" fmla="*/ 1298102 h 6523037"/>
                <a:gd name="connsiteX3364" fmla="*/ 7423618 w 12192001"/>
                <a:gd name="connsiteY3364" fmla="*/ 1431561 h 6523037"/>
                <a:gd name="connsiteX3365" fmla="*/ 7560571 w 12192001"/>
                <a:gd name="connsiteY3365" fmla="*/ 1568513 h 6523037"/>
                <a:gd name="connsiteX3366" fmla="*/ 7824694 w 12192001"/>
                <a:gd name="connsiteY3366" fmla="*/ 1568513 h 6523037"/>
                <a:gd name="connsiteX3367" fmla="*/ 7553583 w 12192001"/>
                <a:gd name="connsiteY3367" fmla="*/ 1298102 h 6523037"/>
                <a:gd name="connsiteX3368" fmla="*/ 7554981 w 12192001"/>
                <a:gd name="connsiteY3368" fmla="*/ 1296705 h 6523037"/>
                <a:gd name="connsiteX3369" fmla="*/ 7823297 w 12192001"/>
                <a:gd name="connsiteY3369" fmla="*/ 1027689 h 6523037"/>
                <a:gd name="connsiteX3370" fmla="*/ 7010664 w 12192001"/>
                <a:gd name="connsiteY3370" fmla="*/ 1027689 h 6523037"/>
                <a:gd name="connsiteX3371" fmla="*/ 6740251 w 12192001"/>
                <a:gd name="connsiteY3371" fmla="*/ 1298800 h 6523037"/>
                <a:gd name="connsiteX3372" fmla="*/ 7011363 w 12192001"/>
                <a:gd name="connsiteY3372" fmla="*/ 1569212 h 6523037"/>
                <a:gd name="connsiteX3373" fmla="*/ 7275485 w 12192001"/>
                <a:gd name="connsiteY3373" fmla="*/ 1569212 h 6523037"/>
                <a:gd name="connsiteX3374" fmla="*/ 7004375 w 12192001"/>
                <a:gd name="connsiteY3374" fmla="*/ 1298800 h 6523037"/>
                <a:gd name="connsiteX3375" fmla="*/ 7188842 w 12192001"/>
                <a:gd name="connsiteY3375" fmla="*/ 1114334 h 6523037"/>
                <a:gd name="connsiteX3376" fmla="*/ 7274787 w 12192001"/>
                <a:gd name="connsiteY3376" fmla="*/ 1028388 h 6523037"/>
                <a:gd name="connsiteX3377" fmla="*/ 7016254 w 12192001"/>
                <a:gd name="connsiteY3377" fmla="*/ 1028388 h 6523037"/>
                <a:gd name="connsiteX3378" fmla="*/ 5912945 w 12192001"/>
                <a:gd name="connsiteY3378" fmla="*/ 1027689 h 6523037"/>
                <a:gd name="connsiteX3379" fmla="*/ 5642533 w 12192001"/>
                <a:gd name="connsiteY3379" fmla="*/ 1298800 h 6523037"/>
                <a:gd name="connsiteX3380" fmla="*/ 5913643 w 12192001"/>
                <a:gd name="connsiteY3380" fmla="*/ 1569212 h 6523037"/>
                <a:gd name="connsiteX3381" fmla="*/ 6177766 w 12192001"/>
                <a:gd name="connsiteY3381" fmla="*/ 1569212 h 6523037"/>
                <a:gd name="connsiteX3382" fmla="*/ 5906656 w 12192001"/>
                <a:gd name="connsiteY3382" fmla="*/ 1298800 h 6523037"/>
                <a:gd name="connsiteX3383" fmla="*/ 6091123 w 12192001"/>
                <a:gd name="connsiteY3383" fmla="*/ 1114334 h 6523037"/>
                <a:gd name="connsiteX3384" fmla="*/ 6177068 w 12192001"/>
                <a:gd name="connsiteY3384" fmla="*/ 1027689 h 6523037"/>
                <a:gd name="connsiteX3385" fmla="*/ 8107684 w 12192001"/>
                <a:gd name="connsiteY3385" fmla="*/ 1026991 h 6523037"/>
                <a:gd name="connsiteX3386" fmla="*/ 7837272 w 12192001"/>
                <a:gd name="connsiteY3386" fmla="*/ 1298102 h 6523037"/>
                <a:gd name="connsiteX3387" fmla="*/ 8108382 w 12192001"/>
                <a:gd name="connsiteY3387" fmla="*/ 1568513 h 6523037"/>
                <a:gd name="connsiteX3388" fmla="*/ 8372506 w 12192001"/>
                <a:gd name="connsiteY3388" fmla="*/ 1568513 h 6523037"/>
                <a:gd name="connsiteX3389" fmla="*/ 8101395 w 12192001"/>
                <a:gd name="connsiteY3389" fmla="*/ 1298102 h 6523037"/>
                <a:gd name="connsiteX3390" fmla="*/ 8371807 w 12192001"/>
                <a:gd name="connsiteY3390" fmla="*/ 1026991 h 6523037"/>
                <a:gd name="connsiteX3391" fmla="*/ 9477604 w 12192001"/>
                <a:gd name="connsiteY3391" fmla="*/ 1026611 h 6523037"/>
                <a:gd name="connsiteX3392" fmla="*/ 9211692 w 12192001"/>
                <a:gd name="connsiteY3392" fmla="*/ 1293210 h 6523037"/>
                <a:gd name="connsiteX3393" fmla="*/ 9473865 w 12192001"/>
                <a:gd name="connsiteY3393" fmla="*/ 1293210 h 6523037"/>
                <a:gd name="connsiteX3394" fmla="*/ 9740464 w 12192001"/>
                <a:gd name="connsiteY3394" fmla="*/ 1026611 h 6523037"/>
                <a:gd name="connsiteX3395" fmla="*/ 9204704 w 12192001"/>
                <a:gd name="connsiteY3395" fmla="*/ 1025594 h 6523037"/>
                <a:gd name="connsiteX3396" fmla="*/ 8934292 w 12192001"/>
                <a:gd name="connsiteY3396" fmla="*/ 1296705 h 6523037"/>
                <a:gd name="connsiteX3397" fmla="*/ 9205403 w 12192001"/>
                <a:gd name="connsiteY3397" fmla="*/ 1567116 h 6523037"/>
                <a:gd name="connsiteX3398" fmla="*/ 9465541 w 12192001"/>
                <a:gd name="connsiteY3398" fmla="*/ 1567116 h 6523037"/>
                <a:gd name="connsiteX3399" fmla="*/ 9320523 w 12192001"/>
                <a:gd name="connsiteY3399" fmla="*/ 1422098 h 6523037"/>
                <a:gd name="connsiteX3400" fmla="*/ 9320523 w 12192001"/>
                <a:gd name="connsiteY3400" fmla="*/ 1418497 h 6523037"/>
                <a:gd name="connsiteX3401" fmla="*/ 9198416 w 12192001"/>
                <a:gd name="connsiteY3401" fmla="*/ 1296705 h 6523037"/>
                <a:gd name="connsiteX3402" fmla="*/ 9320523 w 12192001"/>
                <a:gd name="connsiteY3402" fmla="*/ 1174135 h 6523037"/>
                <a:gd name="connsiteX3403" fmla="*/ 9320523 w 12192001"/>
                <a:gd name="connsiteY3403" fmla="*/ 1171948 h 6523037"/>
                <a:gd name="connsiteX3404" fmla="*/ 9466877 w 12192001"/>
                <a:gd name="connsiteY3404" fmla="*/ 1025594 h 6523037"/>
                <a:gd name="connsiteX3405" fmla="*/ 8655495 w 12192001"/>
                <a:gd name="connsiteY3405" fmla="*/ 1025594 h 6523037"/>
                <a:gd name="connsiteX3406" fmla="*/ 8385083 w 12192001"/>
                <a:gd name="connsiteY3406" fmla="*/ 1296705 h 6523037"/>
                <a:gd name="connsiteX3407" fmla="*/ 8656194 w 12192001"/>
                <a:gd name="connsiteY3407" fmla="*/ 1567116 h 6523037"/>
                <a:gd name="connsiteX3408" fmla="*/ 8724670 w 12192001"/>
                <a:gd name="connsiteY3408" fmla="*/ 1567116 h 6523037"/>
                <a:gd name="connsiteX3409" fmla="*/ 8721177 w 12192001"/>
                <a:gd name="connsiteY3409" fmla="*/ 1574104 h 6523037"/>
                <a:gd name="connsiteX3410" fmla="*/ 8656194 w 12192001"/>
                <a:gd name="connsiteY3410" fmla="*/ 1574104 h 6523037"/>
                <a:gd name="connsiteX3411" fmla="*/ 8475920 w 12192001"/>
                <a:gd name="connsiteY3411" fmla="*/ 1755077 h 6523037"/>
                <a:gd name="connsiteX3412" fmla="*/ 8386481 w 12192001"/>
                <a:gd name="connsiteY3412" fmla="*/ 1845215 h 6523037"/>
                <a:gd name="connsiteX3413" fmla="*/ 8519940 w 12192001"/>
                <a:gd name="connsiteY3413" fmla="*/ 1978673 h 6523037"/>
                <a:gd name="connsiteX3414" fmla="*/ 8517145 w 12192001"/>
                <a:gd name="connsiteY3414" fmla="*/ 1984263 h 6523037"/>
                <a:gd name="connsiteX3415" fmla="*/ 8517845 w 12192001"/>
                <a:gd name="connsiteY3415" fmla="*/ 1984960 h 6523037"/>
                <a:gd name="connsiteX3416" fmla="*/ 8517145 w 12192001"/>
                <a:gd name="connsiteY3416" fmla="*/ 1986360 h 6523037"/>
                <a:gd name="connsiteX3417" fmla="*/ 8380192 w 12192001"/>
                <a:gd name="connsiteY3417" fmla="*/ 1849407 h 6523037"/>
                <a:gd name="connsiteX3418" fmla="*/ 8116069 w 12192001"/>
                <a:gd name="connsiteY3418" fmla="*/ 1849407 h 6523037"/>
                <a:gd name="connsiteX3419" fmla="*/ 8387180 w 12192001"/>
                <a:gd name="connsiteY3419" fmla="*/ 2119819 h 6523037"/>
                <a:gd name="connsiteX3420" fmla="*/ 8116768 w 12192001"/>
                <a:gd name="connsiteY3420" fmla="*/ 2390930 h 6523037"/>
                <a:gd name="connsiteX3421" fmla="*/ 8314860 w 12192001"/>
                <a:gd name="connsiteY3421" fmla="*/ 2390930 h 6523037"/>
                <a:gd name="connsiteX3422" fmla="*/ 8312415 w 12192001"/>
                <a:gd name="connsiteY3422" fmla="*/ 2395821 h 6523037"/>
                <a:gd name="connsiteX3423" fmla="*/ 8312764 w 12192001"/>
                <a:gd name="connsiteY3423" fmla="*/ 2395821 h 6523037"/>
                <a:gd name="connsiteX3424" fmla="*/ 8311716 w 12192001"/>
                <a:gd name="connsiteY3424" fmla="*/ 2397917 h 6523037"/>
                <a:gd name="connsiteX3425" fmla="*/ 8116768 w 12192001"/>
                <a:gd name="connsiteY3425" fmla="*/ 2397917 h 6523037"/>
                <a:gd name="connsiteX3426" fmla="*/ 8246500 w 12192001"/>
                <a:gd name="connsiteY3426" fmla="*/ 2527650 h 6523037"/>
                <a:gd name="connsiteX3427" fmla="*/ 8243938 w 12192001"/>
                <a:gd name="connsiteY3427" fmla="*/ 2532773 h 6523037"/>
                <a:gd name="connsiteX3428" fmla="*/ 8244171 w 12192001"/>
                <a:gd name="connsiteY3428" fmla="*/ 2533006 h 6523037"/>
                <a:gd name="connsiteX3429" fmla="*/ 8243239 w 12192001"/>
                <a:gd name="connsiteY3429" fmla="*/ 2534870 h 6523037"/>
                <a:gd name="connsiteX3430" fmla="*/ 8102793 w 12192001"/>
                <a:gd name="connsiteY3430" fmla="*/ 2394423 h 6523037"/>
                <a:gd name="connsiteX3431" fmla="*/ 8373205 w 12192001"/>
                <a:gd name="connsiteY3431" fmla="*/ 2123312 h 6523037"/>
                <a:gd name="connsiteX3432" fmla="*/ 8109081 w 12192001"/>
                <a:gd name="connsiteY3432" fmla="*/ 2123312 h 6523037"/>
                <a:gd name="connsiteX3433" fmla="*/ 7838669 w 12192001"/>
                <a:gd name="connsiteY3433" fmla="*/ 2394423 h 6523037"/>
                <a:gd name="connsiteX3434" fmla="*/ 8109081 w 12192001"/>
                <a:gd name="connsiteY3434" fmla="*/ 2665534 h 6523037"/>
                <a:gd name="connsiteX3435" fmla="*/ 8177558 w 12192001"/>
                <a:gd name="connsiteY3435" fmla="*/ 2665534 h 6523037"/>
                <a:gd name="connsiteX3436" fmla="*/ 8178955 w 12192001"/>
                <a:gd name="connsiteY3436" fmla="*/ 2662739 h 6523037"/>
                <a:gd name="connsiteX3437" fmla="*/ 8373903 w 12192001"/>
                <a:gd name="connsiteY3437" fmla="*/ 2662739 h 6523037"/>
                <a:gd name="connsiteX3438" fmla="*/ 8244171 w 12192001"/>
                <a:gd name="connsiteY3438" fmla="*/ 2533006 h 6523037"/>
                <a:gd name="connsiteX3439" fmla="*/ 8246733 w 12192001"/>
                <a:gd name="connsiteY3439" fmla="*/ 2527883 h 6523037"/>
                <a:gd name="connsiteX3440" fmla="*/ 8246500 w 12192001"/>
                <a:gd name="connsiteY3440" fmla="*/ 2527650 h 6523037"/>
                <a:gd name="connsiteX3441" fmla="*/ 8247432 w 12192001"/>
                <a:gd name="connsiteY3441" fmla="*/ 2525786 h 6523037"/>
                <a:gd name="connsiteX3442" fmla="*/ 8387878 w 12192001"/>
                <a:gd name="connsiteY3442" fmla="*/ 2666233 h 6523037"/>
                <a:gd name="connsiteX3443" fmla="*/ 8117466 w 12192001"/>
                <a:gd name="connsiteY3443" fmla="*/ 2937344 h 6523037"/>
                <a:gd name="connsiteX3444" fmla="*/ 8381590 w 12192001"/>
                <a:gd name="connsiteY3444" fmla="*/ 2937344 h 6523037"/>
                <a:gd name="connsiteX3445" fmla="*/ 8652002 w 12192001"/>
                <a:gd name="connsiteY3445" fmla="*/ 2666233 h 6523037"/>
                <a:gd name="connsiteX3446" fmla="*/ 8380891 w 12192001"/>
                <a:gd name="connsiteY3446" fmla="*/ 2395821 h 6523037"/>
                <a:gd name="connsiteX3447" fmla="*/ 8312764 w 12192001"/>
                <a:gd name="connsiteY3447" fmla="*/ 2395821 h 6523037"/>
                <a:gd name="connsiteX3448" fmla="*/ 8315209 w 12192001"/>
                <a:gd name="connsiteY3448" fmla="*/ 2390930 h 6523037"/>
                <a:gd name="connsiteX3449" fmla="*/ 8314860 w 12192001"/>
                <a:gd name="connsiteY3449" fmla="*/ 2390930 h 6523037"/>
                <a:gd name="connsiteX3450" fmla="*/ 8315908 w 12192001"/>
                <a:gd name="connsiteY3450" fmla="*/ 2388833 h 6523037"/>
                <a:gd name="connsiteX3451" fmla="*/ 8380891 w 12192001"/>
                <a:gd name="connsiteY3451" fmla="*/ 2388833 h 6523037"/>
                <a:gd name="connsiteX3452" fmla="*/ 8651303 w 12192001"/>
                <a:gd name="connsiteY3452" fmla="*/ 2117722 h 6523037"/>
                <a:gd name="connsiteX3453" fmla="*/ 8517845 w 12192001"/>
                <a:gd name="connsiteY3453" fmla="*/ 1984960 h 6523037"/>
                <a:gd name="connsiteX3454" fmla="*/ 8520639 w 12192001"/>
                <a:gd name="connsiteY3454" fmla="*/ 1979372 h 6523037"/>
                <a:gd name="connsiteX3455" fmla="*/ 8519940 w 12192001"/>
                <a:gd name="connsiteY3455" fmla="*/ 1978673 h 6523037"/>
                <a:gd name="connsiteX3456" fmla="*/ 8520639 w 12192001"/>
                <a:gd name="connsiteY3456" fmla="*/ 1977276 h 6523037"/>
                <a:gd name="connsiteX3457" fmla="*/ 8657592 w 12192001"/>
                <a:gd name="connsiteY3457" fmla="*/ 2114230 h 6523037"/>
                <a:gd name="connsiteX3458" fmla="*/ 8921715 w 12192001"/>
                <a:gd name="connsiteY3458" fmla="*/ 2114230 h 6523037"/>
                <a:gd name="connsiteX3459" fmla="*/ 8650604 w 12192001"/>
                <a:gd name="connsiteY3459" fmla="*/ 1843817 h 6523037"/>
                <a:gd name="connsiteX3460" fmla="*/ 8652002 w 12192001"/>
                <a:gd name="connsiteY3460" fmla="*/ 1842419 h 6523037"/>
                <a:gd name="connsiteX3461" fmla="*/ 8920317 w 12192001"/>
                <a:gd name="connsiteY3461" fmla="*/ 1573405 h 6523037"/>
                <a:gd name="connsiteX3462" fmla="*/ 8721876 w 12192001"/>
                <a:gd name="connsiteY3462" fmla="*/ 1573405 h 6523037"/>
                <a:gd name="connsiteX3463" fmla="*/ 8725369 w 12192001"/>
                <a:gd name="connsiteY3463" fmla="*/ 1566418 h 6523037"/>
                <a:gd name="connsiteX3464" fmla="*/ 8920317 w 12192001"/>
                <a:gd name="connsiteY3464" fmla="*/ 1566418 h 6523037"/>
                <a:gd name="connsiteX3465" fmla="*/ 8790352 w 12192001"/>
                <a:gd name="connsiteY3465" fmla="*/ 1436453 h 6523037"/>
                <a:gd name="connsiteX3466" fmla="*/ 8793845 w 12192001"/>
                <a:gd name="connsiteY3466" fmla="*/ 1429465 h 6523037"/>
                <a:gd name="connsiteX3467" fmla="*/ 8934292 w 12192001"/>
                <a:gd name="connsiteY3467" fmla="*/ 1569911 h 6523037"/>
                <a:gd name="connsiteX3468" fmla="*/ 8663880 w 12192001"/>
                <a:gd name="connsiteY3468" fmla="*/ 1841022 h 6523037"/>
                <a:gd name="connsiteX3469" fmla="*/ 8928004 w 12192001"/>
                <a:gd name="connsiteY3469" fmla="*/ 1841022 h 6523037"/>
                <a:gd name="connsiteX3470" fmla="*/ 9198416 w 12192001"/>
                <a:gd name="connsiteY3470" fmla="*/ 1569911 h 6523037"/>
                <a:gd name="connsiteX3471" fmla="*/ 8927305 w 12192001"/>
                <a:gd name="connsiteY3471" fmla="*/ 1300198 h 6523037"/>
                <a:gd name="connsiteX3472" fmla="*/ 8858829 w 12192001"/>
                <a:gd name="connsiteY3472" fmla="*/ 1300198 h 6523037"/>
                <a:gd name="connsiteX3473" fmla="*/ 8663880 w 12192001"/>
                <a:gd name="connsiteY3473" fmla="*/ 1300198 h 6523037"/>
                <a:gd name="connsiteX3474" fmla="*/ 8793146 w 12192001"/>
                <a:gd name="connsiteY3474" fmla="*/ 1430164 h 6523037"/>
                <a:gd name="connsiteX3475" fmla="*/ 8789653 w 12192001"/>
                <a:gd name="connsiteY3475" fmla="*/ 1437150 h 6523037"/>
                <a:gd name="connsiteX3476" fmla="*/ 8649206 w 12192001"/>
                <a:gd name="connsiteY3476" fmla="*/ 1296705 h 6523037"/>
                <a:gd name="connsiteX3477" fmla="*/ 8919618 w 12192001"/>
                <a:gd name="connsiteY3477" fmla="*/ 1025594 h 6523037"/>
                <a:gd name="connsiteX3478" fmla="*/ 11122571 w 12192001"/>
                <a:gd name="connsiteY3478" fmla="*/ 1025213 h 6523037"/>
                <a:gd name="connsiteX3479" fmla="*/ 10852159 w 12192001"/>
                <a:gd name="connsiteY3479" fmla="*/ 1296324 h 6523037"/>
                <a:gd name="connsiteX3480" fmla="*/ 11123269 w 12192001"/>
                <a:gd name="connsiteY3480" fmla="*/ 1566736 h 6523037"/>
                <a:gd name="connsiteX3481" fmla="*/ 11387393 w 12192001"/>
                <a:gd name="connsiteY3481" fmla="*/ 1566736 h 6523037"/>
                <a:gd name="connsiteX3482" fmla="*/ 11116282 w 12192001"/>
                <a:gd name="connsiteY3482" fmla="*/ 1296324 h 6523037"/>
                <a:gd name="connsiteX3483" fmla="*/ 11386694 w 12192001"/>
                <a:gd name="connsiteY3483" fmla="*/ 1025213 h 6523037"/>
                <a:gd name="connsiteX3484" fmla="*/ 10024851 w 12192001"/>
                <a:gd name="connsiteY3484" fmla="*/ 1025213 h 6523037"/>
                <a:gd name="connsiteX3485" fmla="*/ 9754439 w 12192001"/>
                <a:gd name="connsiteY3485" fmla="*/ 1296324 h 6523037"/>
                <a:gd name="connsiteX3486" fmla="*/ 10025550 w 12192001"/>
                <a:gd name="connsiteY3486" fmla="*/ 1566736 h 6523037"/>
                <a:gd name="connsiteX3487" fmla="*/ 10289673 w 12192001"/>
                <a:gd name="connsiteY3487" fmla="*/ 1566736 h 6523037"/>
                <a:gd name="connsiteX3488" fmla="*/ 10018562 w 12192001"/>
                <a:gd name="connsiteY3488" fmla="*/ 1296324 h 6523037"/>
                <a:gd name="connsiteX3489" fmla="*/ 10288275 w 12192001"/>
                <a:gd name="connsiteY3489" fmla="*/ 1025213 h 6523037"/>
                <a:gd name="connsiteX3490" fmla="*/ 11671081 w 12192001"/>
                <a:gd name="connsiteY3490" fmla="*/ 1024514 h 6523037"/>
                <a:gd name="connsiteX3491" fmla="*/ 11400668 w 12192001"/>
                <a:gd name="connsiteY3491" fmla="*/ 1295625 h 6523037"/>
                <a:gd name="connsiteX3492" fmla="*/ 11671780 w 12192001"/>
                <a:gd name="connsiteY3492" fmla="*/ 1566037 h 6523037"/>
                <a:gd name="connsiteX3493" fmla="*/ 11935902 w 12192001"/>
                <a:gd name="connsiteY3493" fmla="*/ 1566037 h 6523037"/>
                <a:gd name="connsiteX3494" fmla="*/ 11664792 w 12192001"/>
                <a:gd name="connsiteY3494" fmla="*/ 1295625 h 6523037"/>
                <a:gd name="connsiteX3495" fmla="*/ 11849259 w 12192001"/>
                <a:gd name="connsiteY3495" fmla="*/ 1111159 h 6523037"/>
                <a:gd name="connsiteX3496" fmla="*/ 11935204 w 12192001"/>
                <a:gd name="connsiteY3496" fmla="*/ 1025213 h 6523037"/>
                <a:gd name="connsiteX3497" fmla="*/ 11676671 w 12192001"/>
                <a:gd name="connsiteY3497" fmla="*/ 1025213 h 6523037"/>
                <a:gd name="connsiteX3498" fmla="*/ 10573361 w 12192001"/>
                <a:gd name="connsiteY3498" fmla="*/ 1024514 h 6523037"/>
                <a:gd name="connsiteX3499" fmla="*/ 10302949 w 12192001"/>
                <a:gd name="connsiteY3499" fmla="*/ 1295625 h 6523037"/>
                <a:gd name="connsiteX3500" fmla="*/ 10574060 w 12192001"/>
                <a:gd name="connsiteY3500" fmla="*/ 1566037 h 6523037"/>
                <a:gd name="connsiteX3501" fmla="*/ 10838183 w 12192001"/>
                <a:gd name="connsiteY3501" fmla="*/ 1566037 h 6523037"/>
                <a:gd name="connsiteX3502" fmla="*/ 10567073 w 12192001"/>
                <a:gd name="connsiteY3502" fmla="*/ 1295625 h 6523037"/>
                <a:gd name="connsiteX3503" fmla="*/ 10751540 w 12192001"/>
                <a:gd name="connsiteY3503" fmla="*/ 1111159 h 6523037"/>
                <a:gd name="connsiteX3504" fmla="*/ 10837485 w 12192001"/>
                <a:gd name="connsiteY3504" fmla="*/ 1024514 h 6523037"/>
                <a:gd name="connsiteX3505" fmla="*/ 162805 w 12192001"/>
                <a:gd name="connsiteY3505" fmla="*/ 759944 h 6523037"/>
                <a:gd name="connsiteX3506" fmla="*/ 433916 w 12192001"/>
                <a:gd name="connsiteY3506" fmla="*/ 1030356 h 6523037"/>
                <a:gd name="connsiteX3507" fmla="*/ 164203 w 12192001"/>
                <a:gd name="connsiteY3507" fmla="*/ 1301467 h 6523037"/>
                <a:gd name="connsiteX3508" fmla="*/ 427627 w 12192001"/>
                <a:gd name="connsiteY3508" fmla="*/ 1301467 h 6523037"/>
                <a:gd name="connsiteX3509" fmla="*/ 698039 w 12192001"/>
                <a:gd name="connsiteY3509" fmla="*/ 1030356 h 6523037"/>
                <a:gd name="connsiteX3510" fmla="*/ 563881 w 12192001"/>
                <a:gd name="connsiteY3510" fmla="*/ 896896 h 6523037"/>
                <a:gd name="connsiteX3511" fmla="*/ 426928 w 12192001"/>
                <a:gd name="connsiteY3511" fmla="*/ 759944 h 6523037"/>
                <a:gd name="connsiteX3512" fmla="*/ 1809035 w 12192001"/>
                <a:gd name="connsiteY3512" fmla="*/ 759245 h 6523037"/>
                <a:gd name="connsiteX3513" fmla="*/ 1937603 w 12192001"/>
                <a:gd name="connsiteY3513" fmla="*/ 887813 h 6523037"/>
                <a:gd name="connsiteX3514" fmla="*/ 2079447 w 12192001"/>
                <a:gd name="connsiteY3514" fmla="*/ 1029657 h 6523037"/>
                <a:gd name="connsiteX3515" fmla="*/ 1809035 w 12192001"/>
                <a:gd name="connsiteY3515" fmla="*/ 1300768 h 6523037"/>
                <a:gd name="connsiteX3516" fmla="*/ 2073158 w 12192001"/>
                <a:gd name="connsiteY3516" fmla="*/ 1300768 h 6523037"/>
                <a:gd name="connsiteX3517" fmla="*/ 2343570 w 12192001"/>
                <a:gd name="connsiteY3517" fmla="*/ 1029657 h 6523037"/>
                <a:gd name="connsiteX3518" fmla="*/ 2338678 w 12192001"/>
                <a:gd name="connsiteY3518" fmla="*/ 1024766 h 6523037"/>
                <a:gd name="connsiteX3519" fmla="*/ 2073158 w 12192001"/>
                <a:gd name="connsiteY3519" fmla="*/ 759245 h 6523037"/>
                <a:gd name="connsiteX3520" fmla="*/ 2357544 w 12192001"/>
                <a:gd name="connsiteY3520" fmla="*/ 758546 h 6523037"/>
                <a:gd name="connsiteX3521" fmla="*/ 2628655 w 12192001"/>
                <a:gd name="connsiteY3521" fmla="*/ 1028259 h 6523037"/>
                <a:gd name="connsiteX3522" fmla="*/ 2625861 w 12192001"/>
                <a:gd name="connsiteY3522" fmla="*/ 1031055 h 6523037"/>
                <a:gd name="connsiteX3523" fmla="*/ 2535723 w 12192001"/>
                <a:gd name="connsiteY3523" fmla="*/ 1121890 h 6523037"/>
                <a:gd name="connsiteX3524" fmla="*/ 2358243 w 12192001"/>
                <a:gd name="connsiteY3524" fmla="*/ 1299370 h 6523037"/>
                <a:gd name="connsiteX3525" fmla="*/ 2622367 w 12192001"/>
                <a:gd name="connsiteY3525" fmla="*/ 1299370 h 6523037"/>
                <a:gd name="connsiteX3526" fmla="*/ 2711805 w 12192001"/>
                <a:gd name="connsiteY3526" fmla="*/ 1209931 h 6523037"/>
                <a:gd name="connsiteX3527" fmla="*/ 2892779 w 12192001"/>
                <a:gd name="connsiteY3527" fmla="*/ 1028958 h 6523037"/>
                <a:gd name="connsiteX3528" fmla="*/ 2621668 w 12192001"/>
                <a:gd name="connsiteY3528" fmla="*/ 758546 h 6523037"/>
                <a:gd name="connsiteX3529" fmla="*/ 1259127 w 12192001"/>
                <a:gd name="connsiteY3529" fmla="*/ 758546 h 6523037"/>
                <a:gd name="connsiteX3530" fmla="*/ 1530238 w 12192001"/>
                <a:gd name="connsiteY3530" fmla="*/ 1028259 h 6523037"/>
                <a:gd name="connsiteX3531" fmla="*/ 1527442 w 12192001"/>
                <a:gd name="connsiteY3531" fmla="*/ 1031055 h 6523037"/>
                <a:gd name="connsiteX3532" fmla="*/ 1437306 w 12192001"/>
                <a:gd name="connsiteY3532" fmla="*/ 1121890 h 6523037"/>
                <a:gd name="connsiteX3533" fmla="*/ 1259826 w 12192001"/>
                <a:gd name="connsiteY3533" fmla="*/ 1299370 h 6523037"/>
                <a:gd name="connsiteX3534" fmla="*/ 1523949 w 12192001"/>
                <a:gd name="connsiteY3534" fmla="*/ 1299370 h 6523037"/>
                <a:gd name="connsiteX3535" fmla="*/ 1613388 w 12192001"/>
                <a:gd name="connsiteY3535" fmla="*/ 1209931 h 6523037"/>
                <a:gd name="connsiteX3536" fmla="*/ 1794361 w 12192001"/>
                <a:gd name="connsiteY3536" fmla="*/ 1028958 h 6523037"/>
                <a:gd name="connsiteX3537" fmla="*/ 1523250 w 12192001"/>
                <a:gd name="connsiteY3537" fmla="*/ 758546 h 6523037"/>
                <a:gd name="connsiteX3538" fmla="*/ 710617 w 12192001"/>
                <a:gd name="connsiteY3538" fmla="*/ 758546 h 6523037"/>
                <a:gd name="connsiteX3539" fmla="*/ 712014 w 12192001"/>
                <a:gd name="connsiteY3539" fmla="*/ 759944 h 6523037"/>
                <a:gd name="connsiteX3540" fmla="*/ 981727 w 12192001"/>
                <a:gd name="connsiteY3540" fmla="*/ 1028958 h 6523037"/>
                <a:gd name="connsiteX3541" fmla="*/ 711316 w 12192001"/>
                <a:gd name="connsiteY3541" fmla="*/ 1300069 h 6523037"/>
                <a:gd name="connsiteX3542" fmla="*/ 975439 w 12192001"/>
                <a:gd name="connsiteY3542" fmla="*/ 1300069 h 6523037"/>
                <a:gd name="connsiteX3543" fmla="*/ 1245851 w 12192001"/>
                <a:gd name="connsiteY3543" fmla="*/ 1028958 h 6523037"/>
                <a:gd name="connsiteX3544" fmla="*/ 1240261 w 12192001"/>
                <a:gd name="connsiteY3544" fmla="*/ 1024067 h 6523037"/>
                <a:gd name="connsiteX3545" fmla="*/ 974740 w 12192001"/>
                <a:gd name="connsiteY3545" fmla="*/ 758546 h 6523037"/>
                <a:gd name="connsiteX3546" fmla="*/ 2906055 w 12192001"/>
                <a:gd name="connsiteY3546" fmla="*/ 757847 h 6523037"/>
                <a:gd name="connsiteX3547" fmla="*/ 3036720 w 12192001"/>
                <a:gd name="connsiteY3547" fmla="*/ 887114 h 6523037"/>
                <a:gd name="connsiteX3548" fmla="*/ 3177166 w 12192001"/>
                <a:gd name="connsiteY3548" fmla="*/ 1027560 h 6523037"/>
                <a:gd name="connsiteX3549" fmla="*/ 2906754 w 12192001"/>
                <a:gd name="connsiteY3549" fmla="*/ 1298671 h 6523037"/>
                <a:gd name="connsiteX3550" fmla="*/ 3170877 w 12192001"/>
                <a:gd name="connsiteY3550" fmla="*/ 1298671 h 6523037"/>
                <a:gd name="connsiteX3551" fmla="*/ 3441289 w 12192001"/>
                <a:gd name="connsiteY3551" fmla="*/ 1028259 h 6523037"/>
                <a:gd name="connsiteX3552" fmla="*/ 3170178 w 12192001"/>
                <a:gd name="connsiteY3552" fmla="*/ 757847 h 6523037"/>
                <a:gd name="connsiteX3553" fmla="*/ 3454565 w 12192001"/>
                <a:gd name="connsiteY3553" fmla="*/ 757148 h 6523037"/>
                <a:gd name="connsiteX3554" fmla="*/ 3725676 w 12192001"/>
                <a:gd name="connsiteY3554" fmla="*/ 1027560 h 6523037"/>
                <a:gd name="connsiteX3555" fmla="*/ 3455264 w 12192001"/>
                <a:gd name="connsiteY3555" fmla="*/ 1298671 h 6523037"/>
                <a:gd name="connsiteX3556" fmla="*/ 3719387 w 12192001"/>
                <a:gd name="connsiteY3556" fmla="*/ 1298671 h 6523037"/>
                <a:gd name="connsiteX3557" fmla="*/ 3989799 w 12192001"/>
                <a:gd name="connsiteY3557" fmla="*/ 1027560 h 6523037"/>
                <a:gd name="connsiteX3558" fmla="*/ 3718688 w 12192001"/>
                <a:gd name="connsiteY3558" fmla="*/ 757148 h 6523037"/>
                <a:gd name="connsiteX3559" fmla="*/ 4003075 w 12192001"/>
                <a:gd name="connsiteY3559" fmla="*/ 756449 h 6523037"/>
                <a:gd name="connsiteX3560" fmla="*/ 4274187 w 12192001"/>
                <a:gd name="connsiteY3560" fmla="*/ 1026861 h 6523037"/>
                <a:gd name="connsiteX3561" fmla="*/ 4003774 w 12192001"/>
                <a:gd name="connsiteY3561" fmla="*/ 1297972 h 6523037"/>
                <a:gd name="connsiteX3562" fmla="*/ 4202216 w 12192001"/>
                <a:gd name="connsiteY3562" fmla="*/ 1297972 h 6523037"/>
                <a:gd name="connsiteX3563" fmla="*/ 4267200 w 12192001"/>
                <a:gd name="connsiteY3563" fmla="*/ 1297972 h 6523037"/>
                <a:gd name="connsiteX3564" fmla="*/ 4538310 w 12192001"/>
                <a:gd name="connsiteY3564" fmla="*/ 1026861 h 6523037"/>
                <a:gd name="connsiteX3565" fmla="*/ 4404151 w 12192001"/>
                <a:gd name="connsiteY3565" fmla="*/ 893403 h 6523037"/>
                <a:gd name="connsiteX3566" fmla="*/ 4267200 w 12192001"/>
                <a:gd name="connsiteY3566" fmla="*/ 756449 h 6523037"/>
                <a:gd name="connsiteX3567" fmla="*/ 4550188 w 12192001"/>
                <a:gd name="connsiteY3567" fmla="*/ 755751 h 6523037"/>
                <a:gd name="connsiteX3568" fmla="*/ 4817225 w 12192001"/>
                <a:gd name="connsiteY3568" fmla="*/ 1022099 h 6523037"/>
                <a:gd name="connsiteX3569" fmla="*/ 5080048 w 12192001"/>
                <a:gd name="connsiteY3569" fmla="*/ 1022099 h 6523037"/>
                <a:gd name="connsiteX3570" fmla="*/ 4813011 w 12192001"/>
                <a:gd name="connsiteY3570" fmla="*/ 755751 h 6523037"/>
                <a:gd name="connsiteX3571" fmla="*/ 4823396 w 12192001"/>
                <a:gd name="connsiteY3571" fmla="*/ 755182 h 6523037"/>
                <a:gd name="connsiteX3572" fmla="*/ 4823396 w 12192001"/>
                <a:gd name="connsiteY3572" fmla="*/ 755666 h 6523037"/>
                <a:gd name="connsiteX3573" fmla="*/ 5094022 w 12192001"/>
                <a:gd name="connsiteY3573" fmla="*/ 1025594 h 6523037"/>
                <a:gd name="connsiteX3574" fmla="*/ 4824309 w 12192001"/>
                <a:gd name="connsiteY3574" fmla="*/ 1296705 h 6523037"/>
                <a:gd name="connsiteX3575" fmla="*/ 5087733 w 12192001"/>
                <a:gd name="connsiteY3575" fmla="*/ 1296705 h 6523037"/>
                <a:gd name="connsiteX3576" fmla="*/ 5358145 w 12192001"/>
                <a:gd name="connsiteY3576" fmla="*/ 1025594 h 6523037"/>
                <a:gd name="connsiteX3577" fmla="*/ 5223987 w 12192001"/>
                <a:gd name="connsiteY3577" fmla="*/ 892134 h 6523037"/>
                <a:gd name="connsiteX3578" fmla="*/ 5087035 w 12192001"/>
                <a:gd name="connsiteY3578" fmla="*/ 755182 h 6523037"/>
                <a:gd name="connsiteX3579" fmla="*/ 6469141 w 12192001"/>
                <a:gd name="connsiteY3579" fmla="*/ 754483 h 6523037"/>
                <a:gd name="connsiteX3580" fmla="*/ 6597709 w 12192001"/>
                <a:gd name="connsiteY3580" fmla="*/ 883051 h 6523037"/>
                <a:gd name="connsiteX3581" fmla="*/ 6739554 w 12192001"/>
                <a:gd name="connsiteY3581" fmla="*/ 1024895 h 6523037"/>
                <a:gd name="connsiteX3582" fmla="*/ 6469141 w 12192001"/>
                <a:gd name="connsiteY3582" fmla="*/ 1296006 h 6523037"/>
                <a:gd name="connsiteX3583" fmla="*/ 6733264 w 12192001"/>
                <a:gd name="connsiteY3583" fmla="*/ 1296006 h 6523037"/>
                <a:gd name="connsiteX3584" fmla="*/ 7003677 w 12192001"/>
                <a:gd name="connsiteY3584" fmla="*/ 1024895 h 6523037"/>
                <a:gd name="connsiteX3585" fmla="*/ 6998784 w 12192001"/>
                <a:gd name="connsiteY3585" fmla="*/ 1020004 h 6523037"/>
                <a:gd name="connsiteX3586" fmla="*/ 6733264 w 12192001"/>
                <a:gd name="connsiteY3586" fmla="*/ 754483 h 6523037"/>
                <a:gd name="connsiteX3587" fmla="*/ 7017651 w 12192001"/>
                <a:gd name="connsiteY3587" fmla="*/ 753784 h 6523037"/>
                <a:gd name="connsiteX3588" fmla="*/ 7288761 w 12192001"/>
                <a:gd name="connsiteY3588" fmla="*/ 1023497 h 6523037"/>
                <a:gd name="connsiteX3589" fmla="*/ 7285967 w 12192001"/>
                <a:gd name="connsiteY3589" fmla="*/ 1026293 h 6523037"/>
                <a:gd name="connsiteX3590" fmla="*/ 7195829 w 12192001"/>
                <a:gd name="connsiteY3590" fmla="*/ 1117128 h 6523037"/>
                <a:gd name="connsiteX3591" fmla="*/ 7018349 w 12192001"/>
                <a:gd name="connsiteY3591" fmla="*/ 1294608 h 6523037"/>
                <a:gd name="connsiteX3592" fmla="*/ 7282473 w 12192001"/>
                <a:gd name="connsiteY3592" fmla="*/ 1294608 h 6523037"/>
                <a:gd name="connsiteX3593" fmla="*/ 7371911 w 12192001"/>
                <a:gd name="connsiteY3593" fmla="*/ 1205169 h 6523037"/>
                <a:gd name="connsiteX3594" fmla="*/ 7552885 w 12192001"/>
                <a:gd name="connsiteY3594" fmla="*/ 1024196 h 6523037"/>
                <a:gd name="connsiteX3595" fmla="*/ 7281774 w 12192001"/>
                <a:gd name="connsiteY3595" fmla="*/ 753784 h 6523037"/>
                <a:gd name="connsiteX3596" fmla="*/ 5919233 w 12192001"/>
                <a:gd name="connsiteY3596" fmla="*/ 753784 h 6523037"/>
                <a:gd name="connsiteX3597" fmla="*/ 6190345 w 12192001"/>
                <a:gd name="connsiteY3597" fmla="*/ 1023497 h 6523037"/>
                <a:gd name="connsiteX3598" fmla="*/ 6187548 w 12192001"/>
                <a:gd name="connsiteY3598" fmla="*/ 1026293 h 6523037"/>
                <a:gd name="connsiteX3599" fmla="*/ 6097412 w 12192001"/>
                <a:gd name="connsiteY3599" fmla="*/ 1117128 h 6523037"/>
                <a:gd name="connsiteX3600" fmla="*/ 5919933 w 12192001"/>
                <a:gd name="connsiteY3600" fmla="*/ 1294608 h 6523037"/>
                <a:gd name="connsiteX3601" fmla="*/ 6184056 w 12192001"/>
                <a:gd name="connsiteY3601" fmla="*/ 1294608 h 6523037"/>
                <a:gd name="connsiteX3602" fmla="*/ 6273494 w 12192001"/>
                <a:gd name="connsiteY3602" fmla="*/ 1205169 h 6523037"/>
                <a:gd name="connsiteX3603" fmla="*/ 6454468 w 12192001"/>
                <a:gd name="connsiteY3603" fmla="*/ 1024196 h 6523037"/>
                <a:gd name="connsiteX3604" fmla="*/ 6183356 w 12192001"/>
                <a:gd name="connsiteY3604" fmla="*/ 753784 h 6523037"/>
                <a:gd name="connsiteX3605" fmla="*/ 5370723 w 12192001"/>
                <a:gd name="connsiteY3605" fmla="*/ 753784 h 6523037"/>
                <a:gd name="connsiteX3606" fmla="*/ 5372120 w 12192001"/>
                <a:gd name="connsiteY3606" fmla="*/ 755182 h 6523037"/>
                <a:gd name="connsiteX3607" fmla="*/ 5641833 w 12192001"/>
                <a:gd name="connsiteY3607" fmla="*/ 1024196 h 6523037"/>
                <a:gd name="connsiteX3608" fmla="*/ 5371422 w 12192001"/>
                <a:gd name="connsiteY3608" fmla="*/ 1295307 h 6523037"/>
                <a:gd name="connsiteX3609" fmla="*/ 5635545 w 12192001"/>
                <a:gd name="connsiteY3609" fmla="*/ 1295307 h 6523037"/>
                <a:gd name="connsiteX3610" fmla="*/ 5905958 w 12192001"/>
                <a:gd name="connsiteY3610" fmla="*/ 1024196 h 6523037"/>
                <a:gd name="connsiteX3611" fmla="*/ 5900367 w 12192001"/>
                <a:gd name="connsiteY3611" fmla="*/ 1019305 h 6523037"/>
                <a:gd name="connsiteX3612" fmla="*/ 5634846 w 12192001"/>
                <a:gd name="connsiteY3612" fmla="*/ 753784 h 6523037"/>
                <a:gd name="connsiteX3613" fmla="*/ 7566161 w 12192001"/>
                <a:gd name="connsiteY3613" fmla="*/ 753085 h 6523037"/>
                <a:gd name="connsiteX3614" fmla="*/ 7696826 w 12192001"/>
                <a:gd name="connsiteY3614" fmla="*/ 882352 h 6523037"/>
                <a:gd name="connsiteX3615" fmla="*/ 7837272 w 12192001"/>
                <a:gd name="connsiteY3615" fmla="*/ 1022798 h 6523037"/>
                <a:gd name="connsiteX3616" fmla="*/ 7566860 w 12192001"/>
                <a:gd name="connsiteY3616" fmla="*/ 1293909 h 6523037"/>
                <a:gd name="connsiteX3617" fmla="*/ 7830983 w 12192001"/>
                <a:gd name="connsiteY3617" fmla="*/ 1293909 h 6523037"/>
                <a:gd name="connsiteX3618" fmla="*/ 8101395 w 12192001"/>
                <a:gd name="connsiteY3618" fmla="*/ 1023497 h 6523037"/>
                <a:gd name="connsiteX3619" fmla="*/ 7830284 w 12192001"/>
                <a:gd name="connsiteY3619" fmla="*/ 753085 h 6523037"/>
                <a:gd name="connsiteX3620" fmla="*/ 8114671 w 12192001"/>
                <a:gd name="connsiteY3620" fmla="*/ 752386 h 6523037"/>
                <a:gd name="connsiteX3621" fmla="*/ 8385782 w 12192001"/>
                <a:gd name="connsiteY3621" fmla="*/ 1022798 h 6523037"/>
                <a:gd name="connsiteX3622" fmla="*/ 8115370 w 12192001"/>
                <a:gd name="connsiteY3622" fmla="*/ 1293909 h 6523037"/>
                <a:gd name="connsiteX3623" fmla="*/ 8379493 w 12192001"/>
                <a:gd name="connsiteY3623" fmla="*/ 1293909 h 6523037"/>
                <a:gd name="connsiteX3624" fmla="*/ 8649905 w 12192001"/>
                <a:gd name="connsiteY3624" fmla="*/ 1022798 h 6523037"/>
                <a:gd name="connsiteX3625" fmla="*/ 8378794 w 12192001"/>
                <a:gd name="connsiteY3625" fmla="*/ 752386 h 6523037"/>
                <a:gd name="connsiteX3626" fmla="*/ 9483502 w 12192001"/>
                <a:gd name="connsiteY3626" fmla="*/ 752007 h 6523037"/>
                <a:gd name="connsiteX3627" fmla="*/ 9483502 w 12192001"/>
                <a:gd name="connsiteY3627" fmla="*/ 752181 h 6523037"/>
                <a:gd name="connsiteX3628" fmla="*/ 9754439 w 12192001"/>
                <a:gd name="connsiteY3628" fmla="*/ 1022419 h 6523037"/>
                <a:gd name="connsiteX3629" fmla="*/ 9484726 w 12192001"/>
                <a:gd name="connsiteY3629" fmla="*/ 1293530 h 6523037"/>
                <a:gd name="connsiteX3630" fmla="*/ 9748150 w 12192001"/>
                <a:gd name="connsiteY3630" fmla="*/ 1293530 h 6523037"/>
                <a:gd name="connsiteX3631" fmla="*/ 10018562 w 12192001"/>
                <a:gd name="connsiteY3631" fmla="*/ 1022419 h 6523037"/>
                <a:gd name="connsiteX3632" fmla="*/ 9884404 w 12192001"/>
                <a:gd name="connsiteY3632" fmla="*/ 888959 h 6523037"/>
                <a:gd name="connsiteX3633" fmla="*/ 9747451 w 12192001"/>
                <a:gd name="connsiteY3633" fmla="*/ 752007 h 6523037"/>
                <a:gd name="connsiteX3634" fmla="*/ 8663181 w 12192001"/>
                <a:gd name="connsiteY3634" fmla="*/ 751687 h 6523037"/>
                <a:gd name="connsiteX3635" fmla="*/ 8934292 w 12192001"/>
                <a:gd name="connsiteY3635" fmla="*/ 1022099 h 6523037"/>
                <a:gd name="connsiteX3636" fmla="*/ 8663880 w 12192001"/>
                <a:gd name="connsiteY3636" fmla="*/ 1293210 h 6523037"/>
                <a:gd name="connsiteX3637" fmla="*/ 8862322 w 12192001"/>
                <a:gd name="connsiteY3637" fmla="*/ 1293210 h 6523037"/>
                <a:gd name="connsiteX3638" fmla="*/ 8927305 w 12192001"/>
                <a:gd name="connsiteY3638" fmla="*/ 1293210 h 6523037"/>
                <a:gd name="connsiteX3639" fmla="*/ 9198416 w 12192001"/>
                <a:gd name="connsiteY3639" fmla="*/ 1022099 h 6523037"/>
                <a:gd name="connsiteX3640" fmla="*/ 9064257 w 12192001"/>
                <a:gd name="connsiteY3640" fmla="*/ 888641 h 6523037"/>
                <a:gd name="connsiteX3641" fmla="*/ 8927305 w 12192001"/>
                <a:gd name="connsiteY3641" fmla="*/ 751687 h 6523037"/>
                <a:gd name="connsiteX3642" fmla="*/ 11129558 w 12192001"/>
                <a:gd name="connsiteY3642" fmla="*/ 751308 h 6523037"/>
                <a:gd name="connsiteX3643" fmla="*/ 11258126 w 12192001"/>
                <a:gd name="connsiteY3643" fmla="*/ 879876 h 6523037"/>
                <a:gd name="connsiteX3644" fmla="*/ 11399970 w 12192001"/>
                <a:gd name="connsiteY3644" fmla="*/ 1021720 h 6523037"/>
                <a:gd name="connsiteX3645" fmla="*/ 11129558 w 12192001"/>
                <a:gd name="connsiteY3645" fmla="*/ 1292831 h 6523037"/>
                <a:gd name="connsiteX3646" fmla="*/ 11393681 w 12192001"/>
                <a:gd name="connsiteY3646" fmla="*/ 1292831 h 6523037"/>
                <a:gd name="connsiteX3647" fmla="*/ 11664093 w 12192001"/>
                <a:gd name="connsiteY3647" fmla="*/ 1021720 h 6523037"/>
                <a:gd name="connsiteX3648" fmla="*/ 11659201 w 12192001"/>
                <a:gd name="connsiteY3648" fmla="*/ 1016829 h 6523037"/>
                <a:gd name="connsiteX3649" fmla="*/ 11393681 w 12192001"/>
                <a:gd name="connsiteY3649" fmla="*/ 751308 h 6523037"/>
                <a:gd name="connsiteX3650" fmla="*/ 9210294 w 12192001"/>
                <a:gd name="connsiteY3650" fmla="*/ 750989 h 6523037"/>
                <a:gd name="connsiteX3651" fmla="*/ 9478921 w 12192001"/>
                <a:gd name="connsiteY3651" fmla="*/ 1018924 h 6523037"/>
                <a:gd name="connsiteX3652" fmla="*/ 9740464 w 12192001"/>
                <a:gd name="connsiteY3652" fmla="*/ 1018924 h 6523037"/>
                <a:gd name="connsiteX3653" fmla="*/ 9471836 w 12192001"/>
                <a:gd name="connsiteY3653" fmla="*/ 750989 h 6523037"/>
                <a:gd name="connsiteX3654" fmla="*/ 10579650 w 12192001"/>
                <a:gd name="connsiteY3654" fmla="*/ 750609 h 6523037"/>
                <a:gd name="connsiteX3655" fmla="*/ 10850761 w 12192001"/>
                <a:gd name="connsiteY3655" fmla="*/ 1020322 h 6523037"/>
                <a:gd name="connsiteX3656" fmla="*/ 10847965 w 12192001"/>
                <a:gd name="connsiteY3656" fmla="*/ 1023118 h 6523037"/>
                <a:gd name="connsiteX3657" fmla="*/ 10757829 w 12192001"/>
                <a:gd name="connsiteY3657" fmla="*/ 1113953 h 6523037"/>
                <a:gd name="connsiteX3658" fmla="*/ 10580349 w 12192001"/>
                <a:gd name="connsiteY3658" fmla="*/ 1291433 h 6523037"/>
                <a:gd name="connsiteX3659" fmla="*/ 10844472 w 12192001"/>
                <a:gd name="connsiteY3659" fmla="*/ 1291433 h 6523037"/>
                <a:gd name="connsiteX3660" fmla="*/ 10933911 w 12192001"/>
                <a:gd name="connsiteY3660" fmla="*/ 1201994 h 6523037"/>
                <a:gd name="connsiteX3661" fmla="*/ 11114884 w 12192001"/>
                <a:gd name="connsiteY3661" fmla="*/ 1021021 h 6523037"/>
                <a:gd name="connsiteX3662" fmla="*/ 10843773 w 12192001"/>
                <a:gd name="connsiteY3662" fmla="*/ 750609 h 6523037"/>
                <a:gd name="connsiteX3663" fmla="*/ 10031140 w 12192001"/>
                <a:gd name="connsiteY3663" fmla="*/ 750609 h 6523037"/>
                <a:gd name="connsiteX3664" fmla="*/ 10032537 w 12192001"/>
                <a:gd name="connsiteY3664" fmla="*/ 752007 h 6523037"/>
                <a:gd name="connsiteX3665" fmla="*/ 10302250 w 12192001"/>
                <a:gd name="connsiteY3665" fmla="*/ 1021021 h 6523037"/>
                <a:gd name="connsiteX3666" fmla="*/ 10031839 w 12192001"/>
                <a:gd name="connsiteY3666" fmla="*/ 1292132 h 6523037"/>
                <a:gd name="connsiteX3667" fmla="*/ 10295962 w 12192001"/>
                <a:gd name="connsiteY3667" fmla="*/ 1292132 h 6523037"/>
                <a:gd name="connsiteX3668" fmla="*/ 10566374 w 12192001"/>
                <a:gd name="connsiteY3668" fmla="*/ 1021021 h 6523037"/>
                <a:gd name="connsiteX3669" fmla="*/ 10560784 w 12192001"/>
                <a:gd name="connsiteY3669" fmla="*/ 1016130 h 6523037"/>
                <a:gd name="connsiteX3670" fmla="*/ 10295263 w 12192001"/>
                <a:gd name="connsiteY3670" fmla="*/ 750609 h 6523037"/>
                <a:gd name="connsiteX3671" fmla="*/ 702930 w 12192001"/>
                <a:gd name="connsiteY3671" fmla="*/ 484641 h 6523037"/>
                <a:gd name="connsiteX3672" fmla="*/ 522656 w 12192001"/>
                <a:gd name="connsiteY3672" fmla="*/ 665614 h 6523037"/>
                <a:gd name="connsiteX3673" fmla="*/ 433217 w 12192001"/>
                <a:gd name="connsiteY3673" fmla="*/ 755751 h 6523037"/>
                <a:gd name="connsiteX3674" fmla="*/ 567375 w 12192001"/>
                <a:gd name="connsiteY3674" fmla="*/ 889210 h 6523037"/>
                <a:gd name="connsiteX3675" fmla="*/ 704328 w 12192001"/>
                <a:gd name="connsiteY3675" fmla="*/ 1026164 h 6523037"/>
                <a:gd name="connsiteX3676" fmla="*/ 968451 w 12192001"/>
                <a:gd name="connsiteY3676" fmla="*/ 1026164 h 6523037"/>
                <a:gd name="connsiteX3677" fmla="*/ 697340 w 12192001"/>
                <a:gd name="connsiteY3677" fmla="*/ 755751 h 6523037"/>
                <a:gd name="connsiteX3678" fmla="*/ 698738 w 12192001"/>
                <a:gd name="connsiteY3678" fmla="*/ 754354 h 6523037"/>
                <a:gd name="connsiteX3679" fmla="*/ 967054 w 12192001"/>
                <a:gd name="connsiteY3679" fmla="*/ 484641 h 6523037"/>
                <a:gd name="connsiteX3680" fmla="*/ 1252140 w 12192001"/>
                <a:gd name="connsiteY3680" fmla="*/ 483942 h 6523037"/>
                <a:gd name="connsiteX3681" fmla="*/ 981727 w 12192001"/>
                <a:gd name="connsiteY3681" fmla="*/ 755053 h 6523037"/>
                <a:gd name="connsiteX3682" fmla="*/ 1252838 w 12192001"/>
                <a:gd name="connsiteY3682" fmla="*/ 1025465 h 6523037"/>
                <a:gd name="connsiteX3683" fmla="*/ 1516962 w 12192001"/>
                <a:gd name="connsiteY3683" fmla="*/ 1025465 h 6523037"/>
                <a:gd name="connsiteX3684" fmla="*/ 1245851 w 12192001"/>
                <a:gd name="connsiteY3684" fmla="*/ 755053 h 6523037"/>
                <a:gd name="connsiteX3685" fmla="*/ 1516263 w 12192001"/>
                <a:gd name="connsiteY3685" fmla="*/ 483942 h 6523037"/>
                <a:gd name="connsiteX3686" fmla="*/ 2899067 w 12192001"/>
                <a:gd name="connsiteY3686" fmla="*/ 483243 h 6523037"/>
                <a:gd name="connsiteX3687" fmla="*/ 2628655 w 12192001"/>
                <a:gd name="connsiteY3687" fmla="*/ 754354 h 6523037"/>
                <a:gd name="connsiteX3688" fmla="*/ 2899766 w 12192001"/>
                <a:gd name="connsiteY3688" fmla="*/ 1024766 h 6523037"/>
                <a:gd name="connsiteX3689" fmla="*/ 3163191 w 12192001"/>
                <a:gd name="connsiteY3689" fmla="*/ 1024766 h 6523037"/>
                <a:gd name="connsiteX3690" fmla="*/ 3032527 w 12192001"/>
                <a:gd name="connsiteY3690" fmla="*/ 894800 h 6523037"/>
                <a:gd name="connsiteX3691" fmla="*/ 2892081 w 12192001"/>
                <a:gd name="connsiteY3691" fmla="*/ 754354 h 6523037"/>
                <a:gd name="connsiteX3692" fmla="*/ 3163191 w 12192001"/>
                <a:gd name="connsiteY3692" fmla="*/ 483243 h 6523037"/>
                <a:gd name="connsiteX3693" fmla="*/ 1799951 w 12192001"/>
                <a:gd name="connsiteY3693" fmla="*/ 483243 h 6523037"/>
                <a:gd name="connsiteX3694" fmla="*/ 1529539 w 12192001"/>
                <a:gd name="connsiteY3694" fmla="*/ 754354 h 6523037"/>
                <a:gd name="connsiteX3695" fmla="*/ 1800650 w 12192001"/>
                <a:gd name="connsiteY3695" fmla="*/ 1024766 h 6523037"/>
                <a:gd name="connsiteX3696" fmla="*/ 1802048 w 12192001"/>
                <a:gd name="connsiteY3696" fmla="*/ 1026164 h 6523037"/>
                <a:gd name="connsiteX3697" fmla="*/ 2066171 w 12192001"/>
                <a:gd name="connsiteY3697" fmla="*/ 1026164 h 6523037"/>
                <a:gd name="connsiteX3698" fmla="*/ 1934808 w 12192001"/>
                <a:gd name="connsiteY3698" fmla="*/ 894800 h 6523037"/>
                <a:gd name="connsiteX3699" fmla="*/ 1797155 w 12192001"/>
                <a:gd name="connsiteY3699" fmla="*/ 757148 h 6523037"/>
                <a:gd name="connsiteX3700" fmla="*/ 2066171 w 12192001"/>
                <a:gd name="connsiteY3700" fmla="*/ 483243 h 6523037"/>
                <a:gd name="connsiteX3701" fmla="*/ 3446879 w 12192001"/>
                <a:gd name="connsiteY3701" fmla="*/ 482544 h 6523037"/>
                <a:gd name="connsiteX3702" fmla="*/ 3176467 w 12192001"/>
                <a:gd name="connsiteY3702" fmla="*/ 753655 h 6523037"/>
                <a:gd name="connsiteX3703" fmla="*/ 3447578 w 12192001"/>
                <a:gd name="connsiteY3703" fmla="*/ 1024067 h 6523037"/>
                <a:gd name="connsiteX3704" fmla="*/ 3711701 w 12192001"/>
                <a:gd name="connsiteY3704" fmla="*/ 1024067 h 6523037"/>
                <a:gd name="connsiteX3705" fmla="*/ 3440590 w 12192001"/>
                <a:gd name="connsiteY3705" fmla="*/ 753655 h 6523037"/>
                <a:gd name="connsiteX3706" fmla="*/ 3625057 w 12192001"/>
                <a:gd name="connsiteY3706" fmla="*/ 569188 h 6523037"/>
                <a:gd name="connsiteX3707" fmla="*/ 3709605 w 12192001"/>
                <a:gd name="connsiteY3707" fmla="*/ 482544 h 6523037"/>
                <a:gd name="connsiteX3708" fmla="*/ 3995389 w 12192001"/>
                <a:gd name="connsiteY3708" fmla="*/ 481845 h 6523037"/>
                <a:gd name="connsiteX3709" fmla="*/ 3724977 w 12192001"/>
                <a:gd name="connsiteY3709" fmla="*/ 752956 h 6523037"/>
                <a:gd name="connsiteX3710" fmla="*/ 3996088 w 12192001"/>
                <a:gd name="connsiteY3710" fmla="*/ 1023368 h 6523037"/>
                <a:gd name="connsiteX3711" fmla="*/ 4260212 w 12192001"/>
                <a:gd name="connsiteY3711" fmla="*/ 1023368 h 6523037"/>
                <a:gd name="connsiteX3712" fmla="*/ 3989100 w 12192001"/>
                <a:gd name="connsiteY3712" fmla="*/ 752956 h 6523037"/>
                <a:gd name="connsiteX3713" fmla="*/ 3990498 w 12192001"/>
                <a:gd name="connsiteY3713" fmla="*/ 751558 h 6523037"/>
                <a:gd name="connsiteX3714" fmla="*/ 3989799 w 12192001"/>
                <a:gd name="connsiteY3714" fmla="*/ 751558 h 6523037"/>
                <a:gd name="connsiteX3715" fmla="*/ 4258116 w 12192001"/>
                <a:gd name="connsiteY3715" fmla="*/ 482544 h 6523037"/>
                <a:gd name="connsiteX3716" fmla="*/ 3999582 w 12192001"/>
                <a:gd name="connsiteY3716" fmla="*/ 482544 h 6523037"/>
                <a:gd name="connsiteX3717" fmla="*/ 4000979 w 12192001"/>
                <a:gd name="connsiteY3717" fmla="*/ 481845 h 6523037"/>
                <a:gd name="connsiteX3718" fmla="*/ 4818383 w 12192001"/>
                <a:gd name="connsiteY3718" fmla="*/ 481275 h 6523037"/>
                <a:gd name="connsiteX3719" fmla="*/ 4550887 w 12192001"/>
                <a:gd name="connsiteY3719" fmla="*/ 749462 h 6523037"/>
                <a:gd name="connsiteX3720" fmla="*/ 4811162 w 12192001"/>
                <a:gd name="connsiteY3720" fmla="*/ 749462 h 6523037"/>
                <a:gd name="connsiteX3721" fmla="*/ 4993404 w 12192001"/>
                <a:gd name="connsiteY3721" fmla="*/ 567221 h 6523037"/>
                <a:gd name="connsiteX3722" fmla="*/ 5079348 w 12192001"/>
                <a:gd name="connsiteY3722" fmla="*/ 481275 h 6523037"/>
                <a:gd name="connsiteX3723" fmla="*/ 4543201 w 12192001"/>
                <a:gd name="connsiteY3723" fmla="*/ 481146 h 6523037"/>
                <a:gd name="connsiteX3724" fmla="*/ 4362227 w 12192001"/>
                <a:gd name="connsiteY3724" fmla="*/ 662120 h 6523037"/>
                <a:gd name="connsiteX3725" fmla="*/ 4362927 w 12192001"/>
                <a:gd name="connsiteY3725" fmla="*/ 662819 h 6523037"/>
                <a:gd name="connsiteX3726" fmla="*/ 4273487 w 12192001"/>
                <a:gd name="connsiteY3726" fmla="*/ 752956 h 6523037"/>
                <a:gd name="connsiteX3727" fmla="*/ 4407646 w 12192001"/>
                <a:gd name="connsiteY3727" fmla="*/ 886416 h 6523037"/>
                <a:gd name="connsiteX3728" fmla="*/ 4543899 w 12192001"/>
                <a:gd name="connsiteY3728" fmla="*/ 1022669 h 6523037"/>
                <a:gd name="connsiteX3729" fmla="*/ 4805312 w 12192001"/>
                <a:gd name="connsiteY3729" fmla="*/ 1022669 h 6523037"/>
                <a:gd name="connsiteX3730" fmla="*/ 4660106 w 12192001"/>
                <a:gd name="connsiteY3730" fmla="*/ 877461 h 6523037"/>
                <a:gd name="connsiteX3731" fmla="*/ 4660106 w 12192001"/>
                <a:gd name="connsiteY3731" fmla="*/ 875133 h 6523037"/>
                <a:gd name="connsiteX3732" fmla="*/ 4536912 w 12192001"/>
                <a:gd name="connsiteY3732" fmla="*/ 752257 h 6523037"/>
                <a:gd name="connsiteX3733" fmla="*/ 4660106 w 12192001"/>
                <a:gd name="connsiteY3733" fmla="*/ 628745 h 6523037"/>
                <a:gd name="connsiteX3734" fmla="*/ 4660106 w 12192001"/>
                <a:gd name="connsiteY3734" fmla="*/ 625913 h 6523037"/>
                <a:gd name="connsiteX3735" fmla="*/ 4804193 w 12192001"/>
                <a:gd name="connsiteY3735" fmla="*/ 481146 h 6523037"/>
                <a:gd name="connsiteX3736" fmla="*/ 2616078 w 12192001"/>
                <a:gd name="connsiteY3736" fmla="*/ 481146 h 6523037"/>
                <a:gd name="connsiteX3737" fmla="*/ 2349859 w 12192001"/>
                <a:gd name="connsiteY3737" fmla="*/ 483942 h 6523037"/>
                <a:gd name="connsiteX3738" fmla="*/ 2079447 w 12192001"/>
                <a:gd name="connsiteY3738" fmla="*/ 755053 h 6523037"/>
                <a:gd name="connsiteX3739" fmla="*/ 2350558 w 12192001"/>
                <a:gd name="connsiteY3739" fmla="*/ 1025465 h 6523037"/>
                <a:gd name="connsiteX3740" fmla="*/ 2614681 w 12192001"/>
                <a:gd name="connsiteY3740" fmla="*/ 1025465 h 6523037"/>
                <a:gd name="connsiteX3741" fmla="*/ 2343570 w 12192001"/>
                <a:gd name="connsiteY3741" fmla="*/ 755053 h 6523037"/>
                <a:gd name="connsiteX3742" fmla="*/ 5363036 w 12192001"/>
                <a:gd name="connsiteY3742" fmla="*/ 479879 h 6523037"/>
                <a:gd name="connsiteX3743" fmla="*/ 5182762 w 12192001"/>
                <a:gd name="connsiteY3743" fmla="*/ 660852 h 6523037"/>
                <a:gd name="connsiteX3744" fmla="*/ 5093323 w 12192001"/>
                <a:gd name="connsiteY3744" fmla="*/ 750989 h 6523037"/>
                <a:gd name="connsiteX3745" fmla="*/ 5227481 w 12192001"/>
                <a:gd name="connsiteY3745" fmla="*/ 884448 h 6523037"/>
                <a:gd name="connsiteX3746" fmla="*/ 5364435 w 12192001"/>
                <a:gd name="connsiteY3746" fmla="*/ 1021402 h 6523037"/>
                <a:gd name="connsiteX3747" fmla="*/ 5628558 w 12192001"/>
                <a:gd name="connsiteY3747" fmla="*/ 1021402 h 6523037"/>
                <a:gd name="connsiteX3748" fmla="*/ 5357446 w 12192001"/>
                <a:gd name="connsiteY3748" fmla="*/ 750989 h 6523037"/>
                <a:gd name="connsiteX3749" fmla="*/ 5358844 w 12192001"/>
                <a:gd name="connsiteY3749" fmla="*/ 749592 h 6523037"/>
                <a:gd name="connsiteX3750" fmla="*/ 5627160 w 12192001"/>
                <a:gd name="connsiteY3750" fmla="*/ 479879 h 6523037"/>
                <a:gd name="connsiteX3751" fmla="*/ 5912246 w 12192001"/>
                <a:gd name="connsiteY3751" fmla="*/ 479180 h 6523037"/>
                <a:gd name="connsiteX3752" fmla="*/ 5641833 w 12192001"/>
                <a:gd name="connsiteY3752" fmla="*/ 750291 h 6523037"/>
                <a:gd name="connsiteX3753" fmla="*/ 5912945 w 12192001"/>
                <a:gd name="connsiteY3753" fmla="*/ 1020703 h 6523037"/>
                <a:gd name="connsiteX3754" fmla="*/ 6177068 w 12192001"/>
                <a:gd name="connsiteY3754" fmla="*/ 1020703 h 6523037"/>
                <a:gd name="connsiteX3755" fmla="*/ 5905958 w 12192001"/>
                <a:gd name="connsiteY3755" fmla="*/ 750291 h 6523037"/>
                <a:gd name="connsiteX3756" fmla="*/ 6176369 w 12192001"/>
                <a:gd name="connsiteY3756" fmla="*/ 479180 h 6523037"/>
                <a:gd name="connsiteX3757" fmla="*/ 7559173 w 12192001"/>
                <a:gd name="connsiteY3757" fmla="*/ 478481 h 6523037"/>
                <a:gd name="connsiteX3758" fmla="*/ 7288761 w 12192001"/>
                <a:gd name="connsiteY3758" fmla="*/ 749592 h 6523037"/>
                <a:gd name="connsiteX3759" fmla="*/ 7559872 w 12192001"/>
                <a:gd name="connsiteY3759" fmla="*/ 1020004 h 6523037"/>
                <a:gd name="connsiteX3760" fmla="*/ 7823297 w 12192001"/>
                <a:gd name="connsiteY3760" fmla="*/ 1020004 h 6523037"/>
                <a:gd name="connsiteX3761" fmla="*/ 7692633 w 12192001"/>
                <a:gd name="connsiteY3761" fmla="*/ 890038 h 6523037"/>
                <a:gd name="connsiteX3762" fmla="*/ 7552187 w 12192001"/>
                <a:gd name="connsiteY3762" fmla="*/ 749592 h 6523037"/>
                <a:gd name="connsiteX3763" fmla="*/ 7823297 w 12192001"/>
                <a:gd name="connsiteY3763" fmla="*/ 478481 h 6523037"/>
                <a:gd name="connsiteX3764" fmla="*/ 6460057 w 12192001"/>
                <a:gd name="connsiteY3764" fmla="*/ 478481 h 6523037"/>
                <a:gd name="connsiteX3765" fmla="*/ 6189645 w 12192001"/>
                <a:gd name="connsiteY3765" fmla="*/ 749592 h 6523037"/>
                <a:gd name="connsiteX3766" fmla="*/ 6460756 w 12192001"/>
                <a:gd name="connsiteY3766" fmla="*/ 1020004 h 6523037"/>
                <a:gd name="connsiteX3767" fmla="*/ 6462154 w 12192001"/>
                <a:gd name="connsiteY3767" fmla="*/ 1021402 h 6523037"/>
                <a:gd name="connsiteX3768" fmla="*/ 6726277 w 12192001"/>
                <a:gd name="connsiteY3768" fmla="*/ 1021402 h 6523037"/>
                <a:gd name="connsiteX3769" fmla="*/ 6594914 w 12192001"/>
                <a:gd name="connsiteY3769" fmla="*/ 890038 h 6523037"/>
                <a:gd name="connsiteX3770" fmla="*/ 6457261 w 12192001"/>
                <a:gd name="connsiteY3770" fmla="*/ 752386 h 6523037"/>
                <a:gd name="connsiteX3771" fmla="*/ 6726277 w 12192001"/>
                <a:gd name="connsiteY3771" fmla="*/ 478481 h 6523037"/>
                <a:gd name="connsiteX3772" fmla="*/ 9476907 w 12192001"/>
                <a:gd name="connsiteY3772" fmla="*/ 478100 h 6523037"/>
                <a:gd name="connsiteX3773" fmla="*/ 9210993 w 12192001"/>
                <a:gd name="connsiteY3773" fmla="*/ 744700 h 6523037"/>
                <a:gd name="connsiteX3774" fmla="*/ 9473165 w 12192001"/>
                <a:gd name="connsiteY3774" fmla="*/ 744700 h 6523037"/>
                <a:gd name="connsiteX3775" fmla="*/ 9653821 w 12192001"/>
                <a:gd name="connsiteY3775" fmla="*/ 564046 h 6523037"/>
                <a:gd name="connsiteX3776" fmla="*/ 9739765 w 12192001"/>
                <a:gd name="connsiteY3776" fmla="*/ 478100 h 6523037"/>
                <a:gd name="connsiteX3777" fmla="*/ 8106985 w 12192001"/>
                <a:gd name="connsiteY3777" fmla="*/ 477782 h 6523037"/>
                <a:gd name="connsiteX3778" fmla="*/ 7836573 w 12192001"/>
                <a:gd name="connsiteY3778" fmla="*/ 748893 h 6523037"/>
                <a:gd name="connsiteX3779" fmla="*/ 8107684 w 12192001"/>
                <a:gd name="connsiteY3779" fmla="*/ 1019305 h 6523037"/>
                <a:gd name="connsiteX3780" fmla="*/ 8371807 w 12192001"/>
                <a:gd name="connsiteY3780" fmla="*/ 1019305 h 6523037"/>
                <a:gd name="connsiteX3781" fmla="*/ 8100696 w 12192001"/>
                <a:gd name="connsiteY3781" fmla="*/ 748893 h 6523037"/>
                <a:gd name="connsiteX3782" fmla="*/ 8285163 w 12192001"/>
                <a:gd name="connsiteY3782" fmla="*/ 564426 h 6523037"/>
                <a:gd name="connsiteX3783" fmla="*/ 8369711 w 12192001"/>
                <a:gd name="connsiteY3783" fmla="*/ 477782 h 6523037"/>
                <a:gd name="connsiteX3784" fmla="*/ 8655495 w 12192001"/>
                <a:gd name="connsiteY3784" fmla="*/ 477083 h 6523037"/>
                <a:gd name="connsiteX3785" fmla="*/ 8385083 w 12192001"/>
                <a:gd name="connsiteY3785" fmla="*/ 748194 h 6523037"/>
                <a:gd name="connsiteX3786" fmla="*/ 8656194 w 12192001"/>
                <a:gd name="connsiteY3786" fmla="*/ 1018606 h 6523037"/>
                <a:gd name="connsiteX3787" fmla="*/ 8920317 w 12192001"/>
                <a:gd name="connsiteY3787" fmla="*/ 1018606 h 6523037"/>
                <a:gd name="connsiteX3788" fmla="*/ 8649206 w 12192001"/>
                <a:gd name="connsiteY3788" fmla="*/ 748194 h 6523037"/>
                <a:gd name="connsiteX3789" fmla="*/ 8650604 w 12192001"/>
                <a:gd name="connsiteY3789" fmla="*/ 746796 h 6523037"/>
                <a:gd name="connsiteX3790" fmla="*/ 8649905 w 12192001"/>
                <a:gd name="connsiteY3790" fmla="*/ 746796 h 6523037"/>
                <a:gd name="connsiteX3791" fmla="*/ 8918222 w 12192001"/>
                <a:gd name="connsiteY3791" fmla="*/ 477782 h 6523037"/>
                <a:gd name="connsiteX3792" fmla="*/ 8659688 w 12192001"/>
                <a:gd name="connsiteY3792" fmla="*/ 477782 h 6523037"/>
                <a:gd name="connsiteX3793" fmla="*/ 8661085 w 12192001"/>
                <a:gd name="connsiteY3793" fmla="*/ 477083 h 6523037"/>
                <a:gd name="connsiteX3794" fmla="*/ 10023453 w 12192001"/>
                <a:gd name="connsiteY3794" fmla="*/ 476704 h 6523037"/>
                <a:gd name="connsiteX3795" fmla="*/ 9843179 w 12192001"/>
                <a:gd name="connsiteY3795" fmla="*/ 657677 h 6523037"/>
                <a:gd name="connsiteX3796" fmla="*/ 9753740 w 12192001"/>
                <a:gd name="connsiteY3796" fmla="*/ 747814 h 6523037"/>
                <a:gd name="connsiteX3797" fmla="*/ 9887898 w 12192001"/>
                <a:gd name="connsiteY3797" fmla="*/ 881273 h 6523037"/>
                <a:gd name="connsiteX3798" fmla="*/ 10024851 w 12192001"/>
                <a:gd name="connsiteY3798" fmla="*/ 1018227 h 6523037"/>
                <a:gd name="connsiteX3799" fmla="*/ 10288974 w 12192001"/>
                <a:gd name="connsiteY3799" fmla="*/ 1018227 h 6523037"/>
                <a:gd name="connsiteX3800" fmla="*/ 10017863 w 12192001"/>
                <a:gd name="connsiteY3800" fmla="*/ 747814 h 6523037"/>
                <a:gd name="connsiteX3801" fmla="*/ 10019261 w 12192001"/>
                <a:gd name="connsiteY3801" fmla="*/ 746417 h 6523037"/>
                <a:gd name="connsiteX3802" fmla="*/ 10287577 w 12192001"/>
                <a:gd name="connsiteY3802" fmla="*/ 476704 h 6523037"/>
                <a:gd name="connsiteX3803" fmla="*/ 9203307 w 12192001"/>
                <a:gd name="connsiteY3803" fmla="*/ 476384 h 6523037"/>
                <a:gd name="connsiteX3804" fmla="*/ 9022333 w 12192001"/>
                <a:gd name="connsiteY3804" fmla="*/ 657358 h 6523037"/>
                <a:gd name="connsiteX3805" fmla="*/ 9023032 w 12192001"/>
                <a:gd name="connsiteY3805" fmla="*/ 658057 h 6523037"/>
                <a:gd name="connsiteX3806" fmla="*/ 8933593 w 12192001"/>
                <a:gd name="connsiteY3806" fmla="*/ 748194 h 6523037"/>
                <a:gd name="connsiteX3807" fmla="*/ 9067752 w 12192001"/>
                <a:gd name="connsiteY3807" fmla="*/ 881654 h 6523037"/>
                <a:gd name="connsiteX3808" fmla="*/ 9204005 w 12192001"/>
                <a:gd name="connsiteY3808" fmla="*/ 1017907 h 6523037"/>
                <a:gd name="connsiteX3809" fmla="*/ 9464142 w 12192001"/>
                <a:gd name="connsiteY3809" fmla="*/ 1017907 h 6523037"/>
                <a:gd name="connsiteX3810" fmla="*/ 9320523 w 12192001"/>
                <a:gd name="connsiteY3810" fmla="*/ 874286 h 6523037"/>
                <a:gd name="connsiteX3811" fmla="*/ 9320523 w 12192001"/>
                <a:gd name="connsiteY3811" fmla="*/ 870682 h 6523037"/>
                <a:gd name="connsiteX3812" fmla="*/ 9197018 w 12192001"/>
                <a:gd name="connsiteY3812" fmla="*/ 747495 h 6523037"/>
                <a:gd name="connsiteX3813" fmla="*/ 9320523 w 12192001"/>
                <a:gd name="connsiteY3813" fmla="*/ 623671 h 6523037"/>
                <a:gd name="connsiteX3814" fmla="*/ 9320523 w 12192001"/>
                <a:gd name="connsiteY3814" fmla="*/ 622738 h 6523037"/>
                <a:gd name="connsiteX3815" fmla="*/ 9466190 w 12192001"/>
                <a:gd name="connsiteY3815" fmla="*/ 476384 h 6523037"/>
                <a:gd name="connsiteX3816" fmla="*/ 7276184 w 12192001"/>
                <a:gd name="connsiteY3816" fmla="*/ 476384 h 6523037"/>
                <a:gd name="connsiteX3817" fmla="*/ 7009966 w 12192001"/>
                <a:gd name="connsiteY3817" fmla="*/ 479180 h 6523037"/>
                <a:gd name="connsiteX3818" fmla="*/ 6739554 w 12192001"/>
                <a:gd name="connsiteY3818" fmla="*/ 750291 h 6523037"/>
                <a:gd name="connsiteX3819" fmla="*/ 7010664 w 12192001"/>
                <a:gd name="connsiteY3819" fmla="*/ 1020703 h 6523037"/>
                <a:gd name="connsiteX3820" fmla="*/ 7274787 w 12192001"/>
                <a:gd name="connsiteY3820" fmla="*/ 1020703 h 6523037"/>
                <a:gd name="connsiteX3821" fmla="*/ 7003677 w 12192001"/>
                <a:gd name="connsiteY3821" fmla="*/ 750291 h 6523037"/>
                <a:gd name="connsiteX3822" fmla="*/ 10572663 w 12192001"/>
                <a:gd name="connsiteY3822" fmla="*/ 476005 h 6523037"/>
                <a:gd name="connsiteX3823" fmla="*/ 10302250 w 12192001"/>
                <a:gd name="connsiteY3823" fmla="*/ 747116 h 6523037"/>
                <a:gd name="connsiteX3824" fmla="*/ 10573361 w 12192001"/>
                <a:gd name="connsiteY3824" fmla="*/ 1017528 h 6523037"/>
                <a:gd name="connsiteX3825" fmla="*/ 10837485 w 12192001"/>
                <a:gd name="connsiteY3825" fmla="*/ 1017528 h 6523037"/>
                <a:gd name="connsiteX3826" fmla="*/ 10566374 w 12192001"/>
                <a:gd name="connsiteY3826" fmla="*/ 747116 h 6523037"/>
                <a:gd name="connsiteX3827" fmla="*/ 10836786 w 12192001"/>
                <a:gd name="connsiteY3827" fmla="*/ 476005 h 6523037"/>
                <a:gd name="connsiteX3828" fmla="*/ 11120474 w 12192001"/>
                <a:gd name="connsiteY3828" fmla="*/ 475306 h 6523037"/>
                <a:gd name="connsiteX3829" fmla="*/ 10850062 w 12192001"/>
                <a:gd name="connsiteY3829" fmla="*/ 746417 h 6523037"/>
                <a:gd name="connsiteX3830" fmla="*/ 11121173 w 12192001"/>
                <a:gd name="connsiteY3830" fmla="*/ 1016829 h 6523037"/>
                <a:gd name="connsiteX3831" fmla="*/ 11122571 w 12192001"/>
                <a:gd name="connsiteY3831" fmla="*/ 1018227 h 6523037"/>
                <a:gd name="connsiteX3832" fmla="*/ 11386694 w 12192001"/>
                <a:gd name="connsiteY3832" fmla="*/ 1018227 h 6523037"/>
                <a:gd name="connsiteX3833" fmla="*/ 11255331 w 12192001"/>
                <a:gd name="connsiteY3833" fmla="*/ 886863 h 6523037"/>
                <a:gd name="connsiteX3834" fmla="*/ 11117678 w 12192001"/>
                <a:gd name="connsiteY3834" fmla="*/ 749211 h 6523037"/>
                <a:gd name="connsiteX3835" fmla="*/ 11386694 w 12192001"/>
                <a:gd name="connsiteY3835" fmla="*/ 475306 h 6523037"/>
                <a:gd name="connsiteX3836" fmla="*/ 11936601 w 12192001"/>
                <a:gd name="connsiteY3836" fmla="*/ 473209 h 6523037"/>
                <a:gd name="connsiteX3837" fmla="*/ 11670382 w 12192001"/>
                <a:gd name="connsiteY3837" fmla="*/ 476005 h 6523037"/>
                <a:gd name="connsiteX3838" fmla="*/ 11399970 w 12192001"/>
                <a:gd name="connsiteY3838" fmla="*/ 747116 h 6523037"/>
                <a:gd name="connsiteX3839" fmla="*/ 11671081 w 12192001"/>
                <a:gd name="connsiteY3839" fmla="*/ 1017528 h 6523037"/>
                <a:gd name="connsiteX3840" fmla="*/ 11935204 w 12192001"/>
                <a:gd name="connsiteY3840" fmla="*/ 1017528 h 6523037"/>
                <a:gd name="connsiteX3841" fmla="*/ 11664093 w 12192001"/>
                <a:gd name="connsiteY3841" fmla="*/ 747116 h 6523037"/>
                <a:gd name="connsiteX3842" fmla="*/ 161407 w 12192001"/>
                <a:gd name="connsiteY3842" fmla="*/ 211433 h 6523037"/>
                <a:gd name="connsiteX3843" fmla="*/ 432518 w 12192001"/>
                <a:gd name="connsiteY3843" fmla="*/ 481845 h 6523037"/>
                <a:gd name="connsiteX3844" fmla="*/ 429724 w 12192001"/>
                <a:gd name="connsiteY3844" fmla="*/ 484641 h 6523037"/>
                <a:gd name="connsiteX3845" fmla="*/ 339586 w 12192001"/>
                <a:gd name="connsiteY3845" fmla="*/ 575476 h 6523037"/>
                <a:gd name="connsiteX3846" fmla="*/ 162106 w 12192001"/>
                <a:gd name="connsiteY3846" fmla="*/ 752257 h 6523037"/>
                <a:gd name="connsiteX3847" fmla="*/ 426230 w 12192001"/>
                <a:gd name="connsiteY3847" fmla="*/ 752257 h 6523037"/>
                <a:gd name="connsiteX3848" fmla="*/ 515668 w 12192001"/>
                <a:gd name="connsiteY3848" fmla="*/ 662819 h 6523037"/>
                <a:gd name="connsiteX3849" fmla="*/ 696642 w 12192001"/>
                <a:gd name="connsiteY3849" fmla="*/ 481845 h 6523037"/>
                <a:gd name="connsiteX3850" fmla="*/ 425531 w 12192001"/>
                <a:gd name="connsiteY3850" fmla="*/ 211433 h 6523037"/>
                <a:gd name="connsiteX3851" fmla="*/ 710617 w 12192001"/>
                <a:gd name="connsiteY3851" fmla="*/ 210735 h 6523037"/>
                <a:gd name="connsiteX3852" fmla="*/ 840582 w 12192001"/>
                <a:gd name="connsiteY3852" fmla="*/ 340700 h 6523037"/>
                <a:gd name="connsiteX3853" fmla="*/ 981029 w 12192001"/>
                <a:gd name="connsiteY3853" fmla="*/ 480448 h 6523037"/>
                <a:gd name="connsiteX3854" fmla="*/ 710617 w 12192001"/>
                <a:gd name="connsiteY3854" fmla="*/ 751558 h 6523037"/>
                <a:gd name="connsiteX3855" fmla="*/ 974740 w 12192001"/>
                <a:gd name="connsiteY3855" fmla="*/ 751558 h 6523037"/>
                <a:gd name="connsiteX3856" fmla="*/ 1245851 w 12192001"/>
                <a:gd name="connsiteY3856" fmla="*/ 481146 h 6523037"/>
                <a:gd name="connsiteX3857" fmla="*/ 974740 w 12192001"/>
                <a:gd name="connsiteY3857" fmla="*/ 210735 h 6523037"/>
                <a:gd name="connsiteX3858" fmla="*/ 2906055 w 12192001"/>
                <a:gd name="connsiteY3858" fmla="*/ 210036 h 6523037"/>
                <a:gd name="connsiteX3859" fmla="*/ 3035322 w 12192001"/>
                <a:gd name="connsiteY3859" fmla="*/ 337905 h 6523037"/>
                <a:gd name="connsiteX3860" fmla="*/ 3035322 w 12192001"/>
                <a:gd name="connsiteY3860" fmla="*/ 338604 h 6523037"/>
                <a:gd name="connsiteX3861" fmla="*/ 3177166 w 12192001"/>
                <a:gd name="connsiteY3861" fmla="*/ 480448 h 6523037"/>
                <a:gd name="connsiteX3862" fmla="*/ 2906754 w 12192001"/>
                <a:gd name="connsiteY3862" fmla="*/ 751558 h 6523037"/>
                <a:gd name="connsiteX3863" fmla="*/ 3170178 w 12192001"/>
                <a:gd name="connsiteY3863" fmla="*/ 751558 h 6523037"/>
                <a:gd name="connsiteX3864" fmla="*/ 3440590 w 12192001"/>
                <a:gd name="connsiteY3864" fmla="*/ 480448 h 6523037"/>
                <a:gd name="connsiteX3865" fmla="*/ 3435000 w 12192001"/>
                <a:gd name="connsiteY3865" fmla="*/ 474858 h 6523037"/>
                <a:gd name="connsiteX3866" fmla="*/ 3434301 w 12192001"/>
                <a:gd name="connsiteY3866" fmla="*/ 474858 h 6523037"/>
                <a:gd name="connsiteX3867" fmla="*/ 3168781 w 12192001"/>
                <a:gd name="connsiteY3867" fmla="*/ 210036 h 6523037"/>
                <a:gd name="connsiteX3868" fmla="*/ 1808336 w 12192001"/>
                <a:gd name="connsiteY3868" fmla="*/ 210036 h 6523037"/>
                <a:gd name="connsiteX3869" fmla="*/ 1810426 w 12192001"/>
                <a:gd name="connsiteY3869" fmla="*/ 212824 h 6523037"/>
                <a:gd name="connsiteX3870" fmla="*/ 1809733 w 12192001"/>
                <a:gd name="connsiteY3870" fmla="*/ 212132 h 6523037"/>
                <a:gd name="connsiteX3871" fmla="*/ 1810432 w 12192001"/>
                <a:gd name="connsiteY3871" fmla="*/ 212831 h 6523037"/>
                <a:gd name="connsiteX3872" fmla="*/ 1810426 w 12192001"/>
                <a:gd name="connsiteY3872" fmla="*/ 212824 h 6523037"/>
                <a:gd name="connsiteX3873" fmla="*/ 2068965 w 12192001"/>
                <a:gd name="connsiteY3873" fmla="*/ 470666 h 6523037"/>
                <a:gd name="connsiteX3874" fmla="*/ 2078748 w 12192001"/>
                <a:gd name="connsiteY3874" fmla="*/ 479749 h 6523037"/>
                <a:gd name="connsiteX3875" fmla="*/ 2080844 w 12192001"/>
                <a:gd name="connsiteY3875" fmla="*/ 481845 h 6523037"/>
                <a:gd name="connsiteX3876" fmla="*/ 1816022 w 12192001"/>
                <a:gd name="connsiteY3876" fmla="*/ 751558 h 6523037"/>
                <a:gd name="connsiteX3877" fmla="*/ 2075254 w 12192001"/>
                <a:gd name="connsiteY3877" fmla="*/ 752257 h 6523037"/>
                <a:gd name="connsiteX3878" fmla="*/ 2344968 w 12192001"/>
                <a:gd name="connsiteY3878" fmla="*/ 481845 h 6523037"/>
                <a:gd name="connsiteX3879" fmla="*/ 2209412 w 12192001"/>
                <a:gd name="connsiteY3879" fmla="*/ 346988 h 6523037"/>
                <a:gd name="connsiteX3880" fmla="*/ 2192643 w 12192001"/>
                <a:gd name="connsiteY3880" fmla="*/ 330219 h 6523037"/>
                <a:gd name="connsiteX3881" fmla="*/ 2073158 w 12192001"/>
                <a:gd name="connsiteY3881" fmla="*/ 211433 h 6523037"/>
                <a:gd name="connsiteX3882" fmla="*/ 2068965 w 12192001"/>
                <a:gd name="connsiteY3882" fmla="*/ 210036 h 6523037"/>
                <a:gd name="connsiteX3883" fmla="*/ 1258428 w 12192001"/>
                <a:gd name="connsiteY3883" fmla="*/ 210036 h 6523037"/>
                <a:gd name="connsiteX3884" fmla="*/ 1529539 w 12192001"/>
                <a:gd name="connsiteY3884" fmla="*/ 480448 h 6523037"/>
                <a:gd name="connsiteX3885" fmla="*/ 1259127 w 12192001"/>
                <a:gd name="connsiteY3885" fmla="*/ 751558 h 6523037"/>
                <a:gd name="connsiteX3886" fmla="*/ 1523250 w 12192001"/>
                <a:gd name="connsiteY3886" fmla="*/ 751558 h 6523037"/>
                <a:gd name="connsiteX3887" fmla="*/ 1793662 w 12192001"/>
                <a:gd name="connsiteY3887" fmla="*/ 480448 h 6523037"/>
                <a:gd name="connsiteX3888" fmla="*/ 1522551 w 12192001"/>
                <a:gd name="connsiteY3888" fmla="*/ 210036 h 6523037"/>
                <a:gd name="connsiteX3889" fmla="*/ 2621668 w 12192001"/>
                <a:gd name="connsiteY3889" fmla="*/ 208638 h 6523037"/>
                <a:gd name="connsiteX3890" fmla="*/ 2358243 w 12192001"/>
                <a:gd name="connsiteY3890" fmla="*/ 209337 h 6523037"/>
                <a:gd name="connsiteX3891" fmla="*/ 2627259 w 12192001"/>
                <a:gd name="connsiteY3891" fmla="*/ 477653 h 6523037"/>
                <a:gd name="connsiteX3892" fmla="*/ 2626560 w 12192001"/>
                <a:gd name="connsiteY3892" fmla="*/ 478352 h 6523037"/>
                <a:gd name="connsiteX3893" fmla="*/ 2627957 w 12192001"/>
                <a:gd name="connsiteY3893" fmla="*/ 479749 h 6523037"/>
                <a:gd name="connsiteX3894" fmla="*/ 2357544 w 12192001"/>
                <a:gd name="connsiteY3894" fmla="*/ 750860 h 6523037"/>
                <a:gd name="connsiteX3895" fmla="*/ 2621668 w 12192001"/>
                <a:gd name="connsiteY3895" fmla="*/ 750860 h 6523037"/>
                <a:gd name="connsiteX3896" fmla="*/ 2711805 w 12192001"/>
                <a:gd name="connsiteY3896" fmla="*/ 660723 h 6523037"/>
                <a:gd name="connsiteX3897" fmla="*/ 2891382 w 12192001"/>
                <a:gd name="connsiteY3897" fmla="*/ 477653 h 6523037"/>
                <a:gd name="connsiteX3898" fmla="*/ 4550188 w 12192001"/>
                <a:gd name="connsiteY3898" fmla="*/ 207940 h 6523037"/>
                <a:gd name="connsiteX3899" fmla="*/ 4817219 w 12192001"/>
                <a:gd name="connsiteY3899" fmla="*/ 474283 h 6523037"/>
                <a:gd name="connsiteX3900" fmla="*/ 5079348 w 12192001"/>
                <a:gd name="connsiteY3900" fmla="*/ 473590 h 6523037"/>
                <a:gd name="connsiteX3901" fmla="*/ 4813011 w 12192001"/>
                <a:gd name="connsiteY3901" fmla="*/ 207940 h 6523037"/>
                <a:gd name="connsiteX3902" fmla="*/ 4001678 w 12192001"/>
                <a:gd name="connsiteY3902" fmla="*/ 207940 h 6523037"/>
                <a:gd name="connsiteX3903" fmla="*/ 4131644 w 12192001"/>
                <a:gd name="connsiteY3903" fmla="*/ 337206 h 6523037"/>
                <a:gd name="connsiteX3904" fmla="*/ 4272090 w 12192001"/>
                <a:gd name="connsiteY3904" fmla="*/ 477653 h 6523037"/>
                <a:gd name="connsiteX3905" fmla="*/ 4179158 w 12192001"/>
                <a:gd name="connsiteY3905" fmla="*/ 571284 h 6523037"/>
                <a:gd name="connsiteX3906" fmla="*/ 4179856 w 12192001"/>
                <a:gd name="connsiteY3906" fmla="*/ 571983 h 6523037"/>
                <a:gd name="connsiteX3907" fmla="*/ 4003075 w 12192001"/>
                <a:gd name="connsiteY3907" fmla="*/ 749462 h 6523037"/>
                <a:gd name="connsiteX3908" fmla="*/ 4265801 w 12192001"/>
                <a:gd name="connsiteY3908" fmla="*/ 749462 h 6523037"/>
                <a:gd name="connsiteX3909" fmla="*/ 4536213 w 12192001"/>
                <a:gd name="connsiteY3909" fmla="*/ 478352 h 6523037"/>
                <a:gd name="connsiteX3910" fmla="*/ 4265103 w 12192001"/>
                <a:gd name="connsiteY3910" fmla="*/ 207940 h 6523037"/>
                <a:gd name="connsiteX3911" fmla="*/ 3453167 w 12192001"/>
                <a:gd name="connsiteY3911" fmla="*/ 207940 h 6523037"/>
                <a:gd name="connsiteX3912" fmla="*/ 3724278 w 12192001"/>
                <a:gd name="connsiteY3912" fmla="*/ 478352 h 6523037"/>
                <a:gd name="connsiteX3913" fmla="*/ 3724977 w 12192001"/>
                <a:gd name="connsiteY3913" fmla="*/ 479050 h 6523037"/>
                <a:gd name="connsiteX3914" fmla="*/ 3454565 w 12192001"/>
                <a:gd name="connsiteY3914" fmla="*/ 750161 h 6523037"/>
                <a:gd name="connsiteX3915" fmla="*/ 3718688 w 12192001"/>
                <a:gd name="connsiteY3915" fmla="*/ 750161 h 6523037"/>
                <a:gd name="connsiteX3916" fmla="*/ 3808127 w 12192001"/>
                <a:gd name="connsiteY3916" fmla="*/ 660024 h 6523037"/>
                <a:gd name="connsiteX3917" fmla="*/ 3807428 w 12192001"/>
                <a:gd name="connsiteY3917" fmla="*/ 660024 h 6523037"/>
                <a:gd name="connsiteX3918" fmla="*/ 3988403 w 12192001"/>
                <a:gd name="connsiteY3918" fmla="*/ 479050 h 6523037"/>
                <a:gd name="connsiteX3919" fmla="*/ 3983511 w 12192001"/>
                <a:gd name="connsiteY3919" fmla="*/ 473460 h 6523037"/>
                <a:gd name="connsiteX3920" fmla="*/ 3717291 w 12192001"/>
                <a:gd name="connsiteY3920" fmla="*/ 207940 h 6523037"/>
                <a:gd name="connsiteX3921" fmla="*/ 4823396 w 12192001"/>
                <a:gd name="connsiteY3921" fmla="*/ 206671 h 6523037"/>
                <a:gd name="connsiteX3922" fmla="*/ 4823396 w 12192001"/>
                <a:gd name="connsiteY3922" fmla="*/ 208549 h 6523037"/>
                <a:gd name="connsiteX3923" fmla="*/ 5092624 w 12192001"/>
                <a:gd name="connsiteY3923" fmla="*/ 477083 h 6523037"/>
                <a:gd name="connsiteX3924" fmla="*/ 5089830 w 12192001"/>
                <a:gd name="connsiteY3924" fmla="*/ 479879 h 6523037"/>
                <a:gd name="connsiteX3925" fmla="*/ 4999692 w 12192001"/>
                <a:gd name="connsiteY3925" fmla="*/ 570714 h 6523037"/>
                <a:gd name="connsiteX3926" fmla="*/ 4823396 w 12192001"/>
                <a:gd name="connsiteY3926" fmla="*/ 746316 h 6523037"/>
                <a:gd name="connsiteX3927" fmla="*/ 4823396 w 12192001"/>
                <a:gd name="connsiteY3927" fmla="*/ 747495 h 6523037"/>
                <a:gd name="connsiteX3928" fmla="*/ 5086337 w 12192001"/>
                <a:gd name="connsiteY3928" fmla="*/ 747495 h 6523037"/>
                <a:gd name="connsiteX3929" fmla="*/ 5175775 w 12192001"/>
                <a:gd name="connsiteY3929" fmla="*/ 658057 h 6523037"/>
                <a:gd name="connsiteX3930" fmla="*/ 5356748 w 12192001"/>
                <a:gd name="connsiteY3930" fmla="*/ 477083 h 6523037"/>
                <a:gd name="connsiteX3931" fmla="*/ 5085637 w 12192001"/>
                <a:gd name="connsiteY3931" fmla="*/ 206671 h 6523037"/>
                <a:gd name="connsiteX3932" fmla="*/ 5370723 w 12192001"/>
                <a:gd name="connsiteY3932" fmla="*/ 205973 h 6523037"/>
                <a:gd name="connsiteX3933" fmla="*/ 5500688 w 12192001"/>
                <a:gd name="connsiteY3933" fmla="*/ 335938 h 6523037"/>
                <a:gd name="connsiteX3934" fmla="*/ 5641135 w 12192001"/>
                <a:gd name="connsiteY3934" fmla="*/ 475686 h 6523037"/>
                <a:gd name="connsiteX3935" fmla="*/ 5370723 w 12192001"/>
                <a:gd name="connsiteY3935" fmla="*/ 746796 h 6523037"/>
                <a:gd name="connsiteX3936" fmla="*/ 5634846 w 12192001"/>
                <a:gd name="connsiteY3936" fmla="*/ 746796 h 6523037"/>
                <a:gd name="connsiteX3937" fmla="*/ 5905958 w 12192001"/>
                <a:gd name="connsiteY3937" fmla="*/ 476384 h 6523037"/>
                <a:gd name="connsiteX3938" fmla="*/ 5634846 w 12192001"/>
                <a:gd name="connsiteY3938" fmla="*/ 205973 h 6523037"/>
                <a:gd name="connsiteX3939" fmla="*/ 7566161 w 12192001"/>
                <a:gd name="connsiteY3939" fmla="*/ 205274 h 6523037"/>
                <a:gd name="connsiteX3940" fmla="*/ 7695428 w 12192001"/>
                <a:gd name="connsiteY3940" fmla="*/ 333143 h 6523037"/>
                <a:gd name="connsiteX3941" fmla="*/ 7695428 w 12192001"/>
                <a:gd name="connsiteY3941" fmla="*/ 333842 h 6523037"/>
                <a:gd name="connsiteX3942" fmla="*/ 7837272 w 12192001"/>
                <a:gd name="connsiteY3942" fmla="*/ 475686 h 6523037"/>
                <a:gd name="connsiteX3943" fmla="*/ 7566860 w 12192001"/>
                <a:gd name="connsiteY3943" fmla="*/ 746796 h 6523037"/>
                <a:gd name="connsiteX3944" fmla="*/ 7830284 w 12192001"/>
                <a:gd name="connsiteY3944" fmla="*/ 746796 h 6523037"/>
                <a:gd name="connsiteX3945" fmla="*/ 8100696 w 12192001"/>
                <a:gd name="connsiteY3945" fmla="*/ 475686 h 6523037"/>
                <a:gd name="connsiteX3946" fmla="*/ 8095106 w 12192001"/>
                <a:gd name="connsiteY3946" fmla="*/ 470096 h 6523037"/>
                <a:gd name="connsiteX3947" fmla="*/ 8094407 w 12192001"/>
                <a:gd name="connsiteY3947" fmla="*/ 470096 h 6523037"/>
                <a:gd name="connsiteX3948" fmla="*/ 7828887 w 12192001"/>
                <a:gd name="connsiteY3948" fmla="*/ 205274 h 6523037"/>
                <a:gd name="connsiteX3949" fmla="*/ 6468443 w 12192001"/>
                <a:gd name="connsiteY3949" fmla="*/ 205274 h 6523037"/>
                <a:gd name="connsiteX3950" fmla="*/ 6470532 w 12192001"/>
                <a:gd name="connsiteY3950" fmla="*/ 208062 h 6523037"/>
                <a:gd name="connsiteX3951" fmla="*/ 6469839 w 12192001"/>
                <a:gd name="connsiteY3951" fmla="*/ 207370 h 6523037"/>
                <a:gd name="connsiteX3952" fmla="*/ 6470538 w 12192001"/>
                <a:gd name="connsiteY3952" fmla="*/ 208069 h 6523037"/>
                <a:gd name="connsiteX3953" fmla="*/ 6470532 w 12192001"/>
                <a:gd name="connsiteY3953" fmla="*/ 208062 h 6523037"/>
                <a:gd name="connsiteX3954" fmla="*/ 6729071 w 12192001"/>
                <a:gd name="connsiteY3954" fmla="*/ 465904 h 6523037"/>
                <a:gd name="connsiteX3955" fmla="*/ 6738854 w 12192001"/>
                <a:gd name="connsiteY3955" fmla="*/ 474987 h 6523037"/>
                <a:gd name="connsiteX3956" fmla="*/ 6740950 w 12192001"/>
                <a:gd name="connsiteY3956" fmla="*/ 477083 h 6523037"/>
                <a:gd name="connsiteX3957" fmla="*/ 6476128 w 12192001"/>
                <a:gd name="connsiteY3957" fmla="*/ 746796 h 6523037"/>
                <a:gd name="connsiteX3958" fmla="*/ 6735361 w 12192001"/>
                <a:gd name="connsiteY3958" fmla="*/ 747495 h 6523037"/>
                <a:gd name="connsiteX3959" fmla="*/ 7005075 w 12192001"/>
                <a:gd name="connsiteY3959" fmla="*/ 477083 h 6523037"/>
                <a:gd name="connsiteX3960" fmla="*/ 6869518 w 12192001"/>
                <a:gd name="connsiteY3960" fmla="*/ 342226 h 6523037"/>
                <a:gd name="connsiteX3961" fmla="*/ 6852749 w 12192001"/>
                <a:gd name="connsiteY3961" fmla="*/ 325457 h 6523037"/>
                <a:gd name="connsiteX3962" fmla="*/ 6733264 w 12192001"/>
                <a:gd name="connsiteY3962" fmla="*/ 206671 h 6523037"/>
                <a:gd name="connsiteX3963" fmla="*/ 6729071 w 12192001"/>
                <a:gd name="connsiteY3963" fmla="*/ 205274 h 6523037"/>
                <a:gd name="connsiteX3964" fmla="*/ 5918534 w 12192001"/>
                <a:gd name="connsiteY3964" fmla="*/ 205274 h 6523037"/>
                <a:gd name="connsiteX3965" fmla="*/ 6189645 w 12192001"/>
                <a:gd name="connsiteY3965" fmla="*/ 475686 h 6523037"/>
                <a:gd name="connsiteX3966" fmla="*/ 5919233 w 12192001"/>
                <a:gd name="connsiteY3966" fmla="*/ 746796 h 6523037"/>
                <a:gd name="connsiteX3967" fmla="*/ 6183356 w 12192001"/>
                <a:gd name="connsiteY3967" fmla="*/ 746796 h 6523037"/>
                <a:gd name="connsiteX3968" fmla="*/ 6453768 w 12192001"/>
                <a:gd name="connsiteY3968" fmla="*/ 475686 h 6523037"/>
                <a:gd name="connsiteX3969" fmla="*/ 6182657 w 12192001"/>
                <a:gd name="connsiteY3969" fmla="*/ 205274 h 6523037"/>
                <a:gd name="connsiteX3970" fmla="*/ 7281774 w 12192001"/>
                <a:gd name="connsiteY3970" fmla="*/ 203876 h 6523037"/>
                <a:gd name="connsiteX3971" fmla="*/ 7018349 w 12192001"/>
                <a:gd name="connsiteY3971" fmla="*/ 204575 h 6523037"/>
                <a:gd name="connsiteX3972" fmla="*/ 7287365 w 12192001"/>
                <a:gd name="connsiteY3972" fmla="*/ 472891 h 6523037"/>
                <a:gd name="connsiteX3973" fmla="*/ 7286666 w 12192001"/>
                <a:gd name="connsiteY3973" fmla="*/ 473590 h 6523037"/>
                <a:gd name="connsiteX3974" fmla="*/ 7288063 w 12192001"/>
                <a:gd name="connsiteY3974" fmla="*/ 474987 h 6523037"/>
                <a:gd name="connsiteX3975" fmla="*/ 7017651 w 12192001"/>
                <a:gd name="connsiteY3975" fmla="*/ 746098 h 6523037"/>
                <a:gd name="connsiteX3976" fmla="*/ 7281774 w 12192001"/>
                <a:gd name="connsiteY3976" fmla="*/ 746098 h 6523037"/>
                <a:gd name="connsiteX3977" fmla="*/ 7371911 w 12192001"/>
                <a:gd name="connsiteY3977" fmla="*/ 655961 h 6523037"/>
                <a:gd name="connsiteX3978" fmla="*/ 7551488 w 12192001"/>
                <a:gd name="connsiteY3978" fmla="*/ 472891 h 6523037"/>
                <a:gd name="connsiteX3979" fmla="*/ 9483502 w 12192001"/>
                <a:gd name="connsiteY3979" fmla="*/ 203496 h 6523037"/>
                <a:gd name="connsiteX3980" fmla="*/ 9483502 w 12192001"/>
                <a:gd name="connsiteY3980" fmla="*/ 205064 h 6523037"/>
                <a:gd name="connsiteX3981" fmla="*/ 9753041 w 12192001"/>
                <a:gd name="connsiteY3981" fmla="*/ 473908 h 6523037"/>
                <a:gd name="connsiteX3982" fmla="*/ 9750247 w 12192001"/>
                <a:gd name="connsiteY3982" fmla="*/ 476704 h 6523037"/>
                <a:gd name="connsiteX3983" fmla="*/ 9660109 w 12192001"/>
                <a:gd name="connsiteY3983" fmla="*/ 567539 h 6523037"/>
                <a:gd name="connsiteX3984" fmla="*/ 9483502 w 12192001"/>
                <a:gd name="connsiteY3984" fmla="*/ 743451 h 6523037"/>
                <a:gd name="connsiteX3985" fmla="*/ 9483502 w 12192001"/>
                <a:gd name="connsiteY3985" fmla="*/ 744320 h 6523037"/>
                <a:gd name="connsiteX3986" fmla="*/ 9746753 w 12192001"/>
                <a:gd name="connsiteY3986" fmla="*/ 744320 h 6523037"/>
                <a:gd name="connsiteX3987" fmla="*/ 9836191 w 12192001"/>
                <a:gd name="connsiteY3987" fmla="*/ 654882 h 6523037"/>
                <a:gd name="connsiteX3988" fmla="*/ 10017165 w 12192001"/>
                <a:gd name="connsiteY3988" fmla="*/ 473908 h 6523037"/>
                <a:gd name="connsiteX3989" fmla="*/ 9746054 w 12192001"/>
                <a:gd name="connsiteY3989" fmla="*/ 203496 h 6523037"/>
                <a:gd name="connsiteX3990" fmla="*/ 9210294 w 12192001"/>
                <a:gd name="connsiteY3990" fmla="*/ 203178 h 6523037"/>
                <a:gd name="connsiteX3991" fmla="*/ 9478913 w 12192001"/>
                <a:gd name="connsiteY3991" fmla="*/ 471105 h 6523037"/>
                <a:gd name="connsiteX3992" fmla="*/ 9739765 w 12192001"/>
                <a:gd name="connsiteY3992" fmla="*/ 470415 h 6523037"/>
                <a:gd name="connsiteX3993" fmla="*/ 9471837 w 12192001"/>
                <a:gd name="connsiteY3993" fmla="*/ 203178 h 6523037"/>
                <a:gd name="connsiteX3994" fmla="*/ 8661784 w 12192001"/>
                <a:gd name="connsiteY3994" fmla="*/ 203178 h 6523037"/>
                <a:gd name="connsiteX3995" fmla="*/ 8791750 w 12192001"/>
                <a:gd name="connsiteY3995" fmla="*/ 332444 h 6523037"/>
                <a:gd name="connsiteX3996" fmla="*/ 8932196 w 12192001"/>
                <a:gd name="connsiteY3996" fmla="*/ 472891 h 6523037"/>
                <a:gd name="connsiteX3997" fmla="*/ 8839264 w 12192001"/>
                <a:gd name="connsiteY3997" fmla="*/ 566522 h 6523037"/>
                <a:gd name="connsiteX3998" fmla="*/ 8839962 w 12192001"/>
                <a:gd name="connsiteY3998" fmla="*/ 567221 h 6523037"/>
                <a:gd name="connsiteX3999" fmla="*/ 8663181 w 12192001"/>
                <a:gd name="connsiteY3999" fmla="*/ 744700 h 6523037"/>
                <a:gd name="connsiteX4000" fmla="*/ 8925907 w 12192001"/>
                <a:gd name="connsiteY4000" fmla="*/ 744700 h 6523037"/>
                <a:gd name="connsiteX4001" fmla="*/ 9196319 w 12192001"/>
                <a:gd name="connsiteY4001" fmla="*/ 473590 h 6523037"/>
                <a:gd name="connsiteX4002" fmla="*/ 8925208 w 12192001"/>
                <a:gd name="connsiteY4002" fmla="*/ 203178 h 6523037"/>
                <a:gd name="connsiteX4003" fmla="*/ 8113273 w 12192001"/>
                <a:gd name="connsiteY4003" fmla="*/ 203178 h 6523037"/>
                <a:gd name="connsiteX4004" fmla="*/ 8384384 w 12192001"/>
                <a:gd name="connsiteY4004" fmla="*/ 473590 h 6523037"/>
                <a:gd name="connsiteX4005" fmla="*/ 8385083 w 12192001"/>
                <a:gd name="connsiteY4005" fmla="*/ 474288 h 6523037"/>
                <a:gd name="connsiteX4006" fmla="*/ 8114671 w 12192001"/>
                <a:gd name="connsiteY4006" fmla="*/ 745399 h 6523037"/>
                <a:gd name="connsiteX4007" fmla="*/ 8378794 w 12192001"/>
                <a:gd name="connsiteY4007" fmla="*/ 745399 h 6523037"/>
                <a:gd name="connsiteX4008" fmla="*/ 8468233 w 12192001"/>
                <a:gd name="connsiteY4008" fmla="*/ 655262 h 6523037"/>
                <a:gd name="connsiteX4009" fmla="*/ 8467534 w 12192001"/>
                <a:gd name="connsiteY4009" fmla="*/ 655262 h 6523037"/>
                <a:gd name="connsiteX4010" fmla="*/ 8648509 w 12192001"/>
                <a:gd name="connsiteY4010" fmla="*/ 474288 h 6523037"/>
                <a:gd name="connsiteX4011" fmla="*/ 8643617 w 12192001"/>
                <a:gd name="connsiteY4011" fmla="*/ 468698 h 6523037"/>
                <a:gd name="connsiteX4012" fmla="*/ 8377397 w 12192001"/>
                <a:gd name="connsiteY4012" fmla="*/ 203178 h 6523037"/>
                <a:gd name="connsiteX4013" fmla="*/ 10031140 w 12192001"/>
                <a:gd name="connsiteY4013" fmla="*/ 202798 h 6523037"/>
                <a:gd name="connsiteX4014" fmla="*/ 10161105 w 12192001"/>
                <a:gd name="connsiteY4014" fmla="*/ 332763 h 6523037"/>
                <a:gd name="connsiteX4015" fmla="*/ 10301552 w 12192001"/>
                <a:gd name="connsiteY4015" fmla="*/ 472511 h 6523037"/>
                <a:gd name="connsiteX4016" fmla="*/ 10031140 w 12192001"/>
                <a:gd name="connsiteY4016" fmla="*/ 743621 h 6523037"/>
                <a:gd name="connsiteX4017" fmla="*/ 10295263 w 12192001"/>
                <a:gd name="connsiteY4017" fmla="*/ 743621 h 6523037"/>
                <a:gd name="connsiteX4018" fmla="*/ 10566374 w 12192001"/>
                <a:gd name="connsiteY4018" fmla="*/ 473209 h 6523037"/>
                <a:gd name="connsiteX4019" fmla="*/ 10295263 w 12192001"/>
                <a:gd name="connsiteY4019" fmla="*/ 202798 h 6523037"/>
                <a:gd name="connsiteX4020" fmla="*/ 11128859 w 12192001"/>
                <a:gd name="connsiteY4020" fmla="*/ 202099 h 6523037"/>
                <a:gd name="connsiteX4021" fmla="*/ 11130949 w 12192001"/>
                <a:gd name="connsiteY4021" fmla="*/ 204887 h 6523037"/>
                <a:gd name="connsiteX4022" fmla="*/ 11130256 w 12192001"/>
                <a:gd name="connsiteY4022" fmla="*/ 204195 h 6523037"/>
                <a:gd name="connsiteX4023" fmla="*/ 11130955 w 12192001"/>
                <a:gd name="connsiteY4023" fmla="*/ 204894 h 6523037"/>
                <a:gd name="connsiteX4024" fmla="*/ 11130949 w 12192001"/>
                <a:gd name="connsiteY4024" fmla="*/ 204887 h 6523037"/>
                <a:gd name="connsiteX4025" fmla="*/ 11389488 w 12192001"/>
                <a:gd name="connsiteY4025" fmla="*/ 462729 h 6523037"/>
                <a:gd name="connsiteX4026" fmla="*/ 11399271 w 12192001"/>
                <a:gd name="connsiteY4026" fmla="*/ 471812 h 6523037"/>
                <a:gd name="connsiteX4027" fmla="*/ 11401367 w 12192001"/>
                <a:gd name="connsiteY4027" fmla="*/ 473908 h 6523037"/>
                <a:gd name="connsiteX4028" fmla="*/ 11136545 w 12192001"/>
                <a:gd name="connsiteY4028" fmla="*/ 743621 h 6523037"/>
                <a:gd name="connsiteX4029" fmla="*/ 11395777 w 12192001"/>
                <a:gd name="connsiteY4029" fmla="*/ 744320 h 6523037"/>
                <a:gd name="connsiteX4030" fmla="*/ 11665491 w 12192001"/>
                <a:gd name="connsiteY4030" fmla="*/ 473908 h 6523037"/>
                <a:gd name="connsiteX4031" fmla="*/ 11529935 w 12192001"/>
                <a:gd name="connsiteY4031" fmla="*/ 339051 h 6523037"/>
                <a:gd name="connsiteX4032" fmla="*/ 11513166 w 12192001"/>
                <a:gd name="connsiteY4032" fmla="*/ 322282 h 6523037"/>
                <a:gd name="connsiteX4033" fmla="*/ 11393681 w 12192001"/>
                <a:gd name="connsiteY4033" fmla="*/ 203496 h 6523037"/>
                <a:gd name="connsiteX4034" fmla="*/ 11389488 w 12192001"/>
                <a:gd name="connsiteY4034" fmla="*/ 202099 h 6523037"/>
                <a:gd name="connsiteX4035" fmla="*/ 10578951 w 12192001"/>
                <a:gd name="connsiteY4035" fmla="*/ 202099 h 6523037"/>
                <a:gd name="connsiteX4036" fmla="*/ 10850062 w 12192001"/>
                <a:gd name="connsiteY4036" fmla="*/ 472511 h 6523037"/>
                <a:gd name="connsiteX4037" fmla="*/ 10579650 w 12192001"/>
                <a:gd name="connsiteY4037" fmla="*/ 743621 h 6523037"/>
                <a:gd name="connsiteX4038" fmla="*/ 10843773 w 12192001"/>
                <a:gd name="connsiteY4038" fmla="*/ 743621 h 6523037"/>
                <a:gd name="connsiteX4039" fmla="*/ 11114185 w 12192001"/>
                <a:gd name="connsiteY4039" fmla="*/ 472511 h 6523037"/>
                <a:gd name="connsiteX4040" fmla="*/ 10843074 w 12192001"/>
                <a:gd name="connsiteY4040" fmla="*/ 202099 h 6523037"/>
                <a:gd name="connsiteX4041" fmla="*/ 73183 w 12192001"/>
                <a:gd name="connsiteY4041" fmla="*/ 7937 h 6523037"/>
                <a:gd name="connsiteX4042" fmla="*/ 84011 w 12192001"/>
                <a:gd name="connsiteY4042" fmla="*/ 7937 h 6523037"/>
                <a:gd name="connsiteX4043" fmla="*/ 0 w 12192001"/>
                <a:gd name="connsiteY4043" fmla="*/ 91948 h 6523037"/>
                <a:gd name="connsiteX4044" fmla="*/ 0 w 12192001"/>
                <a:gd name="connsiteY4044" fmla="*/ 81467 h 6523037"/>
                <a:gd name="connsiteX4045" fmla="*/ 9393706 w 12192001"/>
                <a:gd name="connsiteY4045" fmla="*/ 0 h 6523037"/>
                <a:gd name="connsiteX4046" fmla="*/ 9404534 w 12192001"/>
                <a:gd name="connsiteY4046" fmla="*/ 0 h 6523037"/>
                <a:gd name="connsiteX4047" fmla="*/ 9401359 w 12192001"/>
                <a:gd name="connsiteY4047" fmla="*/ 3175 h 6523037"/>
                <a:gd name="connsiteX4048" fmla="*/ 9401912 w 12192001"/>
                <a:gd name="connsiteY4048" fmla="*/ 3175 h 6523037"/>
                <a:gd name="connsiteX4049" fmla="*/ 9209595 w 12192001"/>
                <a:gd name="connsiteY4049" fmla="*/ 195492 h 6523037"/>
                <a:gd name="connsiteX4050" fmla="*/ 9473165 w 12192001"/>
                <a:gd name="connsiteY4050" fmla="*/ 195492 h 6523037"/>
                <a:gd name="connsiteX4051" fmla="*/ 9668657 w 12192001"/>
                <a:gd name="connsiteY4051" fmla="*/ 0 h 6523037"/>
                <a:gd name="connsiteX4052" fmla="*/ 9679138 w 12192001"/>
                <a:gd name="connsiteY4052" fmla="*/ 0 h 6523037"/>
                <a:gd name="connsiteX4053" fmla="*/ 9483502 w 12192001"/>
                <a:gd name="connsiteY4053" fmla="*/ 195636 h 6523037"/>
                <a:gd name="connsiteX4054" fmla="*/ 9483502 w 12192001"/>
                <a:gd name="connsiteY4054" fmla="*/ 196191 h 6523037"/>
                <a:gd name="connsiteX4055" fmla="*/ 9483184 w 12192001"/>
                <a:gd name="connsiteY4055" fmla="*/ 196509 h 6523037"/>
                <a:gd name="connsiteX4056" fmla="*/ 9746753 w 12192001"/>
                <a:gd name="connsiteY4056" fmla="*/ 196509 h 6523037"/>
                <a:gd name="connsiteX4057" fmla="*/ 9942755 w 12192001"/>
                <a:gd name="connsiteY4057" fmla="*/ 0 h 6523037"/>
                <a:gd name="connsiteX4058" fmla="*/ 9952529 w 12192001"/>
                <a:gd name="connsiteY4058" fmla="*/ 0 h 6523037"/>
                <a:gd name="connsiteX4059" fmla="*/ 9753041 w 12192001"/>
                <a:gd name="connsiteY4059" fmla="*/ 200003 h 6523037"/>
                <a:gd name="connsiteX4060" fmla="*/ 10024851 w 12192001"/>
                <a:gd name="connsiteY4060" fmla="*/ 470415 h 6523037"/>
                <a:gd name="connsiteX4061" fmla="*/ 10288275 w 12192001"/>
                <a:gd name="connsiteY4061" fmla="*/ 470415 h 6523037"/>
                <a:gd name="connsiteX4062" fmla="*/ 10157612 w 12192001"/>
                <a:gd name="connsiteY4062" fmla="*/ 340449 h 6523037"/>
                <a:gd name="connsiteX4063" fmla="*/ 10017165 w 12192001"/>
                <a:gd name="connsiteY4063" fmla="*/ 200003 h 6523037"/>
                <a:gd name="connsiteX4064" fmla="*/ 10216652 w 12192001"/>
                <a:gd name="connsiteY4064" fmla="*/ 0 h 6523037"/>
                <a:gd name="connsiteX4065" fmla="*/ 10227841 w 12192001"/>
                <a:gd name="connsiteY4065" fmla="*/ 0 h 6523037"/>
                <a:gd name="connsiteX4066" fmla="*/ 10031839 w 12192001"/>
                <a:gd name="connsiteY4066" fmla="*/ 196509 h 6523037"/>
                <a:gd name="connsiteX4067" fmla="*/ 10295263 w 12192001"/>
                <a:gd name="connsiteY4067" fmla="*/ 196509 h 6523037"/>
                <a:gd name="connsiteX4068" fmla="*/ 10491265 w 12192001"/>
                <a:gd name="connsiteY4068" fmla="*/ 0 h 6523037"/>
                <a:gd name="connsiteX4069" fmla="*/ 10500342 w 12192001"/>
                <a:gd name="connsiteY4069" fmla="*/ 0 h 6523037"/>
                <a:gd name="connsiteX4070" fmla="*/ 10301552 w 12192001"/>
                <a:gd name="connsiteY4070" fmla="*/ 199304 h 6523037"/>
                <a:gd name="connsiteX4071" fmla="*/ 10572663 w 12192001"/>
                <a:gd name="connsiteY4071" fmla="*/ 469716 h 6523037"/>
                <a:gd name="connsiteX4072" fmla="*/ 10836786 w 12192001"/>
                <a:gd name="connsiteY4072" fmla="*/ 469716 h 6523037"/>
                <a:gd name="connsiteX4073" fmla="*/ 10565675 w 12192001"/>
                <a:gd name="connsiteY4073" fmla="*/ 199304 h 6523037"/>
                <a:gd name="connsiteX4074" fmla="*/ 10764465 w 12192001"/>
                <a:gd name="connsiteY4074" fmla="*/ 0 h 6523037"/>
                <a:gd name="connsiteX4075" fmla="*/ 10773933 w 12192001"/>
                <a:gd name="connsiteY4075" fmla="*/ 0 h 6523037"/>
                <a:gd name="connsiteX4076" fmla="*/ 10757130 w 12192001"/>
                <a:gd name="connsiteY4076" fmla="*/ 16933 h 6523037"/>
                <a:gd name="connsiteX4077" fmla="*/ 10756431 w 12192001"/>
                <a:gd name="connsiteY4077" fmla="*/ 16933 h 6523037"/>
                <a:gd name="connsiteX4078" fmla="*/ 10578951 w 12192001"/>
                <a:gd name="connsiteY4078" fmla="*/ 195111 h 6523037"/>
                <a:gd name="connsiteX4079" fmla="*/ 10843074 w 12192001"/>
                <a:gd name="connsiteY4079" fmla="*/ 195111 h 6523037"/>
                <a:gd name="connsiteX4080" fmla="*/ 11038186 w 12192001"/>
                <a:gd name="connsiteY4080" fmla="*/ 0 h 6523037"/>
                <a:gd name="connsiteX4081" fmla="*/ 11048947 w 12192001"/>
                <a:gd name="connsiteY4081" fmla="*/ 0 h 6523037"/>
                <a:gd name="connsiteX4082" fmla="*/ 10940899 w 12192001"/>
                <a:gd name="connsiteY4082" fmla="*/ 108468 h 6523037"/>
                <a:gd name="connsiteX4083" fmla="*/ 10940200 w 12192001"/>
                <a:gd name="connsiteY4083" fmla="*/ 108468 h 6523037"/>
                <a:gd name="connsiteX4084" fmla="*/ 10850062 w 12192001"/>
                <a:gd name="connsiteY4084" fmla="*/ 198605 h 6523037"/>
                <a:gd name="connsiteX4085" fmla="*/ 11120474 w 12192001"/>
                <a:gd name="connsiteY4085" fmla="*/ 469716 h 6523037"/>
                <a:gd name="connsiteX4086" fmla="*/ 11384597 w 12192001"/>
                <a:gd name="connsiteY4086" fmla="*/ 469716 h 6523037"/>
                <a:gd name="connsiteX4087" fmla="*/ 11113487 w 12192001"/>
                <a:gd name="connsiteY4087" fmla="*/ 199304 h 6523037"/>
                <a:gd name="connsiteX4088" fmla="*/ 11297954 w 12192001"/>
                <a:gd name="connsiteY4088" fmla="*/ 14837 h 6523037"/>
                <a:gd name="connsiteX4089" fmla="*/ 11298653 w 12192001"/>
                <a:gd name="connsiteY4089" fmla="*/ 14837 h 6523037"/>
                <a:gd name="connsiteX4090" fmla="*/ 11313370 w 12192001"/>
                <a:gd name="connsiteY4090" fmla="*/ 0 h 6523037"/>
                <a:gd name="connsiteX4091" fmla="*/ 11322770 w 12192001"/>
                <a:gd name="connsiteY4091" fmla="*/ 0 h 6523037"/>
                <a:gd name="connsiteX4092" fmla="*/ 11128859 w 12192001"/>
                <a:gd name="connsiteY4092" fmla="*/ 194412 h 6523037"/>
                <a:gd name="connsiteX4093" fmla="*/ 11392284 w 12192001"/>
                <a:gd name="connsiteY4093" fmla="*/ 194412 h 6523037"/>
                <a:gd name="connsiteX4094" fmla="*/ 11586696 w 12192001"/>
                <a:gd name="connsiteY4094" fmla="*/ 0 h 6523037"/>
                <a:gd name="connsiteX4095" fmla="*/ 11598062 w 12192001"/>
                <a:gd name="connsiteY4095" fmla="*/ 0 h 6523037"/>
                <a:gd name="connsiteX4096" fmla="*/ 11399271 w 12192001"/>
                <a:gd name="connsiteY4096" fmla="*/ 199304 h 6523037"/>
                <a:gd name="connsiteX4097" fmla="*/ 11668984 w 12192001"/>
                <a:gd name="connsiteY4097" fmla="*/ 468319 h 6523037"/>
                <a:gd name="connsiteX4098" fmla="*/ 11932409 w 12192001"/>
                <a:gd name="connsiteY4098" fmla="*/ 468319 h 6523037"/>
                <a:gd name="connsiteX4099" fmla="*/ 11663395 w 12192001"/>
                <a:gd name="connsiteY4099" fmla="*/ 199304 h 6523037"/>
                <a:gd name="connsiteX4100" fmla="*/ 11664093 w 12192001"/>
                <a:gd name="connsiteY4100" fmla="*/ 198605 h 6523037"/>
                <a:gd name="connsiteX4101" fmla="*/ 11662696 w 12192001"/>
                <a:gd name="connsiteY4101" fmla="*/ 197208 h 6523037"/>
                <a:gd name="connsiteX4102" fmla="*/ 11859391 w 12192001"/>
                <a:gd name="connsiteY4102" fmla="*/ 0 h 6523037"/>
                <a:gd name="connsiteX4103" fmla="*/ 11872675 w 12192001"/>
                <a:gd name="connsiteY4103" fmla="*/ 0 h 6523037"/>
                <a:gd name="connsiteX4104" fmla="*/ 11678766 w 12192001"/>
                <a:gd name="connsiteY4104" fmla="*/ 194412 h 6523037"/>
                <a:gd name="connsiteX4105" fmla="*/ 11940794 w 12192001"/>
                <a:gd name="connsiteY4105" fmla="*/ 194412 h 6523037"/>
                <a:gd name="connsiteX4106" fmla="*/ 12134704 w 12192001"/>
                <a:gd name="connsiteY4106" fmla="*/ 0 h 6523037"/>
                <a:gd name="connsiteX4107" fmla="*/ 12146063 w 12192001"/>
                <a:gd name="connsiteY4107" fmla="*/ 0 h 6523037"/>
                <a:gd name="connsiteX4108" fmla="*/ 11949178 w 12192001"/>
                <a:gd name="connsiteY4108" fmla="*/ 197906 h 6523037"/>
                <a:gd name="connsiteX4109" fmla="*/ 12192001 w 12192001"/>
                <a:gd name="connsiteY4109" fmla="*/ 440101 h 6523037"/>
                <a:gd name="connsiteX4110" fmla="*/ 12192001 w 12192001"/>
                <a:gd name="connsiteY4110" fmla="*/ 449864 h 6523037"/>
                <a:gd name="connsiteX4111" fmla="*/ 11942191 w 12192001"/>
                <a:gd name="connsiteY4111" fmla="*/ 200701 h 6523037"/>
                <a:gd name="connsiteX4112" fmla="*/ 11678766 w 12192001"/>
                <a:gd name="connsiteY4112" fmla="*/ 201400 h 6523037"/>
                <a:gd name="connsiteX4113" fmla="*/ 11947782 w 12192001"/>
                <a:gd name="connsiteY4113" fmla="*/ 469716 h 6523037"/>
                <a:gd name="connsiteX4114" fmla="*/ 11947083 w 12192001"/>
                <a:gd name="connsiteY4114" fmla="*/ 470415 h 6523037"/>
                <a:gd name="connsiteX4115" fmla="*/ 11948480 w 12192001"/>
                <a:gd name="connsiteY4115" fmla="*/ 471812 h 6523037"/>
                <a:gd name="connsiteX4116" fmla="*/ 11678067 w 12192001"/>
                <a:gd name="connsiteY4116" fmla="*/ 742923 h 6523037"/>
                <a:gd name="connsiteX4117" fmla="*/ 11942191 w 12192001"/>
                <a:gd name="connsiteY4117" fmla="*/ 742923 h 6523037"/>
                <a:gd name="connsiteX4118" fmla="*/ 12032328 w 12192001"/>
                <a:gd name="connsiteY4118" fmla="*/ 652786 h 6523037"/>
                <a:gd name="connsiteX4119" fmla="*/ 12192001 w 12192001"/>
                <a:gd name="connsiteY4119" fmla="*/ 490007 h 6523037"/>
                <a:gd name="connsiteX4120" fmla="*/ 12192001 w 12192001"/>
                <a:gd name="connsiteY4120" fmla="*/ 502966 h 6523037"/>
                <a:gd name="connsiteX4121" fmla="*/ 11949178 w 12192001"/>
                <a:gd name="connsiteY4121" fmla="*/ 746417 h 6523037"/>
                <a:gd name="connsiteX4122" fmla="*/ 12192001 w 12192001"/>
                <a:gd name="connsiteY4122" fmla="*/ 988614 h 6523037"/>
                <a:gd name="connsiteX4123" fmla="*/ 12192001 w 12192001"/>
                <a:gd name="connsiteY4123" fmla="*/ 999775 h 6523037"/>
                <a:gd name="connsiteX4124" fmla="*/ 11942191 w 12192001"/>
                <a:gd name="connsiteY4124" fmla="*/ 750609 h 6523037"/>
                <a:gd name="connsiteX4125" fmla="*/ 11678067 w 12192001"/>
                <a:gd name="connsiteY4125" fmla="*/ 750609 h 6523037"/>
                <a:gd name="connsiteX4126" fmla="*/ 11949178 w 12192001"/>
                <a:gd name="connsiteY4126" fmla="*/ 1020322 h 6523037"/>
                <a:gd name="connsiteX4127" fmla="*/ 11946384 w 12192001"/>
                <a:gd name="connsiteY4127" fmla="*/ 1023118 h 6523037"/>
                <a:gd name="connsiteX4128" fmla="*/ 11856246 w 12192001"/>
                <a:gd name="connsiteY4128" fmla="*/ 1113953 h 6523037"/>
                <a:gd name="connsiteX4129" fmla="*/ 11678766 w 12192001"/>
                <a:gd name="connsiteY4129" fmla="*/ 1291433 h 6523037"/>
                <a:gd name="connsiteX4130" fmla="*/ 11942890 w 12192001"/>
                <a:gd name="connsiteY4130" fmla="*/ 1291433 h 6523037"/>
                <a:gd name="connsiteX4131" fmla="*/ 12032328 w 12192001"/>
                <a:gd name="connsiteY4131" fmla="*/ 1201994 h 6523037"/>
                <a:gd name="connsiteX4132" fmla="*/ 12192001 w 12192001"/>
                <a:gd name="connsiteY4132" fmla="*/ 1042322 h 6523037"/>
                <a:gd name="connsiteX4133" fmla="*/ 12192001 w 12192001"/>
                <a:gd name="connsiteY4133" fmla="*/ 1052103 h 6523037"/>
                <a:gd name="connsiteX4134" fmla="*/ 12039316 w 12192001"/>
                <a:gd name="connsiteY4134" fmla="*/ 1204790 h 6523037"/>
                <a:gd name="connsiteX4135" fmla="*/ 11949877 w 12192001"/>
                <a:gd name="connsiteY4135" fmla="*/ 1294927 h 6523037"/>
                <a:gd name="connsiteX4136" fmla="*/ 12084035 w 12192001"/>
                <a:gd name="connsiteY4136" fmla="*/ 1428386 h 6523037"/>
                <a:gd name="connsiteX4137" fmla="*/ 12192001 w 12192001"/>
                <a:gd name="connsiteY4137" fmla="*/ 1536351 h 6523037"/>
                <a:gd name="connsiteX4138" fmla="*/ 12192001 w 12192001"/>
                <a:gd name="connsiteY4138" fmla="*/ 1547647 h 6523037"/>
                <a:gd name="connsiteX4139" fmla="*/ 12079843 w 12192001"/>
                <a:gd name="connsiteY4139" fmla="*/ 1436072 h 6523037"/>
                <a:gd name="connsiteX4140" fmla="*/ 11942890 w 12192001"/>
                <a:gd name="connsiteY4140" fmla="*/ 1299119 h 6523037"/>
                <a:gd name="connsiteX4141" fmla="*/ 11678766 w 12192001"/>
                <a:gd name="connsiteY4141" fmla="*/ 1299119 h 6523037"/>
                <a:gd name="connsiteX4142" fmla="*/ 11949877 w 12192001"/>
                <a:gd name="connsiteY4142" fmla="*/ 1569531 h 6523037"/>
                <a:gd name="connsiteX4143" fmla="*/ 11680164 w 12192001"/>
                <a:gd name="connsiteY4143" fmla="*/ 1840642 h 6523037"/>
                <a:gd name="connsiteX4144" fmla="*/ 11943588 w 12192001"/>
                <a:gd name="connsiteY4144" fmla="*/ 1840642 h 6523037"/>
                <a:gd name="connsiteX4145" fmla="*/ 12192001 w 12192001"/>
                <a:gd name="connsiteY4145" fmla="*/ 1591587 h 6523037"/>
                <a:gd name="connsiteX4146" fmla="*/ 12192001 w 12192001"/>
                <a:gd name="connsiteY4146" fmla="*/ 1601385 h 6523037"/>
                <a:gd name="connsiteX4147" fmla="*/ 11949877 w 12192001"/>
                <a:gd name="connsiteY4147" fmla="*/ 1844135 h 6523037"/>
                <a:gd name="connsiteX4148" fmla="*/ 12192001 w 12192001"/>
                <a:gd name="connsiteY4148" fmla="*/ 2085635 h 6523037"/>
                <a:gd name="connsiteX4149" fmla="*/ 12192001 w 12192001"/>
                <a:gd name="connsiteY4149" fmla="*/ 2095403 h 6523037"/>
                <a:gd name="connsiteX4150" fmla="*/ 11943588 w 12192001"/>
                <a:gd name="connsiteY4150" fmla="*/ 1847630 h 6523037"/>
                <a:gd name="connsiteX4151" fmla="*/ 11680164 w 12192001"/>
                <a:gd name="connsiteY4151" fmla="*/ 1847630 h 6523037"/>
                <a:gd name="connsiteX4152" fmla="*/ 11810129 w 12192001"/>
                <a:gd name="connsiteY4152" fmla="*/ 1977595 h 6523037"/>
                <a:gd name="connsiteX4153" fmla="*/ 11950576 w 12192001"/>
                <a:gd name="connsiteY4153" fmla="*/ 2118042 h 6523037"/>
                <a:gd name="connsiteX4154" fmla="*/ 11680164 w 12192001"/>
                <a:gd name="connsiteY4154" fmla="*/ 2389152 h 6523037"/>
                <a:gd name="connsiteX4155" fmla="*/ 11944287 w 12192001"/>
                <a:gd name="connsiteY4155" fmla="*/ 2389152 h 6523037"/>
                <a:gd name="connsiteX4156" fmla="*/ 12192001 w 12192001"/>
                <a:gd name="connsiteY4156" fmla="*/ 2140799 h 6523037"/>
                <a:gd name="connsiteX4157" fmla="*/ 12192001 w 12192001"/>
                <a:gd name="connsiteY4157" fmla="*/ 2150597 h 6523037"/>
                <a:gd name="connsiteX4158" fmla="*/ 11950576 w 12192001"/>
                <a:gd name="connsiteY4158" fmla="*/ 2392646 h 6523037"/>
                <a:gd name="connsiteX4159" fmla="*/ 12192001 w 12192001"/>
                <a:gd name="connsiteY4159" fmla="*/ 2633449 h 6523037"/>
                <a:gd name="connsiteX4160" fmla="*/ 12192001 w 12192001"/>
                <a:gd name="connsiteY4160" fmla="*/ 2643202 h 6523037"/>
                <a:gd name="connsiteX4161" fmla="*/ 11944287 w 12192001"/>
                <a:gd name="connsiteY4161" fmla="*/ 2396139 h 6523037"/>
                <a:gd name="connsiteX4162" fmla="*/ 11680164 w 12192001"/>
                <a:gd name="connsiteY4162" fmla="*/ 2396139 h 6523037"/>
                <a:gd name="connsiteX4163" fmla="*/ 11681562 w 12192001"/>
                <a:gd name="connsiteY4163" fmla="*/ 2397537 h 6523037"/>
                <a:gd name="connsiteX4164" fmla="*/ 11949877 w 12192001"/>
                <a:gd name="connsiteY4164" fmla="*/ 2665853 h 6523037"/>
                <a:gd name="connsiteX4165" fmla="*/ 11679465 w 12192001"/>
                <a:gd name="connsiteY4165" fmla="*/ 2936964 h 6523037"/>
                <a:gd name="connsiteX4166" fmla="*/ 11943588 w 12192001"/>
                <a:gd name="connsiteY4166" fmla="*/ 2936964 h 6523037"/>
                <a:gd name="connsiteX4167" fmla="*/ 12192001 w 12192001"/>
                <a:gd name="connsiteY4167" fmla="*/ 2687909 h 6523037"/>
                <a:gd name="connsiteX4168" fmla="*/ 12192001 w 12192001"/>
                <a:gd name="connsiteY4168" fmla="*/ 2698409 h 6523037"/>
                <a:gd name="connsiteX4169" fmla="*/ 11950576 w 12192001"/>
                <a:gd name="connsiteY4169" fmla="*/ 2940457 h 6523037"/>
                <a:gd name="connsiteX4170" fmla="*/ 12192001 w 12192001"/>
                <a:gd name="connsiteY4170" fmla="*/ 3181261 h 6523037"/>
                <a:gd name="connsiteX4171" fmla="*/ 12192001 w 12192001"/>
                <a:gd name="connsiteY4171" fmla="*/ 3190330 h 6523037"/>
                <a:gd name="connsiteX4172" fmla="*/ 11944986 w 12192001"/>
                <a:gd name="connsiteY4172" fmla="*/ 2943952 h 6523037"/>
                <a:gd name="connsiteX4173" fmla="*/ 11680863 w 12192001"/>
                <a:gd name="connsiteY4173" fmla="*/ 2943952 h 6523037"/>
                <a:gd name="connsiteX4174" fmla="*/ 11951974 w 12192001"/>
                <a:gd name="connsiteY4174" fmla="*/ 3214364 h 6523037"/>
                <a:gd name="connsiteX4175" fmla="*/ 11681562 w 12192001"/>
                <a:gd name="connsiteY4175" fmla="*/ 3485473 h 6523037"/>
                <a:gd name="connsiteX4176" fmla="*/ 11945685 w 12192001"/>
                <a:gd name="connsiteY4176" fmla="*/ 3485473 h 6523037"/>
                <a:gd name="connsiteX4177" fmla="*/ 12192001 w 12192001"/>
                <a:gd name="connsiteY4177" fmla="*/ 3238522 h 6523037"/>
                <a:gd name="connsiteX4178" fmla="*/ 12192001 w 12192001"/>
                <a:gd name="connsiteY4178" fmla="*/ 3249019 h 6523037"/>
                <a:gd name="connsiteX4179" fmla="*/ 11951275 w 12192001"/>
                <a:gd name="connsiteY4179" fmla="*/ 3490365 h 6523037"/>
                <a:gd name="connsiteX4180" fmla="*/ 12192001 w 12192001"/>
                <a:gd name="connsiteY4180" fmla="*/ 3730470 h 6523037"/>
                <a:gd name="connsiteX4181" fmla="*/ 12192001 w 12192001"/>
                <a:gd name="connsiteY4181" fmla="*/ 3738839 h 6523037"/>
                <a:gd name="connsiteX4182" fmla="*/ 11945685 w 12192001"/>
                <a:gd name="connsiteY4182" fmla="*/ 3493160 h 6523037"/>
                <a:gd name="connsiteX4183" fmla="*/ 11681562 w 12192001"/>
                <a:gd name="connsiteY4183" fmla="*/ 3493160 h 6523037"/>
                <a:gd name="connsiteX4184" fmla="*/ 11951974 w 12192001"/>
                <a:gd name="connsiteY4184" fmla="*/ 3762174 h 6523037"/>
                <a:gd name="connsiteX4185" fmla="*/ 11949178 w 12192001"/>
                <a:gd name="connsiteY4185" fmla="*/ 3764969 h 6523037"/>
                <a:gd name="connsiteX4186" fmla="*/ 11859042 w 12192001"/>
                <a:gd name="connsiteY4186" fmla="*/ 3855806 h 6523037"/>
                <a:gd name="connsiteX4187" fmla="*/ 11682312 w 12192001"/>
                <a:gd name="connsiteY4187" fmla="*/ 4032535 h 6523037"/>
                <a:gd name="connsiteX4188" fmla="*/ 11945176 w 12192001"/>
                <a:gd name="connsiteY4188" fmla="*/ 4032535 h 6523037"/>
                <a:gd name="connsiteX4189" fmla="*/ 12116367 w 12192001"/>
                <a:gd name="connsiteY4189" fmla="*/ 3860644 h 6523037"/>
                <a:gd name="connsiteX4190" fmla="*/ 12118325 w 12192001"/>
                <a:gd name="connsiteY4190" fmla="*/ 3860644 h 6523037"/>
                <a:gd name="connsiteX4191" fmla="*/ 12192001 w 12192001"/>
                <a:gd name="connsiteY4191" fmla="*/ 3786969 h 6523037"/>
                <a:gd name="connsiteX4192" fmla="*/ 12192001 w 12192001"/>
                <a:gd name="connsiteY4192" fmla="*/ 3798267 h 6523037"/>
                <a:gd name="connsiteX4193" fmla="*/ 12042111 w 12192001"/>
                <a:gd name="connsiteY4193" fmla="*/ 3948738 h 6523037"/>
                <a:gd name="connsiteX4194" fmla="*/ 11953840 w 12192001"/>
                <a:gd name="connsiteY4194" fmla="*/ 4037700 h 6523037"/>
                <a:gd name="connsiteX4195" fmla="*/ 12192001 w 12192001"/>
                <a:gd name="connsiteY4195" fmla="*/ 4275248 h 6523037"/>
                <a:gd name="connsiteX4196" fmla="*/ 12192001 w 12192001"/>
                <a:gd name="connsiteY4196" fmla="*/ 4286404 h 6523037"/>
                <a:gd name="connsiteX4197" fmla="*/ 11988663 w 12192001"/>
                <a:gd name="connsiteY4197" fmla="*/ 4083594 h 6523037"/>
                <a:gd name="connsiteX4198" fmla="*/ 11986910 w 12192001"/>
                <a:gd name="connsiteY4198" fmla="*/ 4083594 h 6523037"/>
                <a:gd name="connsiteX4199" fmla="*/ 11946384 w 12192001"/>
                <a:gd name="connsiteY4199" fmla="*/ 4043068 h 6523037"/>
                <a:gd name="connsiteX4200" fmla="*/ 11683900 w 12192001"/>
                <a:gd name="connsiteY4200" fmla="*/ 4043068 h 6523037"/>
                <a:gd name="connsiteX4201" fmla="*/ 11951465 w 12192001"/>
                <a:gd name="connsiteY4201" fmla="*/ 4310632 h 6523037"/>
                <a:gd name="connsiteX4202" fmla="*/ 11952862 w 12192001"/>
                <a:gd name="connsiteY4202" fmla="*/ 4312030 h 6523037"/>
                <a:gd name="connsiteX4203" fmla="*/ 11683847 w 12192001"/>
                <a:gd name="connsiteY4203" fmla="*/ 4581743 h 6523037"/>
                <a:gd name="connsiteX4204" fmla="*/ 11945875 w 12192001"/>
                <a:gd name="connsiteY4204" fmla="*/ 4581743 h 6523037"/>
                <a:gd name="connsiteX4205" fmla="*/ 12192001 w 12192001"/>
                <a:gd name="connsiteY4205" fmla="*/ 4334979 h 6523037"/>
                <a:gd name="connsiteX4206" fmla="*/ 12192001 w 12192001"/>
                <a:gd name="connsiteY4206" fmla="*/ 4346260 h 6523037"/>
                <a:gd name="connsiteX4207" fmla="*/ 11954259 w 12192001"/>
                <a:gd name="connsiteY4207" fmla="*/ 4585237 h 6523037"/>
                <a:gd name="connsiteX4208" fmla="*/ 12192001 w 12192001"/>
                <a:gd name="connsiteY4208" fmla="*/ 4822363 h 6523037"/>
                <a:gd name="connsiteX4209" fmla="*/ 12192001 w 12192001"/>
                <a:gd name="connsiteY4209" fmla="*/ 4832127 h 6523037"/>
                <a:gd name="connsiteX4210" fmla="*/ 11947272 w 12192001"/>
                <a:gd name="connsiteY4210" fmla="*/ 4588031 h 6523037"/>
                <a:gd name="connsiteX4211" fmla="*/ 11683847 w 12192001"/>
                <a:gd name="connsiteY4211" fmla="*/ 4588730 h 6523037"/>
                <a:gd name="connsiteX4212" fmla="*/ 11952862 w 12192001"/>
                <a:gd name="connsiteY4212" fmla="*/ 4857047 h 6523037"/>
                <a:gd name="connsiteX4213" fmla="*/ 11952164 w 12192001"/>
                <a:gd name="connsiteY4213" fmla="*/ 4857746 h 6523037"/>
                <a:gd name="connsiteX4214" fmla="*/ 11953561 w 12192001"/>
                <a:gd name="connsiteY4214" fmla="*/ 4859142 h 6523037"/>
                <a:gd name="connsiteX4215" fmla="*/ 11683148 w 12192001"/>
                <a:gd name="connsiteY4215" fmla="*/ 5130253 h 6523037"/>
                <a:gd name="connsiteX4216" fmla="*/ 11947272 w 12192001"/>
                <a:gd name="connsiteY4216" fmla="*/ 5130253 h 6523037"/>
                <a:gd name="connsiteX4217" fmla="*/ 12037409 w 12192001"/>
                <a:gd name="connsiteY4217" fmla="*/ 5040116 h 6523037"/>
                <a:gd name="connsiteX4218" fmla="*/ 12192001 w 12192001"/>
                <a:gd name="connsiteY4218" fmla="*/ 4882518 h 6523037"/>
                <a:gd name="connsiteX4219" fmla="*/ 12192001 w 12192001"/>
                <a:gd name="connsiteY4219" fmla="*/ 4895391 h 6523037"/>
                <a:gd name="connsiteX4220" fmla="*/ 11954259 w 12192001"/>
                <a:gd name="connsiteY4220" fmla="*/ 5133747 h 6523037"/>
                <a:gd name="connsiteX4221" fmla="*/ 12192001 w 12192001"/>
                <a:gd name="connsiteY4221" fmla="*/ 5370876 h 6523037"/>
                <a:gd name="connsiteX4222" fmla="*/ 12192001 w 12192001"/>
                <a:gd name="connsiteY4222" fmla="*/ 5382038 h 6523037"/>
                <a:gd name="connsiteX4223" fmla="*/ 11947272 w 12192001"/>
                <a:gd name="connsiteY4223" fmla="*/ 5137939 h 6523037"/>
                <a:gd name="connsiteX4224" fmla="*/ 11683148 w 12192001"/>
                <a:gd name="connsiteY4224" fmla="*/ 5137939 h 6523037"/>
                <a:gd name="connsiteX4225" fmla="*/ 11954259 w 12192001"/>
                <a:gd name="connsiteY4225" fmla="*/ 5407653 h 6523037"/>
                <a:gd name="connsiteX4226" fmla="*/ 11951465 w 12192001"/>
                <a:gd name="connsiteY4226" fmla="*/ 5410448 h 6523037"/>
                <a:gd name="connsiteX4227" fmla="*/ 11861327 w 12192001"/>
                <a:gd name="connsiteY4227" fmla="*/ 5501283 h 6523037"/>
                <a:gd name="connsiteX4228" fmla="*/ 11683847 w 12192001"/>
                <a:gd name="connsiteY4228" fmla="*/ 5678763 h 6523037"/>
                <a:gd name="connsiteX4229" fmla="*/ 11947970 w 12192001"/>
                <a:gd name="connsiteY4229" fmla="*/ 5678763 h 6523037"/>
                <a:gd name="connsiteX4230" fmla="*/ 12037409 w 12192001"/>
                <a:gd name="connsiteY4230" fmla="*/ 5589325 h 6523037"/>
                <a:gd name="connsiteX4231" fmla="*/ 12192001 w 12192001"/>
                <a:gd name="connsiteY4231" fmla="*/ 5434732 h 6523037"/>
                <a:gd name="connsiteX4232" fmla="*/ 12192001 w 12192001"/>
                <a:gd name="connsiteY4232" fmla="*/ 5444515 h 6523037"/>
                <a:gd name="connsiteX4233" fmla="*/ 12044397 w 12192001"/>
                <a:gd name="connsiteY4233" fmla="*/ 5592120 h 6523037"/>
                <a:gd name="connsiteX4234" fmla="*/ 11954958 w 12192001"/>
                <a:gd name="connsiteY4234" fmla="*/ 5682258 h 6523037"/>
                <a:gd name="connsiteX4235" fmla="*/ 12089116 w 12192001"/>
                <a:gd name="connsiteY4235" fmla="*/ 5815716 h 6523037"/>
                <a:gd name="connsiteX4236" fmla="*/ 12192001 w 12192001"/>
                <a:gd name="connsiteY4236" fmla="*/ 5918601 h 6523037"/>
                <a:gd name="connsiteX4237" fmla="*/ 12192001 w 12192001"/>
                <a:gd name="connsiteY4237" fmla="*/ 5929923 h 6523037"/>
                <a:gd name="connsiteX4238" fmla="*/ 12084924 w 12192001"/>
                <a:gd name="connsiteY4238" fmla="*/ 5823402 h 6523037"/>
                <a:gd name="connsiteX4239" fmla="*/ 11947970 w 12192001"/>
                <a:gd name="connsiteY4239" fmla="*/ 5686450 h 6523037"/>
                <a:gd name="connsiteX4240" fmla="*/ 11683847 w 12192001"/>
                <a:gd name="connsiteY4240" fmla="*/ 5686450 h 6523037"/>
                <a:gd name="connsiteX4241" fmla="*/ 11954958 w 12192001"/>
                <a:gd name="connsiteY4241" fmla="*/ 5956862 h 6523037"/>
                <a:gd name="connsiteX4242" fmla="*/ 11685245 w 12192001"/>
                <a:gd name="connsiteY4242" fmla="*/ 6227973 h 6523037"/>
                <a:gd name="connsiteX4243" fmla="*/ 11948669 w 12192001"/>
                <a:gd name="connsiteY4243" fmla="*/ 6227973 h 6523037"/>
                <a:gd name="connsiteX4244" fmla="*/ 12192001 w 12192001"/>
                <a:gd name="connsiteY4244" fmla="*/ 5984012 h 6523037"/>
                <a:gd name="connsiteX4245" fmla="*/ 12192001 w 12192001"/>
                <a:gd name="connsiteY4245" fmla="*/ 5993810 h 6523037"/>
                <a:gd name="connsiteX4246" fmla="*/ 11954958 w 12192001"/>
                <a:gd name="connsiteY4246" fmla="*/ 6231466 h 6523037"/>
                <a:gd name="connsiteX4247" fmla="*/ 12192001 w 12192001"/>
                <a:gd name="connsiteY4247" fmla="*/ 6467898 h 6523037"/>
                <a:gd name="connsiteX4248" fmla="*/ 12192001 w 12192001"/>
                <a:gd name="connsiteY4248" fmla="*/ 6477665 h 6523037"/>
                <a:gd name="connsiteX4249" fmla="*/ 11948669 w 12192001"/>
                <a:gd name="connsiteY4249" fmla="*/ 6234960 h 6523037"/>
                <a:gd name="connsiteX4250" fmla="*/ 11685245 w 12192001"/>
                <a:gd name="connsiteY4250" fmla="*/ 6234960 h 6523037"/>
                <a:gd name="connsiteX4251" fmla="*/ 11815210 w 12192001"/>
                <a:gd name="connsiteY4251" fmla="*/ 6364925 h 6523037"/>
                <a:gd name="connsiteX4252" fmla="*/ 11955657 w 12192001"/>
                <a:gd name="connsiteY4252" fmla="*/ 6505372 h 6523037"/>
                <a:gd name="connsiteX4253" fmla="*/ 11945954 w 12192001"/>
                <a:gd name="connsiteY4253" fmla="*/ 6515100 h 6523037"/>
                <a:gd name="connsiteX4254" fmla="*/ 11935461 w 12192001"/>
                <a:gd name="connsiteY4254" fmla="*/ 6515100 h 6523037"/>
                <a:gd name="connsiteX4255" fmla="*/ 11940983 w 12192001"/>
                <a:gd name="connsiteY4255" fmla="*/ 6509564 h 6523037"/>
                <a:gd name="connsiteX4256" fmla="*/ 11677558 w 12192001"/>
                <a:gd name="connsiteY4256" fmla="*/ 6509564 h 6523037"/>
                <a:gd name="connsiteX4257" fmla="*/ 11672044 w 12192001"/>
                <a:gd name="connsiteY4257" fmla="*/ 6515100 h 6523037"/>
                <a:gd name="connsiteX4258" fmla="*/ 11661542 w 12192001"/>
                <a:gd name="connsiteY4258" fmla="*/ 6515100 h 6523037"/>
                <a:gd name="connsiteX4259" fmla="*/ 11671270 w 12192001"/>
                <a:gd name="connsiteY4259" fmla="*/ 6505372 h 6523037"/>
                <a:gd name="connsiteX4260" fmla="*/ 11400159 w 12192001"/>
                <a:gd name="connsiteY4260" fmla="*/ 6234960 h 6523037"/>
                <a:gd name="connsiteX4261" fmla="*/ 11136036 w 12192001"/>
                <a:gd name="connsiteY4261" fmla="*/ 6234960 h 6523037"/>
                <a:gd name="connsiteX4262" fmla="*/ 11407146 w 12192001"/>
                <a:gd name="connsiteY4262" fmla="*/ 6505372 h 6523037"/>
                <a:gd name="connsiteX4263" fmla="*/ 11404352 w 12192001"/>
                <a:gd name="connsiteY4263" fmla="*/ 6508166 h 6523037"/>
                <a:gd name="connsiteX4264" fmla="*/ 11397471 w 12192001"/>
                <a:gd name="connsiteY4264" fmla="*/ 6515100 h 6523037"/>
                <a:gd name="connsiteX4265" fmla="*/ 11387635 w 12192001"/>
                <a:gd name="connsiteY4265" fmla="*/ 6515100 h 6523037"/>
                <a:gd name="connsiteX4266" fmla="*/ 11393171 w 12192001"/>
                <a:gd name="connsiteY4266" fmla="*/ 6509564 h 6523037"/>
                <a:gd name="connsiteX4267" fmla="*/ 11129049 w 12192001"/>
                <a:gd name="connsiteY4267" fmla="*/ 6509564 h 6523037"/>
                <a:gd name="connsiteX4268" fmla="*/ 11123527 w 12192001"/>
                <a:gd name="connsiteY4268" fmla="*/ 6515100 h 6523037"/>
                <a:gd name="connsiteX4269" fmla="*/ 11113055 w 12192001"/>
                <a:gd name="connsiteY4269" fmla="*/ 6515100 h 6523037"/>
                <a:gd name="connsiteX4270" fmla="*/ 11122062 w 12192001"/>
                <a:gd name="connsiteY4270" fmla="*/ 6506071 h 6523037"/>
                <a:gd name="connsiteX4271" fmla="*/ 11117170 w 12192001"/>
                <a:gd name="connsiteY4271" fmla="*/ 6501179 h 6523037"/>
                <a:gd name="connsiteX4272" fmla="*/ 10851650 w 12192001"/>
                <a:gd name="connsiteY4272" fmla="*/ 6236358 h 6523037"/>
                <a:gd name="connsiteX4273" fmla="*/ 10587525 w 12192001"/>
                <a:gd name="connsiteY4273" fmla="*/ 6236358 h 6523037"/>
                <a:gd name="connsiteX4274" fmla="*/ 10588224 w 12192001"/>
                <a:gd name="connsiteY4274" fmla="*/ 6237056 h 6523037"/>
                <a:gd name="connsiteX4275" fmla="*/ 10588923 w 12192001"/>
                <a:gd name="connsiteY4275" fmla="*/ 6237056 h 6523037"/>
                <a:gd name="connsiteX4276" fmla="*/ 10857937 w 12192001"/>
                <a:gd name="connsiteY4276" fmla="*/ 6506071 h 6523037"/>
                <a:gd name="connsiteX4277" fmla="*/ 10848931 w 12192001"/>
                <a:gd name="connsiteY4277" fmla="*/ 6515100 h 6523037"/>
                <a:gd name="connsiteX4278" fmla="*/ 10840523 w 12192001"/>
                <a:gd name="connsiteY4278" fmla="*/ 6515100 h 6523037"/>
                <a:gd name="connsiteX4279" fmla="*/ 10845361 w 12192001"/>
                <a:gd name="connsiteY4279" fmla="*/ 6510263 h 6523037"/>
                <a:gd name="connsiteX4280" fmla="*/ 10581237 w 12192001"/>
                <a:gd name="connsiteY4280" fmla="*/ 6510263 h 6523037"/>
                <a:gd name="connsiteX4281" fmla="*/ 10576412 w 12192001"/>
                <a:gd name="connsiteY4281" fmla="*/ 6515100 h 6523037"/>
                <a:gd name="connsiteX4282" fmla="*/ 10563823 w 12192001"/>
                <a:gd name="connsiteY4282" fmla="*/ 6515100 h 6523037"/>
                <a:gd name="connsiteX4283" fmla="*/ 10572852 w 12192001"/>
                <a:gd name="connsiteY4283" fmla="*/ 6506071 h 6523037"/>
                <a:gd name="connsiteX4284" fmla="*/ 10440092 w 12192001"/>
                <a:gd name="connsiteY4284" fmla="*/ 6374009 h 6523037"/>
                <a:gd name="connsiteX4285" fmla="*/ 10301742 w 12192001"/>
                <a:gd name="connsiteY4285" fmla="*/ 6235659 h 6523037"/>
                <a:gd name="connsiteX4286" fmla="*/ 10037618 w 12192001"/>
                <a:gd name="connsiteY4286" fmla="*/ 6235659 h 6523037"/>
                <a:gd name="connsiteX4287" fmla="*/ 10308729 w 12192001"/>
                <a:gd name="connsiteY4287" fmla="*/ 6505372 h 6523037"/>
                <a:gd name="connsiteX4288" fmla="*/ 10305934 w 12192001"/>
                <a:gd name="connsiteY4288" fmla="*/ 6508166 h 6523037"/>
                <a:gd name="connsiteX4289" fmla="*/ 10299053 w 12192001"/>
                <a:gd name="connsiteY4289" fmla="*/ 6515100 h 6523037"/>
                <a:gd name="connsiteX4290" fmla="*/ 10289917 w 12192001"/>
                <a:gd name="connsiteY4290" fmla="*/ 6515100 h 6523037"/>
                <a:gd name="connsiteX4291" fmla="*/ 10295453 w 12192001"/>
                <a:gd name="connsiteY4291" fmla="*/ 6509564 h 6523037"/>
                <a:gd name="connsiteX4292" fmla="*/ 10036919 w 12192001"/>
                <a:gd name="connsiteY4292" fmla="*/ 6509564 h 6523037"/>
                <a:gd name="connsiteX4293" fmla="*/ 10035464 w 12192001"/>
                <a:gd name="connsiteY4293" fmla="*/ 6508865 h 6523037"/>
                <a:gd name="connsiteX4294" fmla="*/ 10036919 w 12192001"/>
                <a:gd name="connsiteY4294" fmla="*/ 6508865 h 6523037"/>
                <a:gd name="connsiteX4295" fmla="*/ 10019451 w 12192001"/>
                <a:gd name="connsiteY4295" fmla="*/ 6500480 h 6523037"/>
                <a:gd name="connsiteX4296" fmla="*/ 10020794 w 12192001"/>
                <a:gd name="connsiteY4296" fmla="*/ 6501824 h 6523037"/>
                <a:gd name="connsiteX4297" fmla="*/ 10019451 w 12192001"/>
                <a:gd name="connsiteY4297" fmla="*/ 6501179 h 6523037"/>
                <a:gd name="connsiteX4298" fmla="*/ 9753930 w 12192001"/>
                <a:gd name="connsiteY4298" fmla="*/ 6236358 h 6523037"/>
                <a:gd name="connsiteX4299" fmla="*/ 9489807 w 12192001"/>
                <a:gd name="connsiteY4299" fmla="*/ 6236358 h 6523037"/>
                <a:gd name="connsiteX4300" fmla="*/ 9491204 w 12192001"/>
                <a:gd name="connsiteY4300" fmla="*/ 6237754 h 6523037"/>
                <a:gd name="connsiteX4301" fmla="*/ 9760219 w 12192001"/>
                <a:gd name="connsiteY4301" fmla="*/ 6506770 h 6523037"/>
                <a:gd name="connsiteX4302" fmla="*/ 9751867 w 12192001"/>
                <a:gd name="connsiteY4302" fmla="*/ 6515100 h 6523037"/>
                <a:gd name="connsiteX4303" fmla="*/ 9741431 w 12192001"/>
                <a:gd name="connsiteY4303" fmla="*/ 6515100 h 6523037"/>
                <a:gd name="connsiteX4304" fmla="*/ 9746244 w 12192001"/>
                <a:gd name="connsiteY4304" fmla="*/ 6510263 h 6523037"/>
                <a:gd name="connsiteX4305" fmla="*/ 9484783 w 12192001"/>
                <a:gd name="connsiteY4305" fmla="*/ 6510263 h 6523037"/>
                <a:gd name="connsiteX4306" fmla="*/ 9476833 w 12192001"/>
                <a:gd name="connsiteY4306" fmla="*/ 6518275 h 6523037"/>
                <a:gd name="connsiteX4307" fmla="*/ 9466908 w 12192001"/>
                <a:gd name="connsiteY4307" fmla="*/ 6518275 h 6523037"/>
                <a:gd name="connsiteX4308" fmla="*/ 9470109 w 12192001"/>
                <a:gd name="connsiteY4308" fmla="*/ 6515100 h 6523037"/>
                <a:gd name="connsiteX4309" fmla="*/ 9467501 w 12192001"/>
                <a:gd name="connsiteY4309" fmla="*/ 6515100 h 6523037"/>
                <a:gd name="connsiteX4310" fmla="*/ 9472657 w 12192001"/>
                <a:gd name="connsiteY4310" fmla="*/ 6509945 h 6523037"/>
                <a:gd name="connsiteX4311" fmla="*/ 9211183 w 12192001"/>
                <a:gd name="connsiteY4311" fmla="*/ 6509945 h 6523037"/>
                <a:gd name="connsiteX4312" fmla="*/ 9202874 w 12192001"/>
                <a:gd name="connsiteY4312" fmla="*/ 6518275 h 6523037"/>
                <a:gd name="connsiteX4313" fmla="*/ 9191704 w 12192001"/>
                <a:gd name="connsiteY4313" fmla="*/ 6518275 h 6523037"/>
                <a:gd name="connsiteX4314" fmla="*/ 9204195 w 12192001"/>
                <a:gd name="connsiteY4314" fmla="*/ 6505752 h 6523037"/>
                <a:gd name="connsiteX4315" fmla="*/ 9199304 w 12192001"/>
                <a:gd name="connsiteY4315" fmla="*/ 6500861 h 6523037"/>
                <a:gd name="connsiteX4316" fmla="*/ 8933783 w 12192001"/>
                <a:gd name="connsiteY4316" fmla="*/ 6235340 h 6523037"/>
                <a:gd name="connsiteX4317" fmla="*/ 8669660 w 12192001"/>
                <a:gd name="connsiteY4317" fmla="*/ 6235340 h 6523037"/>
                <a:gd name="connsiteX4318" fmla="*/ 8671058 w 12192001"/>
                <a:gd name="connsiteY4318" fmla="*/ 6236737 h 6523037"/>
                <a:gd name="connsiteX4319" fmla="*/ 8940072 w 12192001"/>
                <a:gd name="connsiteY4319" fmla="*/ 6505752 h 6523037"/>
                <a:gd name="connsiteX4320" fmla="*/ 8927581 w 12192001"/>
                <a:gd name="connsiteY4320" fmla="*/ 6518275 h 6523037"/>
                <a:gd name="connsiteX4321" fmla="*/ 8919183 w 12192001"/>
                <a:gd name="connsiteY4321" fmla="*/ 6518275 h 6523037"/>
                <a:gd name="connsiteX4322" fmla="*/ 8926796 w 12192001"/>
                <a:gd name="connsiteY4322" fmla="*/ 6510643 h 6523037"/>
                <a:gd name="connsiteX4323" fmla="*/ 8662672 w 12192001"/>
                <a:gd name="connsiteY4323" fmla="*/ 6510643 h 6523037"/>
                <a:gd name="connsiteX4324" fmla="*/ 8655060 w 12192001"/>
                <a:gd name="connsiteY4324" fmla="*/ 6518275 h 6523037"/>
                <a:gd name="connsiteX4325" fmla="*/ 8643195 w 12192001"/>
                <a:gd name="connsiteY4325" fmla="*/ 6518275 h 6523037"/>
                <a:gd name="connsiteX4326" fmla="*/ 8656384 w 12192001"/>
                <a:gd name="connsiteY4326" fmla="*/ 6505053 h 6523037"/>
                <a:gd name="connsiteX4327" fmla="*/ 8522925 w 12192001"/>
                <a:gd name="connsiteY4327" fmla="*/ 6372290 h 6523037"/>
                <a:gd name="connsiteX4328" fmla="*/ 8525720 w 12192001"/>
                <a:gd name="connsiteY4328" fmla="*/ 6366702 h 6523037"/>
                <a:gd name="connsiteX4329" fmla="*/ 8525021 w 12192001"/>
                <a:gd name="connsiteY4329" fmla="*/ 6366004 h 6523037"/>
                <a:gd name="connsiteX4330" fmla="*/ 8525720 w 12192001"/>
                <a:gd name="connsiteY4330" fmla="*/ 6364607 h 6523037"/>
                <a:gd name="connsiteX4331" fmla="*/ 8662672 w 12192001"/>
                <a:gd name="connsiteY4331" fmla="*/ 6501560 h 6523037"/>
                <a:gd name="connsiteX4332" fmla="*/ 8926796 w 12192001"/>
                <a:gd name="connsiteY4332" fmla="*/ 6501560 h 6523037"/>
                <a:gd name="connsiteX4333" fmla="*/ 8655685 w 12192001"/>
                <a:gd name="connsiteY4333" fmla="*/ 6231148 h 6523037"/>
                <a:gd name="connsiteX4334" fmla="*/ 8657083 w 12192001"/>
                <a:gd name="connsiteY4334" fmla="*/ 6229750 h 6523037"/>
                <a:gd name="connsiteX4335" fmla="*/ 8925398 w 12192001"/>
                <a:gd name="connsiteY4335" fmla="*/ 5960736 h 6523037"/>
                <a:gd name="connsiteX4336" fmla="*/ 8726957 w 12192001"/>
                <a:gd name="connsiteY4336" fmla="*/ 5960736 h 6523037"/>
                <a:gd name="connsiteX4337" fmla="*/ 8730450 w 12192001"/>
                <a:gd name="connsiteY4337" fmla="*/ 5953748 h 6523037"/>
                <a:gd name="connsiteX4338" fmla="*/ 8925398 w 12192001"/>
                <a:gd name="connsiteY4338" fmla="*/ 5953748 h 6523037"/>
                <a:gd name="connsiteX4339" fmla="*/ 8795433 w 12192001"/>
                <a:gd name="connsiteY4339" fmla="*/ 5823783 h 6523037"/>
                <a:gd name="connsiteX4340" fmla="*/ 8798926 w 12192001"/>
                <a:gd name="connsiteY4340" fmla="*/ 5816795 h 6523037"/>
                <a:gd name="connsiteX4341" fmla="*/ 8939373 w 12192001"/>
                <a:gd name="connsiteY4341" fmla="*/ 5957241 h 6523037"/>
                <a:gd name="connsiteX4342" fmla="*/ 8668961 w 12192001"/>
                <a:gd name="connsiteY4342" fmla="*/ 6228352 h 6523037"/>
                <a:gd name="connsiteX4343" fmla="*/ 8933085 w 12192001"/>
                <a:gd name="connsiteY4343" fmla="*/ 6228352 h 6523037"/>
                <a:gd name="connsiteX4344" fmla="*/ 9203497 w 12192001"/>
                <a:gd name="connsiteY4344" fmla="*/ 5957241 h 6523037"/>
                <a:gd name="connsiteX4345" fmla="*/ 8932386 w 12192001"/>
                <a:gd name="connsiteY4345" fmla="*/ 5687528 h 6523037"/>
                <a:gd name="connsiteX4346" fmla="*/ 8863909 w 12192001"/>
                <a:gd name="connsiteY4346" fmla="*/ 5687528 h 6523037"/>
                <a:gd name="connsiteX4347" fmla="*/ 8668961 w 12192001"/>
                <a:gd name="connsiteY4347" fmla="*/ 5687528 h 6523037"/>
                <a:gd name="connsiteX4348" fmla="*/ 8798227 w 12192001"/>
                <a:gd name="connsiteY4348" fmla="*/ 5817494 h 6523037"/>
                <a:gd name="connsiteX4349" fmla="*/ 8794734 w 12192001"/>
                <a:gd name="connsiteY4349" fmla="*/ 5824481 h 6523037"/>
                <a:gd name="connsiteX4350" fmla="*/ 8654287 w 12192001"/>
                <a:gd name="connsiteY4350" fmla="*/ 5684035 h 6523037"/>
                <a:gd name="connsiteX4351" fmla="*/ 8924699 w 12192001"/>
                <a:gd name="connsiteY4351" fmla="*/ 5412924 h 6523037"/>
                <a:gd name="connsiteX4352" fmla="*/ 8660576 w 12192001"/>
                <a:gd name="connsiteY4352" fmla="*/ 5412924 h 6523037"/>
                <a:gd name="connsiteX4353" fmla="*/ 8390164 w 12192001"/>
                <a:gd name="connsiteY4353" fmla="*/ 5684035 h 6523037"/>
                <a:gd name="connsiteX4354" fmla="*/ 8661275 w 12192001"/>
                <a:gd name="connsiteY4354" fmla="*/ 5954447 h 6523037"/>
                <a:gd name="connsiteX4355" fmla="*/ 8729751 w 12192001"/>
                <a:gd name="connsiteY4355" fmla="*/ 5954447 h 6523037"/>
                <a:gd name="connsiteX4356" fmla="*/ 8726258 w 12192001"/>
                <a:gd name="connsiteY4356" fmla="*/ 5961434 h 6523037"/>
                <a:gd name="connsiteX4357" fmla="*/ 8661275 w 12192001"/>
                <a:gd name="connsiteY4357" fmla="*/ 5961434 h 6523037"/>
                <a:gd name="connsiteX4358" fmla="*/ 8481000 w 12192001"/>
                <a:gd name="connsiteY4358" fmla="*/ 6142408 h 6523037"/>
                <a:gd name="connsiteX4359" fmla="*/ 8391562 w 12192001"/>
                <a:gd name="connsiteY4359" fmla="*/ 6232545 h 6523037"/>
                <a:gd name="connsiteX4360" fmla="*/ 8525021 w 12192001"/>
                <a:gd name="connsiteY4360" fmla="*/ 6366004 h 6523037"/>
                <a:gd name="connsiteX4361" fmla="*/ 8522226 w 12192001"/>
                <a:gd name="connsiteY4361" fmla="*/ 6371593 h 6523037"/>
                <a:gd name="connsiteX4362" fmla="*/ 8522925 w 12192001"/>
                <a:gd name="connsiteY4362" fmla="*/ 6372290 h 6523037"/>
                <a:gd name="connsiteX4363" fmla="*/ 8522226 w 12192001"/>
                <a:gd name="connsiteY4363" fmla="*/ 6373690 h 6523037"/>
                <a:gd name="connsiteX4364" fmla="*/ 8385273 w 12192001"/>
                <a:gd name="connsiteY4364" fmla="*/ 6236737 h 6523037"/>
                <a:gd name="connsiteX4365" fmla="*/ 8121150 w 12192001"/>
                <a:gd name="connsiteY4365" fmla="*/ 6236737 h 6523037"/>
                <a:gd name="connsiteX4366" fmla="*/ 8392260 w 12192001"/>
                <a:gd name="connsiteY4366" fmla="*/ 6507149 h 6523037"/>
                <a:gd name="connsiteX4367" fmla="*/ 8381163 w 12192001"/>
                <a:gd name="connsiteY4367" fmla="*/ 6518275 h 6523037"/>
                <a:gd name="connsiteX4368" fmla="*/ 8370672 w 12192001"/>
                <a:gd name="connsiteY4368" fmla="*/ 6518275 h 6523037"/>
                <a:gd name="connsiteX4369" fmla="*/ 8378285 w 12192001"/>
                <a:gd name="connsiteY4369" fmla="*/ 6510643 h 6523037"/>
                <a:gd name="connsiteX4370" fmla="*/ 8114162 w 12192001"/>
                <a:gd name="connsiteY4370" fmla="*/ 6510643 h 6523037"/>
                <a:gd name="connsiteX4371" fmla="*/ 8106549 w 12192001"/>
                <a:gd name="connsiteY4371" fmla="*/ 6518275 h 6523037"/>
                <a:gd name="connsiteX4372" fmla="*/ 8097473 w 12192001"/>
                <a:gd name="connsiteY4372" fmla="*/ 6518275 h 6523037"/>
                <a:gd name="connsiteX4373" fmla="*/ 8107873 w 12192001"/>
                <a:gd name="connsiteY4373" fmla="*/ 6507848 h 6523037"/>
                <a:gd name="connsiteX4374" fmla="*/ 7836763 w 12192001"/>
                <a:gd name="connsiteY4374" fmla="*/ 6237436 h 6523037"/>
                <a:gd name="connsiteX4375" fmla="*/ 7572639 w 12192001"/>
                <a:gd name="connsiteY4375" fmla="*/ 6237436 h 6523037"/>
                <a:gd name="connsiteX4376" fmla="*/ 7843750 w 12192001"/>
                <a:gd name="connsiteY4376" fmla="*/ 6507848 h 6523037"/>
                <a:gd name="connsiteX4377" fmla="*/ 7833350 w 12192001"/>
                <a:gd name="connsiteY4377" fmla="*/ 6518275 h 6523037"/>
                <a:gd name="connsiteX4378" fmla="*/ 7823556 w 12192001"/>
                <a:gd name="connsiteY4378" fmla="*/ 6518275 h 6523037"/>
                <a:gd name="connsiteX4379" fmla="*/ 7829775 w 12192001"/>
                <a:gd name="connsiteY4379" fmla="*/ 6512040 h 6523037"/>
                <a:gd name="connsiteX4380" fmla="*/ 7565652 w 12192001"/>
                <a:gd name="connsiteY4380" fmla="*/ 6512040 h 6523037"/>
                <a:gd name="connsiteX4381" fmla="*/ 7559433 w 12192001"/>
                <a:gd name="connsiteY4381" fmla="*/ 6518275 h 6523037"/>
                <a:gd name="connsiteX4382" fmla="*/ 7549660 w 12192001"/>
                <a:gd name="connsiteY4382" fmla="*/ 6518275 h 6523037"/>
                <a:gd name="connsiteX4383" fmla="*/ 7559363 w 12192001"/>
                <a:gd name="connsiteY4383" fmla="*/ 6508547 h 6523037"/>
                <a:gd name="connsiteX4384" fmla="*/ 7288252 w 12192001"/>
                <a:gd name="connsiteY4384" fmla="*/ 6238135 h 6523037"/>
                <a:gd name="connsiteX4385" fmla="*/ 7024828 w 12192001"/>
                <a:gd name="connsiteY4385" fmla="*/ 6238135 h 6523037"/>
                <a:gd name="connsiteX4386" fmla="*/ 7154793 w 12192001"/>
                <a:gd name="connsiteY4386" fmla="*/ 6368100 h 6523037"/>
                <a:gd name="connsiteX4387" fmla="*/ 7295240 w 12192001"/>
                <a:gd name="connsiteY4387" fmla="*/ 6508547 h 6523037"/>
                <a:gd name="connsiteX4388" fmla="*/ 7285537 w 12192001"/>
                <a:gd name="connsiteY4388" fmla="*/ 6518275 h 6523037"/>
                <a:gd name="connsiteX4389" fmla="*/ 7275044 w 12192001"/>
                <a:gd name="connsiteY4389" fmla="*/ 6518275 h 6523037"/>
                <a:gd name="connsiteX4390" fmla="*/ 7280566 w 12192001"/>
                <a:gd name="connsiteY4390" fmla="*/ 6512739 h 6523037"/>
                <a:gd name="connsiteX4391" fmla="*/ 7017141 w 12192001"/>
                <a:gd name="connsiteY4391" fmla="*/ 6512739 h 6523037"/>
                <a:gd name="connsiteX4392" fmla="*/ 7011627 w 12192001"/>
                <a:gd name="connsiteY4392" fmla="*/ 6518275 h 6523037"/>
                <a:gd name="connsiteX4393" fmla="*/ 7001125 w 12192001"/>
                <a:gd name="connsiteY4393" fmla="*/ 6518275 h 6523037"/>
                <a:gd name="connsiteX4394" fmla="*/ 7010853 w 12192001"/>
                <a:gd name="connsiteY4394" fmla="*/ 6508547 h 6523037"/>
                <a:gd name="connsiteX4395" fmla="*/ 6739742 w 12192001"/>
                <a:gd name="connsiteY4395" fmla="*/ 6238135 h 6523037"/>
                <a:gd name="connsiteX4396" fmla="*/ 6475619 w 12192001"/>
                <a:gd name="connsiteY4396" fmla="*/ 6238135 h 6523037"/>
                <a:gd name="connsiteX4397" fmla="*/ 6746729 w 12192001"/>
                <a:gd name="connsiteY4397" fmla="*/ 6508547 h 6523037"/>
                <a:gd name="connsiteX4398" fmla="*/ 6743935 w 12192001"/>
                <a:gd name="connsiteY4398" fmla="*/ 6511341 h 6523037"/>
                <a:gd name="connsiteX4399" fmla="*/ 6737054 w 12192001"/>
                <a:gd name="connsiteY4399" fmla="*/ 6518275 h 6523037"/>
                <a:gd name="connsiteX4400" fmla="*/ 6727219 w 12192001"/>
                <a:gd name="connsiteY4400" fmla="*/ 6518275 h 6523037"/>
                <a:gd name="connsiteX4401" fmla="*/ 6732754 w 12192001"/>
                <a:gd name="connsiteY4401" fmla="*/ 6512739 h 6523037"/>
                <a:gd name="connsiteX4402" fmla="*/ 6468632 w 12192001"/>
                <a:gd name="connsiteY4402" fmla="*/ 6512739 h 6523037"/>
                <a:gd name="connsiteX4403" fmla="*/ 6463111 w 12192001"/>
                <a:gd name="connsiteY4403" fmla="*/ 6518275 h 6523037"/>
                <a:gd name="connsiteX4404" fmla="*/ 6452638 w 12192001"/>
                <a:gd name="connsiteY4404" fmla="*/ 6518275 h 6523037"/>
                <a:gd name="connsiteX4405" fmla="*/ 6461645 w 12192001"/>
                <a:gd name="connsiteY4405" fmla="*/ 6509246 h 6523037"/>
                <a:gd name="connsiteX4406" fmla="*/ 6456753 w 12192001"/>
                <a:gd name="connsiteY4406" fmla="*/ 6504354 h 6523037"/>
                <a:gd name="connsiteX4407" fmla="*/ 6191234 w 12192001"/>
                <a:gd name="connsiteY4407" fmla="*/ 6239533 h 6523037"/>
                <a:gd name="connsiteX4408" fmla="*/ 5927108 w 12192001"/>
                <a:gd name="connsiteY4408" fmla="*/ 6239533 h 6523037"/>
                <a:gd name="connsiteX4409" fmla="*/ 5927807 w 12192001"/>
                <a:gd name="connsiteY4409" fmla="*/ 6240231 h 6523037"/>
                <a:gd name="connsiteX4410" fmla="*/ 5928507 w 12192001"/>
                <a:gd name="connsiteY4410" fmla="*/ 6240231 h 6523037"/>
                <a:gd name="connsiteX4411" fmla="*/ 6197521 w 12192001"/>
                <a:gd name="connsiteY4411" fmla="*/ 6509246 h 6523037"/>
                <a:gd name="connsiteX4412" fmla="*/ 6188514 w 12192001"/>
                <a:gd name="connsiteY4412" fmla="*/ 6518275 h 6523037"/>
                <a:gd name="connsiteX4413" fmla="*/ 6180107 w 12192001"/>
                <a:gd name="connsiteY4413" fmla="*/ 6518275 h 6523037"/>
                <a:gd name="connsiteX4414" fmla="*/ 6184944 w 12192001"/>
                <a:gd name="connsiteY4414" fmla="*/ 6513438 h 6523037"/>
                <a:gd name="connsiteX4415" fmla="*/ 5920821 w 12192001"/>
                <a:gd name="connsiteY4415" fmla="*/ 6513438 h 6523037"/>
                <a:gd name="connsiteX4416" fmla="*/ 5915996 w 12192001"/>
                <a:gd name="connsiteY4416" fmla="*/ 6518275 h 6523037"/>
                <a:gd name="connsiteX4417" fmla="*/ 5903406 w 12192001"/>
                <a:gd name="connsiteY4417" fmla="*/ 6518275 h 6523037"/>
                <a:gd name="connsiteX4418" fmla="*/ 5912435 w 12192001"/>
                <a:gd name="connsiteY4418" fmla="*/ 6509246 h 6523037"/>
                <a:gd name="connsiteX4419" fmla="*/ 5779675 w 12192001"/>
                <a:gd name="connsiteY4419" fmla="*/ 6377184 h 6523037"/>
                <a:gd name="connsiteX4420" fmla="*/ 5641325 w 12192001"/>
                <a:gd name="connsiteY4420" fmla="*/ 6238834 h 6523037"/>
                <a:gd name="connsiteX4421" fmla="*/ 5377202 w 12192001"/>
                <a:gd name="connsiteY4421" fmla="*/ 6238834 h 6523037"/>
                <a:gd name="connsiteX4422" fmla="*/ 5648312 w 12192001"/>
                <a:gd name="connsiteY4422" fmla="*/ 6508547 h 6523037"/>
                <a:gd name="connsiteX4423" fmla="*/ 5645518 w 12192001"/>
                <a:gd name="connsiteY4423" fmla="*/ 6511341 h 6523037"/>
                <a:gd name="connsiteX4424" fmla="*/ 5638636 w 12192001"/>
                <a:gd name="connsiteY4424" fmla="*/ 6518275 h 6523037"/>
                <a:gd name="connsiteX4425" fmla="*/ 5629500 w 12192001"/>
                <a:gd name="connsiteY4425" fmla="*/ 6518275 h 6523037"/>
                <a:gd name="connsiteX4426" fmla="*/ 5635036 w 12192001"/>
                <a:gd name="connsiteY4426" fmla="*/ 6512739 h 6523037"/>
                <a:gd name="connsiteX4427" fmla="*/ 5376502 w 12192001"/>
                <a:gd name="connsiteY4427" fmla="*/ 6512739 h 6523037"/>
                <a:gd name="connsiteX4428" fmla="*/ 5375047 w 12192001"/>
                <a:gd name="connsiteY4428" fmla="*/ 6512040 h 6523037"/>
                <a:gd name="connsiteX4429" fmla="*/ 5376502 w 12192001"/>
                <a:gd name="connsiteY4429" fmla="*/ 6512040 h 6523037"/>
                <a:gd name="connsiteX4430" fmla="*/ 5359034 w 12192001"/>
                <a:gd name="connsiteY4430" fmla="*/ 6503655 h 6523037"/>
                <a:gd name="connsiteX4431" fmla="*/ 5360377 w 12192001"/>
                <a:gd name="connsiteY4431" fmla="*/ 6504999 h 6523037"/>
                <a:gd name="connsiteX4432" fmla="*/ 5359034 w 12192001"/>
                <a:gd name="connsiteY4432" fmla="*/ 6504354 h 6523037"/>
                <a:gd name="connsiteX4433" fmla="*/ 5093513 w 12192001"/>
                <a:gd name="connsiteY4433" fmla="*/ 6239533 h 6523037"/>
                <a:gd name="connsiteX4434" fmla="*/ 4829390 w 12192001"/>
                <a:gd name="connsiteY4434" fmla="*/ 6239533 h 6523037"/>
                <a:gd name="connsiteX4435" fmla="*/ 4830788 w 12192001"/>
                <a:gd name="connsiteY4435" fmla="*/ 6240929 h 6523037"/>
                <a:gd name="connsiteX4436" fmla="*/ 5099802 w 12192001"/>
                <a:gd name="connsiteY4436" fmla="*/ 6509945 h 6523037"/>
                <a:gd name="connsiteX4437" fmla="*/ 5091450 w 12192001"/>
                <a:gd name="connsiteY4437" fmla="*/ 6518275 h 6523037"/>
                <a:gd name="connsiteX4438" fmla="*/ 5081014 w 12192001"/>
                <a:gd name="connsiteY4438" fmla="*/ 6518275 h 6523037"/>
                <a:gd name="connsiteX4439" fmla="*/ 5085827 w 12192001"/>
                <a:gd name="connsiteY4439" fmla="*/ 6513438 h 6523037"/>
                <a:gd name="connsiteX4440" fmla="*/ 4826252 w 12192001"/>
                <a:gd name="connsiteY4440" fmla="*/ 6513438 h 6523037"/>
                <a:gd name="connsiteX4441" fmla="*/ 4816727 w 12192001"/>
                <a:gd name="connsiteY4441" fmla="*/ 6523037 h 6523037"/>
                <a:gd name="connsiteX4442" fmla="*/ 4806802 w 12192001"/>
                <a:gd name="connsiteY4442" fmla="*/ 6523037 h 6523037"/>
                <a:gd name="connsiteX4443" fmla="*/ 4811603 w 12192001"/>
                <a:gd name="connsiteY4443" fmla="*/ 6518275 h 6523037"/>
                <a:gd name="connsiteX4444" fmla="*/ 4807085 w 12192001"/>
                <a:gd name="connsiteY4444" fmla="*/ 6518275 h 6523037"/>
                <a:gd name="connsiteX4445" fmla="*/ 4810652 w 12192001"/>
                <a:gd name="connsiteY4445" fmla="*/ 6514707 h 6523037"/>
                <a:gd name="connsiteX4446" fmla="*/ 4551077 w 12192001"/>
                <a:gd name="connsiteY4446" fmla="*/ 6514707 h 6523037"/>
                <a:gd name="connsiteX4447" fmla="*/ 4542768 w 12192001"/>
                <a:gd name="connsiteY4447" fmla="*/ 6523037 h 6523037"/>
                <a:gd name="connsiteX4448" fmla="*/ 4531598 w 12192001"/>
                <a:gd name="connsiteY4448" fmla="*/ 6523037 h 6523037"/>
                <a:gd name="connsiteX4449" fmla="*/ 4544090 w 12192001"/>
                <a:gd name="connsiteY4449" fmla="*/ 6510514 h 6523037"/>
                <a:gd name="connsiteX4450" fmla="*/ 4539199 w 12192001"/>
                <a:gd name="connsiteY4450" fmla="*/ 6505623 h 6523037"/>
                <a:gd name="connsiteX4451" fmla="*/ 4273677 w 12192001"/>
                <a:gd name="connsiteY4451" fmla="*/ 6240102 h 6523037"/>
                <a:gd name="connsiteX4452" fmla="*/ 4009554 w 12192001"/>
                <a:gd name="connsiteY4452" fmla="*/ 6240102 h 6523037"/>
                <a:gd name="connsiteX4453" fmla="*/ 4010952 w 12192001"/>
                <a:gd name="connsiteY4453" fmla="*/ 6241499 h 6523037"/>
                <a:gd name="connsiteX4454" fmla="*/ 4279967 w 12192001"/>
                <a:gd name="connsiteY4454" fmla="*/ 6510514 h 6523037"/>
                <a:gd name="connsiteX4455" fmla="*/ 4267475 w 12192001"/>
                <a:gd name="connsiteY4455" fmla="*/ 6523037 h 6523037"/>
                <a:gd name="connsiteX4456" fmla="*/ 4259077 w 12192001"/>
                <a:gd name="connsiteY4456" fmla="*/ 6523037 h 6523037"/>
                <a:gd name="connsiteX4457" fmla="*/ 4266690 w 12192001"/>
                <a:gd name="connsiteY4457" fmla="*/ 6515405 h 6523037"/>
                <a:gd name="connsiteX4458" fmla="*/ 4002566 w 12192001"/>
                <a:gd name="connsiteY4458" fmla="*/ 6515405 h 6523037"/>
                <a:gd name="connsiteX4459" fmla="*/ 3994954 w 12192001"/>
                <a:gd name="connsiteY4459" fmla="*/ 6523037 h 6523037"/>
                <a:gd name="connsiteX4460" fmla="*/ 3983089 w 12192001"/>
                <a:gd name="connsiteY4460" fmla="*/ 6523037 h 6523037"/>
                <a:gd name="connsiteX4461" fmla="*/ 3996278 w 12192001"/>
                <a:gd name="connsiteY4461" fmla="*/ 6509815 h 6523037"/>
                <a:gd name="connsiteX4462" fmla="*/ 3862819 w 12192001"/>
                <a:gd name="connsiteY4462" fmla="*/ 6377052 h 6523037"/>
                <a:gd name="connsiteX4463" fmla="*/ 3865614 w 12192001"/>
                <a:gd name="connsiteY4463" fmla="*/ 6371464 h 6523037"/>
                <a:gd name="connsiteX4464" fmla="*/ 3864915 w 12192001"/>
                <a:gd name="connsiteY4464" fmla="*/ 6370766 h 6523037"/>
                <a:gd name="connsiteX4465" fmla="*/ 3865614 w 12192001"/>
                <a:gd name="connsiteY4465" fmla="*/ 6369369 h 6523037"/>
                <a:gd name="connsiteX4466" fmla="*/ 4002566 w 12192001"/>
                <a:gd name="connsiteY4466" fmla="*/ 6506322 h 6523037"/>
                <a:gd name="connsiteX4467" fmla="*/ 4266690 w 12192001"/>
                <a:gd name="connsiteY4467" fmla="*/ 6506322 h 6523037"/>
                <a:gd name="connsiteX4468" fmla="*/ 3995579 w 12192001"/>
                <a:gd name="connsiteY4468" fmla="*/ 6235910 h 6523037"/>
                <a:gd name="connsiteX4469" fmla="*/ 3996977 w 12192001"/>
                <a:gd name="connsiteY4469" fmla="*/ 6234512 h 6523037"/>
                <a:gd name="connsiteX4470" fmla="*/ 4265292 w 12192001"/>
                <a:gd name="connsiteY4470" fmla="*/ 5965498 h 6523037"/>
                <a:gd name="connsiteX4471" fmla="*/ 4066851 w 12192001"/>
                <a:gd name="connsiteY4471" fmla="*/ 5965498 h 6523037"/>
                <a:gd name="connsiteX4472" fmla="*/ 4070344 w 12192001"/>
                <a:gd name="connsiteY4472" fmla="*/ 5958510 h 6523037"/>
                <a:gd name="connsiteX4473" fmla="*/ 4265292 w 12192001"/>
                <a:gd name="connsiteY4473" fmla="*/ 5958510 h 6523037"/>
                <a:gd name="connsiteX4474" fmla="*/ 4135327 w 12192001"/>
                <a:gd name="connsiteY4474" fmla="*/ 5828545 h 6523037"/>
                <a:gd name="connsiteX4475" fmla="*/ 4138820 w 12192001"/>
                <a:gd name="connsiteY4475" fmla="*/ 5821557 h 6523037"/>
                <a:gd name="connsiteX4476" fmla="*/ 4279267 w 12192001"/>
                <a:gd name="connsiteY4476" fmla="*/ 5962003 h 6523037"/>
                <a:gd name="connsiteX4477" fmla="*/ 4008855 w 12192001"/>
                <a:gd name="connsiteY4477" fmla="*/ 6233114 h 6523037"/>
                <a:gd name="connsiteX4478" fmla="*/ 4272979 w 12192001"/>
                <a:gd name="connsiteY4478" fmla="*/ 6233114 h 6523037"/>
                <a:gd name="connsiteX4479" fmla="*/ 4543392 w 12192001"/>
                <a:gd name="connsiteY4479" fmla="*/ 5962003 h 6523037"/>
                <a:gd name="connsiteX4480" fmla="*/ 4272281 w 12192001"/>
                <a:gd name="connsiteY4480" fmla="*/ 5692290 h 6523037"/>
                <a:gd name="connsiteX4481" fmla="*/ 4203803 w 12192001"/>
                <a:gd name="connsiteY4481" fmla="*/ 5692290 h 6523037"/>
                <a:gd name="connsiteX4482" fmla="*/ 4008855 w 12192001"/>
                <a:gd name="connsiteY4482" fmla="*/ 5692290 h 6523037"/>
                <a:gd name="connsiteX4483" fmla="*/ 4138121 w 12192001"/>
                <a:gd name="connsiteY4483" fmla="*/ 5822256 h 6523037"/>
                <a:gd name="connsiteX4484" fmla="*/ 4134628 w 12192001"/>
                <a:gd name="connsiteY4484" fmla="*/ 5829243 h 6523037"/>
                <a:gd name="connsiteX4485" fmla="*/ 3994181 w 12192001"/>
                <a:gd name="connsiteY4485" fmla="*/ 5688797 h 6523037"/>
                <a:gd name="connsiteX4486" fmla="*/ 4264593 w 12192001"/>
                <a:gd name="connsiteY4486" fmla="*/ 5417686 h 6523037"/>
                <a:gd name="connsiteX4487" fmla="*/ 4000470 w 12192001"/>
                <a:gd name="connsiteY4487" fmla="*/ 5417686 h 6523037"/>
                <a:gd name="connsiteX4488" fmla="*/ 3730058 w 12192001"/>
                <a:gd name="connsiteY4488" fmla="*/ 5688797 h 6523037"/>
                <a:gd name="connsiteX4489" fmla="*/ 4001169 w 12192001"/>
                <a:gd name="connsiteY4489" fmla="*/ 5959209 h 6523037"/>
                <a:gd name="connsiteX4490" fmla="*/ 4069645 w 12192001"/>
                <a:gd name="connsiteY4490" fmla="*/ 5959209 h 6523037"/>
                <a:gd name="connsiteX4491" fmla="*/ 4066152 w 12192001"/>
                <a:gd name="connsiteY4491" fmla="*/ 5966196 h 6523037"/>
                <a:gd name="connsiteX4492" fmla="*/ 4001169 w 12192001"/>
                <a:gd name="connsiteY4492" fmla="*/ 5966196 h 6523037"/>
                <a:gd name="connsiteX4493" fmla="*/ 3820894 w 12192001"/>
                <a:gd name="connsiteY4493" fmla="*/ 6147170 h 6523037"/>
                <a:gd name="connsiteX4494" fmla="*/ 3731456 w 12192001"/>
                <a:gd name="connsiteY4494" fmla="*/ 6237307 h 6523037"/>
                <a:gd name="connsiteX4495" fmla="*/ 3864915 w 12192001"/>
                <a:gd name="connsiteY4495" fmla="*/ 6370766 h 6523037"/>
                <a:gd name="connsiteX4496" fmla="*/ 3862120 w 12192001"/>
                <a:gd name="connsiteY4496" fmla="*/ 6376355 h 6523037"/>
                <a:gd name="connsiteX4497" fmla="*/ 3862819 w 12192001"/>
                <a:gd name="connsiteY4497" fmla="*/ 6377052 h 6523037"/>
                <a:gd name="connsiteX4498" fmla="*/ 3862120 w 12192001"/>
                <a:gd name="connsiteY4498" fmla="*/ 6378452 h 6523037"/>
                <a:gd name="connsiteX4499" fmla="*/ 3725167 w 12192001"/>
                <a:gd name="connsiteY4499" fmla="*/ 6241499 h 6523037"/>
                <a:gd name="connsiteX4500" fmla="*/ 3461044 w 12192001"/>
                <a:gd name="connsiteY4500" fmla="*/ 6241499 h 6523037"/>
                <a:gd name="connsiteX4501" fmla="*/ 3732154 w 12192001"/>
                <a:gd name="connsiteY4501" fmla="*/ 6511911 h 6523037"/>
                <a:gd name="connsiteX4502" fmla="*/ 3721057 w 12192001"/>
                <a:gd name="connsiteY4502" fmla="*/ 6523037 h 6523037"/>
                <a:gd name="connsiteX4503" fmla="*/ 3710566 w 12192001"/>
                <a:gd name="connsiteY4503" fmla="*/ 6523037 h 6523037"/>
                <a:gd name="connsiteX4504" fmla="*/ 3718179 w 12192001"/>
                <a:gd name="connsiteY4504" fmla="*/ 6515405 h 6523037"/>
                <a:gd name="connsiteX4505" fmla="*/ 3454056 w 12192001"/>
                <a:gd name="connsiteY4505" fmla="*/ 6515405 h 6523037"/>
                <a:gd name="connsiteX4506" fmla="*/ 3446443 w 12192001"/>
                <a:gd name="connsiteY4506" fmla="*/ 6523037 h 6523037"/>
                <a:gd name="connsiteX4507" fmla="*/ 3437367 w 12192001"/>
                <a:gd name="connsiteY4507" fmla="*/ 6523037 h 6523037"/>
                <a:gd name="connsiteX4508" fmla="*/ 3447767 w 12192001"/>
                <a:gd name="connsiteY4508" fmla="*/ 6512610 h 6523037"/>
                <a:gd name="connsiteX4509" fmla="*/ 3176657 w 12192001"/>
                <a:gd name="connsiteY4509" fmla="*/ 6242198 h 6523037"/>
                <a:gd name="connsiteX4510" fmla="*/ 2912533 w 12192001"/>
                <a:gd name="connsiteY4510" fmla="*/ 6242198 h 6523037"/>
                <a:gd name="connsiteX4511" fmla="*/ 3183644 w 12192001"/>
                <a:gd name="connsiteY4511" fmla="*/ 6512610 h 6523037"/>
                <a:gd name="connsiteX4512" fmla="*/ 3173244 w 12192001"/>
                <a:gd name="connsiteY4512" fmla="*/ 6523037 h 6523037"/>
                <a:gd name="connsiteX4513" fmla="*/ 3163450 w 12192001"/>
                <a:gd name="connsiteY4513" fmla="*/ 6523037 h 6523037"/>
                <a:gd name="connsiteX4514" fmla="*/ 3169669 w 12192001"/>
                <a:gd name="connsiteY4514" fmla="*/ 6516802 h 6523037"/>
                <a:gd name="connsiteX4515" fmla="*/ 2905546 w 12192001"/>
                <a:gd name="connsiteY4515" fmla="*/ 6516802 h 6523037"/>
                <a:gd name="connsiteX4516" fmla="*/ 2899327 w 12192001"/>
                <a:gd name="connsiteY4516" fmla="*/ 6523037 h 6523037"/>
                <a:gd name="connsiteX4517" fmla="*/ 2889554 w 12192001"/>
                <a:gd name="connsiteY4517" fmla="*/ 6523037 h 6523037"/>
                <a:gd name="connsiteX4518" fmla="*/ 2899257 w 12192001"/>
                <a:gd name="connsiteY4518" fmla="*/ 6513309 h 6523037"/>
                <a:gd name="connsiteX4519" fmla="*/ 2628146 w 12192001"/>
                <a:gd name="connsiteY4519" fmla="*/ 6242897 h 6523037"/>
                <a:gd name="connsiteX4520" fmla="*/ 2364722 w 12192001"/>
                <a:gd name="connsiteY4520" fmla="*/ 6242897 h 6523037"/>
                <a:gd name="connsiteX4521" fmla="*/ 2494687 w 12192001"/>
                <a:gd name="connsiteY4521" fmla="*/ 6372862 h 6523037"/>
                <a:gd name="connsiteX4522" fmla="*/ 2635134 w 12192001"/>
                <a:gd name="connsiteY4522" fmla="*/ 6513309 h 6523037"/>
                <a:gd name="connsiteX4523" fmla="*/ 2625431 w 12192001"/>
                <a:gd name="connsiteY4523" fmla="*/ 6523037 h 6523037"/>
                <a:gd name="connsiteX4524" fmla="*/ 2614938 w 12192001"/>
                <a:gd name="connsiteY4524" fmla="*/ 6523037 h 6523037"/>
                <a:gd name="connsiteX4525" fmla="*/ 2620460 w 12192001"/>
                <a:gd name="connsiteY4525" fmla="*/ 6517501 h 6523037"/>
                <a:gd name="connsiteX4526" fmla="*/ 2357035 w 12192001"/>
                <a:gd name="connsiteY4526" fmla="*/ 6517501 h 6523037"/>
                <a:gd name="connsiteX4527" fmla="*/ 2351521 w 12192001"/>
                <a:gd name="connsiteY4527" fmla="*/ 6523037 h 6523037"/>
                <a:gd name="connsiteX4528" fmla="*/ 2341019 w 12192001"/>
                <a:gd name="connsiteY4528" fmla="*/ 6523037 h 6523037"/>
                <a:gd name="connsiteX4529" fmla="*/ 2350747 w 12192001"/>
                <a:gd name="connsiteY4529" fmla="*/ 6513309 h 6523037"/>
                <a:gd name="connsiteX4530" fmla="*/ 2079636 w 12192001"/>
                <a:gd name="connsiteY4530" fmla="*/ 6242897 h 6523037"/>
                <a:gd name="connsiteX4531" fmla="*/ 1815513 w 12192001"/>
                <a:gd name="connsiteY4531" fmla="*/ 6242897 h 6523037"/>
                <a:gd name="connsiteX4532" fmla="*/ 2086623 w 12192001"/>
                <a:gd name="connsiteY4532" fmla="*/ 6513309 h 6523037"/>
                <a:gd name="connsiteX4533" fmla="*/ 2083829 w 12192001"/>
                <a:gd name="connsiteY4533" fmla="*/ 6516103 h 6523037"/>
                <a:gd name="connsiteX4534" fmla="*/ 2076948 w 12192001"/>
                <a:gd name="connsiteY4534" fmla="*/ 6523037 h 6523037"/>
                <a:gd name="connsiteX4535" fmla="*/ 2067112 w 12192001"/>
                <a:gd name="connsiteY4535" fmla="*/ 6523037 h 6523037"/>
                <a:gd name="connsiteX4536" fmla="*/ 2072648 w 12192001"/>
                <a:gd name="connsiteY4536" fmla="*/ 6517501 h 6523037"/>
                <a:gd name="connsiteX4537" fmla="*/ 1808526 w 12192001"/>
                <a:gd name="connsiteY4537" fmla="*/ 6517501 h 6523037"/>
                <a:gd name="connsiteX4538" fmla="*/ 1803004 w 12192001"/>
                <a:gd name="connsiteY4538" fmla="*/ 6523037 h 6523037"/>
                <a:gd name="connsiteX4539" fmla="*/ 1792532 w 12192001"/>
                <a:gd name="connsiteY4539" fmla="*/ 6523037 h 6523037"/>
                <a:gd name="connsiteX4540" fmla="*/ 1801539 w 12192001"/>
                <a:gd name="connsiteY4540" fmla="*/ 6514008 h 6523037"/>
                <a:gd name="connsiteX4541" fmla="*/ 1796647 w 12192001"/>
                <a:gd name="connsiteY4541" fmla="*/ 6509116 h 6523037"/>
                <a:gd name="connsiteX4542" fmla="*/ 1531127 w 12192001"/>
                <a:gd name="connsiteY4542" fmla="*/ 6244295 h 6523037"/>
                <a:gd name="connsiteX4543" fmla="*/ 1267002 w 12192001"/>
                <a:gd name="connsiteY4543" fmla="*/ 6244295 h 6523037"/>
                <a:gd name="connsiteX4544" fmla="*/ 1267701 w 12192001"/>
                <a:gd name="connsiteY4544" fmla="*/ 6244993 h 6523037"/>
                <a:gd name="connsiteX4545" fmla="*/ 1268400 w 12192001"/>
                <a:gd name="connsiteY4545" fmla="*/ 6244993 h 6523037"/>
                <a:gd name="connsiteX4546" fmla="*/ 1537414 w 12192001"/>
                <a:gd name="connsiteY4546" fmla="*/ 6514008 h 6523037"/>
                <a:gd name="connsiteX4547" fmla="*/ 1528408 w 12192001"/>
                <a:gd name="connsiteY4547" fmla="*/ 6523037 h 6523037"/>
                <a:gd name="connsiteX4548" fmla="*/ 1520000 w 12192001"/>
                <a:gd name="connsiteY4548" fmla="*/ 6523037 h 6523037"/>
                <a:gd name="connsiteX4549" fmla="*/ 1524838 w 12192001"/>
                <a:gd name="connsiteY4549" fmla="*/ 6518200 h 6523037"/>
                <a:gd name="connsiteX4550" fmla="*/ 1260714 w 12192001"/>
                <a:gd name="connsiteY4550" fmla="*/ 6518200 h 6523037"/>
                <a:gd name="connsiteX4551" fmla="*/ 1255889 w 12192001"/>
                <a:gd name="connsiteY4551" fmla="*/ 6523037 h 6523037"/>
                <a:gd name="connsiteX4552" fmla="*/ 1243300 w 12192001"/>
                <a:gd name="connsiteY4552" fmla="*/ 6523037 h 6523037"/>
                <a:gd name="connsiteX4553" fmla="*/ 1252329 w 12192001"/>
                <a:gd name="connsiteY4553" fmla="*/ 6514008 h 6523037"/>
                <a:gd name="connsiteX4554" fmla="*/ 1119569 w 12192001"/>
                <a:gd name="connsiteY4554" fmla="*/ 6381946 h 6523037"/>
                <a:gd name="connsiteX4555" fmla="*/ 981219 w 12192001"/>
                <a:gd name="connsiteY4555" fmla="*/ 6243596 h 6523037"/>
                <a:gd name="connsiteX4556" fmla="*/ 717095 w 12192001"/>
                <a:gd name="connsiteY4556" fmla="*/ 6243596 h 6523037"/>
                <a:gd name="connsiteX4557" fmla="*/ 988206 w 12192001"/>
                <a:gd name="connsiteY4557" fmla="*/ 6513309 h 6523037"/>
                <a:gd name="connsiteX4558" fmla="*/ 985411 w 12192001"/>
                <a:gd name="connsiteY4558" fmla="*/ 6516103 h 6523037"/>
                <a:gd name="connsiteX4559" fmla="*/ 978530 w 12192001"/>
                <a:gd name="connsiteY4559" fmla="*/ 6523037 h 6523037"/>
                <a:gd name="connsiteX4560" fmla="*/ 969394 w 12192001"/>
                <a:gd name="connsiteY4560" fmla="*/ 6523037 h 6523037"/>
                <a:gd name="connsiteX4561" fmla="*/ 974930 w 12192001"/>
                <a:gd name="connsiteY4561" fmla="*/ 6517501 h 6523037"/>
                <a:gd name="connsiteX4562" fmla="*/ 716396 w 12192001"/>
                <a:gd name="connsiteY4562" fmla="*/ 6517501 h 6523037"/>
                <a:gd name="connsiteX4563" fmla="*/ 714941 w 12192001"/>
                <a:gd name="connsiteY4563" fmla="*/ 6516802 h 6523037"/>
                <a:gd name="connsiteX4564" fmla="*/ 716396 w 12192001"/>
                <a:gd name="connsiteY4564" fmla="*/ 6516802 h 6523037"/>
                <a:gd name="connsiteX4565" fmla="*/ 698928 w 12192001"/>
                <a:gd name="connsiteY4565" fmla="*/ 6508417 h 6523037"/>
                <a:gd name="connsiteX4566" fmla="*/ 700271 w 12192001"/>
                <a:gd name="connsiteY4566" fmla="*/ 6509761 h 6523037"/>
                <a:gd name="connsiteX4567" fmla="*/ 698928 w 12192001"/>
                <a:gd name="connsiteY4567" fmla="*/ 6509116 h 6523037"/>
                <a:gd name="connsiteX4568" fmla="*/ 433407 w 12192001"/>
                <a:gd name="connsiteY4568" fmla="*/ 6244295 h 6523037"/>
                <a:gd name="connsiteX4569" fmla="*/ 169284 w 12192001"/>
                <a:gd name="connsiteY4569" fmla="*/ 6244295 h 6523037"/>
                <a:gd name="connsiteX4570" fmla="*/ 170681 w 12192001"/>
                <a:gd name="connsiteY4570" fmla="*/ 6245691 h 6523037"/>
                <a:gd name="connsiteX4571" fmla="*/ 439696 w 12192001"/>
                <a:gd name="connsiteY4571" fmla="*/ 6514707 h 6523037"/>
                <a:gd name="connsiteX4572" fmla="*/ 431344 w 12192001"/>
                <a:gd name="connsiteY4572" fmla="*/ 6523037 h 6523037"/>
                <a:gd name="connsiteX4573" fmla="*/ 420908 w 12192001"/>
                <a:gd name="connsiteY4573" fmla="*/ 6523037 h 6523037"/>
                <a:gd name="connsiteX4574" fmla="*/ 425721 w 12192001"/>
                <a:gd name="connsiteY4574" fmla="*/ 6518200 h 6523037"/>
                <a:gd name="connsiteX4575" fmla="*/ 161597 w 12192001"/>
                <a:gd name="connsiteY4575" fmla="*/ 6518200 h 6523037"/>
                <a:gd name="connsiteX4576" fmla="*/ 156781 w 12192001"/>
                <a:gd name="connsiteY4576" fmla="*/ 6523037 h 6523037"/>
                <a:gd name="connsiteX4577" fmla="*/ 146978 w 12192001"/>
                <a:gd name="connsiteY4577" fmla="*/ 6523037 h 6523037"/>
                <a:gd name="connsiteX4578" fmla="*/ 155309 w 12192001"/>
                <a:gd name="connsiteY4578" fmla="*/ 6514707 h 6523037"/>
                <a:gd name="connsiteX4579" fmla="*/ 21150 w 12192001"/>
                <a:gd name="connsiteY4579" fmla="*/ 6381247 h 6523037"/>
                <a:gd name="connsiteX4580" fmla="*/ 5080 w 12192001"/>
                <a:gd name="connsiteY4580" fmla="*/ 6365176 h 6523037"/>
                <a:gd name="connsiteX4581" fmla="*/ 5080 w 12192001"/>
                <a:gd name="connsiteY4581" fmla="*/ 6355394 h 6523037"/>
                <a:gd name="connsiteX4582" fmla="*/ 24645 w 12192001"/>
                <a:gd name="connsiteY4582" fmla="*/ 6374959 h 6523037"/>
                <a:gd name="connsiteX4583" fmla="*/ 161597 w 12192001"/>
                <a:gd name="connsiteY4583" fmla="*/ 6511212 h 6523037"/>
                <a:gd name="connsiteX4584" fmla="*/ 425721 w 12192001"/>
                <a:gd name="connsiteY4584" fmla="*/ 6511212 h 6523037"/>
                <a:gd name="connsiteX4585" fmla="*/ 154610 w 12192001"/>
                <a:gd name="connsiteY4585" fmla="*/ 6240800 h 6523037"/>
                <a:gd name="connsiteX4586" fmla="*/ 156008 w 12192001"/>
                <a:gd name="connsiteY4586" fmla="*/ 6239403 h 6523037"/>
                <a:gd name="connsiteX4587" fmla="*/ 156706 w 12192001"/>
                <a:gd name="connsiteY4587" fmla="*/ 6239403 h 6523037"/>
                <a:gd name="connsiteX4588" fmla="*/ 425022 w 12192001"/>
                <a:gd name="connsiteY4588" fmla="*/ 5970389 h 6523037"/>
                <a:gd name="connsiteX4589" fmla="*/ 161597 w 12192001"/>
                <a:gd name="connsiteY4589" fmla="*/ 5970389 h 6523037"/>
                <a:gd name="connsiteX4590" fmla="*/ 5080 w 12192001"/>
                <a:gd name="connsiteY4590" fmla="*/ 6126906 h 6523037"/>
                <a:gd name="connsiteX4591" fmla="*/ 5080 w 12192001"/>
                <a:gd name="connsiteY4591" fmla="*/ 6116425 h 6523037"/>
                <a:gd name="connsiteX4592" fmla="*/ 154610 w 12192001"/>
                <a:gd name="connsiteY4592" fmla="*/ 5966894 h 6523037"/>
                <a:gd name="connsiteX4593" fmla="*/ 5080 w 12192001"/>
                <a:gd name="connsiteY4593" fmla="*/ 5817364 h 6523037"/>
                <a:gd name="connsiteX4594" fmla="*/ 5080 w 12192001"/>
                <a:gd name="connsiteY4594" fmla="*/ 5806884 h 6523037"/>
                <a:gd name="connsiteX4595" fmla="*/ 161597 w 12192001"/>
                <a:gd name="connsiteY4595" fmla="*/ 5962702 h 6523037"/>
                <a:gd name="connsiteX4596" fmla="*/ 425022 w 12192001"/>
                <a:gd name="connsiteY4596" fmla="*/ 5962702 h 6523037"/>
                <a:gd name="connsiteX4597" fmla="*/ 295057 w 12192001"/>
                <a:gd name="connsiteY4597" fmla="*/ 5832737 h 6523037"/>
                <a:gd name="connsiteX4598" fmla="*/ 154610 w 12192001"/>
                <a:gd name="connsiteY4598" fmla="*/ 5692290 h 6523037"/>
                <a:gd name="connsiteX4599" fmla="*/ 425022 w 12192001"/>
                <a:gd name="connsiteY4599" fmla="*/ 5421878 h 6523037"/>
                <a:gd name="connsiteX4600" fmla="*/ 160898 w 12192001"/>
                <a:gd name="connsiteY4600" fmla="*/ 5421878 h 6523037"/>
                <a:gd name="connsiteX4601" fmla="*/ 5080 w 12192001"/>
                <a:gd name="connsiteY4601" fmla="*/ 5577697 h 6523037"/>
                <a:gd name="connsiteX4602" fmla="*/ 5080 w 12192001"/>
                <a:gd name="connsiteY4602" fmla="*/ 5567216 h 6523037"/>
                <a:gd name="connsiteX4603" fmla="*/ 153911 w 12192001"/>
                <a:gd name="connsiteY4603" fmla="*/ 5418385 h 6523037"/>
                <a:gd name="connsiteX4604" fmla="*/ 5080 w 12192001"/>
                <a:gd name="connsiteY4604" fmla="*/ 5269553 h 6523037"/>
                <a:gd name="connsiteX4605" fmla="*/ 5080 w 12192001"/>
                <a:gd name="connsiteY4605" fmla="*/ 5259072 h 6523037"/>
                <a:gd name="connsiteX4606" fmla="*/ 160898 w 12192001"/>
                <a:gd name="connsiteY4606" fmla="*/ 5414192 h 6523037"/>
                <a:gd name="connsiteX4607" fmla="*/ 425022 w 12192001"/>
                <a:gd name="connsiteY4607" fmla="*/ 5414192 h 6523037"/>
                <a:gd name="connsiteX4608" fmla="*/ 153911 w 12192001"/>
                <a:gd name="connsiteY4608" fmla="*/ 5143780 h 6523037"/>
                <a:gd name="connsiteX4609" fmla="*/ 338378 w 12192001"/>
                <a:gd name="connsiteY4609" fmla="*/ 4959313 h 6523037"/>
                <a:gd name="connsiteX4610" fmla="*/ 424323 w 12192001"/>
                <a:gd name="connsiteY4610" fmla="*/ 4873368 h 6523037"/>
                <a:gd name="connsiteX4611" fmla="*/ 160200 w 12192001"/>
                <a:gd name="connsiteY4611" fmla="*/ 4873368 h 6523037"/>
                <a:gd name="connsiteX4612" fmla="*/ 5080 w 12192001"/>
                <a:gd name="connsiteY4612" fmla="*/ 5028489 h 6523037"/>
                <a:gd name="connsiteX4613" fmla="*/ 5080 w 12192001"/>
                <a:gd name="connsiteY4613" fmla="*/ 5018007 h 6523037"/>
                <a:gd name="connsiteX4614" fmla="*/ 153212 w 12192001"/>
                <a:gd name="connsiteY4614" fmla="*/ 4869176 h 6523037"/>
                <a:gd name="connsiteX4615" fmla="*/ 148321 w 12192001"/>
                <a:gd name="connsiteY4615" fmla="*/ 4864285 h 6523037"/>
                <a:gd name="connsiteX4616" fmla="*/ 5080 w 12192001"/>
                <a:gd name="connsiteY4616" fmla="*/ 4721741 h 6523037"/>
                <a:gd name="connsiteX4617" fmla="*/ 5080 w 12192001"/>
                <a:gd name="connsiteY4617" fmla="*/ 4711960 h 6523037"/>
                <a:gd name="connsiteX4618" fmla="*/ 160200 w 12192001"/>
                <a:gd name="connsiteY4618" fmla="*/ 4866380 h 6523037"/>
                <a:gd name="connsiteX4619" fmla="*/ 424323 w 12192001"/>
                <a:gd name="connsiteY4619" fmla="*/ 4865683 h 6523037"/>
                <a:gd name="connsiteX4620" fmla="*/ 153212 w 12192001"/>
                <a:gd name="connsiteY4620" fmla="*/ 4595271 h 6523037"/>
                <a:gd name="connsiteX4621" fmla="*/ 423624 w 12192001"/>
                <a:gd name="connsiteY4621" fmla="*/ 4324859 h 6523037"/>
                <a:gd name="connsiteX4622" fmla="*/ 159501 w 12192001"/>
                <a:gd name="connsiteY4622" fmla="*/ 4324859 h 6523037"/>
                <a:gd name="connsiteX4623" fmla="*/ 5080 w 12192001"/>
                <a:gd name="connsiteY4623" fmla="*/ 4479279 h 6523037"/>
                <a:gd name="connsiteX4624" fmla="*/ 5080 w 12192001"/>
                <a:gd name="connsiteY4624" fmla="*/ 4468799 h 6523037"/>
                <a:gd name="connsiteX4625" fmla="*/ 152513 w 12192001"/>
                <a:gd name="connsiteY4625" fmla="*/ 4320665 h 6523037"/>
                <a:gd name="connsiteX4626" fmla="*/ 5080 w 12192001"/>
                <a:gd name="connsiteY4626" fmla="*/ 4173930 h 6523037"/>
                <a:gd name="connsiteX4627" fmla="*/ 5080 w 12192001"/>
                <a:gd name="connsiteY4627" fmla="*/ 4163449 h 6523037"/>
                <a:gd name="connsiteX4628" fmla="*/ 159501 w 12192001"/>
                <a:gd name="connsiteY4628" fmla="*/ 4317172 h 6523037"/>
                <a:gd name="connsiteX4629" fmla="*/ 423624 w 12192001"/>
                <a:gd name="connsiteY4629" fmla="*/ 4317172 h 6523037"/>
                <a:gd name="connsiteX4630" fmla="*/ 152513 w 12192001"/>
                <a:gd name="connsiteY4630" fmla="*/ 4047459 h 6523037"/>
                <a:gd name="connsiteX4631" fmla="*/ 331391 w 12192001"/>
                <a:gd name="connsiteY4631" fmla="*/ 3868581 h 6523037"/>
                <a:gd name="connsiteX4632" fmla="*/ 331489 w 12192001"/>
                <a:gd name="connsiteY4632" fmla="*/ 3868581 h 6523037"/>
                <a:gd name="connsiteX4633" fmla="*/ 422038 w 12192001"/>
                <a:gd name="connsiteY4633" fmla="*/ 3777797 h 6523037"/>
                <a:gd name="connsiteX4634" fmla="*/ 225692 w 12192001"/>
                <a:gd name="connsiteY4634" fmla="*/ 3777797 h 6523037"/>
                <a:gd name="connsiteX4635" fmla="*/ 226391 w 12192001"/>
                <a:gd name="connsiteY4635" fmla="*/ 3776401 h 6523037"/>
                <a:gd name="connsiteX4636" fmla="*/ 158613 w 12192001"/>
                <a:gd name="connsiteY4636" fmla="*/ 3776401 h 6523037"/>
                <a:gd name="connsiteX4637" fmla="*/ 0 w 12192001"/>
                <a:gd name="connsiteY4637" fmla="*/ 3935012 h 6523037"/>
                <a:gd name="connsiteX4638" fmla="*/ 0 w 12192001"/>
                <a:gd name="connsiteY4638" fmla="*/ 3925231 h 6523037"/>
                <a:gd name="connsiteX4639" fmla="*/ 152324 w 12192001"/>
                <a:gd name="connsiteY4639" fmla="*/ 3772906 h 6523037"/>
                <a:gd name="connsiteX4640" fmla="*/ 0 w 12192001"/>
                <a:gd name="connsiteY4640" fmla="*/ 3621281 h 6523037"/>
                <a:gd name="connsiteX4641" fmla="*/ 0 w 12192001"/>
                <a:gd name="connsiteY4641" fmla="*/ 3610800 h 6523037"/>
                <a:gd name="connsiteX4642" fmla="*/ 159312 w 12192001"/>
                <a:gd name="connsiteY4642" fmla="*/ 3768713 h 6523037"/>
                <a:gd name="connsiteX4643" fmla="*/ 423435 w 12192001"/>
                <a:gd name="connsiteY4643" fmla="*/ 3768713 h 6523037"/>
                <a:gd name="connsiteX4644" fmla="*/ 294168 w 12192001"/>
                <a:gd name="connsiteY4644" fmla="*/ 3640146 h 6523037"/>
                <a:gd name="connsiteX4645" fmla="*/ 152324 w 12192001"/>
                <a:gd name="connsiteY4645" fmla="*/ 3499001 h 6523037"/>
                <a:gd name="connsiteX4646" fmla="*/ 336093 w 12192001"/>
                <a:gd name="connsiteY4646" fmla="*/ 3313835 h 6523037"/>
                <a:gd name="connsiteX4647" fmla="*/ 422038 w 12192001"/>
                <a:gd name="connsiteY4647" fmla="*/ 3227890 h 6523037"/>
                <a:gd name="connsiteX4648" fmla="*/ 157914 w 12192001"/>
                <a:gd name="connsiteY4648" fmla="*/ 3227890 h 6523037"/>
                <a:gd name="connsiteX4649" fmla="*/ 0 w 12192001"/>
                <a:gd name="connsiteY4649" fmla="*/ 3386503 h 6523037"/>
                <a:gd name="connsiteX4650" fmla="*/ 0 w 12192001"/>
                <a:gd name="connsiteY4650" fmla="*/ 3376021 h 6523037"/>
                <a:gd name="connsiteX4651" fmla="*/ 152324 w 12192001"/>
                <a:gd name="connsiteY4651" fmla="*/ 3224396 h 6523037"/>
                <a:gd name="connsiteX4652" fmla="*/ 146735 w 12192001"/>
                <a:gd name="connsiteY4652" fmla="*/ 3219505 h 6523037"/>
                <a:gd name="connsiteX4653" fmla="*/ 0 w 12192001"/>
                <a:gd name="connsiteY4653" fmla="*/ 3073469 h 6523037"/>
                <a:gd name="connsiteX4654" fmla="*/ 0 w 12192001"/>
                <a:gd name="connsiteY4654" fmla="*/ 3062989 h 6523037"/>
                <a:gd name="connsiteX4655" fmla="*/ 157914 w 12192001"/>
                <a:gd name="connsiteY4655" fmla="*/ 3220903 h 6523037"/>
                <a:gd name="connsiteX4656" fmla="*/ 422038 w 12192001"/>
                <a:gd name="connsiteY4656" fmla="*/ 3220903 h 6523037"/>
                <a:gd name="connsiteX4657" fmla="*/ 150927 w 12192001"/>
                <a:gd name="connsiteY4657" fmla="*/ 2950491 h 6523037"/>
                <a:gd name="connsiteX4658" fmla="*/ 421339 w 12192001"/>
                <a:gd name="connsiteY4658" fmla="*/ 2679380 h 6523037"/>
                <a:gd name="connsiteX4659" fmla="*/ 157215 w 12192001"/>
                <a:gd name="connsiteY4659" fmla="*/ 2679380 h 6523037"/>
                <a:gd name="connsiteX4660" fmla="*/ 0 w 12192001"/>
                <a:gd name="connsiteY4660" fmla="*/ 2837294 h 6523037"/>
                <a:gd name="connsiteX4661" fmla="*/ 0 w 12192001"/>
                <a:gd name="connsiteY4661" fmla="*/ 2826812 h 6523037"/>
                <a:gd name="connsiteX4662" fmla="*/ 150927 w 12192001"/>
                <a:gd name="connsiteY4662" fmla="*/ 2675886 h 6523037"/>
                <a:gd name="connsiteX4663" fmla="*/ 0 w 12192001"/>
                <a:gd name="connsiteY4663" fmla="*/ 2525658 h 6523037"/>
                <a:gd name="connsiteX4664" fmla="*/ 0 w 12192001"/>
                <a:gd name="connsiteY4664" fmla="*/ 2515876 h 6523037"/>
                <a:gd name="connsiteX4665" fmla="*/ 157914 w 12192001"/>
                <a:gd name="connsiteY4665" fmla="*/ 2672393 h 6523037"/>
                <a:gd name="connsiteX4666" fmla="*/ 422038 w 12192001"/>
                <a:gd name="connsiteY4666" fmla="*/ 2672393 h 6523037"/>
                <a:gd name="connsiteX4667" fmla="*/ 150927 w 12192001"/>
                <a:gd name="connsiteY4667" fmla="*/ 2401981 h 6523037"/>
                <a:gd name="connsiteX4668" fmla="*/ 420640 w 12192001"/>
                <a:gd name="connsiteY4668" fmla="*/ 2130870 h 6523037"/>
                <a:gd name="connsiteX4669" fmla="*/ 156517 w 12192001"/>
                <a:gd name="connsiteY4669" fmla="*/ 2130870 h 6523037"/>
                <a:gd name="connsiteX4670" fmla="*/ 0 w 12192001"/>
                <a:gd name="connsiteY4670" fmla="*/ 2288085 h 6523037"/>
                <a:gd name="connsiteX4671" fmla="*/ 0 w 12192001"/>
                <a:gd name="connsiteY4671" fmla="*/ 2277604 h 6523037"/>
                <a:gd name="connsiteX4672" fmla="*/ 150228 w 12192001"/>
                <a:gd name="connsiteY4672" fmla="*/ 2127376 h 6523037"/>
                <a:gd name="connsiteX4673" fmla="*/ 16070 w 12192001"/>
                <a:gd name="connsiteY4673" fmla="*/ 1993917 h 6523037"/>
                <a:gd name="connsiteX4674" fmla="*/ 0 w 12192001"/>
                <a:gd name="connsiteY4674" fmla="*/ 1977846 h 6523037"/>
                <a:gd name="connsiteX4675" fmla="*/ 0 w 12192001"/>
                <a:gd name="connsiteY4675" fmla="*/ 1968064 h 6523037"/>
                <a:gd name="connsiteX4676" fmla="*/ 19564 w 12192001"/>
                <a:gd name="connsiteY4676" fmla="*/ 1987628 h 6523037"/>
                <a:gd name="connsiteX4677" fmla="*/ 156517 w 12192001"/>
                <a:gd name="connsiteY4677" fmla="*/ 2123882 h 6523037"/>
                <a:gd name="connsiteX4678" fmla="*/ 420640 w 12192001"/>
                <a:gd name="connsiteY4678" fmla="*/ 2123882 h 6523037"/>
                <a:gd name="connsiteX4679" fmla="*/ 149529 w 12192001"/>
                <a:gd name="connsiteY4679" fmla="*/ 1853470 h 6523037"/>
                <a:gd name="connsiteX4680" fmla="*/ 150927 w 12192001"/>
                <a:gd name="connsiteY4680" fmla="*/ 1852072 h 6523037"/>
                <a:gd name="connsiteX4681" fmla="*/ 151626 w 12192001"/>
                <a:gd name="connsiteY4681" fmla="*/ 1852072 h 6523037"/>
                <a:gd name="connsiteX4682" fmla="*/ 419941 w 12192001"/>
                <a:gd name="connsiteY4682" fmla="*/ 1583058 h 6523037"/>
                <a:gd name="connsiteX4683" fmla="*/ 156517 w 12192001"/>
                <a:gd name="connsiteY4683" fmla="*/ 1583058 h 6523037"/>
                <a:gd name="connsiteX4684" fmla="*/ 0 w 12192001"/>
                <a:gd name="connsiteY4684" fmla="*/ 1739574 h 6523037"/>
                <a:gd name="connsiteX4685" fmla="*/ 0 w 12192001"/>
                <a:gd name="connsiteY4685" fmla="*/ 1729094 h 6523037"/>
                <a:gd name="connsiteX4686" fmla="*/ 149529 w 12192001"/>
                <a:gd name="connsiteY4686" fmla="*/ 1579564 h 6523037"/>
                <a:gd name="connsiteX4687" fmla="*/ 0 w 12192001"/>
                <a:gd name="connsiteY4687" fmla="*/ 1430035 h 6523037"/>
                <a:gd name="connsiteX4688" fmla="*/ 0 w 12192001"/>
                <a:gd name="connsiteY4688" fmla="*/ 1419554 h 6523037"/>
                <a:gd name="connsiteX4689" fmla="*/ 156517 w 12192001"/>
                <a:gd name="connsiteY4689" fmla="*/ 1575372 h 6523037"/>
                <a:gd name="connsiteX4690" fmla="*/ 419941 w 12192001"/>
                <a:gd name="connsiteY4690" fmla="*/ 1575372 h 6523037"/>
                <a:gd name="connsiteX4691" fmla="*/ 289976 w 12192001"/>
                <a:gd name="connsiteY4691" fmla="*/ 1445407 h 6523037"/>
                <a:gd name="connsiteX4692" fmla="*/ 149529 w 12192001"/>
                <a:gd name="connsiteY4692" fmla="*/ 1304960 h 6523037"/>
                <a:gd name="connsiteX4693" fmla="*/ 419941 w 12192001"/>
                <a:gd name="connsiteY4693" fmla="*/ 1034548 h 6523037"/>
                <a:gd name="connsiteX4694" fmla="*/ 155818 w 12192001"/>
                <a:gd name="connsiteY4694" fmla="*/ 1034548 h 6523037"/>
                <a:gd name="connsiteX4695" fmla="*/ 0 w 12192001"/>
                <a:gd name="connsiteY4695" fmla="*/ 1190365 h 6523037"/>
                <a:gd name="connsiteX4696" fmla="*/ 0 w 12192001"/>
                <a:gd name="connsiteY4696" fmla="*/ 1179885 h 6523037"/>
                <a:gd name="connsiteX4697" fmla="*/ 148830 w 12192001"/>
                <a:gd name="connsiteY4697" fmla="*/ 1031055 h 6523037"/>
                <a:gd name="connsiteX4698" fmla="*/ 0 w 12192001"/>
                <a:gd name="connsiteY4698" fmla="*/ 882223 h 6523037"/>
                <a:gd name="connsiteX4699" fmla="*/ 0 w 12192001"/>
                <a:gd name="connsiteY4699" fmla="*/ 871743 h 6523037"/>
                <a:gd name="connsiteX4700" fmla="*/ 155818 w 12192001"/>
                <a:gd name="connsiteY4700" fmla="*/ 1026861 h 6523037"/>
                <a:gd name="connsiteX4701" fmla="*/ 419941 w 12192001"/>
                <a:gd name="connsiteY4701" fmla="*/ 1026861 h 6523037"/>
                <a:gd name="connsiteX4702" fmla="*/ 148830 w 12192001"/>
                <a:gd name="connsiteY4702" fmla="*/ 756449 h 6523037"/>
                <a:gd name="connsiteX4703" fmla="*/ 333298 w 12192001"/>
                <a:gd name="connsiteY4703" fmla="*/ 571983 h 6523037"/>
                <a:gd name="connsiteX4704" fmla="*/ 419242 w 12192001"/>
                <a:gd name="connsiteY4704" fmla="*/ 486037 h 6523037"/>
                <a:gd name="connsiteX4705" fmla="*/ 155119 w 12192001"/>
                <a:gd name="connsiteY4705" fmla="*/ 486037 h 6523037"/>
                <a:gd name="connsiteX4706" fmla="*/ 0 w 12192001"/>
                <a:gd name="connsiteY4706" fmla="*/ 641157 h 6523037"/>
                <a:gd name="connsiteX4707" fmla="*/ 0 w 12192001"/>
                <a:gd name="connsiteY4707" fmla="*/ 630675 h 6523037"/>
                <a:gd name="connsiteX4708" fmla="*/ 148131 w 12192001"/>
                <a:gd name="connsiteY4708" fmla="*/ 481845 h 6523037"/>
                <a:gd name="connsiteX4709" fmla="*/ 143240 w 12192001"/>
                <a:gd name="connsiteY4709" fmla="*/ 476954 h 6523037"/>
                <a:gd name="connsiteX4710" fmla="*/ 0 w 12192001"/>
                <a:gd name="connsiteY4710" fmla="*/ 334412 h 6523037"/>
                <a:gd name="connsiteX4711" fmla="*/ 0 w 12192001"/>
                <a:gd name="connsiteY4711" fmla="*/ 324630 h 6523037"/>
                <a:gd name="connsiteX4712" fmla="*/ 155119 w 12192001"/>
                <a:gd name="connsiteY4712" fmla="*/ 479050 h 6523037"/>
                <a:gd name="connsiteX4713" fmla="*/ 419242 w 12192001"/>
                <a:gd name="connsiteY4713" fmla="*/ 478352 h 6523037"/>
                <a:gd name="connsiteX4714" fmla="*/ 148131 w 12192001"/>
                <a:gd name="connsiteY4714" fmla="*/ 207940 h 6523037"/>
                <a:gd name="connsiteX4715" fmla="*/ 348134 w 12192001"/>
                <a:gd name="connsiteY4715" fmla="*/ 7937 h 6523037"/>
                <a:gd name="connsiteX4716" fmla="*/ 358615 w 12192001"/>
                <a:gd name="connsiteY4716" fmla="*/ 7937 h 6523037"/>
                <a:gd name="connsiteX4717" fmla="*/ 162106 w 12192001"/>
                <a:gd name="connsiteY4717" fmla="*/ 204446 h 6523037"/>
                <a:gd name="connsiteX4718" fmla="*/ 426230 w 12192001"/>
                <a:gd name="connsiteY4718" fmla="*/ 204446 h 6523037"/>
                <a:gd name="connsiteX4719" fmla="*/ 622232 w 12192001"/>
                <a:gd name="connsiteY4719" fmla="*/ 7937 h 6523037"/>
                <a:gd name="connsiteX4720" fmla="*/ 632006 w 12192001"/>
                <a:gd name="connsiteY4720" fmla="*/ 7937 h 6523037"/>
                <a:gd name="connsiteX4721" fmla="*/ 432518 w 12192001"/>
                <a:gd name="connsiteY4721" fmla="*/ 207940 h 6523037"/>
                <a:gd name="connsiteX4722" fmla="*/ 704328 w 12192001"/>
                <a:gd name="connsiteY4722" fmla="*/ 478352 h 6523037"/>
                <a:gd name="connsiteX4723" fmla="*/ 967752 w 12192001"/>
                <a:gd name="connsiteY4723" fmla="*/ 478352 h 6523037"/>
                <a:gd name="connsiteX4724" fmla="*/ 837089 w 12192001"/>
                <a:gd name="connsiteY4724" fmla="*/ 348386 h 6523037"/>
                <a:gd name="connsiteX4725" fmla="*/ 696642 w 12192001"/>
                <a:gd name="connsiteY4725" fmla="*/ 207940 h 6523037"/>
                <a:gd name="connsiteX4726" fmla="*/ 896129 w 12192001"/>
                <a:gd name="connsiteY4726" fmla="*/ 7937 h 6523037"/>
                <a:gd name="connsiteX4727" fmla="*/ 907318 w 12192001"/>
                <a:gd name="connsiteY4727" fmla="*/ 7937 h 6523037"/>
                <a:gd name="connsiteX4728" fmla="*/ 711316 w 12192001"/>
                <a:gd name="connsiteY4728" fmla="*/ 204446 h 6523037"/>
                <a:gd name="connsiteX4729" fmla="*/ 974740 w 12192001"/>
                <a:gd name="connsiteY4729" fmla="*/ 204446 h 6523037"/>
                <a:gd name="connsiteX4730" fmla="*/ 1170742 w 12192001"/>
                <a:gd name="connsiteY4730" fmla="*/ 7937 h 6523037"/>
                <a:gd name="connsiteX4731" fmla="*/ 1179819 w 12192001"/>
                <a:gd name="connsiteY4731" fmla="*/ 7937 h 6523037"/>
                <a:gd name="connsiteX4732" fmla="*/ 981029 w 12192001"/>
                <a:gd name="connsiteY4732" fmla="*/ 207241 h 6523037"/>
                <a:gd name="connsiteX4733" fmla="*/ 1252140 w 12192001"/>
                <a:gd name="connsiteY4733" fmla="*/ 477653 h 6523037"/>
                <a:gd name="connsiteX4734" fmla="*/ 1516263 w 12192001"/>
                <a:gd name="connsiteY4734" fmla="*/ 477653 h 6523037"/>
                <a:gd name="connsiteX4735" fmla="*/ 1245152 w 12192001"/>
                <a:gd name="connsiteY4735" fmla="*/ 207241 h 6523037"/>
                <a:gd name="connsiteX4736" fmla="*/ 1443942 w 12192001"/>
                <a:gd name="connsiteY4736" fmla="*/ 7937 h 6523037"/>
                <a:gd name="connsiteX4737" fmla="*/ 1453410 w 12192001"/>
                <a:gd name="connsiteY4737" fmla="*/ 7937 h 6523037"/>
                <a:gd name="connsiteX4738" fmla="*/ 1436607 w 12192001"/>
                <a:gd name="connsiteY4738" fmla="*/ 24870 h 6523037"/>
                <a:gd name="connsiteX4739" fmla="*/ 1435908 w 12192001"/>
                <a:gd name="connsiteY4739" fmla="*/ 24870 h 6523037"/>
                <a:gd name="connsiteX4740" fmla="*/ 1258428 w 12192001"/>
                <a:gd name="connsiteY4740" fmla="*/ 203048 h 6523037"/>
                <a:gd name="connsiteX4741" fmla="*/ 1522551 w 12192001"/>
                <a:gd name="connsiteY4741" fmla="*/ 203048 h 6523037"/>
                <a:gd name="connsiteX4742" fmla="*/ 1717663 w 12192001"/>
                <a:gd name="connsiteY4742" fmla="*/ 7937 h 6523037"/>
                <a:gd name="connsiteX4743" fmla="*/ 1728424 w 12192001"/>
                <a:gd name="connsiteY4743" fmla="*/ 7937 h 6523037"/>
                <a:gd name="connsiteX4744" fmla="*/ 1620376 w 12192001"/>
                <a:gd name="connsiteY4744" fmla="*/ 116405 h 6523037"/>
                <a:gd name="connsiteX4745" fmla="*/ 1619677 w 12192001"/>
                <a:gd name="connsiteY4745" fmla="*/ 116405 h 6523037"/>
                <a:gd name="connsiteX4746" fmla="*/ 1529539 w 12192001"/>
                <a:gd name="connsiteY4746" fmla="*/ 206542 h 6523037"/>
                <a:gd name="connsiteX4747" fmla="*/ 1799951 w 12192001"/>
                <a:gd name="connsiteY4747" fmla="*/ 477653 h 6523037"/>
                <a:gd name="connsiteX4748" fmla="*/ 2064074 w 12192001"/>
                <a:gd name="connsiteY4748" fmla="*/ 477653 h 6523037"/>
                <a:gd name="connsiteX4749" fmla="*/ 1792964 w 12192001"/>
                <a:gd name="connsiteY4749" fmla="*/ 207241 h 6523037"/>
                <a:gd name="connsiteX4750" fmla="*/ 1977431 w 12192001"/>
                <a:gd name="connsiteY4750" fmla="*/ 22774 h 6523037"/>
                <a:gd name="connsiteX4751" fmla="*/ 1978130 w 12192001"/>
                <a:gd name="connsiteY4751" fmla="*/ 22774 h 6523037"/>
                <a:gd name="connsiteX4752" fmla="*/ 1992847 w 12192001"/>
                <a:gd name="connsiteY4752" fmla="*/ 7937 h 6523037"/>
                <a:gd name="connsiteX4753" fmla="*/ 2002247 w 12192001"/>
                <a:gd name="connsiteY4753" fmla="*/ 7937 h 6523037"/>
                <a:gd name="connsiteX4754" fmla="*/ 1808336 w 12192001"/>
                <a:gd name="connsiteY4754" fmla="*/ 202349 h 6523037"/>
                <a:gd name="connsiteX4755" fmla="*/ 2071761 w 12192001"/>
                <a:gd name="connsiteY4755" fmla="*/ 202349 h 6523037"/>
                <a:gd name="connsiteX4756" fmla="*/ 2266173 w 12192001"/>
                <a:gd name="connsiteY4756" fmla="*/ 7937 h 6523037"/>
                <a:gd name="connsiteX4757" fmla="*/ 2277539 w 12192001"/>
                <a:gd name="connsiteY4757" fmla="*/ 7937 h 6523037"/>
                <a:gd name="connsiteX4758" fmla="*/ 2078748 w 12192001"/>
                <a:gd name="connsiteY4758" fmla="*/ 207241 h 6523037"/>
                <a:gd name="connsiteX4759" fmla="*/ 2348461 w 12192001"/>
                <a:gd name="connsiteY4759" fmla="*/ 476256 h 6523037"/>
                <a:gd name="connsiteX4760" fmla="*/ 2611886 w 12192001"/>
                <a:gd name="connsiteY4760" fmla="*/ 476256 h 6523037"/>
                <a:gd name="connsiteX4761" fmla="*/ 2342872 w 12192001"/>
                <a:gd name="connsiteY4761" fmla="*/ 207241 h 6523037"/>
                <a:gd name="connsiteX4762" fmla="*/ 2343570 w 12192001"/>
                <a:gd name="connsiteY4762" fmla="*/ 206542 h 6523037"/>
                <a:gd name="connsiteX4763" fmla="*/ 2342173 w 12192001"/>
                <a:gd name="connsiteY4763" fmla="*/ 205145 h 6523037"/>
                <a:gd name="connsiteX4764" fmla="*/ 2538868 w 12192001"/>
                <a:gd name="connsiteY4764" fmla="*/ 7937 h 6523037"/>
                <a:gd name="connsiteX4765" fmla="*/ 2552152 w 12192001"/>
                <a:gd name="connsiteY4765" fmla="*/ 7937 h 6523037"/>
                <a:gd name="connsiteX4766" fmla="*/ 2358243 w 12192001"/>
                <a:gd name="connsiteY4766" fmla="*/ 202349 h 6523037"/>
                <a:gd name="connsiteX4767" fmla="*/ 2620271 w 12192001"/>
                <a:gd name="connsiteY4767" fmla="*/ 202349 h 6523037"/>
                <a:gd name="connsiteX4768" fmla="*/ 2814181 w 12192001"/>
                <a:gd name="connsiteY4768" fmla="*/ 7937 h 6523037"/>
                <a:gd name="connsiteX4769" fmla="*/ 2825540 w 12192001"/>
                <a:gd name="connsiteY4769" fmla="*/ 7937 h 6523037"/>
                <a:gd name="connsiteX4770" fmla="*/ 2628655 w 12192001"/>
                <a:gd name="connsiteY4770" fmla="*/ 205843 h 6523037"/>
                <a:gd name="connsiteX4771" fmla="*/ 2898368 w 12192001"/>
                <a:gd name="connsiteY4771" fmla="*/ 474858 h 6523037"/>
                <a:gd name="connsiteX4772" fmla="*/ 3163191 w 12192001"/>
                <a:gd name="connsiteY4772" fmla="*/ 476256 h 6523037"/>
                <a:gd name="connsiteX4773" fmla="*/ 2892081 w 12192001"/>
                <a:gd name="connsiteY4773" fmla="*/ 205843 h 6523037"/>
                <a:gd name="connsiteX4774" fmla="*/ 2890683 w 12192001"/>
                <a:gd name="connsiteY4774" fmla="*/ 204446 h 6523037"/>
                <a:gd name="connsiteX4775" fmla="*/ 3086683 w 12192001"/>
                <a:gd name="connsiteY4775" fmla="*/ 7937 h 6523037"/>
                <a:gd name="connsiteX4776" fmla="*/ 3097556 w 12192001"/>
                <a:gd name="connsiteY4776" fmla="*/ 7937 h 6523037"/>
                <a:gd name="connsiteX4777" fmla="*/ 3082137 w 12192001"/>
                <a:gd name="connsiteY4777" fmla="*/ 23473 h 6523037"/>
                <a:gd name="connsiteX4778" fmla="*/ 3082836 w 12192001"/>
                <a:gd name="connsiteY4778" fmla="*/ 24172 h 6523037"/>
                <a:gd name="connsiteX4779" fmla="*/ 2906754 w 12192001"/>
                <a:gd name="connsiteY4779" fmla="*/ 200254 h 6523037"/>
                <a:gd name="connsiteX4780" fmla="*/ 3103099 w 12192001"/>
                <a:gd name="connsiteY4780" fmla="*/ 200254 h 6523037"/>
                <a:gd name="connsiteX4781" fmla="*/ 3102401 w 12192001"/>
                <a:gd name="connsiteY4781" fmla="*/ 201651 h 6523037"/>
                <a:gd name="connsiteX4782" fmla="*/ 3168083 w 12192001"/>
                <a:gd name="connsiteY4782" fmla="*/ 201651 h 6523037"/>
                <a:gd name="connsiteX4783" fmla="*/ 3361298 w 12192001"/>
                <a:gd name="connsiteY4783" fmla="*/ 7937 h 6523037"/>
                <a:gd name="connsiteX4784" fmla="*/ 3371863 w 12192001"/>
                <a:gd name="connsiteY4784" fmla="*/ 7937 h 6523037"/>
                <a:gd name="connsiteX4785" fmla="*/ 3264508 w 12192001"/>
                <a:gd name="connsiteY4785" fmla="*/ 115706 h 6523037"/>
                <a:gd name="connsiteX4786" fmla="*/ 3265906 w 12192001"/>
                <a:gd name="connsiteY4786" fmla="*/ 116405 h 6523037"/>
                <a:gd name="connsiteX4787" fmla="*/ 3176467 w 12192001"/>
                <a:gd name="connsiteY4787" fmla="*/ 205843 h 6523037"/>
                <a:gd name="connsiteX4788" fmla="*/ 3446879 w 12192001"/>
                <a:gd name="connsiteY4788" fmla="*/ 475557 h 6523037"/>
                <a:gd name="connsiteX4789" fmla="*/ 3710303 w 12192001"/>
                <a:gd name="connsiteY4789" fmla="*/ 475557 h 6523037"/>
                <a:gd name="connsiteX4790" fmla="*/ 3439891 w 12192001"/>
                <a:gd name="connsiteY4790" fmla="*/ 205843 h 6523037"/>
                <a:gd name="connsiteX4791" fmla="*/ 3439193 w 12192001"/>
                <a:gd name="connsiteY4791" fmla="*/ 205145 h 6523037"/>
                <a:gd name="connsiteX4792" fmla="*/ 3635893 w 12192001"/>
                <a:gd name="connsiteY4792" fmla="*/ 7937 h 6523037"/>
                <a:gd name="connsiteX4793" fmla="*/ 3646183 w 12192001"/>
                <a:gd name="connsiteY4793" fmla="*/ 7937 h 6523037"/>
                <a:gd name="connsiteX4794" fmla="*/ 3453167 w 12192001"/>
                <a:gd name="connsiteY4794" fmla="*/ 200953 h 6523037"/>
                <a:gd name="connsiteX4795" fmla="*/ 3717291 w 12192001"/>
                <a:gd name="connsiteY4795" fmla="*/ 200953 h 6523037"/>
                <a:gd name="connsiteX4796" fmla="*/ 3910306 w 12192001"/>
                <a:gd name="connsiteY4796" fmla="*/ 7937 h 6523037"/>
                <a:gd name="connsiteX4797" fmla="*/ 3919582 w 12192001"/>
                <a:gd name="connsiteY4797" fmla="*/ 7937 h 6523037"/>
                <a:gd name="connsiteX4798" fmla="*/ 3723579 w 12192001"/>
                <a:gd name="connsiteY4798" fmla="*/ 204446 h 6523037"/>
                <a:gd name="connsiteX4799" fmla="*/ 3994690 w 12192001"/>
                <a:gd name="connsiteY4799" fmla="*/ 474858 h 6523037"/>
                <a:gd name="connsiteX4800" fmla="*/ 4258116 w 12192001"/>
                <a:gd name="connsiteY4800" fmla="*/ 474858 h 6523037"/>
                <a:gd name="connsiteX4801" fmla="*/ 4128150 w 12192001"/>
                <a:gd name="connsiteY4801" fmla="*/ 344893 h 6523037"/>
                <a:gd name="connsiteX4802" fmla="*/ 3987703 w 12192001"/>
                <a:gd name="connsiteY4802" fmla="*/ 204446 h 6523037"/>
                <a:gd name="connsiteX4803" fmla="*/ 4183705 w 12192001"/>
                <a:gd name="connsiteY4803" fmla="*/ 7937 h 6523037"/>
                <a:gd name="connsiteX4804" fmla="*/ 4194197 w 12192001"/>
                <a:gd name="connsiteY4804" fmla="*/ 7937 h 6523037"/>
                <a:gd name="connsiteX4805" fmla="*/ 4002377 w 12192001"/>
                <a:gd name="connsiteY4805" fmla="*/ 200254 h 6523037"/>
                <a:gd name="connsiteX4806" fmla="*/ 4265801 w 12192001"/>
                <a:gd name="connsiteY4806" fmla="*/ 200254 h 6523037"/>
                <a:gd name="connsiteX4807" fmla="*/ 4457622 w 12192001"/>
                <a:gd name="connsiteY4807" fmla="*/ 7937 h 6523037"/>
                <a:gd name="connsiteX4808" fmla="*/ 4467396 w 12192001"/>
                <a:gd name="connsiteY4808" fmla="*/ 7937 h 6523037"/>
                <a:gd name="connsiteX4809" fmla="*/ 4272090 w 12192001"/>
                <a:gd name="connsiteY4809" fmla="*/ 203747 h 6523037"/>
                <a:gd name="connsiteX4810" fmla="*/ 4543201 w 12192001"/>
                <a:gd name="connsiteY4810" fmla="*/ 474159 h 6523037"/>
                <a:gd name="connsiteX4811" fmla="*/ 4805314 w 12192001"/>
                <a:gd name="connsiteY4811" fmla="*/ 474159 h 6523037"/>
                <a:gd name="connsiteX4812" fmla="*/ 4803346 w 12192001"/>
                <a:gd name="connsiteY4812" fmla="*/ 472192 h 6523037"/>
                <a:gd name="connsiteX4813" fmla="*/ 4660106 w 12192001"/>
                <a:gd name="connsiteY4813" fmla="*/ 329650 h 6523037"/>
                <a:gd name="connsiteX4814" fmla="*/ 4660106 w 12192001"/>
                <a:gd name="connsiteY4814" fmla="*/ 327321 h 6523037"/>
                <a:gd name="connsiteX4815" fmla="*/ 4536213 w 12192001"/>
                <a:gd name="connsiteY4815" fmla="*/ 203747 h 6523037"/>
                <a:gd name="connsiteX4816" fmla="*/ 4660106 w 12192001"/>
                <a:gd name="connsiteY4816" fmla="*/ 79534 h 6523037"/>
                <a:gd name="connsiteX4817" fmla="*/ 4660106 w 12192001"/>
                <a:gd name="connsiteY4817" fmla="*/ 76705 h 6523037"/>
                <a:gd name="connsiteX4818" fmla="*/ 4733289 w 12192001"/>
                <a:gd name="connsiteY4818" fmla="*/ 3175 h 6523037"/>
                <a:gd name="connsiteX4819" fmla="*/ 4744118 w 12192001"/>
                <a:gd name="connsiteY4819" fmla="*/ 3175 h 6523037"/>
                <a:gd name="connsiteX4820" fmla="*/ 4739355 w 12192001"/>
                <a:gd name="connsiteY4820" fmla="*/ 7937 h 6523037"/>
                <a:gd name="connsiteX4821" fmla="*/ 4741807 w 12192001"/>
                <a:gd name="connsiteY4821" fmla="*/ 7937 h 6523037"/>
                <a:gd name="connsiteX4822" fmla="*/ 4549490 w 12192001"/>
                <a:gd name="connsiteY4822" fmla="*/ 200254 h 6523037"/>
                <a:gd name="connsiteX4823" fmla="*/ 4811162 w 12192001"/>
                <a:gd name="connsiteY4823" fmla="*/ 200254 h 6523037"/>
                <a:gd name="connsiteX4824" fmla="*/ 5008241 w 12192001"/>
                <a:gd name="connsiteY4824" fmla="*/ 3175 h 6523037"/>
                <a:gd name="connsiteX4825" fmla="*/ 5018721 w 12192001"/>
                <a:gd name="connsiteY4825" fmla="*/ 3175 h 6523037"/>
                <a:gd name="connsiteX4826" fmla="*/ 4823396 w 12192001"/>
                <a:gd name="connsiteY4826" fmla="*/ 198500 h 6523037"/>
                <a:gd name="connsiteX4827" fmla="*/ 4823396 w 12192001"/>
                <a:gd name="connsiteY4827" fmla="*/ 199684 h 6523037"/>
                <a:gd name="connsiteX4828" fmla="*/ 5086337 w 12192001"/>
                <a:gd name="connsiteY4828" fmla="*/ 199684 h 6523037"/>
                <a:gd name="connsiteX4829" fmla="*/ 5282338 w 12192001"/>
                <a:gd name="connsiteY4829" fmla="*/ 3175 h 6523037"/>
                <a:gd name="connsiteX4830" fmla="*/ 5292112 w 12192001"/>
                <a:gd name="connsiteY4830" fmla="*/ 3175 h 6523037"/>
                <a:gd name="connsiteX4831" fmla="*/ 5092624 w 12192001"/>
                <a:gd name="connsiteY4831" fmla="*/ 203178 h 6523037"/>
                <a:gd name="connsiteX4832" fmla="*/ 5364435 w 12192001"/>
                <a:gd name="connsiteY4832" fmla="*/ 473590 h 6523037"/>
                <a:gd name="connsiteX4833" fmla="*/ 5627858 w 12192001"/>
                <a:gd name="connsiteY4833" fmla="*/ 473590 h 6523037"/>
                <a:gd name="connsiteX4834" fmla="*/ 5497196 w 12192001"/>
                <a:gd name="connsiteY4834" fmla="*/ 343624 h 6523037"/>
                <a:gd name="connsiteX4835" fmla="*/ 5356748 w 12192001"/>
                <a:gd name="connsiteY4835" fmla="*/ 203178 h 6523037"/>
                <a:gd name="connsiteX4836" fmla="*/ 5556235 w 12192001"/>
                <a:gd name="connsiteY4836" fmla="*/ 3175 h 6523037"/>
                <a:gd name="connsiteX4837" fmla="*/ 5567425 w 12192001"/>
                <a:gd name="connsiteY4837" fmla="*/ 3175 h 6523037"/>
                <a:gd name="connsiteX4838" fmla="*/ 5371422 w 12192001"/>
                <a:gd name="connsiteY4838" fmla="*/ 199684 h 6523037"/>
                <a:gd name="connsiteX4839" fmla="*/ 5634846 w 12192001"/>
                <a:gd name="connsiteY4839" fmla="*/ 199684 h 6523037"/>
                <a:gd name="connsiteX4840" fmla="*/ 5830848 w 12192001"/>
                <a:gd name="connsiteY4840" fmla="*/ 3175 h 6523037"/>
                <a:gd name="connsiteX4841" fmla="*/ 5839925 w 12192001"/>
                <a:gd name="connsiteY4841" fmla="*/ 3175 h 6523037"/>
                <a:gd name="connsiteX4842" fmla="*/ 5641135 w 12192001"/>
                <a:gd name="connsiteY4842" fmla="*/ 202479 h 6523037"/>
                <a:gd name="connsiteX4843" fmla="*/ 5912246 w 12192001"/>
                <a:gd name="connsiteY4843" fmla="*/ 472891 h 6523037"/>
                <a:gd name="connsiteX4844" fmla="*/ 6176369 w 12192001"/>
                <a:gd name="connsiteY4844" fmla="*/ 472891 h 6523037"/>
                <a:gd name="connsiteX4845" fmla="*/ 5905258 w 12192001"/>
                <a:gd name="connsiteY4845" fmla="*/ 202479 h 6523037"/>
                <a:gd name="connsiteX4846" fmla="*/ 6104048 w 12192001"/>
                <a:gd name="connsiteY4846" fmla="*/ 3175 h 6523037"/>
                <a:gd name="connsiteX4847" fmla="*/ 6113517 w 12192001"/>
                <a:gd name="connsiteY4847" fmla="*/ 3175 h 6523037"/>
                <a:gd name="connsiteX4848" fmla="*/ 6096713 w 12192001"/>
                <a:gd name="connsiteY4848" fmla="*/ 20108 h 6523037"/>
                <a:gd name="connsiteX4849" fmla="*/ 6096014 w 12192001"/>
                <a:gd name="connsiteY4849" fmla="*/ 20108 h 6523037"/>
                <a:gd name="connsiteX4850" fmla="*/ 5918534 w 12192001"/>
                <a:gd name="connsiteY4850" fmla="*/ 198286 h 6523037"/>
                <a:gd name="connsiteX4851" fmla="*/ 6182657 w 12192001"/>
                <a:gd name="connsiteY4851" fmla="*/ 198286 h 6523037"/>
                <a:gd name="connsiteX4852" fmla="*/ 6377769 w 12192001"/>
                <a:gd name="connsiteY4852" fmla="*/ 3175 h 6523037"/>
                <a:gd name="connsiteX4853" fmla="*/ 6388531 w 12192001"/>
                <a:gd name="connsiteY4853" fmla="*/ 3175 h 6523037"/>
                <a:gd name="connsiteX4854" fmla="*/ 6280482 w 12192001"/>
                <a:gd name="connsiteY4854" fmla="*/ 111643 h 6523037"/>
                <a:gd name="connsiteX4855" fmla="*/ 6279783 w 12192001"/>
                <a:gd name="connsiteY4855" fmla="*/ 111643 h 6523037"/>
                <a:gd name="connsiteX4856" fmla="*/ 6189645 w 12192001"/>
                <a:gd name="connsiteY4856" fmla="*/ 201780 h 6523037"/>
                <a:gd name="connsiteX4857" fmla="*/ 6460057 w 12192001"/>
                <a:gd name="connsiteY4857" fmla="*/ 472891 h 6523037"/>
                <a:gd name="connsiteX4858" fmla="*/ 6724180 w 12192001"/>
                <a:gd name="connsiteY4858" fmla="*/ 472891 h 6523037"/>
                <a:gd name="connsiteX4859" fmla="*/ 6453070 w 12192001"/>
                <a:gd name="connsiteY4859" fmla="*/ 202479 h 6523037"/>
                <a:gd name="connsiteX4860" fmla="*/ 6637537 w 12192001"/>
                <a:gd name="connsiteY4860" fmla="*/ 18012 h 6523037"/>
                <a:gd name="connsiteX4861" fmla="*/ 6638236 w 12192001"/>
                <a:gd name="connsiteY4861" fmla="*/ 18012 h 6523037"/>
                <a:gd name="connsiteX4862" fmla="*/ 6652953 w 12192001"/>
                <a:gd name="connsiteY4862" fmla="*/ 3175 h 6523037"/>
                <a:gd name="connsiteX4863" fmla="*/ 6662353 w 12192001"/>
                <a:gd name="connsiteY4863" fmla="*/ 3175 h 6523037"/>
                <a:gd name="connsiteX4864" fmla="*/ 6468443 w 12192001"/>
                <a:gd name="connsiteY4864" fmla="*/ 197587 h 6523037"/>
                <a:gd name="connsiteX4865" fmla="*/ 6731868 w 12192001"/>
                <a:gd name="connsiteY4865" fmla="*/ 197587 h 6523037"/>
                <a:gd name="connsiteX4866" fmla="*/ 6926279 w 12192001"/>
                <a:gd name="connsiteY4866" fmla="*/ 3175 h 6523037"/>
                <a:gd name="connsiteX4867" fmla="*/ 6937645 w 12192001"/>
                <a:gd name="connsiteY4867" fmla="*/ 3175 h 6523037"/>
                <a:gd name="connsiteX4868" fmla="*/ 6738854 w 12192001"/>
                <a:gd name="connsiteY4868" fmla="*/ 202479 h 6523037"/>
                <a:gd name="connsiteX4869" fmla="*/ 7008567 w 12192001"/>
                <a:gd name="connsiteY4869" fmla="*/ 471494 h 6523037"/>
                <a:gd name="connsiteX4870" fmla="*/ 7271992 w 12192001"/>
                <a:gd name="connsiteY4870" fmla="*/ 471494 h 6523037"/>
                <a:gd name="connsiteX4871" fmla="*/ 7002979 w 12192001"/>
                <a:gd name="connsiteY4871" fmla="*/ 202479 h 6523037"/>
                <a:gd name="connsiteX4872" fmla="*/ 7003677 w 12192001"/>
                <a:gd name="connsiteY4872" fmla="*/ 201780 h 6523037"/>
                <a:gd name="connsiteX4873" fmla="*/ 7002279 w 12192001"/>
                <a:gd name="connsiteY4873" fmla="*/ 200383 h 6523037"/>
                <a:gd name="connsiteX4874" fmla="*/ 7198974 w 12192001"/>
                <a:gd name="connsiteY4874" fmla="*/ 3175 h 6523037"/>
                <a:gd name="connsiteX4875" fmla="*/ 7212258 w 12192001"/>
                <a:gd name="connsiteY4875" fmla="*/ 3175 h 6523037"/>
                <a:gd name="connsiteX4876" fmla="*/ 7018349 w 12192001"/>
                <a:gd name="connsiteY4876" fmla="*/ 197587 h 6523037"/>
                <a:gd name="connsiteX4877" fmla="*/ 7280377 w 12192001"/>
                <a:gd name="connsiteY4877" fmla="*/ 197587 h 6523037"/>
                <a:gd name="connsiteX4878" fmla="*/ 7474287 w 12192001"/>
                <a:gd name="connsiteY4878" fmla="*/ 3175 h 6523037"/>
                <a:gd name="connsiteX4879" fmla="*/ 7485646 w 12192001"/>
                <a:gd name="connsiteY4879" fmla="*/ 3175 h 6523037"/>
                <a:gd name="connsiteX4880" fmla="*/ 7288761 w 12192001"/>
                <a:gd name="connsiteY4880" fmla="*/ 201081 h 6523037"/>
                <a:gd name="connsiteX4881" fmla="*/ 7558474 w 12192001"/>
                <a:gd name="connsiteY4881" fmla="*/ 470096 h 6523037"/>
                <a:gd name="connsiteX4882" fmla="*/ 7823297 w 12192001"/>
                <a:gd name="connsiteY4882" fmla="*/ 471494 h 6523037"/>
                <a:gd name="connsiteX4883" fmla="*/ 7552187 w 12192001"/>
                <a:gd name="connsiteY4883" fmla="*/ 201081 h 6523037"/>
                <a:gd name="connsiteX4884" fmla="*/ 7550789 w 12192001"/>
                <a:gd name="connsiteY4884" fmla="*/ 199684 h 6523037"/>
                <a:gd name="connsiteX4885" fmla="*/ 7746789 w 12192001"/>
                <a:gd name="connsiteY4885" fmla="*/ 3175 h 6523037"/>
                <a:gd name="connsiteX4886" fmla="*/ 7757662 w 12192001"/>
                <a:gd name="connsiteY4886" fmla="*/ 3175 h 6523037"/>
                <a:gd name="connsiteX4887" fmla="*/ 7742243 w 12192001"/>
                <a:gd name="connsiteY4887" fmla="*/ 18711 h 6523037"/>
                <a:gd name="connsiteX4888" fmla="*/ 7742942 w 12192001"/>
                <a:gd name="connsiteY4888" fmla="*/ 19410 h 6523037"/>
                <a:gd name="connsiteX4889" fmla="*/ 7566860 w 12192001"/>
                <a:gd name="connsiteY4889" fmla="*/ 195492 h 6523037"/>
                <a:gd name="connsiteX4890" fmla="*/ 7763205 w 12192001"/>
                <a:gd name="connsiteY4890" fmla="*/ 195492 h 6523037"/>
                <a:gd name="connsiteX4891" fmla="*/ 7762507 w 12192001"/>
                <a:gd name="connsiteY4891" fmla="*/ 196889 h 6523037"/>
                <a:gd name="connsiteX4892" fmla="*/ 7828189 w 12192001"/>
                <a:gd name="connsiteY4892" fmla="*/ 196889 h 6523037"/>
                <a:gd name="connsiteX4893" fmla="*/ 8021404 w 12192001"/>
                <a:gd name="connsiteY4893" fmla="*/ 3175 h 6523037"/>
                <a:gd name="connsiteX4894" fmla="*/ 8031969 w 12192001"/>
                <a:gd name="connsiteY4894" fmla="*/ 3175 h 6523037"/>
                <a:gd name="connsiteX4895" fmla="*/ 7924614 w 12192001"/>
                <a:gd name="connsiteY4895" fmla="*/ 110944 h 6523037"/>
                <a:gd name="connsiteX4896" fmla="*/ 7926012 w 12192001"/>
                <a:gd name="connsiteY4896" fmla="*/ 111643 h 6523037"/>
                <a:gd name="connsiteX4897" fmla="*/ 7836573 w 12192001"/>
                <a:gd name="connsiteY4897" fmla="*/ 201081 h 6523037"/>
                <a:gd name="connsiteX4898" fmla="*/ 8106985 w 12192001"/>
                <a:gd name="connsiteY4898" fmla="*/ 470795 h 6523037"/>
                <a:gd name="connsiteX4899" fmla="*/ 8370409 w 12192001"/>
                <a:gd name="connsiteY4899" fmla="*/ 470795 h 6523037"/>
                <a:gd name="connsiteX4900" fmla="*/ 8099997 w 12192001"/>
                <a:gd name="connsiteY4900" fmla="*/ 201081 h 6523037"/>
                <a:gd name="connsiteX4901" fmla="*/ 8099299 w 12192001"/>
                <a:gd name="connsiteY4901" fmla="*/ 200383 h 6523037"/>
                <a:gd name="connsiteX4902" fmla="*/ 8295999 w 12192001"/>
                <a:gd name="connsiteY4902" fmla="*/ 3175 h 6523037"/>
                <a:gd name="connsiteX4903" fmla="*/ 8306289 w 12192001"/>
                <a:gd name="connsiteY4903" fmla="*/ 3175 h 6523037"/>
                <a:gd name="connsiteX4904" fmla="*/ 8113273 w 12192001"/>
                <a:gd name="connsiteY4904" fmla="*/ 196191 h 6523037"/>
                <a:gd name="connsiteX4905" fmla="*/ 8377397 w 12192001"/>
                <a:gd name="connsiteY4905" fmla="*/ 196191 h 6523037"/>
                <a:gd name="connsiteX4906" fmla="*/ 8570412 w 12192001"/>
                <a:gd name="connsiteY4906" fmla="*/ 3175 h 6523037"/>
                <a:gd name="connsiteX4907" fmla="*/ 8579688 w 12192001"/>
                <a:gd name="connsiteY4907" fmla="*/ 3175 h 6523037"/>
                <a:gd name="connsiteX4908" fmla="*/ 8383685 w 12192001"/>
                <a:gd name="connsiteY4908" fmla="*/ 199684 h 6523037"/>
                <a:gd name="connsiteX4909" fmla="*/ 8654796 w 12192001"/>
                <a:gd name="connsiteY4909" fmla="*/ 470096 h 6523037"/>
                <a:gd name="connsiteX4910" fmla="*/ 8918222 w 12192001"/>
                <a:gd name="connsiteY4910" fmla="*/ 470096 h 6523037"/>
                <a:gd name="connsiteX4911" fmla="*/ 8788256 w 12192001"/>
                <a:gd name="connsiteY4911" fmla="*/ 340131 h 6523037"/>
                <a:gd name="connsiteX4912" fmla="*/ 8647809 w 12192001"/>
                <a:gd name="connsiteY4912" fmla="*/ 199684 h 6523037"/>
                <a:gd name="connsiteX4913" fmla="*/ 8843811 w 12192001"/>
                <a:gd name="connsiteY4913" fmla="*/ 3175 h 6523037"/>
                <a:gd name="connsiteX4914" fmla="*/ 8854303 w 12192001"/>
                <a:gd name="connsiteY4914" fmla="*/ 3175 h 6523037"/>
                <a:gd name="connsiteX4915" fmla="*/ 8662483 w 12192001"/>
                <a:gd name="connsiteY4915" fmla="*/ 195492 h 6523037"/>
                <a:gd name="connsiteX4916" fmla="*/ 8925907 w 12192001"/>
                <a:gd name="connsiteY4916" fmla="*/ 195492 h 6523037"/>
                <a:gd name="connsiteX4917" fmla="*/ 9117728 w 12192001"/>
                <a:gd name="connsiteY4917" fmla="*/ 3175 h 6523037"/>
                <a:gd name="connsiteX4918" fmla="*/ 9127502 w 12192001"/>
                <a:gd name="connsiteY4918" fmla="*/ 3175 h 6523037"/>
                <a:gd name="connsiteX4919" fmla="*/ 8932196 w 12192001"/>
                <a:gd name="connsiteY4919" fmla="*/ 198985 h 6523037"/>
                <a:gd name="connsiteX4920" fmla="*/ 9203307 w 12192001"/>
                <a:gd name="connsiteY4920" fmla="*/ 469397 h 6523037"/>
                <a:gd name="connsiteX4921" fmla="*/ 9464143 w 12192001"/>
                <a:gd name="connsiteY4921" fmla="*/ 469397 h 6523037"/>
                <a:gd name="connsiteX4922" fmla="*/ 9463763 w 12192001"/>
                <a:gd name="connsiteY4922" fmla="*/ 469017 h 6523037"/>
                <a:gd name="connsiteX4923" fmla="*/ 9320523 w 12192001"/>
                <a:gd name="connsiteY4923" fmla="*/ 326475 h 6523037"/>
                <a:gd name="connsiteX4924" fmla="*/ 9320523 w 12192001"/>
                <a:gd name="connsiteY4924" fmla="*/ 322869 h 6523037"/>
                <a:gd name="connsiteX4925" fmla="*/ 9196319 w 12192001"/>
                <a:gd name="connsiteY4925" fmla="*/ 198985 h 6523037"/>
                <a:gd name="connsiteX4926" fmla="*/ 9320523 w 12192001"/>
                <a:gd name="connsiteY4926" fmla="*/ 74460 h 6523037"/>
                <a:gd name="connsiteX4927" fmla="*/ 9320523 w 12192001"/>
                <a:gd name="connsiteY4927" fmla="*/ 73530 h 652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Lst>
              <a:rect l="l" t="t" r="r" b="b"/>
              <a:pathLst>
                <a:path w="12192001" h="6523037">
                  <a:moveTo>
                    <a:pt x="700271" y="6509761"/>
                  </a:moveTo>
                  <a:lnTo>
                    <a:pt x="714941" y="6516802"/>
                  </a:lnTo>
                  <a:lnTo>
                    <a:pt x="710807" y="6516802"/>
                  </a:lnTo>
                  <a:lnTo>
                    <a:pt x="704588" y="6523037"/>
                  </a:lnTo>
                  <a:lnTo>
                    <a:pt x="694116" y="6523037"/>
                  </a:lnTo>
                  <a:lnTo>
                    <a:pt x="703819" y="6513309"/>
                  </a:lnTo>
                  <a:close/>
                  <a:moveTo>
                    <a:pt x="5360377" y="6504999"/>
                  </a:moveTo>
                  <a:lnTo>
                    <a:pt x="5375047" y="6512040"/>
                  </a:lnTo>
                  <a:lnTo>
                    <a:pt x="5370913" y="6512040"/>
                  </a:lnTo>
                  <a:lnTo>
                    <a:pt x="5364694" y="6518275"/>
                  </a:lnTo>
                  <a:lnTo>
                    <a:pt x="5354222" y="6518275"/>
                  </a:lnTo>
                  <a:lnTo>
                    <a:pt x="5363925" y="6508547"/>
                  </a:lnTo>
                  <a:close/>
                  <a:moveTo>
                    <a:pt x="10020794" y="6501824"/>
                  </a:moveTo>
                  <a:lnTo>
                    <a:pt x="10035464" y="6508865"/>
                  </a:lnTo>
                  <a:lnTo>
                    <a:pt x="10031330" y="6508865"/>
                  </a:lnTo>
                  <a:lnTo>
                    <a:pt x="10025111" y="6515100"/>
                  </a:lnTo>
                  <a:lnTo>
                    <a:pt x="10014639" y="6515100"/>
                  </a:lnTo>
                  <a:lnTo>
                    <a:pt x="10024342" y="6505372"/>
                  </a:lnTo>
                  <a:close/>
                  <a:moveTo>
                    <a:pt x="4558064" y="6240102"/>
                  </a:moveTo>
                  <a:lnTo>
                    <a:pt x="4825101" y="6506450"/>
                  </a:lnTo>
                  <a:lnTo>
                    <a:pt x="5085827" y="6506450"/>
                  </a:lnTo>
                  <a:lnTo>
                    <a:pt x="4818791" y="6240102"/>
                  </a:lnTo>
                  <a:close/>
                  <a:moveTo>
                    <a:pt x="9218170" y="6235340"/>
                  </a:moveTo>
                  <a:lnTo>
                    <a:pt x="9486798" y="6503275"/>
                  </a:lnTo>
                  <a:lnTo>
                    <a:pt x="9746244" y="6503275"/>
                  </a:lnTo>
                  <a:lnTo>
                    <a:pt x="9477616" y="6235340"/>
                  </a:lnTo>
                  <a:close/>
                  <a:moveTo>
                    <a:pt x="710108" y="5969690"/>
                  </a:moveTo>
                  <a:lnTo>
                    <a:pt x="439696" y="6240800"/>
                  </a:lnTo>
                  <a:lnTo>
                    <a:pt x="710807" y="6511212"/>
                  </a:lnTo>
                  <a:lnTo>
                    <a:pt x="974930" y="6511212"/>
                  </a:lnTo>
                  <a:lnTo>
                    <a:pt x="703819" y="6240800"/>
                  </a:lnTo>
                  <a:lnTo>
                    <a:pt x="974231" y="5969690"/>
                  </a:lnTo>
                  <a:close/>
                  <a:moveTo>
                    <a:pt x="1807827" y="5968991"/>
                  </a:moveTo>
                  <a:lnTo>
                    <a:pt x="1537414" y="6240102"/>
                  </a:lnTo>
                  <a:lnTo>
                    <a:pt x="1808526" y="6510514"/>
                  </a:lnTo>
                  <a:lnTo>
                    <a:pt x="2072648" y="6510514"/>
                  </a:lnTo>
                  <a:lnTo>
                    <a:pt x="1801539" y="6240102"/>
                  </a:lnTo>
                  <a:lnTo>
                    <a:pt x="2071951" y="5968991"/>
                  </a:lnTo>
                  <a:close/>
                  <a:moveTo>
                    <a:pt x="1257919" y="5968991"/>
                  </a:moveTo>
                  <a:lnTo>
                    <a:pt x="988206" y="6240102"/>
                  </a:lnTo>
                  <a:lnTo>
                    <a:pt x="1188744" y="6440640"/>
                  </a:lnTo>
                  <a:lnTo>
                    <a:pt x="1259317" y="6510514"/>
                  </a:lnTo>
                  <a:lnTo>
                    <a:pt x="1327793" y="6510514"/>
                  </a:lnTo>
                  <a:lnTo>
                    <a:pt x="1327094" y="6511911"/>
                  </a:lnTo>
                  <a:lnTo>
                    <a:pt x="1524139" y="6511911"/>
                  </a:lnTo>
                  <a:lnTo>
                    <a:pt x="1253028" y="6241499"/>
                  </a:lnTo>
                  <a:lnTo>
                    <a:pt x="1253727" y="6240800"/>
                  </a:lnTo>
                  <a:lnTo>
                    <a:pt x="1251631" y="6240102"/>
                  </a:lnTo>
                  <a:lnTo>
                    <a:pt x="1522043" y="5968991"/>
                  </a:lnTo>
                  <a:close/>
                  <a:moveTo>
                    <a:pt x="2904847" y="5968292"/>
                  </a:moveTo>
                  <a:lnTo>
                    <a:pt x="2634435" y="6239403"/>
                  </a:lnTo>
                  <a:lnTo>
                    <a:pt x="2905546" y="6509815"/>
                  </a:lnTo>
                  <a:lnTo>
                    <a:pt x="3169669" y="6509815"/>
                  </a:lnTo>
                  <a:lnTo>
                    <a:pt x="2898558" y="6239403"/>
                  </a:lnTo>
                  <a:lnTo>
                    <a:pt x="3168970" y="5968292"/>
                  </a:lnTo>
                  <a:close/>
                  <a:moveTo>
                    <a:pt x="2356338" y="5968292"/>
                  </a:moveTo>
                  <a:lnTo>
                    <a:pt x="2085925" y="6239403"/>
                  </a:lnTo>
                  <a:lnTo>
                    <a:pt x="2357035" y="6509815"/>
                  </a:lnTo>
                  <a:lnTo>
                    <a:pt x="2620460" y="6509815"/>
                  </a:lnTo>
                  <a:lnTo>
                    <a:pt x="2490495" y="6379850"/>
                  </a:lnTo>
                  <a:lnTo>
                    <a:pt x="2350049" y="6239403"/>
                  </a:lnTo>
                  <a:lnTo>
                    <a:pt x="2620460" y="5968292"/>
                  </a:lnTo>
                  <a:close/>
                  <a:moveTo>
                    <a:pt x="3453357" y="5967593"/>
                  </a:moveTo>
                  <a:lnTo>
                    <a:pt x="3182945" y="6238704"/>
                  </a:lnTo>
                  <a:lnTo>
                    <a:pt x="3454056" y="6508417"/>
                  </a:lnTo>
                  <a:lnTo>
                    <a:pt x="3718179" y="6508417"/>
                  </a:lnTo>
                  <a:lnTo>
                    <a:pt x="3447069" y="6238006"/>
                  </a:lnTo>
                  <a:lnTo>
                    <a:pt x="3631536" y="6053539"/>
                  </a:lnTo>
                  <a:lnTo>
                    <a:pt x="3717481" y="5967593"/>
                  </a:lnTo>
                  <a:close/>
                  <a:moveTo>
                    <a:pt x="4550379" y="5966196"/>
                  </a:moveTo>
                  <a:lnTo>
                    <a:pt x="4279967" y="6237307"/>
                  </a:lnTo>
                  <a:lnTo>
                    <a:pt x="4551077" y="6507020"/>
                  </a:lnTo>
                  <a:lnTo>
                    <a:pt x="4812475" y="6507020"/>
                  </a:lnTo>
                  <a:lnTo>
                    <a:pt x="4681256" y="6376485"/>
                  </a:lnTo>
                  <a:lnTo>
                    <a:pt x="4665187" y="6360414"/>
                  </a:lnTo>
                  <a:lnTo>
                    <a:pt x="4665187" y="6357393"/>
                  </a:lnTo>
                  <a:lnTo>
                    <a:pt x="4544090" y="6236608"/>
                  </a:lnTo>
                  <a:lnTo>
                    <a:pt x="4665187" y="6115511"/>
                  </a:lnTo>
                  <a:lnTo>
                    <a:pt x="4665187" y="6111663"/>
                  </a:lnTo>
                  <a:lnTo>
                    <a:pt x="4810652" y="5966196"/>
                  </a:lnTo>
                  <a:close/>
                  <a:moveTo>
                    <a:pt x="4824862" y="5965627"/>
                  </a:moveTo>
                  <a:lnTo>
                    <a:pt x="4558064" y="6233114"/>
                  </a:lnTo>
                  <a:lnTo>
                    <a:pt x="4818335" y="6233114"/>
                  </a:lnTo>
                  <a:lnTo>
                    <a:pt x="5085129" y="5965627"/>
                  </a:lnTo>
                  <a:close/>
                  <a:moveTo>
                    <a:pt x="5370215" y="5964928"/>
                  </a:moveTo>
                  <a:lnTo>
                    <a:pt x="5099802" y="6236038"/>
                  </a:lnTo>
                  <a:lnTo>
                    <a:pt x="5370913" y="6506450"/>
                  </a:lnTo>
                  <a:lnTo>
                    <a:pt x="5635036" y="6506450"/>
                  </a:lnTo>
                  <a:lnTo>
                    <a:pt x="5363925" y="6236038"/>
                  </a:lnTo>
                  <a:lnTo>
                    <a:pt x="5634338" y="5964928"/>
                  </a:lnTo>
                  <a:close/>
                  <a:moveTo>
                    <a:pt x="6467933" y="5964229"/>
                  </a:moveTo>
                  <a:lnTo>
                    <a:pt x="6197521" y="6235340"/>
                  </a:lnTo>
                  <a:lnTo>
                    <a:pt x="6468632" y="6505752"/>
                  </a:lnTo>
                  <a:lnTo>
                    <a:pt x="6732754" y="6505752"/>
                  </a:lnTo>
                  <a:lnTo>
                    <a:pt x="6461645" y="6235340"/>
                  </a:lnTo>
                  <a:lnTo>
                    <a:pt x="6732057" y="5964229"/>
                  </a:lnTo>
                  <a:close/>
                  <a:moveTo>
                    <a:pt x="5918025" y="5964229"/>
                  </a:moveTo>
                  <a:lnTo>
                    <a:pt x="5648312" y="6235340"/>
                  </a:lnTo>
                  <a:lnTo>
                    <a:pt x="5848851" y="6435878"/>
                  </a:lnTo>
                  <a:lnTo>
                    <a:pt x="5919423" y="6505752"/>
                  </a:lnTo>
                  <a:lnTo>
                    <a:pt x="5987899" y="6505752"/>
                  </a:lnTo>
                  <a:lnTo>
                    <a:pt x="5987200" y="6507149"/>
                  </a:lnTo>
                  <a:lnTo>
                    <a:pt x="6184245" y="6507149"/>
                  </a:lnTo>
                  <a:lnTo>
                    <a:pt x="5913134" y="6236737"/>
                  </a:lnTo>
                  <a:lnTo>
                    <a:pt x="5913834" y="6236038"/>
                  </a:lnTo>
                  <a:lnTo>
                    <a:pt x="5911738" y="6235340"/>
                  </a:lnTo>
                  <a:lnTo>
                    <a:pt x="6182150" y="5964229"/>
                  </a:lnTo>
                  <a:close/>
                  <a:moveTo>
                    <a:pt x="7564953" y="5963530"/>
                  </a:moveTo>
                  <a:lnTo>
                    <a:pt x="7294541" y="6234641"/>
                  </a:lnTo>
                  <a:lnTo>
                    <a:pt x="7565652" y="6505053"/>
                  </a:lnTo>
                  <a:lnTo>
                    <a:pt x="7829775" y="6505053"/>
                  </a:lnTo>
                  <a:lnTo>
                    <a:pt x="7558664" y="6234641"/>
                  </a:lnTo>
                  <a:lnTo>
                    <a:pt x="7829076" y="5963530"/>
                  </a:lnTo>
                  <a:close/>
                  <a:moveTo>
                    <a:pt x="7016444" y="5963530"/>
                  </a:moveTo>
                  <a:lnTo>
                    <a:pt x="6746031" y="6234641"/>
                  </a:lnTo>
                  <a:lnTo>
                    <a:pt x="7017141" y="6505053"/>
                  </a:lnTo>
                  <a:lnTo>
                    <a:pt x="7280566" y="6505053"/>
                  </a:lnTo>
                  <a:lnTo>
                    <a:pt x="7150601" y="6375088"/>
                  </a:lnTo>
                  <a:lnTo>
                    <a:pt x="7010155" y="6234641"/>
                  </a:lnTo>
                  <a:lnTo>
                    <a:pt x="7280566" y="5963530"/>
                  </a:lnTo>
                  <a:close/>
                  <a:moveTo>
                    <a:pt x="8113463" y="5962831"/>
                  </a:moveTo>
                  <a:lnTo>
                    <a:pt x="7843051" y="6233942"/>
                  </a:lnTo>
                  <a:lnTo>
                    <a:pt x="8114162" y="6503655"/>
                  </a:lnTo>
                  <a:lnTo>
                    <a:pt x="8378285" y="6503655"/>
                  </a:lnTo>
                  <a:lnTo>
                    <a:pt x="8107175" y="6233244"/>
                  </a:lnTo>
                  <a:lnTo>
                    <a:pt x="8291642" y="6048777"/>
                  </a:lnTo>
                  <a:lnTo>
                    <a:pt x="8377587" y="5962831"/>
                  </a:lnTo>
                  <a:close/>
                  <a:moveTo>
                    <a:pt x="9483384" y="5962452"/>
                  </a:moveTo>
                  <a:lnTo>
                    <a:pt x="9218170" y="6228352"/>
                  </a:lnTo>
                  <a:lnTo>
                    <a:pt x="9480335" y="6228352"/>
                  </a:lnTo>
                  <a:lnTo>
                    <a:pt x="9745545" y="5962452"/>
                  </a:lnTo>
                  <a:close/>
                  <a:moveTo>
                    <a:pt x="10030631" y="5961753"/>
                  </a:moveTo>
                  <a:lnTo>
                    <a:pt x="9760219" y="6232863"/>
                  </a:lnTo>
                  <a:lnTo>
                    <a:pt x="10031330" y="6503275"/>
                  </a:lnTo>
                  <a:lnTo>
                    <a:pt x="10295453" y="6503275"/>
                  </a:lnTo>
                  <a:lnTo>
                    <a:pt x="10024342" y="6232863"/>
                  </a:lnTo>
                  <a:lnTo>
                    <a:pt x="10294754" y="5961753"/>
                  </a:lnTo>
                  <a:close/>
                  <a:moveTo>
                    <a:pt x="9210484" y="5961434"/>
                  </a:moveTo>
                  <a:lnTo>
                    <a:pt x="8940072" y="6232545"/>
                  </a:lnTo>
                  <a:lnTo>
                    <a:pt x="9211183" y="6502258"/>
                  </a:lnTo>
                  <a:lnTo>
                    <a:pt x="9471296" y="6502258"/>
                  </a:lnTo>
                  <a:lnTo>
                    <a:pt x="9341673" y="6373310"/>
                  </a:lnTo>
                  <a:lnTo>
                    <a:pt x="9325603" y="6357239"/>
                  </a:lnTo>
                  <a:lnTo>
                    <a:pt x="9325603" y="6352941"/>
                  </a:lnTo>
                  <a:lnTo>
                    <a:pt x="9204195" y="6231846"/>
                  </a:lnTo>
                  <a:lnTo>
                    <a:pt x="9325603" y="6110438"/>
                  </a:lnTo>
                  <a:lnTo>
                    <a:pt x="9325603" y="6108488"/>
                  </a:lnTo>
                  <a:lnTo>
                    <a:pt x="9472656" y="5961434"/>
                  </a:lnTo>
                  <a:close/>
                  <a:moveTo>
                    <a:pt x="11128350" y="5961054"/>
                  </a:moveTo>
                  <a:lnTo>
                    <a:pt x="10857937" y="6232165"/>
                  </a:lnTo>
                  <a:lnTo>
                    <a:pt x="11129049" y="6502577"/>
                  </a:lnTo>
                  <a:lnTo>
                    <a:pt x="11393171" y="6502577"/>
                  </a:lnTo>
                  <a:lnTo>
                    <a:pt x="11122062" y="6232165"/>
                  </a:lnTo>
                  <a:lnTo>
                    <a:pt x="11392474" y="5961054"/>
                  </a:lnTo>
                  <a:close/>
                  <a:moveTo>
                    <a:pt x="10578442" y="5961054"/>
                  </a:moveTo>
                  <a:lnTo>
                    <a:pt x="10308729" y="6232165"/>
                  </a:lnTo>
                  <a:lnTo>
                    <a:pt x="10509267" y="6432703"/>
                  </a:lnTo>
                  <a:lnTo>
                    <a:pt x="10579840" y="6502577"/>
                  </a:lnTo>
                  <a:lnTo>
                    <a:pt x="10648316" y="6502577"/>
                  </a:lnTo>
                  <a:lnTo>
                    <a:pt x="10647617" y="6503974"/>
                  </a:lnTo>
                  <a:lnTo>
                    <a:pt x="10844662" y="6503974"/>
                  </a:lnTo>
                  <a:lnTo>
                    <a:pt x="10573551" y="6233562"/>
                  </a:lnTo>
                  <a:lnTo>
                    <a:pt x="10574250" y="6232863"/>
                  </a:lnTo>
                  <a:lnTo>
                    <a:pt x="10572154" y="6232165"/>
                  </a:lnTo>
                  <a:lnTo>
                    <a:pt x="10842566" y="5961054"/>
                  </a:lnTo>
                  <a:close/>
                  <a:moveTo>
                    <a:pt x="11676861" y="5960355"/>
                  </a:moveTo>
                  <a:lnTo>
                    <a:pt x="11406448" y="6231466"/>
                  </a:lnTo>
                  <a:lnTo>
                    <a:pt x="11677558" y="6501878"/>
                  </a:lnTo>
                  <a:lnTo>
                    <a:pt x="11940983" y="6501878"/>
                  </a:lnTo>
                  <a:lnTo>
                    <a:pt x="11811018" y="6371913"/>
                  </a:lnTo>
                  <a:lnTo>
                    <a:pt x="11670572" y="6231466"/>
                  </a:lnTo>
                  <a:lnTo>
                    <a:pt x="11940983" y="5960355"/>
                  </a:lnTo>
                  <a:close/>
                  <a:moveTo>
                    <a:pt x="169284" y="5695784"/>
                  </a:moveTo>
                  <a:lnTo>
                    <a:pt x="299249" y="5825750"/>
                  </a:lnTo>
                  <a:lnTo>
                    <a:pt x="439696" y="5966196"/>
                  </a:lnTo>
                  <a:lnTo>
                    <a:pt x="169284" y="6237307"/>
                  </a:lnTo>
                  <a:lnTo>
                    <a:pt x="433407" y="6237307"/>
                  </a:lnTo>
                  <a:lnTo>
                    <a:pt x="703819" y="5966196"/>
                  </a:lnTo>
                  <a:lnTo>
                    <a:pt x="432708" y="5695784"/>
                  </a:lnTo>
                  <a:close/>
                  <a:moveTo>
                    <a:pt x="1814814" y="5695086"/>
                  </a:moveTo>
                  <a:lnTo>
                    <a:pt x="2085925" y="5965498"/>
                  </a:lnTo>
                  <a:lnTo>
                    <a:pt x="1815513" y="6235910"/>
                  </a:lnTo>
                  <a:lnTo>
                    <a:pt x="2079636" y="6235910"/>
                  </a:lnTo>
                  <a:lnTo>
                    <a:pt x="2350049" y="5965498"/>
                  </a:lnTo>
                  <a:lnTo>
                    <a:pt x="2078937" y="5695086"/>
                  </a:lnTo>
                  <a:close/>
                  <a:moveTo>
                    <a:pt x="717095" y="5695086"/>
                  </a:moveTo>
                  <a:lnTo>
                    <a:pt x="988206" y="5965498"/>
                  </a:lnTo>
                  <a:lnTo>
                    <a:pt x="717794" y="6236608"/>
                  </a:lnTo>
                  <a:lnTo>
                    <a:pt x="981917" y="6236608"/>
                  </a:lnTo>
                  <a:lnTo>
                    <a:pt x="1252329" y="5965498"/>
                  </a:lnTo>
                  <a:lnTo>
                    <a:pt x="981219" y="5695086"/>
                  </a:lnTo>
                  <a:close/>
                  <a:moveTo>
                    <a:pt x="2363324" y="5694387"/>
                  </a:moveTo>
                  <a:lnTo>
                    <a:pt x="2634435" y="5964799"/>
                  </a:lnTo>
                  <a:lnTo>
                    <a:pt x="2364722" y="6235910"/>
                  </a:lnTo>
                  <a:lnTo>
                    <a:pt x="2628146" y="6235910"/>
                  </a:lnTo>
                  <a:lnTo>
                    <a:pt x="2898558" y="5964799"/>
                  </a:lnTo>
                  <a:lnTo>
                    <a:pt x="2764401" y="5831339"/>
                  </a:lnTo>
                  <a:lnTo>
                    <a:pt x="2627447" y="5694387"/>
                  </a:lnTo>
                  <a:close/>
                  <a:moveTo>
                    <a:pt x="2911834" y="5693688"/>
                  </a:moveTo>
                  <a:lnTo>
                    <a:pt x="2913232" y="5695086"/>
                  </a:lnTo>
                  <a:lnTo>
                    <a:pt x="3182945" y="5964100"/>
                  </a:lnTo>
                  <a:lnTo>
                    <a:pt x="2912533" y="6234512"/>
                  </a:lnTo>
                  <a:lnTo>
                    <a:pt x="3176657" y="6234512"/>
                  </a:lnTo>
                  <a:lnTo>
                    <a:pt x="3447069" y="5964100"/>
                  </a:lnTo>
                  <a:lnTo>
                    <a:pt x="3441479" y="5959209"/>
                  </a:lnTo>
                  <a:lnTo>
                    <a:pt x="3175958" y="5693688"/>
                  </a:lnTo>
                  <a:close/>
                  <a:moveTo>
                    <a:pt x="1530428" y="5693688"/>
                  </a:moveTo>
                  <a:lnTo>
                    <a:pt x="1529030" y="5694387"/>
                  </a:lnTo>
                  <a:lnTo>
                    <a:pt x="1264907" y="5694387"/>
                  </a:lnTo>
                  <a:lnTo>
                    <a:pt x="1536018" y="5964799"/>
                  </a:lnTo>
                  <a:lnTo>
                    <a:pt x="1531824" y="5968991"/>
                  </a:lnTo>
                  <a:lnTo>
                    <a:pt x="1537414" y="5966196"/>
                  </a:lnTo>
                  <a:lnTo>
                    <a:pt x="1267002" y="6237307"/>
                  </a:lnTo>
                  <a:lnTo>
                    <a:pt x="1531127" y="6237307"/>
                  </a:lnTo>
                  <a:lnTo>
                    <a:pt x="1801539" y="5966196"/>
                  </a:lnTo>
                  <a:lnTo>
                    <a:pt x="1530428" y="5695784"/>
                  </a:lnTo>
                  <a:close/>
                  <a:moveTo>
                    <a:pt x="3459646" y="5692989"/>
                  </a:moveTo>
                  <a:lnTo>
                    <a:pt x="3730757" y="5963401"/>
                  </a:lnTo>
                  <a:lnTo>
                    <a:pt x="3727962" y="5966196"/>
                  </a:lnTo>
                  <a:lnTo>
                    <a:pt x="3637825" y="6057032"/>
                  </a:lnTo>
                  <a:lnTo>
                    <a:pt x="3460345" y="6233813"/>
                  </a:lnTo>
                  <a:lnTo>
                    <a:pt x="3724468" y="6233813"/>
                  </a:lnTo>
                  <a:lnTo>
                    <a:pt x="3813907" y="6144374"/>
                  </a:lnTo>
                  <a:lnTo>
                    <a:pt x="3994880" y="5963401"/>
                  </a:lnTo>
                  <a:lnTo>
                    <a:pt x="3723769" y="5692989"/>
                  </a:lnTo>
                  <a:close/>
                  <a:moveTo>
                    <a:pt x="4818785" y="5691597"/>
                  </a:moveTo>
                  <a:lnTo>
                    <a:pt x="4556667" y="5692290"/>
                  </a:lnTo>
                  <a:lnTo>
                    <a:pt x="4824382" y="5957940"/>
                  </a:lnTo>
                  <a:lnTo>
                    <a:pt x="5085129" y="5957940"/>
                  </a:lnTo>
                  <a:lnTo>
                    <a:pt x="4955163" y="5827975"/>
                  </a:lnTo>
                  <a:close/>
                  <a:moveTo>
                    <a:pt x="4829390" y="5691022"/>
                  </a:moveTo>
                  <a:lnTo>
                    <a:pt x="4959356" y="5820988"/>
                  </a:lnTo>
                  <a:lnTo>
                    <a:pt x="5099802" y="5961434"/>
                  </a:lnTo>
                  <a:lnTo>
                    <a:pt x="4829390" y="6232545"/>
                  </a:lnTo>
                  <a:lnTo>
                    <a:pt x="5093513" y="6232545"/>
                  </a:lnTo>
                  <a:lnTo>
                    <a:pt x="5363925" y="5961434"/>
                  </a:lnTo>
                  <a:lnTo>
                    <a:pt x="5092815" y="5691022"/>
                  </a:lnTo>
                  <a:close/>
                  <a:moveTo>
                    <a:pt x="6474921" y="5690324"/>
                  </a:moveTo>
                  <a:lnTo>
                    <a:pt x="6746031" y="5960736"/>
                  </a:lnTo>
                  <a:lnTo>
                    <a:pt x="6475619" y="6231148"/>
                  </a:lnTo>
                  <a:lnTo>
                    <a:pt x="6739742" y="6231148"/>
                  </a:lnTo>
                  <a:lnTo>
                    <a:pt x="7010155" y="5960736"/>
                  </a:lnTo>
                  <a:lnTo>
                    <a:pt x="6739044" y="5690324"/>
                  </a:lnTo>
                  <a:close/>
                  <a:moveTo>
                    <a:pt x="5377202" y="5690324"/>
                  </a:moveTo>
                  <a:lnTo>
                    <a:pt x="5648312" y="5960736"/>
                  </a:lnTo>
                  <a:lnTo>
                    <a:pt x="5377900" y="6231846"/>
                  </a:lnTo>
                  <a:lnTo>
                    <a:pt x="5642023" y="6231846"/>
                  </a:lnTo>
                  <a:lnTo>
                    <a:pt x="5912435" y="5960736"/>
                  </a:lnTo>
                  <a:lnTo>
                    <a:pt x="5641325" y="5690324"/>
                  </a:lnTo>
                  <a:close/>
                  <a:moveTo>
                    <a:pt x="7023431" y="5689625"/>
                  </a:moveTo>
                  <a:lnTo>
                    <a:pt x="7294541" y="5960037"/>
                  </a:lnTo>
                  <a:lnTo>
                    <a:pt x="7024828" y="6231148"/>
                  </a:lnTo>
                  <a:lnTo>
                    <a:pt x="7288252" y="6231148"/>
                  </a:lnTo>
                  <a:lnTo>
                    <a:pt x="7558664" y="5960037"/>
                  </a:lnTo>
                  <a:lnTo>
                    <a:pt x="7424507" y="5826577"/>
                  </a:lnTo>
                  <a:lnTo>
                    <a:pt x="7287553" y="5689625"/>
                  </a:lnTo>
                  <a:close/>
                  <a:moveTo>
                    <a:pt x="7571940" y="5688926"/>
                  </a:moveTo>
                  <a:lnTo>
                    <a:pt x="7573338" y="5690324"/>
                  </a:lnTo>
                  <a:lnTo>
                    <a:pt x="7843051" y="5959338"/>
                  </a:lnTo>
                  <a:lnTo>
                    <a:pt x="7572639" y="6229750"/>
                  </a:lnTo>
                  <a:lnTo>
                    <a:pt x="7836763" y="6229750"/>
                  </a:lnTo>
                  <a:lnTo>
                    <a:pt x="8107175" y="5959338"/>
                  </a:lnTo>
                  <a:lnTo>
                    <a:pt x="8101585" y="5954447"/>
                  </a:lnTo>
                  <a:lnTo>
                    <a:pt x="7836064" y="5688926"/>
                  </a:lnTo>
                  <a:close/>
                  <a:moveTo>
                    <a:pt x="6190534" y="5688926"/>
                  </a:moveTo>
                  <a:lnTo>
                    <a:pt x="6189136" y="5689625"/>
                  </a:lnTo>
                  <a:lnTo>
                    <a:pt x="5925013" y="5689625"/>
                  </a:lnTo>
                  <a:lnTo>
                    <a:pt x="6196125" y="5960037"/>
                  </a:lnTo>
                  <a:lnTo>
                    <a:pt x="6191930" y="5964229"/>
                  </a:lnTo>
                  <a:lnTo>
                    <a:pt x="6197521" y="5961434"/>
                  </a:lnTo>
                  <a:lnTo>
                    <a:pt x="5927108" y="6232545"/>
                  </a:lnTo>
                  <a:lnTo>
                    <a:pt x="6191234" y="6232545"/>
                  </a:lnTo>
                  <a:lnTo>
                    <a:pt x="6461645" y="5961434"/>
                  </a:lnTo>
                  <a:lnTo>
                    <a:pt x="6190534" y="5691022"/>
                  </a:lnTo>
                  <a:close/>
                  <a:moveTo>
                    <a:pt x="8119752" y="5688227"/>
                  </a:moveTo>
                  <a:lnTo>
                    <a:pt x="8390863" y="5958639"/>
                  </a:lnTo>
                  <a:lnTo>
                    <a:pt x="8388068" y="5961434"/>
                  </a:lnTo>
                  <a:lnTo>
                    <a:pt x="8297931" y="6052270"/>
                  </a:lnTo>
                  <a:lnTo>
                    <a:pt x="8120451" y="6229051"/>
                  </a:lnTo>
                  <a:lnTo>
                    <a:pt x="8384574" y="6229051"/>
                  </a:lnTo>
                  <a:lnTo>
                    <a:pt x="8474013" y="6139612"/>
                  </a:lnTo>
                  <a:lnTo>
                    <a:pt x="8654986" y="5958639"/>
                  </a:lnTo>
                  <a:lnTo>
                    <a:pt x="8383875" y="5688227"/>
                  </a:lnTo>
                  <a:close/>
                  <a:moveTo>
                    <a:pt x="9489807" y="5687847"/>
                  </a:moveTo>
                  <a:lnTo>
                    <a:pt x="9619772" y="5817813"/>
                  </a:lnTo>
                  <a:lnTo>
                    <a:pt x="9760219" y="5958259"/>
                  </a:lnTo>
                  <a:lnTo>
                    <a:pt x="9489807" y="6229370"/>
                  </a:lnTo>
                  <a:lnTo>
                    <a:pt x="9753930" y="6229370"/>
                  </a:lnTo>
                  <a:lnTo>
                    <a:pt x="10024342" y="5958259"/>
                  </a:lnTo>
                  <a:lnTo>
                    <a:pt x="9753231" y="5687847"/>
                  </a:lnTo>
                  <a:close/>
                  <a:moveTo>
                    <a:pt x="11135337" y="5687149"/>
                  </a:moveTo>
                  <a:lnTo>
                    <a:pt x="11406448" y="5957561"/>
                  </a:lnTo>
                  <a:lnTo>
                    <a:pt x="11136036" y="6227973"/>
                  </a:lnTo>
                  <a:lnTo>
                    <a:pt x="11400159" y="6227973"/>
                  </a:lnTo>
                  <a:lnTo>
                    <a:pt x="11670572" y="5957561"/>
                  </a:lnTo>
                  <a:lnTo>
                    <a:pt x="11399460" y="5687149"/>
                  </a:lnTo>
                  <a:close/>
                  <a:moveTo>
                    <a:pt x="10037618" y="5687149"/>
                  </a:moveTo>
                  <a:lnTo>
                    <a:pt x="10308729" y="5957561"/>
                  </a:lnTo>
                  <a:lnTo>
                    <a:pt x="10038317" y="6228671"/>
                  </a:lnTo>
                  <a:lnTo>
                    <a:pt x="10302440" y="6228671"/>
                  </a:lnTo>
                  <a:lnTo>
                    <a:pt x="10572852" y="5957561"/>
                  </a:lnTo>
                  <a:lnTo>
                    <a:pt x="10301742" y="5687149"/>
                  </a:lnTo>
                  <a:close/>
                  <a:moveTo>
                    <a:pt x="9477618" y="5686838"/>
                  </a:moveTo>
                  <a:lnTo>
                    <a:pt x="9216773" y="5687528"/>
                  </a:lnTo>
                  <a:lnTo>
                    <a:pt x="9486087" y="5954765"/>
                  </a:lnTo>
                  <a:lnTo>
                    <a:pt x="9745545" y="5954765"/>
                  </a:lnTo>
                  <a:lnTo>
                    <a:pt x="9615580" y="5824800"/>
                  </a:lnTo>
                  <a:close/>
                  <a:moveTo>
                    <a:pt x="10850951" y="5685751"/>
                  </a:moveTo>
                  <a:lnTo>
                    <a:pt x="10849553" y="5686450"/>
                  </a:lnTo>
                  <a:lnTo>
                    <a:pt x="10585430" y="5686450"/>
                  </a:lnTo>
                  <a:lnTo>
                    <a:pt x="10856541" y="5956862"/>
                  </a:lnTo>
                  <a:lnTo>
                    <a:pt x="10852347" y="5961054"/>
                  </a:lnTo>
                  <a:lnTo>
                    <a:pt x="10857937" y="5958259"/>
                  </a:lnTo>
                  <a:lnTo>
                    <a:pt x="10587525" y="6229370"/>
                  </a:lnTo>
                  <a:lnTo>
                    <a:pt x="10851650" y="6229370"/>
                  </a:lnTo>
                  <a:lnTo>
                    <a:pt x="11122062" y="5958259"/>
                  </a:lnTo>
                  <a:lnTo>
                    <a:pt x="10850951" y="5687847"/>
                  </a:lnTo>
                  <a:close/>
                  <a:moveTo>
                    <a:pt x="1807128" y="5420480"/>
                  </a:moveTo>
                  <a:lnTo>
                    <a:pt x="1536716" y="5691591"/>
                  </a:lnTo>
                  <a:lnTo>
                    <a:pt x="1807827" y="5962003"/>
                  </a:lnTo>
                  <a:lnTo>
                    <a:pt x="2071951" y="5962003"/>
                  </a:lnTo>
                  <a:lnTo>
                    <a:pt x="1800840" y="5691591"/>
                  </a:lnTo>
                  <a:lnTo>
                    <a:pt x="2071252" y="5420480"/>
                  </a:lnTo>
                  <a:close/>
                  <a:moveTo>
                    <a:pt x="709409" y="5420480"/>
                  </a:moveTo>
                  <a:lnTo>
                    <a:pt x="438997" y="5691591"/>
                  </a:lnTo>
                  <a:lnTo>
                    <a:pt x="710108" y="5962003"/>
                  </a:lnTo>
                  <a:lnTo>
                    <a:pt x="974231" y="5962003"/>
                  </a:lnTo>
                  <a:lnTo>
                    <a:pt x="703120" y="5691591"/>
                  </a:lnTo>
                  <a:lnTo>
                    <a:pt x="972833" y="5420480"/>
                  </a:lnTo>
                  <a:close/>
                  <a:moveTo>
                    <a:pt x="2904148" y="5419782"/>
                  </a:moveTo>
                  <a:lnTo>
                    <a:pt x="2723874" y="5600057"/>
                  </a:lnTo>
                  <a:lnTo>
                    <a:pt x="2634435" y="5690195"/>
                  </a:lnTo>
                  <a:lnTo>
                    <a:pt x="2768593" y="5823653"/>
                  </a:lnTo>
                  <a:lnTo>
                    <a:pt x="2905546" y="5960606"/>
                  </a:lnTo>
                  <a:lnTo>
                    <a:pt x="3169669" y="5960606"/>
                  </a:lnTo>
                  <a:lnTo>
                    <a:pt x="2898558" y="5690195"/>
                  </a:lnTo>
                  <a:lnTo>
                    <a:pt x="2899956" y="5688797"/>
                  </a:lnTo>
                  <a:lnTo>
                    <a:pt x="3168271" y="5419782"/>
                  </a:lnTo>
                  <a:close/>
                  <a:moveTo>
                    <a:pt x="2355639" y="5419782"/>
                  </a:moveTo>
                  <a:lnTo>
                    <a:pt x="2085226" y="5690892"/>
                  </a:lnTo>
                  <a:lnTo>
                    <a:pt x="2356338" y="5961304"/>
                  </a:lnTo>
                  <a:lnTo>
                    <a:pt x="2620460" y="5961304"/>
                  </a:lnTo>
                  <a:lnTo>
                    <a:pt x="2349350" y="5690892"/>
                  </a:lnTo>
                  <a:lnTo>
                    <a:pt x="2533816" y="5506426"/>
                  </a:lnTo>
                  <a:lnTo>
                    <a:pt x="2619762" y="5420480"/>
                  </a:lnTo>
                  <a:lnTo>
                    <a:pt x="2361229" y="5420480"/>
                  </a:lnTo>
                  <a:close/>
                  <a:moveTo>
                    <a:pt x="1257919" y="5419782"/>
                  </a:moveTo>
                  <a:lnTo>
                    <a:pt x="987507" y="5690892"/>
                  </a:lnTo>
                  <a:lnTo>
                    <a:pt x="1258618" y="5961304"/>
                  </a:lnTo>
                  <a:lnTo>
                    <a:pt x="1522741" y="5961304"/>
                  </a:lnTo>
                  <a:lnTo>
                    <a:pt x="1251631" y="5690892"/>
                  </a:lnTo>
                  <a:lnTo>
                    <a:pt x="1436098" y="5506426"/>
                  </a:lnTo>
                  <a:lnTo>
                    <a:pt x="1522043" y="5419782"/>
                  </a:lnTo>
                  <a:close/>
                  <a:moveTo>
                    <a:pt x="3452658" y="5419084"/>
                  </a:moveTo>
                  <a:lnTo>
                    <a:pt x="3182246" y="5690195"/>
                  </a:lnTo>
                  <a:lnTo>
                    <a:pt x="3453357" y="5960606"/>
                  </a:lnTo>
                  <a:lnTo>
                    <a:pt x="3717481" y="5960606"/>
                  </a:lnTo>
                  <a:lnTo>
                    <a:pt x="3446370" y="5690195"/>
                  </a:lnTo>
                  <a:lnTo>
                    <a:pt x="3716782" y="5419084"/>
                  </a:lnTo>
                  <a:close/>
                  <a:moveTo>
                    <a:pt x="4549679" y="5417686"/>
                  </a:moveTo>
                  <a:lnTo>
                    <a:pt x="4279267" y="5688797"/>
                  </a:lnTo>
                  <a:lnTo>
                    <a:pt x="4550379" y="5959209"/>
                  </a:lnTo>
                  <a:lnTo>
                    <a:pt x="4811794" y="5959209"/>
                  </a:lnTo>
                  <a:lnTo>
                    <a:pt x="4665187" y="5812602"/>
                  </a:lnTo>
                  <a:lnTo>
                    <a:pt x="4665187" y="5810279"/>
                  </a:lnTo>
                  <a:lnTo>
                    <a:pt x="4543392" y="5688797"/>
                  </a:lnTo>
                  <a:lnTo>
                    <a:pt x="4665187" y="5566541"/>
                  </a:lnTo>
                  <a:lnTo>
                    <a:pt x="4665187" y="5562454"/>
                  </a:lnTo>
                  <a:lnTo>
                    <a:pt x="4809954" y="5417686"/>
                  </a:lnTo>
                  <a:close/>
                  <a:moveTo>
                    <a:pt x="4824163" y="5417116"/>
                  </a:moveTo>
                  <a:lnTo>
                    <a:pt x="4556667" y="5685303"/>
                  </a:lnTo>
                  <a:lnTo>
                    <a:pt x="4816942" y="5685303"/>
                  </a:lnTo>
                  <a:lnTo>
                    <a:pt x="5085129" y="5417116"/>
                  </a:lnTo>
                  <a:close/>
                  <a:moveTo>
                    <a:pt x="6467235" y="5415718"/>
                  </a:moveTo>
                  <a:lnTo>
                    <a:pt x="6196823" y="5686829"/>
                  </a:lnTo>
                  <a:lnTo>
                    <a:pt x="6467933" y="5957241"/>
                  </a:lnTo>
                  <a:lnTo>
                    <a:pt x="6732057" y="5957241"/>
                  </a:lnTo>
                  <a:lnTo>
                    <a:pt x="6460946" y="5686829"/>
                  </a:lnTo>
                  <a:lnTo>
                    <a:pt x="6731358" y="5415718"/>
                  </a:lnTo>
                  <a:close/>
                  <a:moveTo>
                    <a:pt x="5369515" y="5415718"/>
                  </a:moveTo>
                  <a:lnTo>
                    <a:pt x="5099104" y="5686829"/>
                  </a:lnTo>
                  <a:lnTo>
                    <a:pt x="5370215" y="5957241"/>
                  </a:lnTo>
                  <a:lnTo>
                    <a:pt x="5634338" y="5957241"/>
                  </a:lnTo>
                  <a:lnTo>
                    <a:pt x="5363227" y="5686829"/>
                  </a:lnTo>
                  <a:lnTo>
                    <a:pt x="5632939" y="5415718"/>
                  </a:lnTo>
                  <a:close/>
                  <a:moveTo>
                    <a:pt x="7564254" y="5415020"/>
                  </a:moveTo>
                  <a:lnTo>
                    <a:pt x="7383980" y="5595295"/>
                  </a:lnTo>
                  <a:lnTo>
                    <a:pt x="7294541" y="5685433"/>
                  </a:lnTo>
                  <a:lnTo>
                    <a:pt x="7428699" y="5818891"/>
                  </a:lnTo>
                  <a:lnTo>
                    <a:pt x="7565652" y="5955844"/>
                  </a:lnTo>
                  <a:lnTo>
                    <a:pt x="7829775" y="5955844"/>
                  </a:lnTo>
                  <a:lnTo>
                    <a:pt x="7558664" y="5685433"/>
                  </a:lnTo>
                  <a:lnTo>
                    <a:pt x="7560062" y="5684035"/>
                  </a:lnTo>
                  <a:lnTo>
                    <a:pt x="7828377" y="5415020"/>
                  </a:lnTo>
                  <a:close/>
                  <a:moveTo>
                    <a:pt x="7015746" y="5415020"/>
                  </a:moveTo>
                  <a:lnTo>
                    <a:pt x="6745333" y="5686130"/>
                  </a:lnTo>
                  <a:lnTo>
                    <a:pt x="7016444" y="5956542"/>
                  </a:lnTo>
                  <a:lnTo>
                    <a:pt x="7280566" y="5956542"/>
                  </a:lnTo>
                  <a:lnTo>
                    <a:pt x="7009456" y="5686130"/>
                  </a:lnTo>
                  <a:lnTo>
                    <a:pt x="7193922" y="5501664"/>
                  </a:lnTo>
                  <a:lnTo>
                    <a:pt x="7279868" y="5415718"/>
                  </a:lnTo>
                  <a:lnTo>
                    <a:pt x="7021335" y="5415718"/>
                  </a:lnTo>
                  <a:close/>
                  <a:moveTo>
                    <a:pt x="5918025" y="5415020"/>
                  </a:moveTo>
                  <a:lnTo>
                    <a:pt x="5647613" y="5686130"/>
                  </a:lnTo>
                  <a:lnTo>
                    <a:pt x="5918725" y="5956542"/>
                  </a:lnTo>
                  <a:lnTo>
                    <a:pt x="6182848" y="5956542"/>
                  </a:lnTo>
                  <a:lnTo>
                    <a:pt x="5911738" y="5686130"/>
                  </a:lnTo>
                  <a:lnTo>
                    <a:pt x="6096205" y="5501664"/>
                  </a:lnTo>
                  <a:lnTo>
                    <a:pt x="6182150" y="5415020"/>
                  </a:lnTo>
                  <a:close/>
                  <a:moveTo>
                    <a:pt x="8112764" y="5414322"/>
                  </a:moveTo>
                  <a:lnTo>
                    <a:pt x="7842352" y="5685433"/>
                  </a:lnTo>
                  <a:lnTo>
                    <a:pt x="8113463" y="5955844"/>
                  </a:lnTo>
                  <a:lnTo>
                    <a:pt x="8377587" y="5955844"/>
                  </a:lnTo>
                  <a:lnTo>
                    <a:pt x="8106476" y="5685433"/>
                  </a:lnTo>
                  <a:lnTo>
                    <a:pt x="8376888" y="5414322"/>
                  </a:lnTo>
                  <a:close/>
                  <a:moveTo>
                    <a:pt x="9482686" y="5413941"/>
                  </a:moveTo>
                  <a:lnTo>
                    <a:pt x="9216773" y="5680541"/>
                  </a:lnTo>
                  <a:lnTo>
                    <a:pt x="9478945" y="5680541"/>
                  </a:lnTo>
                  <a:lnTo>
                    <a:pt x="9745545" y="5413941"/>
                  </a:lnTo>
                  <a:close/>
                  <a:moveTo>
                    <a:pt x="9209785" y="5412924"/>
                  </a:moveTo>
                  <a:lnTo>
                    <a:pt x="8939373" y="5684035"/>
                  </a:lnTo>
                  <a:lnTo>
                    <a:pt x="9210484" y="5954447"/>
                  </a:lnTo>
                  <a:lnTo>
                    <a:pt x="9470623" y="5954447"/>
                  </a:lnTo>
                  <a:lnTo>
                    <a:pt x="9325603" y="5809427"/>
                  </a:lnTo>
                  <a:lnTo>
                    <a:pt x="9325603" y="5805827"/>
                  </a:lnTo>
                  <a:lnTo>
                    <a:pt x="9203497" y="5684035"/>
                  </a:lnTo>
                  <a:lnTo>
                    <a:pt x="9325603" y="5561467"/>
                  </a:lnTo>
                  <a:lnTo>
                    <a:pt x="9325603" y="5559279"/>
                  </a:lnTo>
                  <a:lnTo>
                    <a:pt x="9471958" y="5412924"/>
                  </a:lnTo>
                  <a:close/>
                  <a:moveTo>
                    <a:pt x="11127651" y="5412543"/>
                  </a:moveTo>
                  <a:lnTo>
                    <a:pt x="10857239" y="5683654"/>
                  </a:lnTo>
                  <a:lnTo>
                    <a:pt x="11128350" y="5954066"/>
                  </a:lnTo>
                  <a:lnTo>
                    <a:pt x="11392474" y="5954066"/>
                  </a:lnTo>
                  <a:lnTo>
                    <a:pt x="11121363" y="5683654"/>
                  </a:lnTo>
                  <a:lnTo>
                    <a:pt x="11391775" y="5412543"/>
                  </a:lnTo>
                  <a:close/>
                  <a:moveTo>
                    <a:pt x="10029932" y="5412543"/>
                  </a:moveTo>
                  <a:lnTo>
                    <a:pt x="9759520" y="5683654"/>
                  </a:lnTo>
                  <a:lnTo>
                    <a:pt x="10030631" y="5954066"/>
                  </a:lnTo>
                  <a:lnTo>
                    <a:pt x="10294754" y="5954066"/>
                  </a:lnTo>
                  <a:lnTo>
                    <a:pt x="10023643" y="5683654"/>
                  </a:lnTo>
                  <a:lnTo>
                    <a:pt x="10293356" y="5412543"/>
                  </a:lnTo>
                  <a:close/>
                  <a:moveTo>
                    <a:pt x="11676162" y="5411845"/>
                  </a:moveTo>
                  <a:lnTo>
                    <a:pt x="11405749" y="5682955"/>
                  </a:lnTo>
                  <a:lnTo>
                    <a:pt x="11676861" y="5953367"/>
                  </a:lnTo>
                  <a:lnTo>
                    <a:pt x="11940983" y="5953367"/>
                  </a:lnTo>
                  <a:lnTo>
                    <a:pt x="11669873" y="5682955"/>
                  </a:lnTo>
                  <a:lnTo>
                    <a:pt x="11854339" y="5498489"/>
                  </a:lnTo>
                  <a:lnTo>
                    <a:pt x="11940285" y="5412543"/>
                  </a:lnTo>
                  <a:lnTo>
                    <a:pt x="11681752" y="5412543"/>
                  </a:lnTo>
                  <a:close/>
                  <a:moveTo>
                    <a:pt x="10578442" y="5411845"/>
                  </a:moveTo>
                  <a:lnTo>
                    <a:pt x="10308030" y="5682955"/>
                  </a:lnTo>
                  <a:lnTo>
                    <a:pt x="10579141" y="5953367"/>
                  </a:lnTo>
                  <a:lnTo>
                    <a:pt x="10843264" y="5953367"/>
                  </a:lnTo>
                  <a:lnTo>
                    <a:pt x="10572154" y="5682955"/>
                  </a:lnTo>
                  <a:lnTo>
                    <a:pt x="10756621" y="5498489"/>
                  </a:lnTo>
                  <a:lnTo>
                    <a:pt x="10842566" y="5411845"/>
                  </a:lnTo>
                  <a:close/>
                  <a:moveTo>
                    <a:pt x="167886" y="5147274"/>
                  </a:moveTo>
                  <a:lnTo>
                    <a:pt x="438997" y="5417686"/>
                  </a:lnTo>
                  <a:lnTo>
                    <a:pt x="169284" y="5688797"/>
                  </a:lnTo>
                  <a:lnTo>
                    <a:pt x="432708" y="5688797"/>
                  </a:lnTo>
                  <a:lnTo>
                    <a:pt x="703120" y="5417686"/>
                  </a:lnTo>
                  <a:lnTo>
                    <a:pt x="568962" y="5284227"/>
                  </a:lnTo>
                  <a:lnTo>
                    <a:pt x="432009" y="5147274"/>
                  </a:lnTo>
                  <a:close/>
                  <a:moveTo>
                    <a:pt x="1814116" y="5146575"/>
                  </a:moveTo>
                  <a:lnTo>
                    <a:pt x="1942683" y="5275144"/>
                  </a:lnTo>
                  <a:lnTo>
                    <a:pt x="2084528" y="5416987"/>
                  </a:lnTo>
                  <a:lnTo>
                    <a:pt x="1814116" y="5688098"/>
                  </a:lnTo>
                  <a:lnTo>
                    <a:pt x="2078239" y="5688098"/>
                  </a:lnTo>
                  <a:lnTo>
                    <a:pt x="2348651" y="5416987"/>
                  </a:lnTo>
                  <a:lnTo>
                    <a:pt x="2343759" y="5412096"/>
                  </a:lnTo>
                  <a:lnTo>
                    <a:pt x="2078239" y="5146575"/>
                  </a:lnTo>
                  <a:close/>
                  <a:moveTo>
                    <a:pt x="2362625" y="5145876"/>
                  </a:moveTo>
                  <a:lnTo>
                    <a:pt x="2633736" y="5415590"/>
                  </a:lnTo>
                  <a:lnTo>
                    <a:pt x="2630942" y="5418385"/>
                  </a:lnTo>
                  <a:lnTo>
                    <a:pt x="2540804" y="5509220"/>
                  </a:lnTo>
                  <a:lnTo>
                    <a:pt x="2363324" y="5686700"/>
                  </a:lnTo>
                  <a:lnTo>
                    <a:pt x="2627447" y="5686700"/>
                  </a:lnTo>
                  <a:lnTo>
                    <a:pt x="2716886" y="5597262"/>
                  </a:lnTo>
                  <a:lnTo>
                    <a:pt x="2897859" y="5416288"/>
                  </a:lnTo>
                  <a:lnTo>
                    <a:pt x="2626749" y="5145876"/>
                  </a:lnTo>
                  <a:close/>
                  <a:moveTo>
                    <a:pt x="1264208" y="5145876"/>
                  </a:moveTo>
                  <a:lnTo>
                    <a:pt x="1535319" y="5415590"/>
                  </a:lnTo>
                  <a:lnTo>
                    <a:pt x="1532523" y="5418385"/>
                  </a:lnTo>
                  <a:lnTo>
                    <a:pt x="1442387" y="5509220"/>
                  </a:lnTo>
                  <a:lnTo>
                    <a:pt x="1264907" y="5686700"/>
                  </a:lnTo>
                  <a:lnTo>
                    <a:pt x="1529030" y="5686700"/>
                  </a:lnTo>
                  <a:lnTo>
                    <a:pt x="1618469" y="5597262"/>
                  </a:lnTo>
                  <a:lnTo>
                    <a:pt x="1799442" y="5416288"/>
                  </a:lnTo>
                  <a:lnTo>
                    <a:pt x="1528331" y="5145876"/>
                  </a:lnTo>
                  <a:close/>
                  <a:moveTo>
                    <a:pt x="715697" y="5145876"/>
                  </a:moveTo>
                  <a:lnTo>
                    <a:pt x="717095" y="5147274"/>
                  </a:lnTo>
                  <a:lnTo>
                    <a:pt x="986808" y="5416288"/>
                  </a:lnTo>
                  <a:lnTo>
                    <a:pt x="716396" y="5687399"/>
                  </a:lnTo>
                  <a:lnTo>
                    <a:pt x="980520" y="5687399"/>
                  </a:lnTo>
                  <a:lnTo>
                    <a:pt x="1250932" y="5416288"/>
                  </a:lnTo>
                  <a:lnTo>
                    <a:pt x="1245342" y="5411397"/>
                  </a:lnTo>
                  <a:lnTo>
                    <a:pt x="979821" y="5145876"/>
                  </a:lnTo>
                  <a:close/>
                  <a:moveTo>
                    <a:pt x="2911136" y="5145178"/>
                  </a:moveTo>
                  <a:lnTo>
                    <a:pt x="3041801" y="5274445"/>
                  </a:lnTo>
                  <a:lnTo>
                    <a:pt x="3182246" y="5414891"/>
                  </a:lnTo>
                  <a:lnTo>
                    <a:pt x="2911834" y="5686002"/>
                  </a:lnTo>
                  <a:lnTo>
                    <a:pt x="3175958" y="5686002"/>
                  </a:lnTo>
                  <a:lnTo>
                    <a:pt x="3446370" y="5415590"/>
                  </a:lnTo>
                  <a:lnTo>
                    <a:pt x="3175259" y="5145178"/>
                  </a:lnTo>
                  <a:close/>
                  <a:moveTo>
                    <a:pt x="3459646" y="5144479"/>
                  </a:moveTo>
                  <a:lnTo>
                    <a:pt x="3730757" y="5414891"/>
                  </a:lnTo>
                  <a:lnTo>
                    <a:pt x="3460345" y="5686002"/>
                  </a:lnTo>
                  <a:lnTo>
                    <a:pt x="3724468" y="5686002"/>
                  </a:lnTo>
                  <a:lnTo>
                    <a:pt x="3994880" y="5414891"/>
                  </a:lnTo>
                  <a:lnTo>
                    <a:pt x="3723769" y="5144479"/>
                  </a:lnTo>
                  <a:close/>
                  <a:moveTo>
                    <a:pt x="4008156" y="5143780"/>
                  </a:moveTo>
                  <a:lnTo>
                    <a:pt x="4279267" y="5414192"/>
                  </a:lnTo>
                  <a:lnTo>
                    <a:pt x="4008855" y="5685303"/>
                  </a:lnTo>
                  <a:lnTo>
                    <a:pt x="4207298" y="5685303"/>
                  </a:lnTo>
                  <a:lnTo>
                    <a:pt x="4272281" y="5685303"/>
                  </a:lnTo>
                  <a:lnTo>
                    <a:pt x="4543392" y="5414192"/>
                  </a:lnTo>
                  <a:lnTo>
                    <a:pt x="4409232" y="5280734"/>
                  </a:lnTo>
                  <a:lnTo>
                    <a:pt x="4272281" y="5143780"/>
                  </a:lnTo>
                  <a:close/>
                  <a:moveTo>
                    <a:pt x="4555270" y="5143081"/>
                  </a:moveTo>
                  <a:lnTo>
                    <a:pt x="4822307" y="5409430"/>
                  </a:lnTo>
                  <a:lnTo>
                    <a:pt x="5085129" y="5409430"/>
                  </a:lnTo>
                  <a:lnTo>
                    <a:pt x="4818091" y="5143081"/>
                  </a:lnTo>
                  <a:close/>
                  <a:moveTo>
                    <a:pt x="4828477" y="5142512"/>
                  </a:moveTo>
                  <a:lnTo>
                    <a:pt x="4828477" y="5142995"/>
                  </a:lnTo>
                  <a:lnTo>
                    <a:pt x="5099104" y="5412924"/>
                  </a:lnTo>
                  <a:lnTo>
                    <a:pt x="4829390" y="5684035"/>
                  </a:lnTo>
                  <a:lnTo>
                    <a:pt x="5092815" y="5684035"/>
                  </a:lnTo>
                  <a:lnTo>
                    <a:pt x="5363227" y="5412924"/>
                  </a:lnTo>
                  <a:lnTo>
                    <a:pt x="5229068" y="5279465"/>
                  </a:lnTo>
                  <a:lnTo>
                    <a:pt x="5092115" y="5142512"/>
                  </a:lnTo>
                  <a:close/>
                  <a:moveTo>
                    <a:pt x="6474223" y="5141813"/>
                  </a:moveTo>
                  <a:lnTo>
                    <a:pt x="6602789" y="5270382"/>
                  </a:lnTo>
                  <a:lnTo>
                    <a:pt x="6744635" y="5412225"/>
                  </a:lnTo>
                  <a:lnTo>
                    <a:pt x="6474223" y="5683336"/>
                  </a:lnTo>
                  <a:lnTo>
                    <a:pt x="6738346" y="5683336"/>
                  </a:lnTo>
                  <a:lnTo>
                    <a:pt x="7008758" y="5412225"/>
                  </a:lnTo>
                  <a:lnTo>
                    <a:pt x="7003865" y="5407334"/>
                  </a:lnTo>
                  <a:lnTo>
                    <a:pt x="6738346" y="5141813"/>
                  </a:lnTo>
                  <a:close/>
                  <a:moveTo>
                    <a:pt x="7022731" y="5141114"/>
                  </a:moveTo>
                  <a:lnTo>
                    <a:pt x="7293842" y="5410828"/>
                  </a:lnTo>
                  <a:lnTo>
                    <a:pt x="7291048" y="5413623"/>
                  </a:lnTo>
                  <a:lnTo>
                    <a:pt x="7200910" y="5504458"/>
                  </a:lnTo>
                  <a:lnTo>
                    <a:pt x="7023431" y="5681938"/>
                  </a:lnTo>
                  <a:lnTo>
                    <a:pt x="7287553" y="5681938"/>
                  </a:lnTo>
                  <a:lnTo>
                    <a:pt x="7376992" y="5592500"/>
                  </a:lnTo>
                  <a:lnTo>
                    <a:pt x="7557965" y="5411526"/>
                  </a:lnTo>
                  <a:lnTo>
                    <a:pt x="7286855" y="5141114"/>
                  </a:lnTo>
                  <a:close/>
                  <a:moveTo>
                    <a:pt x="5924314" y="5141114"/>
                  </a:moveTo>
                  <a:lnTo>
                    <a:pt x="6195425" y="5410828"/>
                  </a:lnTo>
                  <a:lnTo>
                    <a:pt x="6192630" y="5413623"/>
                  </a:lnTo>
                  <a:lnTo>
                    <a:pt x="6102494" y="5504458"/>
                  </a:lnTo>
                  <a:lnTo>
                    <a:pt x="5925013" y="5681938"/>
                  </a:lnTo>
                  <a:lnTo>
                    <a:pt x="6189136" y="5681938"/>
                  </a:lnTo>
                  <a:lnTo>
                    <a:pt x="6278575" y="5592500"/>
                  </a:lnTo>
                  <a:lnTo>
                    <a:pt x="6459548" y="5411526"/>
                  </a:lnTo>
                  <a:lnTo>
                    <a:pt x="6188437" y="5141114"/>
                  </a:lnTo>
                  <a:close/>
                  <a:moveTo>
                    <a:pt x="5375803" y="5141114"/>
                  </a:moveTo>
                  <a:lnTo>
                    <a:pt x="5377202" y="5142512"/>
                  </a:lnTo>
                  <a:lnTo>
                    <a:pt x="5646914" y="5411526"/>
                  </a:lnTo>
                  <a:lnTo>
                    <a:pt x="5376502" y="5682637"/>
                  </a:lnTo>
                  <a:lnTo>
                    <a:pt x="5640627" y="5682637"/>
                  </a:lnTo>
                  <a:lnTo>
                    <a:pt x="5911038" y="5411526"/>
                  </a:lnTo>
                  <a:lnTo>
                    <a:pt x="5905448" y="5406635"/>
                  </a:lnTo>
                  <a:lnTo>
                    <a:pt x="5639927" y="5141114"/>
                  </a:lnTo>
                  <a:close/>
                  <a:moveTo>
                    <a:pt x="7571242" y="5140416"/>
                  </a:moveTo>
                  <a:lnTo>
                    <a:pt x="7701907" y="5269683"/>
                  </a:lnTo>
                  <a:lnTo>
                    <a:pt x="7842352" y="5410129"/>
                  </a:lnTo>
                  <a:lnTo>
                    <a:pt x="7571940" y="5681240"/>
                  </a:lnTo>
                  <a:lnTo>
                    <a:pt x="7836064" y="5681240"/>
                  </a:lnTo>
                  <a:lnTo>
                    <a:pt x="8106476" y="5410828"/>
                  </a:lnTo>
                  <a:lnTo>
                    <a:pt x="7835365" y="5140416"/>
                  </a:lnTo>
                  <a:close/>
                  <a:moveTo>
                    <a:pt x="8119752" y="5139717"/>
                  </a:moveTo>
                  <a:lnTo>
                    <a:pt x="8390863" y="5410129"/>
                  </a:lnTo>
                  <a:lnTo>
                    <a:pt x="8120451" y="5681240"/>
                  </a:lnTo>
                  <a:lnTo>
                    <a:pt x="8384574" y="5681240"/>
                  </a:lnTo>
                  <a:lnTo>
                    <a:pt x="8654986" y="5410129"/>
                  </a:lnTo>
                  <a:lnTo>
                    <a:pt x="8383875" y="5139717"/>
                  </a:lnTo>
                  <a:close/>
                  <a:moveTo>
                    <a:pt x="9488582" y="5139337"/>
                  </a:moveTo>
                  <a:lnTo>
                    <a:pt x="9488582" y="5139510"/>
                  </a:lnTo>
                  <a:lnTo>
                    <a:pt x="9759520" y="5409749"/>
                  </a:lnTo>
                  <a:lnTo>
                    <a:pt x="9489807" y="5680860"/>
                  </a:lnTo>
                  <a:lnTo>
                    <a:pt x="9753231" y="5680860"/>
                  </a:lnTo>
                  <a:lnTo>
                    <a:pt x="10023643" y="5409749"/>
                  </a:lnTo>
                  <a:lnTo>
                    <a:pt x="9889485" y="5276290"/>
                  </a:lnTo>
                  <a:lnTo>
                    <a:pt x="9752532" y="5139337"/>
                  </a:lnTo>
                  <a:close/>
                  <a:moveTo>
                    <a:pt x="8668262" y="5139018"/>
                  </a:moveTo>
                  <a:lnTo>
                    <a:pt x="8939373" y="5409430"/>
                  </a:lnTo>
                  <a:lnTo>
                    <a:pt x="8668961" y="5680541"/>
                  </a:lnTo>
                  <a:lnTo>
                    <a:pt x="8867403" y="5680541"/>
                  </a:lnTo>
                  <a:lnTo>
                    <a:pt x="8932386" y="5680541"/>
                  </a:lnTo>
                  <a:lnTo>
                    <a:pt x="9203497" y="5409430"/>
                  </a:lnTo>
                  <a:lnTo>
                    <a:pt x="9069338" y="5275972"/>
                  </a:lnTo>
                  <a:lnTo>
                    <a:pt x="8932386" y="5139018"/>
                  </a:lnTo>
                  <a:close/>
                  <a:moveTo>
                    <a:pt x="11134639" y="5138638"/>
                  </a:moveTo>
                  <a:lnTo>
                    <a:pt x="11263206" y="5267207"/>
                  </a:lnTo>
                  <a:lnTo>
                    <a:pt x="11405051" y="5409050"/>
                  </a:lnTo>
                  <a:lnTo>
                    <a:pt x="11134639" y="5680161"/>
                  </a:lnTo>
                  <a:lnTo>
                    <a:pt x="11398762" y="5680161"/>
                  </a:lnTo>
                  <a:lnTo>
                    <a:pt x="11669174" y="5409050"/>
                  </a:lnTo>
                  <a:lnTo>
                    <a:pt x="11664282" y="5404159"/>
                  </a:lnTo>
                  <a:lnTo>
                    <a:pt x="11398762" y="5138638"/>
                  </a:lnTo>
                  <a:close/>
                  <a:moveTo>
                    <a:pt x="9215375" y="5138319"/>
                  </a:moveTo>
                  <a:lnTo>
                    <a:pt x="9484003" y="5406255"/>
                  </a:lnTo>
                  <a:lnTo>
                    <a:pt x="9745545" y="5406255"/>
                  </a:lnTo>
                  <a:lnTo>
                    <a:pt x="9476916" y="5138319"/>
                  </a:lnTo>
                  <a:close/>
                  <a:moveTo>
                    <a:pt x="10584731" y="5137939"/>
                  </a:moveTo>
                  <a:lnTo>
                    <a:pt x="10855842" y="5407653"/>
                  </a:lnTo>
                  <a:lnTo>
                    <a:pt x="10853046" y="5410448"/>
                  </a:lnTo>
                  <a:lnTo>
                    <a:pt x="10762910" y="5501283"/>
                  </a:lnTo>
                  <a:lnTo>
                    <a:pt x="10585430" y="5678763"/>
                  </a:lnTo>
                  <a:lnTo>
                    <a:pt x="10849553" y="5678763"/>
                  </a:lnTo>
                  <a:lnTo>
                    <a:pt x="10938992" y="5589325"/>
                  </a:lnTo>
                  <a:lnTo>
                    <a:pt x="11119965" y="5408351"/>
                  </a:lnTo>
                  <a:lnTo>
                    <a:pt x="10848854" y="5137939"/>
                  </a:lnTo>
                  <a:close/>
                  <a:moveTo>
                    <a:pt x="10036220" y="5137939"/>
                  </a:moveTo>
                  <a:lnTo>
                    <a:pt x="10037618" y="5139337"/>
                  </a:lnTo>
                  <a:lnTo>
                    <a:pt x="10307331" y="5408351"/>
                  </a:lnTo>
                  <a:lnTo>
                    <a:pt x="10036919" y="5679462"/>
                  </a:lnTo>
                  <a:lnTo>
                    <a:pt x="10301043" y="5679462"/>
                  </a:lnTo>
                  <a:lnTo>
                    <a:pt x="10571455" y="5408351"/>
                  </a:lnTo>
                  <a:lnTo>
                    <a:pt x="10565865" y="5403460"/>
                  </a:lnTo>
                  <a:lnTo>
                    <a:pt x="10300344" y="5137939"/>
                  </a:lnTo>
                  <a:close/>
                  <a:moveTo>
                    <a:pt x="708011" y="4871971"/>
                  </a:moveTo>
                  <a:lnTo>
                    <a:pt x="527737" y="5052944"/>
                  </a:lnTo>
                  <a:lnTo>
                    <a:pt x="438298" y="5143081"/>
                  </a:lnTo>
                  <a:lnTo>
                    <a:pt x="572456" y="5276540"/>
                  </a:lnTo>
                  <a:lnTo>
                    <a:pt x="709409" y="5413494"/>
                  </a:lnTo>
                  <a:lnTo>
                    <a:pt x="973532" y="5413494"/>
                  </a:lnTo>
                  <a:lnTo>
                    <a:pt x="702421" y="5143081"/>
                  </a:lnTo>
                  <a:lnTo>
                    <a:pt x="703819" y="5141684"/>
                  </a:lnTo>
                  <a:lnTo>
                    <a:pt x="972135" y="4871971"/>
                  </a:lnTo>
                  <a:close/>
                  <a:moveTo>
                    <a:pt x="1257220" y="4871272"/>
                  </a:moveTo>
                  <a:lnTo>
                    <a:pt x="986808" y="5142383"/>
                  </a:lnTo>
                  <a:lnTo>
                    <a:pt x="1257919" y="5412795"/>
                  </a:lnTo>
                  <a:lnTo>
                    <a:pt x="1522043" y="5412795"/>
                  </a:lnTo>
                  <a:lnTo>
                    <a:pt x="1250932" y="5142383"/>
                  </a:lnTo>
                  <a:lnTo>
                    <a:pt x="1521344" y="4871272"/>
                  </a:lnTo>
                  <a:close/>
                  <a:moveTo>
                    <a:pt x="2904148" y="4870573"/>
                  </a:moveTo>
                  <a:lnTo>
                    <a:pt x="2633736" y="5141684"/>
                  </a:lnTo>
                  <a:lnTo>
                    <a:pt x="2904847" y="5412096"/>
                  </a:lnTo>
                  <a:lnTo>
                    <a:pt x="3168271" y="5412096"/>
                  </a:lnTo>
                  <a:lnTo>
                    <a:pt x="3037607" y="5282130"/>
                  </a:lnTo>
                  <a:lnTo>
                    <a:pt x="2897162" y="5141684"/>
                  </a:lnTo>
                  <a:lnTo>
                    <a:pt x="3168271" y="4870573"/>
                  </a:lnTo>
                  <a:close/>
                  <a:moveTo>
                    <a:pt x="1805032" y="4870573"/>
                  </a:moveTo>
                  <a:lnTo>
                    <a:pt x="1534620" y="5141684"/>
                  </a:lnTo>
                  <a:lnTo>
                    <a:pt x="1805731" y="5412096"/>
                  </a:lnTo>
                  <a:lnTo>
                    <a:pt x="1807128" y="5413494"/>
                  </a:lnTo>
                  <a:lnTo>
                    <a:pt x="2071252" y="5413494"/>
                  </a:lnTo>
                  <a:lnTo>
                    <a:pt x="1939889" y="5282130"/>
                  </a:lnTo>
                  <a:lnTo>
                    <a:pt x="1802236" y="5144479"/>
                  </a:lnTo>
                  <a:lnTo>
                    <a:pt x="2071252" y="4870573"/>
                  </a:lnTo>
                  <a:close/>
                  <a:moveTo>
                    <a:pt x="3451960" y="4869875"/>
                  </a:moveTo>
                  <a:lnTo>
                    <a:pt x="3181548" y="5140985"/>
                  </a:lnTo>
                  <a:lnTo>
                    <a:pt x="3452658" y="5411397"/>
                  </a:lnTo>
                  <a:lnTo>
                    <a:pt x="3716782" y="5411397"/>
                  </a:lnTo>
                  <a:lnTo>
                    <a:pt x="3445671" y="5140985"/>
                  </a:lnTo>
                  <a:lnTo>
                    <a:pt x="3630138" y="4956518"/>
                  </a:lnTo>
                  <a:lnTo>
                    <a:pt x="3714686" y="4869875"/>
                  </a:lnTo>
                  <a:close/>
                  <a:moveTo>
                    <a:pt x="4000470" y="4869176"/>
                  </a:moveTo>
                  <a:lnTo>
                    <a:pt x="3730058" y="5140287"/>
                  </a:lnTo>
                  <a:lnTo>
                    <a:pt x="4001169" y="5410699"/>
                  </a:lnTo>
                  <a:lnTo>
                    <a:pt x="4265292" y="5410699"/>
                  </a:lnTo>
                  <a:lnTo>
                    <a:pt x="3994181" y="5140287"/>
                  </a:lnTo>
                  <a:lnTo>
                    <a:pt x="3995579" y="5138889"/>
                  </a:lnTo>
                  <a:lnTo>
                    <a:pt x="3994880" y="5138889"/>
                  </a:lnTo>
                  <a:lnTo>
                    <a:pt x="4263197" y="4869875"/>
                  </a:lnTo>
                  <a:lnTo>
                    <a:pt x="4004663" y="4869875"/>
                  </a:lnTo>
                  <a:lnTo>
                    <a:pt x="4006060" y="4869176"/>
                  </a:lnTo>
                  <a:close/>
                  <a:moveTo>
                    <a:pt x="4823465" y="4868606"/>
                  </a:moveTo>
                  <a:lnTo>
                    <a:pt x="4555968" y="5136792"/>
                  </a:lnTo>
                  <a:lnTo>
                    <a:pt x="4816244" y="5136792"/>
                  </a:lnTo>
                  <a:lnTo>
                    <a:pt x="4998484" y="4954551"/>
                  </a:lnTo>
                  <a:lnTo>
                    <a:pt x="5084429" y="4868606"/>
                  </a:lnTo>
                  <a:close/>
                  <a:moveTo>
                    <a:pt x="4548281" y="4868477"/>
                  </a:moveTo>
                  <a:lnTo>
                    <a:pt x="4367308" y="5049450"/>
                  </a:lnTo>
                  <a:lnTo>
                    <a:pt x="4368007" y="5050149"/>
                  </a:lnTo>
                  <a:lnTo>
                    <a:pt x="4278568" y="5140287"/>
                  </a:lnTo>
                  <a:lnTo>
                    <a:pt x="4412727" y="5273746"/>
                  </a:lnTo>
                  <a:lnTo>
                    <a:pt x="4548980" y="5410000"/>
                  </a:lnTo>
                  <a:lnTo>
                    <a:pt x="4810394" y="5410000"/>
                  </a:lnTo>
                  <a:lnTo>
                    <a:pt x="4665187" y="5264791"/>
                  </a:lnTo>
                  <a:lnTo>
                    <a:pt x="4665187" y="5262463"/>
                  </a:lnTo>
                  <a:lnTo>
                    <a:pt x="4541993" y="5139588"/>
                  </a:lnTo>
                  <a:lnTo>
                    <a:pt x="4665187" y="5016077"/>
                  </a:lnTo>
                  <a:lnTo>
                    <a:pt x="4665187" y="5013245"/>
                  </a:lnTo>
                  <a:lnTo>
                    <a:pt x="4809274" y="4868477"/>
                  </a:lnTo>
                  <a:close/>
                  <a:moveTo>
                    <a:pt x="2621159" y="4868477"/>
                  </a:moveTo>
                  <a:lnTo>
                    <a:pt x="2354940" y="4871272"/>
                  </a:lnTo>
                  <a:lnTo>
                    <a:pt x="2084528" y="5142383"/>
                  </a:lnTo>
                  <a:lnTo>
                    <a:pt x="2355639" y="5412795"/>
                  </a:lnTo>
                  <a:lnTo>
                    <a:pt x="2619762" y="5412795"/>
                  </a:lnTo>
                  <a:lnTo>
                    <a:pt x="2348651" y="5142383"/>
                  </a:lnTo>
                  <a:close/>
                  <a:moveTo>
                    <a:pt x="5368118" y="4867209"/>
                  </a:moveTo>
                  <a:lnTo>
                    <a:pt x="5187844" y="5048182"/>
                  </a:lnTo>
                  <a:lnTo>
                    <a:pt x="5098404" y="5138319"/>
                  </a:lnTo>
                  <a:lnTo>
                    <a:pt x="5232563" y="5271778"/>
                  </a:lnTo>
                  <a:lnTo>
                    <a:pt x="5369515" y="5408732"/>
                  </a:lnTo>
                  <a:lnTo>
                    <a:pt x="5633638" y="5408732"/>
                  </a:lnTo>
                  <a:lnTo>
                    <a:pt x="5362527" y="5138319"/>
                  </a:lnTo>
                  <a:lnTo>
                    <a:pt x="5363925" y="5136922"/>
                  </a:lnTo>
                  <a:lnTo>
                    <a:pt x="5632241" y="4867209"/>
                  </a:lnTo>
                  <a:close/>
                  <a:moveTo>
                    <a:pt x="5917326" y="4866510"/>
                  </a:moveTo>
                  <a:lnTo>
                    <a:pt x="5646914" y="5137621"/>
                  </a:lnTo>
                  <a:lnTo>
                    <a:pt x="5918025" y="5408033"/>
                  </a:lnTo>
                  <a:lnTo>
                    <a:pt x="6182150" y="5408033"/>
                  </a:lnTo>
                  <a:lnTo>
                    <a:pt x="5911038" y="5137621"/>
                  </a:lnTo>
                  <a:lnTo>
                    <a:pt x="6181450" y="4866510"/>
                  </a:lnTo>
                  <a:close/>
                  <a:moveTo>
                    <a:pt x="7564254" y="4865811"/>
                  </a:moveTo>
                  <a:lnTo>
                    <a:pt x="7293842" y="5136922"/>
                  </a:lnTo>
                  <a:lnTo>
                    <a:pt x="7564953" y="5407334"/>
                  </a:lnTo>
                  <a:lnTo>
                    <a:pt x="7828377" y="5407334"/>
                  </a:lnTo>
                  <a:lnTo>
                    <a:pt x="7697713" y="5277368"/>
                  </a:lnTo>
                  <a:lnTo>
                    <a:pt x="7557268" y="5136922"/>
                  </a:lnTo>
                  <a:lnTo>
                    <a:pt x="7828377" y="4865811"/>
                  </a:lnTo>
                  <a:close/>
                  <a:moveTo>
                    <a:pt x="6465139" y="4865811"/>
                  </a:moveTo>
                  <a:lnTo>
                    <a:pt x="6194726" y="5136922"/>
                  </a:lnTo>
                  <a:lnTo>
                    <a:pt x="6465837" y="5407334"/>
                  </a:lnTo>
                  <a:lnTo>
                    <a:pt x="6467235" y="5408732"/>
                  </a:lnTo>
                  <a:lnTo>
                    <a:pt x="6731358" y="5408732"/>
                  </a:lnTo>
                  <a:lnTo>
                    <a:pt x="6599996" y="5277368"/>
                  </a:lnTo>
                  <a:lnTo>
                    <a:pt x="6462342" y="5139717"/>
                  </a:lnTo>
                  <a:lnTo>
                    <a:pt x="6731358" y="4865811"/>
                  </a:lnTo>
                  <a:close/>
                  <a:moveTo>
                    <a:pt x="9481988" y="4865431"/>
                  </a:moveTo>
                  <a:lnTo>
                    <a:pt x="9216074" y="5132030"/>
                  </a:lnTo>
                  <a:lnTo>
                    <a:pt x="9478247" y="5132030"/>
                  </a:lnTo>
                  <a:lnTo>
                    <a:pt x="9658901" y="4951376"/>
                  </a:lnTo>
                  <a:lnTo>
                    <a:pt x="9744846" y="4865431"/>
                  </a:lnTo>
                  <a:close/>
                  <a:moveTo>
                    <a:pt x="8112066" y="4865113"/>
                  </a:moveTo>
                  <a:lnTo>
                    <a:pt x="7841654" y="5136223"/>
                  </a:lnTo>
                  <a:lnTo>
                    <a:pt x="8112764" y="5406635"/>
                  </a:lnTo>
                  <a:lnTo>
                    <a:pt x="8376888" y="5406635"/>
                  </a:lnTo>
                  <a:lnTo>
                    <a:pt x="8105777" y="5136223"/>
                  </a:lnTo>
                  <a:lnTo>
                    <a:pt x="8290244" y="4951756"/>
                  </a:lnTo>
                  <a:lnTo>
                    <a:pt x="8374792" y="4865113"/>
                  </a:lnTo>
                  <a:close/>
                  <a:moveTo>
                    <a:pt x="8660576" y="4864414"/>
                  </a:moveTo>
                  <a:lnTo>
                    <a:pt x="8390164" y="5135525"/>
                  </a:lnTo>
                  <a:lnTo>
                    <a:pt x="8661275" y="5405937"/>
                  </a:lnTo>
                  <a:lnTo>
                    <a:pt x="8925398" y="5405937"/>
                  </a:lnTo>
                  <a:lnTo>
                    <a:pt x="8654287" y="5135525"/>
                  </a:lnTo>
                  <a:lnTo>
                    <a:pt x="8655685" y="5134127"/>
                  </a:lnTo>
                  <a:lnTo>
                    <a:pt x="8654986" y="5134127"/>
                  </a:lnTo>
                  <a:lnTo>
                    <a:pt x="8923303" y="4865113"/>
                  </a:lnTo>
                  <a:lnTo>
                    <a:pt x="8664769" y="4865113"/>
                  </a:lnTo>
                  <a:lnTo>
                    <a:pt x="8666166" y="4864414"/>
                  </a:lnTo>
                  <a:close/>
                  <a:moveTo>
                    <a:pt x="10028534" y="4864034"/>
                  </a:moveTo>
                  <a:lnTo>
                    <a:pt x="9848260" y="5045007"/>
                  </a:lnTo>
                  <a:lnTo>
                    <a:pt x="9758821" y="5135144"/>
                  </a:lnTo>
                  <a:lnTo>
                    <a:pt x="9892979" y="5268603"/>
                  </a:lnTo>
                  <a:lnTo>
                    <a:pt x="10029932" y="5405557"/>
                  </a:lnTo>
                  <a:lnTo>
                    <a:pt x="10294055" y="5405557"/>
                  </a:lnTo>
                  <a:lnTo>
                    <a:pt x="10022944" y="5135144"/>
                  </a:lnTo>
                  <a:lnTo>
                    <a:pt x="10024342" y="5133747"/>
                  </a:lnTo>
                  <a:lnTo>
                    <a:pt x="10292658" y="4864034"/>
                  </a:lnTo>
                  <a:close/>
                  <a:moveTo>
                    <a:pt x="9208387" y="4863715"/>
                  </a:moveTo>
                  <a:lnTo>
                    <a:pt x="9027414" y="5044688"/>
                  </a:lnTo>
                  <a:lnTo>
                    <a:pt x="9028113" y="5045387"/>
                  </a:lnTo>
                  <a:lnTo>
                    <a:pt x="8938674" y="5135525"/>
                  </a:lnTo>
                  <a:lnTo>
                    <a:pt x="9072833" y="5268984"/>
                  </a:lnTo>
                  <a:lnTo>
                    <a:pt x="9209086" y="5405238"/>
                  </a:lnTo>
                  <a:lnTo>
                    <a:pt x="9469224" y="5405238"/>
                  </a:lnTo>
                  <a:lnTo>
                    <a:pt x="9325603" y="5261616"/>
                  </a:lnTo>
                  <a:lnTo>
                    <a:pt x="9325603" y="5258012"/>
                  </a:lnTo>
                  <a:lnTo>
                    <a:pt x="9202099" y="5134826"/>
                  </a:lnTo>
                  <a:lnTo>
                    <a:pt x="9325603" y="5011003"/>
                  </a:lnTo>
                  <a:lnTo>
                    <a:pt x="9325603" y="5010070"/>
                  </a:lnTo>
                  <a:lnTo>
                    <a:pt x="9471271" y="4863715"/>
                  </a:lnTo>
                  <a:close/>
                  <a:moveTo>
                    <a:pt x="7281265" y="4863715"/>
                  </a:moveTo>
                  <a:lnTo>
                    <a:pt x="7015046" y="4866510"/>
                  </a:lnTo>
                  <a:lnTo>
                    <a:pt x="6744635" y="5137621"/>
                  </a:lnTo>
                  <a:lnTo>
                    <a:pt x="7015746" y="5408033"/>
                  </a:lnTo>
                  <a:lnTo>
                    <a:pt x="7279868" y="5408033"/>
                  </a:lnTo>
                  <a:lnTo>
                    <a:pt x="7008758" y="5137621"/>
                  </a:lnTo>
                  <a:close/>
                  <a:moveTo>
                    <a:pt x="10577743" y="4863335"/>
                  </a:moveTo>
                  <a:lnTo>
                    <a:pt x="10307331" y="5134446"/>
                  </a:lnTo>
                  <a:lnTo>
                    <a:pt x="10578442" y="5404858"/>
                  </a:lnTo>
                  <a:lnTo>
                    <a:pt x="10842566" y="5404858"/>
                  </a:lnTo>
                  <a:lnTo>
                    <a:pt x="10571455" y="5134446"/>
                  </a:lnTo>
                  <a:lnTo>
                    <a:pt x="10841867" y="4863335"/>
                  </a:lnTo>
                  <a:close/>
                  <a:moveTo>
                    <a:pt x="11125555" y="4862636"/>
                  </a:moveTo>
                  <a:lnTo>
                    <a:pt x="10855143" y="5133747"/>
                  </a:lnTo>
                  <a:lnTo>
                    <a:pt x="11126254" y="5404159"/>
                  </a:lnTo>
                  <a:lnTo>
                    <a:pt x="11127651" y="5405557"/>
                  </a:lnTo>
                  <a:lnTo>
                    <a:pt x="11391775" y="5405557"/>
                  </a:lnTo>
                  <a:lnTo>
                    <a:pt x="11260412" y="5274193"/>
                  </a:lnTo>
                  <a:lnTo>
                    <a:pt x="11122759" y="5136542"/>
                  </a:lnTo>
                  <a:lnTo>
                    <a:pt x="11391775" y="4862636"/>
                  </a:lnTo>
                  <a:close/>
                  <a:moveTo>
                    <a:pt x="11941682" y="4860540"/>
                  </a:moveTo>
                  <a:lnTo>
                    <a:pt x="11675463" y="4863335"/>
                  </a:lnTo>
                  <a:lnTo>
                    <a:pt x="11405051" y="5134446"/>
                  </a:lnTo>
                  <a:lnTo>
                    <a:pt x="11676162" y="5404858"/>
                  </a:lnTo>
                  <a:lnTo>
                    <a:pt x="11940285" y="5404858"/>
                  </a:lnTo>
                  <a:lnTo>
                    <a:pt x="11669174" y="5134446"/>
                  </a:lnTo>
                  <a:close/>
                  <a:moveTo>
                    <a:pt x="166488" y="4598764"/>
                  </a:moveTo>
                  <a:lnTo>
                    <a:pt x="437599" y="4869176"/>
                  </a:lnTo>
                  <a:lnTo>
                    <a:pt x="434805" y="4871971"/>
                  </a:lnTo>
                  <a:lnTo>
                    <a:pt x="344667" y="4962807"/>
                  </a:lnTo>
                  <a:lnTo>
                    <a:pt x="167187" y="5139588"/>
                  </a:lnTo>
                  <a:lnTo>
                    <a:pt x="431311" y="5139588"/>
                  </a:lnTo>
                  <a:lnTo>
                    <a:pt x="520749" y="5050149"/>
                  </a:lnTo>
                  <a:lnTo>
                    <a:pt x="701722" y="4869176"/>
                  </a:lnTo>
                  <a:lnTo>
                    <a:pt x="430612" y="4598764"/>
                  </a:lnTo>
                  <a:close/>
                  <a:moveTo>
                    <a:pt x="715697" y="4598065"/>
                  </a:moveTo>
                  <a:lnTo>
                    <a:pt x="845663" y="4728030"/>
                  </a:lnTo>
                  <a:lnTo>
                    <a:pt x="986109" y="4867778"/>
                  </a:lnTo>
                  <a:lnTo>
                    <a:pt x="715697" y="5138889"/>
                  </a:lnTo>
                  <a:lnTo>
                    <a:pt x="979821" y="5138889"/>
                  </a:lnTo>
                  <a:lnTo>
                    <a:pt x="1250932" y="4868477"/>
                  </a:lnTo>
                  <a:lnTo>
                    <a:pt x="979821" y="4598065"/>
                  </a:lnTo>
                  <a:close/>
                  <a:moveTo>
                    <a:pt x="2911136" y="4597366"/>
                  </a:moveTo>
                  <a:lnTo>
                    <a:pt x="3040403" y="4725236"/>
                  </a:lnTo>
                  <a:lnTo>
                    <a:pt x="3040403" y="4725935"/>
                  </a:lnTo>
                  <a:lnTo>
                    <a:pt x="3182246" y="4867778"/>
                  </a:lnTo>
                  <a:lnTo>
                    <a:pt x="2911834" y="5138889"/>
                  </a:lnTo>
                  <a:lnTo>
                    <a:pt x="3175259" y="5138889"/>
                  </a:lnTo>
                  <a:lnTo>
                    <a:pt x="3445671" y="4867778"/>
                  </a:lnTo>
                  <a:lnTo>
                    <a:pt x="3440081" y="4862188"/>
                  </a:lnTo>
                  <a:lnTo>
                    <a:pt x="3439382" y="4862188"/>
                  </a:lnTo>
                  <a:lnTo>
                    <a:pt x="3173862" y="4597366"/>
                  </a:lnTo>
                  <a:close/>
                  <a:moveTo>
                    <a:pt x="1813417" y="4597366"/>
                  </a:moveTo>
                  <a:lnTo>
                    <a:pt x="1815507" y="4600154"/>
                  </a:lnTo>
                  <a:lnTo>
                    <a:pt x="1814814" y="4599463"/>
                  </a:lnTo>
                  <a:lnTo>
                    <a:pt x="1815513" y="4600162"/>
                  </a:lnTo>
                  <a:lnTo>
                    <a:pt x="1815507" y="4600154"/>
                  </a:lnTo>
                  <a:lnTo>
                    <a:pt x="2074046" y="4857996"/>
                  </a:lnTo>
                  <a:lnTo>
                    <a:pt x="2083829" y="4867079"/>
                  </a:lnTo>
                  <a:lnTo>
                    <a:pt x="2085925" y="4869176"/>
                  </a:lnTo>
                  <a:lnTo>
                    <a:pt x="1821102" y="5138889"/>
                  </a:lnTo>
                  <a:lnTo>
                    <a:pt x="2080335" y="5139588"/>
                  </a:lnTo>
                  <a:lnTo>
                    <a:pt x="2350049" y="4869176"/>
                  </a:lnTo>
                  <a:lnTo>
                    <a:pt x="2214493" y="4734319"/>
                  </a:lnTo>
                  <a:lnTo>
                    <a:pt x="2197724" y="4717549"/>
                  </a:lnTo>
                  <a:lnTo>
                    <a:pt x="2078239" y="4598764"/>
                  </a:lnTo>
                  <a:lnTo>
                    <a:pt x="2074046" y="4597366"/>
                  </a:lnTo>
                  <a:close/>
                  <a:moveTo>
                    <a:pt x="1263509" y="4597366"/>
                  </a:moveTo>
                  <a:lnTo>
                    <a:pt x="1534620" y="4867778"/>
                  </a:lnTo>
                  <a:lnTo>
                    <a:pt x="1264208" y="5138889"/>
                  </a:lnTo>
                  <a:lnTo>
                    <a:pt x="1528331" y="5138889"/>
                  </a:lnTo>
                  <a:lnTo>
                    <a:pt x="1798743" y="4867778"/>
                  </a:lnTo>
                  <a:lnTo>
                    <a:pt x="1527632" y="4597366"/>
                  </a:lnTo>
                  <a:close/>
                  <a:moveTo>
                    <a:pt x="2626749" y="4595968"/>
                  </a:moveTo>
                  <a:lnTo>
                    <a:pt x="2363324" y="4596667"/>
                  </a:lnTo>
                  <a:lnTo>
                    <a:pt x="2632339" y="4864984"/>
                  </a:lnTo>
                  <a:lnTo>
                    <a:pt x="2631641" y="4865683"/>
                  </a:lnTo>
                  <a:lnTo>
                    <a:pt x="2633038" y="4867079"/>
                  </a:lnTo>
                  <a:lnTo>
                    <a:pt x="2362625" y="5138190"/>
                  </a:lnTo>
                  <a:lnTo>
                    <a:pt x="2626749" y="5138190"/>
                  </a:lnTo>
                  <a:lnTo>
                    <a:pt x="2716886" y="5048053"/>
                  </a:lnTo>
                  <a:lnTo>
                    <a:pt x="2896463" y="4864984"/>
                  </a:lnTo>
                  <a:close/>
                  <a:moveTo>
                    <a:pt x="4555270" y="4595271"/>
                  </a:moveTo>
                  <a:lnTo>
                    <a:pt x="4822299" y="4861613"/>
                  </a:lnTo>
                  <a:lnTo>
                    <a:pt x="5084429" y="4860921"/>
                  </a:lnTo>
                  <a:lnTo>
                    <a:pt x="4818093" y="4595271"/>
                  </a:lnTo>
                  <a:close/>
                  <a:moveTo>
                    <a:pt x="4006759" y="4595271"/>
                  </a:moveTo>
                  <a:lnTo>
                    <a:pt x="4136725" y="4724537"/>
                  </a:lnTo>
                  <a:lnTo>
                    <a:pt x="4277172" y="4864984"/>
                  </a:lnTo>
                  <a:lnTo>
                    <a:pt x="4184238" y="4958615"/>
                  </a:lnTo>
                  <a:lnTo>
                    <a:pt x="4184937" y="4959313"/>
                  </a:lnTo>
                  <a:lnTo>
                    <a:pt x="4008156" y="5136792"/>
                  </a:lnTo>
                  <a:lnTo>
                    <a:pt x="4270883" y="5136792"/>
                  </a:lnTo>
                  <a:lnTo>
                    <a:pt x="4541295" y="4865683"/>
                  </a:lnTo>
                  <a:lnTo>
                    <a:pt x="4270183" y="4595271"/>
                  </a:lnTo>
                  <a:close/>
                  <a:moveTo>
                    <a:pt x="3458248" y="4595271"/>
                  </a:moveTo>
                  <a:lnTo>
                    <a:pt x="3729359" y="4865683"/>
                  </a:lnTo>
                  <a:lnTo>
                    <a:pt x="3730058" y="4866380"/>
                  </a:lnTo>
                  <a:lnTo>
                    <a:pt x="3459646" y="5137491"/>
                  </a:lnTo>
                  <a:lnTo>
                    <a:pt x="3723769" y="5137491"/>
                  </a:lnTo>
                  <a:lnTo>
                    <a:pt x="3813208" y="5047355"/>
                  </a:lnTo>
                  <a:lnTo>
                    <a:pt x="3812509" y="5047355"/>
                  </a:lnTo>
                  <a:lnTo>
                    <a:pt x="3993483" y="4866380"/>
                  </a:lnTo>
                  <a:lnTo>
                    <a:pt x="3988591" y="4860791"/>
                  </a:lnTo>
                  <a:lnTo>
                    <a:pt x="3722372" y="4595271"/>
                  </a:lnTo>
                  <a:close/>
                  <a:moveTo>
                    <a:pt x="4828477" y="4594002"/>
                  </a:moveTo>
                  <a:lnTo>
                    <a:pt x="4828477" y="4595879"/>
                  </a:lnTo>
                  <a:lnTo>
                    <a:pt x="5097706" y="4864414"/>
                  </a:lnTo>
                  <a:lnTo>
                    <a:pt x="5094911" y="4867209"/>
                  </a:lnTo>
                  <a:lnTo>
                    <a:pt x="5004773" y="4958045"/>
                  </a:lnTo>
                  <a:lnTo>
                    <a:pt x="4828477" y="5133648"/>
                  </a:lnTo>
                  <a:lnTo>
                    <a:pt x="4828477" y="5134826"/>
                  </a:lnTo>
                  <a:lnTo>
                    <a:pt x="5091417" y="5134826"/>
                  </a:lnTo>
                  <a:lnTo>
                    <a:pt x="5180855" y="5045387"/>
                  </a:lnTo>
                  <a:lnTo>
                    <a:pt x="5361829" y="4864414"/>
                  </a:lnTo>
                  <a:lnTo>
                    <a:pt x="5090718" y="4594002"/>
                  </a:lnTo>
                  <a:close/>
                  <a:moveTo>
                    <a:pt x="5375803" y="4593303"/>
                  </a:moveTo>
                  <a:lnTo>
                    <a:pt x="5505770" y="4723268"/>
                  </a:lnTo>
                  <a:lnTo>
                    <a:pt x="5646216" y="4863016"/>
                  </a:lnTo>
                  <a:lnTo>
                    <a:pt x="5375803" y="5134127"/>
                  </a:lnTo>
                  <a:lnTo>
                    <a:pt x="5639927" y="5134127"/>
                  </a:lnTo>
                  <a:lnTo>
                    <a:pt x="5911038" y="4863715"/>
                  </a:lnTo>
                  <a:lnTo>
                    <a:pt x="5639927" y="4593303"/>
                  </a:lnTo>
                  <a:close/>
                  <a:moveTo>
                    <a:pt x="7571242" y="4592604"/>
                  </a:moveTo>
                  <a:lnTo>
                    <a:pt x="7700509" y="4720474"/>
                  </a:lnTo>
                  <a:lnTo>
                    <a:pt x="7700509" y="4721173"/>
                  </a:lnTo>
                  <a:lnTo>
                    <a:pt x="7842352" y="4863016"/>
                  </a:lnTo>
                  <a:lnTo>
                    <a:pt x="7571940" y="5134127"/>
                  </a:lnTo>
                  <a:lnTo>
                    <a:pt x="7835365" y="5134127"/>
                  </a:lnTo>
                  <a:lnTo>
                    <a:pt x="8105777" y="4863016"/>
                  </a:lnTo>
                  <a:lnTo>
                    <a:pt x="8100187" y="4857426"/>
                  </a:lnTo>
                  <a:lnTo>
                    <a:pt x="8099488" y="4857426"/>
                  </a:lnTo>
                  <a:lnTo>
                    <a:pt x="7833968" y="4592604"/>
                  </a:lnTo>
                  <a:close/>
                  <a:moveTo>
                    <a:pt x="6473523" y="4592604"/>
                  </a:moveTo>
                  <a:lnTo>
                    <a:pt x="6475613" y="4595392"/>
                  </a:lnTo>
                  <a:lnTo>
                    <a:pt x="6474921" y="4594701"/>
                  </a:lnTo>
                  <a:lnTo>
                    <a:pt x="6475619" y="4595400"/>
                  </a:lnTo>
                  <a:lnTo>
                    <a:pt x="6475613" y="4595392"/>
                  </a:lnTo>
                  <a:lnTo>
                    <a:pt x="6734153" y="4853234"/>
                  </a:lnTo>
                  <a:lnTo>
                    <a:pt x="6743935" y="4862317"/>
                  </a:lnTo>
                  <a:lnTo>
                    <a:pt x="6746031" y="4864414"/>
                  </a:lnTo>
                  <a:lnTo>
                    <a:pt x="6481208" y="5134127"/>
                  </a:lnTo>
                  <a:lnTo>
                    <a:pt x="6740442" y="5134826"/>
                  </a:lnTo>
                  <a:lnTo>
                    <a:pt x="7010155" y="4864414"/>
                  </a:lnTo>
                  <a:lnTo>
                    <a:pt x="6874599" y="4729557"/>
                  </a:lnTo>
                  <a:lnTo>
                    <a:pt x="6857830" y="4712787"/>
                  </a:lnTo>
                  <a:lnTo>
                    <a:pt x="6738346" y="4594002"/>
                  </a:lnTo>
                  <a:lnTo>
                    <a:pt x="6734153" y="4592604"/>
                  </a:lnTo>
                  <a:close/>
                  <a:moveTo>
                    <a:pt x="5923616" y="4592604"/>
                  </a:moveTo>
                  <a:lnTo>
                    <a:pt x="6194726" y="4863016"/>
                  </a:lnTo>
                  <a:lnTo>
                    <a:pt x="5924314" y="5134127"/>
                  </a:lnTo>
                  <a:lnTo>
                    <a:pt x="6188437" y="5134127"/>
                  </a:lnTo>
                  <a:lnTo>
                    <a:pt x="6458849" y="4863016"/>
                  </a:lnTo>
                  <a:lnTo>
                    <a:pt x="6187739" y="4592604"/>
                  </a:lnTo>
                  <a:close/>
                  <a:moveTo>
                    <a:pt x="7286855" y="4591206"/>
                  </a:moveTo>
                  <a:lnTo>
                    <a:pt x="7023431" y="4591905"/>
                  </a:lnTo>
                  <a:lnTo>
                    <a:pt x="7292445" y="4860222"/>
                  </a:lnTo>
                  <a:lnTo>
                    <a:pt x="7291747" y="4860921"/>
                  </a:lnTo>
                  <a:lnTo>
                    <a:pt x="7293144" y="4862317"/>
                  </a:lnTo>
                  <a:lnTo>
                    <a:pt x="7022731" y="5133428"/>
                  </a:lnTo>
                  <a:lnTo>
                    <a:pt x="7286855" y="5133428"/>
                  </a:lnTo>
                  <a:lnTo>
                    <a:pt x="7376992" y="5043291"/>
                  </a:lnTo>
                  <a:lnTo>
                    <a:pt x="7556569" y="4860222"/>
                  </a:lnTo>
                  <a:close/>
                  <a:moveTo>
                    <a:pt x="9488582" y="4590827"/>
                  </a:moveTo>
                  <a:lnTo>
                    <a:pt x="9488582" y="4592394"/>
                  </a:lnTo>
                  <a:lnTo>
                    <a:pt x="9758122" y="4861239"/>
                  </a:lnTo>
                  <a:lnTo>
                    <a:pt x="9755328" y="4864034"/>
                  </a:lnTo>
                  <a:lnTo>
                    <a:pt x="9665190" y="4954870"/>
                  </a:lnTo>
                  <a:lnTo>
                    <a:pt x="9488582" y="5130783"/>
                  </a:lnTo>
                  <a:lnTo>
                    <a:pt x="9488582" y="5131651"/>
                  </a:lnTo>
                  <a:lnTo>
                    <a:pt x="9751834" y="5131651"/>
                  </a:lnTo>
                  <a:lnTo>
                    <a:pt x="9841272" y="5042212"/>
                  </a:lnTo>
                  <a:lnTo>
                    <a:pt x="10022245" y="4861239"/>
                  </a:lnTo>
                  <a:lnTo>
                    <a:pt x="9751135" y="4590827"/>
                  </a:lnTo>
                  <a:close/>
                  <a:moveTo>
                    <a:pt x="9215375" y="4590509"/>
                  </a:moveTo>
                  <a:lnTo>
                    <a:pt x="9483993" y="4858435"/>
                  </a:lnTo>
                  <a:lnTo>
                    <a:pt x="9744846" y="4857746"/>
                  </a:lnTo>
                  <a:lnTo>
                    <a:pt x="9476918" y="4590509"/>
                  </a:lnTo>
                  <a:close/>
                  <a:moveTo>
                    <a:pt x="8666865" y="4590509"/>
                  </a:moveTo>
                  <a:lnTo>
                    <a:pt x="8796831" y="4719775"/>
                  </a:lnTo>
                  <a:lnTo>
                    <a:pt x="8937277" y="4860222"/>
                  </a:lnTo>
                  <a:lnTo>
                    <a:pt x="8844344" y="4953853"/>
                  </a:lnTo>
                  <a:lnTo>
                    <a:pt x="8845043" y="4954551"/>
                  </a:lnTo>
                  <a:lnTo>
                    <a:pt x="8668262" y="5132030"/>
                  </a:lnTo>
                  <a:lnTo>
                    <a:pt x="8930988" y="5132030"/>
                  </a:lnTo>
                  <a:lnTo>
                    <a:pt x="9201400" y="4860921"/>
                  </a:lnTo>
                  <a:lnTo>
                    <a:pt x="8930289" y="4590509"/>
                  </a:lnTo>
                  <a:close/>
                  <a:moveTo>
                    <a:pt x="8118354" y="4590509"/>
                  </a:moveTo>
                  <a:lnTo>
                    <a:pt x="8389465" y="4860921"/>
                  </a:lnTo>
                  <a:lnTo>
                    <a:pt x="8390164" y="4861618"/>
                  </a:lnTo>
                  <a:lnTo>
                    <a:pt x="8119752" y="5132729"/>
                  </a:lnTo>
                  <a:lnTo>
                    <a:pt x="8383875" y="5132729"/>
                  </a:lnTo>
                  <a:lnTo>
                    <a:pt x="8473314" y="5042593"/>
                  </a:lnTo>
                  <a:lnTo>
                    <a:pt x="8472615" y="5042593"/>
                  </a:lnTo>
                  <a:lnTo>
                    <a:pt x="8653589" y="4861618"/>
                  </a:lnTo>
                  <a:lnTo>
                    <a:pt x="8648697" y="4856029"/>
                  </a:lnTo>
                  <a:lnTo>
                    <a:pt x="8382478" y="4590509"/>
                  </a:lnTo>
                  <a:close/>
                  <a:moveTo>
                    <a:pt x="10036220" y="4590128"/>
                  </a:moveTo>
                  <a:lnTo>
                    <a:pt x="10166186" y="4720093"/>
                  </a:lnTo>
                  <a:lnTo>
                    <a:pt x="10306632" y="4859841"/>
                  </a:lnTo>
                  <a:lnTo>
                    <a:pt x="10036220" y="5130952"/>
                  </a:lnTo>
                  <a:lnTo>
                    <a:pt x="10300344" y="5130952"/>
                  </a:lnTo>
                  <a:lnTo>
                    <a:pt x="10571455" y="4860540"/>
                  </a:lnTo>
                  <a:lnTo>
                    <a:pt x="10300344" y="4590128"/>
                  </a:lnTo>
                  <a:close/>
                  <a:moveTo>
                    <a:pt x="11133940" y="4589429"/>
                  </a:moveTo>
                  <a:lnTo>
                    <a:pt x="11136030" y="4592217"/>
                  </a:lnTo>
                  <a:lnTo>
                    <a:pt x="11135337" y="4591526"/>
                  </a:lnTo>
                  <a:lnTo>
                    <a:pt x="11136036" y="4592225"/>
                  </a:lnTo>
                  <a:lnTo>
                    <a:pt x="11136030" y="4592217"/>
                  </a:lnTo>
                  <a:lnTo>
                    <a:pt x="11394569" y="4850059"/>
                  </a:lnTo>
                  <a:lnTo>
                    <a:pt x="11404352" y="4859142"/>
                  </a:lnTo>
                  <a:lnTo>
                    <a:pt x="11406448" y="4861239"/>
                  </a:lnTo>
                  <a:lnTo>
                    <a:pt x="11141625" y="5130952"/>
                  </a:lnTo>
                  <a:lnTo>
                    <a:pt x="11400858" y="5131651"/>
                  </a:lnTo>
                  <a:lnTo>
                    <a:pt x="11670572" y="4861239"/>
                  </a:lnTo>
                  <a:lnTo>
                    <a:pt x="11535016" y="4726382"/>
                  </a:lnTo>
                  <a:lnTo>
                    <a:pt x="11518247" y="4709612"/>
                  </a:lnTo>
                  <a:lnTo>
                    <a:pt x="11398762" y="4590827"/>
                  </a:lnTo>
                  <a:lnTo>
                    <a:pt x="11394569" y="4589429"/>
                  </a:lnTo>
                  <a:close/>
                  <a:moveTo>
                    <a:pt x="10584032" y="4589429"/>
                  </a:moveTo>
                  <a:lnTo>
                    <a:pt x="10855143" y="4859841"/>
                  </a:lnTo>
                  <a:lnTo>
                    <a:pt x="10584731" y="5130952"/>
                  </a:lnTo>
                  <a:lnTo>
                    <a:pt x="10848854" y="5130952"/>
                  </a:lnTo>
                  <a:lnTo>
                    <a:pt x="11119266" y="4859841"/>
                  </a:lnTo>
                  <a:lnTo>
                    <a:pt x="10848155" y="4589429"/>
                  </a:lnTo>
                  <a:close/>
                  <a:moveTo>
                    <a:pt x="708011" y="4324160"/>
                  </a:moveTo>
                  <a:lnTo>
                    <a:pt x="437599" y="4595271"/>
                  </a:lnTo>
                  <a:lnTo>
                    <a:pt x="709409" y="4865683"/>
                  </a:lnTo>
                  <a:lnTo>
                    <a:pt x="972833" y="4865683"/>
                  </a:lnTo>
                  <a:lnTo>
                    <a:pt x="842169" y="4735716"/>
                  </a:lnTo>
                  <a:lnTo>
                    <a:pt x="701722" y="4595271"/>
                  </a:lnTo>
                  <a:lnTo>
                    <a:pt x="972135" y="4324160"/>
                  </a:lnTo>
                  <a:close/>
                  <a:moveTo>
                    <a:pt x="2354241" y="4323461"/>
                  </a:moveTo>
                  <a:lnTo>
                    <a:pt x="2083829" y="4594572"/>
                  </a:lnTo>
                  <a:lnTo>
                    <a:pt x="2353542" y="4863586"/>
                  </a:lnTo>
                  <a:lnTo>
                    <a:pt x="2616967" y="4863586"/>
                  </a:lnTo>
                  <a:lnTo>
                    <a:pt x="2347952" y="4594572"/>
                  </a:lnTo>
                  <a:lnTo>
                    <a:pt x="2348651" y="4593873"/>
                  </a:lnTo>
                  <a:lnTo>
                    <a:pt x="2347254" y="4592475"/>
                  </a:lnTo>
                  <a:lnTo>
                    <a:pt x="2615569" y="4323461"/>
                  </a:lnTo>
                  <a:close/>
                  <a:moveTo>
                    <a:pt x="1256521" y="4323461"/>
                  </a:moveTo>
                  <a:lnTo>
                    <a:pt x="986109" y="4594572"/>
                  </a:lnTo>
                  <a:lnTo>
                    <a:pt x="1257220" y="4864984"/>
                  </a:lnTo>
                  <a:lnTo>
                    <a:pt x="1521344" y="4864984"/>
                  </a:lnTo>
                  <a:lnTo>
                    <a:pt x="1250233" y="4594572"/>
                  </a:lnTo>
                  <a:lnTo>
                    <a:pt x="1520645" y="4323461"/>
                  </a:lnTo>
                  <a:lnTo>
                    <a:pt x="1392775" y="4323461"/>
                  </a:lnTo>
                  <a:close/>
                  <a:moveTo>
                    <a:pt x="1805731" y="4322762"/>
                  </a:moveTo>
                  <a:lnTo>
                    <a:pt x="1625456" y="4503735"/>
                  </a:lnTo>
                  <a:lnTo>
                    <a:pt x="1624758" y="4503735"/>
                  </a:lnTo>
                  <a:lnTo>
                    <a:pt x="1534620" y="4593873"/>
                  </a:lnTo>
                  <a:lnTo>
                    <a:pt x="1805032" y="4864984"/>
                  </a:lnTo>
                  <a:lnTo>
                    <a:pt x="2069155" y="4864984"/>
                  </a:lnTo>
                  <a:lnTo>
                    <a:pt x="1798044" y="4594572"/>
                  </a:lnTo>
                  <a:lnTo>
                    <a:pt x="1982512" y="4410104"/>
                  </a:lnTo>
                  <a:lnTo>
                    <a:pt x="1983211" y="4410104"/>
                  </a:lnTo>
                  <a:lnTo>
                    <a:pt x="2069155" y="4323461"/>
                  </a:lnTo>
                  <a:lnTo>
                    <a:pt x="1810622" y="4323461"/>
                  </a:lnTo>
                  <a:close/>
                  <a:moveTo>
                    <a:pt x="3450563" y="4321364"/>
                  </a:moveTo>
                  <a:lnTo>
                    <a:pt x="3269589" y="4503036"/>
                  </a:lnTo>
                  <a:lnTo>
                    <a:pt x="3270986" y="4503735"/>
                  </a:lnTo>
                  <a:lnTo>
                    <a:pt x="3181548" y="4593174"/>
                  </a:lnTo>
                  <a:lnTo>
                    <a:pt x="3451960" y="4862887"/>
                  </a:lnTo>
                  <a:lnTo>
                    <a:pt x="3715384" y="4862887"/>
                  </a:lnTo>
                  <a:lnTo>
                    <a:pt x="3444972" y="4593174"/>
                  </a:lnTo>
                  <a:lnTo>
                    <a:pt x="3444274" y="4592475"/>
                  </a:lnTo>
                  <a:lnTo>
                    <a:pt x="3714686" y="4321364"/>
                  </a:lnTo>
                  <a:close/>
                  <a:moveTo>
                    <a:pt x="2904847" y="4321364"/>
                  </a:moveTo>
                  <a:lnTo>
                    <a:pt x="2908341" y="4322762"/>
                  </a:lnTo>
                  <a:lnTo>
                    <a:pt x="2902751" y="4322762"/>
                  </a:lnTo>
                  <a:lnTo>
                    <a:pt x="2633736" y="4593174"/>
                  </a:lnTo>
                  <a:lnTo>
                    <a:pt x="2903449" y="4862188"/>
                  </a:lnTo>
                  <a:lnTo>
                    <a:pt x="3168271" y="4863586"/>
                  </a:lnTo>
                  <a:lnTo>
                    <a:pt x="2897162" y="4593174"/>
                  </a:lnTo>
                  <a:lnTo>
                    <a:pt x="2895764" y="4591776"/>
                  </a:lnTo>
                  <a:lnTo>
                    <a:pt x="3164778" y="4322063"/>
                  </a:lnTo>
                  <a:lnTo>
                    <a:pt x="2967035" y="4322063"/>
                  </a:lnTo>
                  <a:lnTo>
                    <a:pt x="2967733" y="4321364"/>
                  </a:lnTo>
                  <a:close/>
                  <a:moveTo>
                    <a:pt x="3999073" y="4320665"/>
                  </a:moveTo>
                  <a:lnTo>
                    <a:pt x="3728660" y="4591776"/>
                  </a:lnTo>
                  <a:lnTo>
                    <a:pt x="3999771" y="4862188"/>
                  </a:lnTo>
                  <a:lnTo>
                    <a:pt x="4263197" y="4862188"/>
                  </a:lnTo>
                  <a:lnTo>
                    <a:pt x="4133230" y="4732223"/>
                  </a:lnTo>
                  <a:lnTo>
                    <a:pt x="3992783" y="4591776"/>
                  </a:lnTo>
                  <a:lnTo>
                    <a:pt x="4263197" y="4320665"/>
                  </a:lnTo>
                  <a:close/>
                  <a:moveTo>
                    <a:pt x="4822057" y="4320097"/>
                  </a:moveTo>
                  <a:lnTo>
                    <a:pt x="4554570" y="4587584"/>
                  </a:lnTo>
                  <a:lnTo>
                    <a:pt x="4816244" y="4587584"/>
                  </a:lnTo>
                  <a:lnTo>
                    <a:pt x="5083731" y="4320097"/>
                  </a:lnTo>
                  <a:close/>
                  <a:moveTo>
                    <a:pt x="4547585" y="4319967"/>
                  </a:moveTo>
                  <a:lnTo>
                    <a:pt x="4277172" y="4591077"/>
                  </a:lnTo>
                  <a:lnTo>
                    <a:pt x="4548281" y="4861489"/>
                  </a:lnTo>
                  <a:lnTo>
                    <a:pt x="4810393" y="4861489"/>
                  </a:lnTo>
                  <a:lnTo>
                    <a:pt x="4808427" y="4859523"/>
                  </a:lnTo>
                  <a:lnTo>
                    <a:pt x="4665187" y="4716979"/>
                  </a:lnTo>
                  <a:lnTo>
                    <a:pt x="4665187" y="4714650"/>
                  </a:lnTo>
                  <a:lnTo>
                    <a:pt x="4541295" y="4591077"/>
                  </a:lnTo>
                  <a:lnTo>
                    <a:pt x="4665187" y="4466865"/>
                  </a:lnTo>
                  <a:lnTo>
                    <a:pt x="4665187" y="4464037"/>
                  </a:lnTo>
                  <a:lnTo>
                    <a:pt x="4808574" y="4319967"/>
                  </a:lnTo>
                  <a:close/>
                  <a:moveTo>
                    <a:pt x="5368118" y="4319398"/>
                  </a:moveTo>
                  <a:lnTo>
                    <a:pt x="5097706" y="4590509"/>
                  </a:lnTo>
                  <a:lnTo>
                    <a:pt x="5369515" y="4860921"/>
                  </a:lnTo>
                  <a:lnTo>
                    <a:pt x="5632939" y="4860921"/>
                  </a:lnTo>
                  <a:lnTo>
                    <a:pt x="5502275" y="4730954"/>
                  </a:lnTo>
                  <a:lnTo>
                    <a:pt x="5361829" y="4590509"/>
                  </a:lnTo>
                  <a:lnTo>
                    <a:pt x="5632241" y="4319398"/>
                  </a:lnTo>
                  <a:close/>
                  <a:moveTo>
                    <a:pt x="7014347" y="4318699"/>
                  </a:moveTo>
                  <a:lnTo>
                    <a:pt x="6743935" y="4589810"/>
                  </a:lnTo>
                  <a:lnTo>
                    <a:pt x="7013649" y="4858824"/>
                  </a:lnTo>
                  <a:lnTo>
                    <a:pt x="7277073" y="4858824"/>
                  </a:lnTo>
                  <a:lnTo>
                    <a:pt x="7008058" y="4589810"/>
                  </a:lnTo>
                  <a:lnTo>
                    <a:pt x="7008758" y="4589111"/>
                  </a:lnTo>
                  <a:lnTo>
                    <a:pt x="7007360" y="4587713"/>
                  </a:lnTo>
                  <a:lnTo>
                    <a:pt x="7275675" y="4318699"/>
                  </a:lnTo>
                  <a:close/>
                  <a:moveTo>
                    <a:pt x="5916628" y="4318699"/>
                  </a:moveTo>
                  <a:lnTo>
                    <a:pt x="5646216" y="4589810"/>
                  </a:lnTo>
                  <a:lnTo>
                    <a:pt x="5917326" y="4860222"/>
                  </a:lnTo>
                  <a:lnTo>
                    <a:pt x="6181450" y="4860222"/>
                  </a:lnTo>
                  <a:lnTo>
                    <a:pt x="5910339" y="4589810"/>
                  </a:lnTo>
                  <a:lnTo>
                    <a:pt x="6180751" y="4318699"/>
                  </a:lnTo>
                  <a:lnTo>
                    <a:pt x="6052882" y="4318699"/>
                  </a:lnTo>
                  <a:close/>
                  <a:moveTo>
                    <a:pt x="6465837" y="4318000"/>
                  </a:moveTo>
                  <a:lnTo>
                    <a:pt x="6285563" y="4498973"/>
                  </a:lnTo>
                  <a:lnTo>
                    <a:pt x="6284865" y="4498973"/>
                  </a:lnTo>
                  <a:lnTo>
                    <a:pt x="6194726" y="4589111"/>
                  </a:lnTo>
                  <a:lnTo>
                    <a:pt x="6465139" y="4860222"/>
                  </a:lnTo>
                  <a:lnTo>
                    <a:pt x="6729262" y="4860222"/>
                  </a:lnTo>
                  <a:lnTo>
                    <a:pt x="6458151" y="4589810"/>
                  </a:lnTo>
                  <a:lnTo>
                    <a:pt x="6642619" y="4405342"/>
                  </a:lnTo>
                  <a:lnTo>
                    <a:pt x="6643317" y="4405342"/>
                  </a:lnTo>
                  <a:lnTo>
                    <a:pt x="6729262" y="4318699"/>
                  </a:lnTo>
                  <a:lnTo>
                    <a:pt x="6470728" y="4318699"/>
                  </a:lnTo>
                  <a:close/>
                  <a:moveTo>
                    <a:pt x="9480576" y="4316922"/>
                  </a:moveTo>
                  <a:lnTo>
                    <a:pt x="9214676" y="4582822"/>
                  </a:lnTo>
                  <a:lnTo>
                    <a:pt x="9478247" y="4582822"/>
                  </a:lnTo>
                  <a:lnTo>
                    <a:pt x="9744147" y="4316922"/>
                  </a:lnTo>
                  <a:close/>
                  <a:moveTo>
                    <a:pt x="8110669" y="4316602"/>
                  </a:moveTo>
                  <a:lnTo>
                    <a:pt x="7929695" y="4498274"/>
                  </a:lnTo>
                  <a:lnTo>
                    <a:pt x="7931092" y="4498973"/>
                  </a:lnTo>
                  <a:lnTo>
                    <a:pt x="7841654" y="4588412"/>
                  </a:lnTo>
                  <a:lnTo>
                    <a:pt x="8112066" y="4858125"/>
                  </a:lnTo>
                  <a:lnTo>
                    <a:pt x="8375490" y="4858125"/>
                  </a:lnTo>
                  <a:lnTo>
                    <a:pt x="8105078" y="4588412"/>
                  </a:lnTo>
                  <a:lnTo>
                    <a:pt x="8104380" y="4587713"/>
                  </a:lnTo>
                  <a:lnTo>
                    <a:pt x="8374792" y="4316602"/>
                  </a:lnTo>
                  <a:close/>
                  <a:moveTo>
                    <a:pt x="7564953" y="4316602"/>
                  </a:moveTo>
                  <a:lnTo>
                    <a:pt x="7568447" y="4318000"/>
                  </a:lnTo>
                  <a:lnTo>
                    <a:pt x="7562857" y="4318000"/>
                  </a:lnTo>
                  <a:lnTo>
                    <a:pt x="7293842" y="4588412"/>
                  </a:lnTo>
                  <a:lnTo>
                    <a:pt x="7563555" y="4857426"/>
                  </a:lnTo>
                  <a:lnTo>
                    <a:pt x="7828377" y="4858824"/>
                  </a:lnTo>
                  <a:lnTo>
                    <a:pt x="7557268" y="4588412"/>
                  </a:lnTo>
                  <a:lnTo>
                    <a:pt x="7555870" y="4587014"/>
                  </a:lnTo>
                  <a:lnTo>
                    <a:pt x="7824884" y="4317301"/>
                  </a:lnTo>
                  <a:lnTo>
                    <a:pt x="7627141" y="4317301"/>
                  </a:lnTo>
                  <a:lnTo>
                    <a:pt x="7627839" y="4316602"/>
                  </a:lnTo>
                  <a:close/>
                  <a:moveTo>
                    <a:pt x="10028534" y="4316223"/>
                  </a:moveTo>
                  <a:lnTo>
                    <a:pt x="9758122" y="4587334"/>
                  </a:lnTo>
                  <a:lnTo>
                    <a:pt x="10029932" y="4857746"/>
                  </a:lnTo>
                  <a:lnTo>
                    <a:pt x="10293356" y="4857746"/>
                  </a:lnTo>
                  <a:lnTo>
                    <a:pt x="10162692" y="4727779"/>
                  </a:lnTo>
                  <a:lnTo>
                    <a:pt x="10022245" y="4587334"/>
                  </a:lnTo>
                  <a:lnTo>
                    <a:pt x="10292658" y="4316223"/>
                  </a:lnTo>
                  <a:close/>
                  <a:moveTo>
                    <a:pt x="8659179" y="4315903"/>
                  </a:moveTo>
                  <a:lnTo>
                    <a:pt x="8388766" y="4587014"/>
                  </a:lnTo>
                  <a:lnTo>
                    <a:pt x="8659877" y="4857426"/>
                  </a:lnTo>
                  <a:lnTo>
                    <a:pt x="8923303" y="4857426"/>
                  </a:lnTo>
                  <a:lnTo>
                    <a:pt x="8793336" y="4727461"/>
                  </a:lnTo>
                  <a:lnTo>
                    <a:pt x="8652889" y="4587014"/>
                  </a:lnTo>
                  <a:lnTo>
                    <a:pt x="8923303" y="4315903"/>
                  </a:lnTo>
                  <a:close/>
                  <a:moveTo>
                    <a:pt x="11674764" y="4315524"/>
                  </a:moveTo>
                  <a:lnTo>
                    <a:pt x="11404352" y="4586635"/>
                  </a:lnTo>
                  <a:lnTo>
                    <a:pt x="11674065" y="4855649"/>
                  </a:lnTo>
                  <a:lnTo>
                    <a:pt x="11937490" y="4855649"/>
                  </a:lnTo>
                  <a:lnTo>
                    <a:pt x="11668475" y="4586635"/>
                  </a:lnTo>
                  <a:lnTo>
                    <a:pt x="11669174" y="4585936"/>
                  </a:lnTo>
                  <a:lnTo>
                    <a:pt x="11667777" y="4584538"/>
                  </a:lnTo>
                  <a:lnTo>
                    <a:pt x="11936092" y="4315524"/>
                  </a:lnTo>
                  <a:close/>
                  <a:moveTo>
                    <a:pt x="10577044" y="4315524"/>
                  </a:moveTo>
                  <a:lnTo>
                    <a:pt x="10306632" y="4586635"/>
                  </a:lnTo>
                  <a:lnTo>
                    <a:pt x="10577743" y="4857047"/>
                  </a:lnTo>
                  <a:lnTo>
                    <a:pt x="10841867" y="4857047"/>
                  </a:lnTo>
                  <a:lnTo>
                    <a:pt x="10570756" y="4586635"/>
                  </a:lnTo>
                  <a:lnTo>
                    <a:pt x="10841168" y="4315524"/>
                  </a:lnTo>
                  <a:lnTo>
                    <a:pt x="10713298" y="4315524"/>
                  </a:lnTo>
                  <a:close/>
                  <a:moveTo>
                    <a:pt x="9207690" y="4315205"/>
                  </a:moveTo>
                  <a:lnTo>
                    <a:pt x="8937277" y="4586315"/>
                  </a:lnTo>
                  <a:lnTo>
                    <a:pt x="9208387" y="4856727"/>
                  </a:lnTo>
                  <a:lnTo>
                    <a:pt x="9469223" y="4856727"/>
                  </a:lnTo>
                  <a:lnTo>
                    <a:pt x="9468844" y="4856348"/>
                  </a:lnTo>
                  <a:lnTo>
                    <a:pt x="9325603" y="4713804"/>
                  </a:lnTo>
                  <a:lnTo>
                    <a:pt x="9325603" y="4710198"/>
                  </a:lnTo>
                  <a:lnTo>
                    <a:pt x="9201400" y="4586315"/>
                  </a:lnTo>
                  <a:lnTo>
                    <a:pt x="9325603" y="4461792"/>
                  </a:lnTo>
                  <a:lnTo>
                    <a:pt x="9325603" y="4460862"/>
                  </a:lnTo>
                  <a:lnTo>
                    <a:pt x="9470571" y="4315205"/>
                  </a:lnTo>
                  <a:close/>
                  <a:moveTo>
                    <a:pt x="11126254" y="4314825"/>
                  </a:moveTo>
                  <a:lnTo>
                    <a:pt x="10945979" y="4495798"/>
                  </a:lnTo>
                  <a:lnTo>
                    <a:pt x="10945281" y="4495798"/>
                  </a:lnTo>
                  <a:lnTo>
                    <a:pt x="10855143" y="4585936"/>
                  </a:lnTo>
                  <a:lnTo>
                    <a:pt x="11125555" y="4857047"/>
                  </a:lnTo>
                  <a:lnTo>
                    <a:pt x="11389678" y="4857047"/>
                  </a:lnTo>
                  <a:lnTo>
                    <a:pt x="11118567" y="4586635"/>
                  </a:lnTo>
                  <a:lnTo>
                    <a:pt x="11303035" y="4402167"/>
                  </a:lnTo>
                  <a:lnTo>
                    <a:pt x="11303734" y="4402167"/>
                  </a:lnTo>
                  <a:lnTo>
                    <a:pt x="11389678" y="4315524"/>
                  </a:lnTo>
                  <a:lnTo>
                    <a:pt x="11131145" y="4315524"/>
                  </a:lnTo>
                  <a:close/>
                  <a:moveTo>
                    <a:pt x="717155" y="4052402"/>
                  </a:moveTo>
                  <a:lnTo>
                    <a:pt x="986808" y="4320665"/>
                  </a:lnTo>
                  <a:lnTo>
                    <a:pt x="716396" y="4591776"/>
                  </a:lnTo>
                  <a:lnTo>
                    <a:pt x="979821" y="4591776"/>
                  </a:lnTo>
                  <a:lnTo>
                    <a:pt x="1250233" y="4320665"/>
                  </a:lnTo>
                  <a:lnTo>
                    <a:pt x="1116075" y="4187206"/>
                  </a:lnTo>
                  <a:lnTo>
                    <a:pt x="1019702" y="4090833"/>
                  </a:lnTo>
                  <a:lnTo>
                    <a:pt x="1018761" y="4090833"/>
                  </a:lnTo>
                  <a:lnTo>
                    <a:pt x="980330" y="4052402"/>
                  </a:lnTo>
                  <a:close/>
                  <a:moveTo>
                    <a:pt x="168395" y="4052402"/>
                  </a:moveTo>
                  <a:lnTo>
                    <a:pt x="206127" y="4090134"/>
                  </a:lnTo>
                  <a:lnTo>
                    <a:pt x="205772" y="4090134"/>
                  </a:lnTo>
                  <a:lnTo>
                    <a:pt x="437599" y="4321364"/>
                  </a:lnTo>
                  <a:lnTo>
                    <a:pt x="167187" y="4591776"/>
                  </a:lnTo>
                  <a:lnTo>
                    <a:pt x="431311" y="4591776"/>
                  </a:lnTo>
                  <a:lnTo>
                    <a:pt x="701722" y="4320665"/>
                  </a:lnTo>
                  <a:lnTo>
                    <a:pt x="470596" y="4090134"/>
                  </a:lnTo>
                  <a:lnTo>
                    <a:pt x="470250" y="4090134"/>
                  </a:lnTo>
                  <a:lnTo>
                    <a:pt x="432518" y="4052402"/>
                  </a:lnTo>
                  <a:close/>
                  <a:moveTo>
                    <a:pt x="1816265" y="4051703"/>
                  </a:moveTo>
                  <a:lnTo>
                    <a:pt x="1942683" y="4178123"/>
                  </a:lnTo>
                  <a:lnTo>
                    <a:pt x="2083829" y="4318569"/>
                  </a:lnTo>
                  <a:lnTo>
                    <a:pt x="1813417" y="4589680"/>
                  </a:lnTo>
                  <a:lnTo>
                    <a:pt x="2076842" y="4589680"/>
                  </a:lnTo>
                  <a:lnTo>
                    <a:pt x="2347254" y="4319268"/>
                  </a:lnTo>
                  <a:lnTo>
                    <a:pt x="2214493" y="4186507"/>
                  </a:lnTo>
                  <a:lnTo>
                    <a:pt x="2214493" y="4185809"/>
                  </a:lnTo>
                  <a:lnTo>
                    <a:pt x="2119736" y="4091531"/>
                  </a:lnTo>
                  <a:lnTo>
                    <a:pt x="2116480" y="4091531"/>
                  </a:lnTo>
                  <a:lnTo>
                    <a:pt x="2076652" y="4051703"/>
                  </a:lnTo>
                  <a:close/>
                  <a:moveTo>
                    <a:pt x="1266369" y="4051703"/>
                  </a:moveTo>
                  <a:lnTo>
                    <a:pt x="1534620" y="4318569"/>
                  </a:lnTo>
                  <a:lnTo>
                    <a:pt x="1531824" y="4321364"/>
                  </a:lnTo>
                  <a:lnTo>
                    <a:pt x="1441688" y="4412201"/>
                  </a:lnTo>
                  <a:lnTo>
                    <a:pt x="1440989" y="4412201"/>
                  </a:lnTo>
                  <a:lnTo>
                    <a:pt x="1263509" y="4590379"/>
                  </a:lnTo>
                  <a:lnTo>
                    <a:pt x="1527632" y="4590379"/>
                  </a:lnTo>
                  <a:lnTo>
                    <a:pt x="1798044" y="4319967"/>
                  </a:lnTo>
                  <a:lnTo>
                    <a:pt x="1793153" y="4315076"/>
                  </a:lnTo>
                  <a:lnTo>
                    <a:pt x="1795249" y="4315775"/>
                  </a:lnTo>
                  <a:lnTo>
                    <a:pt x="1569718" y="4090833"/>
                  </a:lnTo>
                  <a:lnTo>
                    <a:pt x="1567271" y="4090833"/>
                  </a:lnTo>
                  <a:lnTo>
                    <a:pt x="1528141" y="4051703"/>
                  </a:lnTo>
                  <a:close/>
                  <a:moveTo>
                    <a:pt x="2363377" y="4051005"/>
                  </a:moveTo>
                  <a:lnTo>
                    <a:pt x="2630942" y="4318569"/>
                  </a:lnTo>
                  <a:lnTo>
                    <a:pt x="2632339" y="4319967"/>
                  </a:lnTo>
                  <a:lnTo>
                    <a:pt x="2363324" y="4589680"/>
                  </a:lnTo>
                  <a:lnTo>
                    <a:pt x="2625352" y="4589680"/>
                  </a:lnTo>
                  <a:lnTo>
                    <a:pt x="2895065" y="4319268"/>
                  </a:lnTo>
                  <a:lnTo>
                    <a:pt x="2890873" y="4315076"/>
                  </a:lnTo>
                  <a:lnTo>
                    <a:pt x="2892968" y="4315775"/>
                  </a:lnTo>
                  <a:lnTo>
                    <a:pt x="2668140" y="4091531"/>
                  </a:lnTo>
                  <a:lnTo>
                    <a:pt x="2666387" y="4091531"/>
                  </a:lnTo>
                  <a:lnTo>
                    <a:pt x="2625861" y="4051005"/>
                  </a:lnTo>
                  <a:close/>
                  <a:moveTo>
                    <a:pt x="2911879" y="4049607"/>
                  </a:moveTo>
                  <a:lnTo>
                    <a:pt x="3179452" y="4317871"/>
                  </a:lnTo>
                  <a:lnTo>
                    <a:pt x="3087218" y="4410803"/>
                  </a:lnTo>
                  <a:lnTo>
                    <a:pt x="3087917" y="4411502"/>
                  </a:lnTo>
                  <a:lnTo>
                    <a:pt x="2911834" y="4587584"/>
                  </a:lnTo>
                  <a:lnTo>
                    <a:pt x="3108180" y="4587584"/>
                  </a:lnTo>
                  <a:lnTo>
                    <a:pt x="3107481" y="4588982"/>
                  </a:lnTo>
                  <a:lnTo>
                    <a:pt x="3173163" y="4588982"/>
                  </a:lnTo>
                  <a:lnTo>
                    <a:pt x="3443575" y="4317871"/>
                  </a:lnTo>
                  <a:lnTo>
                    <a:pt x="3215951" y="4090833"/>
                  </a:lnTo>
                  <a:lnTo>
                    <a:pt x="3215596" y="4090833"/>
                  </a:lnTo>
                  <a:lnTo>
                    <a:pt x="3174371" y="4049607"/>
                  </a:lnTo>
                  <a:close/>
                  <a:moveTo>
                    <a:pt x="3459004" y="4048908"/>
                  </a:moveTo>
                  <a:lnTo>
                    <a:pt x="3728660" y="4317871"/>
                  </a:lnTo>
                  <a:lnTo>
                    <a:pt x="3458248" y="4588283"/>
                  </a:lnTo>
                  <a:lnTo>
                    <a:pt x="3722372" y="4588283"/>
                  </a:lnTo>
                  <a:lnTo>
                    <a:pt x="3992783" y="4317871"/>
                  </a:lnTo>
                  <a:lnTo>
                    <a:pt x="3765160" y="4090833"/>
                  </a:lnTo>
                  <a:lnTo>
                    <a:pt x="3764107" y="4090833"/>
                  </a:lnTo>
                  <a:lnTo>
                    <a:pt x="3722183" y="4048908"/>
                  </a:lnTo>
                  <a:close/>
                  <a:moveTo>
                    <a:pt x="4007520" y="4048209"/>
                  </a:moveTo>
                  <a:lnTo>
                    <a:pt x="4277870" y="4316473"/>
                  </a:lnTo>
                  <a:lnTo>
                    <a:pt x="4007457" y="4587584"/>
                  </a:lnTo>
                  <a:lnTo>
                    <a:pt x="4270883" y="4587584"/>
                  </a:lnTo>
                  <a:lnTo>
                    <a:pt x="4541295" y="4316473"/>
                  </a:lnTo>
                  <a:lnTo>
                    <a:pt x="4407136" y="4183014"/>
                  </a:lnTo>
                  <a:lnTo>
                    <a:pt x="4314483" y="4090833"/>
                  </a:lnTo>
                  <a:lnTo>
                    <a:pt x="4313317" y="4090833"/>
                  </a:lnTo>
                  <a:lnTo>
                    <a:pt x="4270692" y="4048209"/>
                  </a:lnTo>
                  <a:close/>
                  <a:moveTo>
                    <a:pt x="5377262" y="4047640"/>
                  </a:moveTo>
                  <a:lnTo>
                    <a:pt x="5646914" y="4315903"/>
                  </a:lnTo>
                  <a:lnTo>
                    <a:pt x="5376502" y="4587014"/>
                  </a:lnTo>
                  <a:lnTo>
                    <a:pt x="5639927" y="4587014"/>
                  </a:lnTo>
                  <a:lnTo>
                    <a:pt x="5910339" y="4315903"/>
                  </a:lnTo>
                  <a:lnTo>
                    <a:pt x="5776182" y="4182444"/>
                  </a:lnTo>
                  <a:lnTo>
                    <a:pt x="5679808" y="4086071"/>
                  </a:lnTo>
                  <a:lnTo>
                    <a:pt x="5678867" y="4086071"/>
                  </a:lnTo>
                  <a:lnTo>
                    <a:pt x="5640436" y="4047640"/>
                  </a:lnTo>
                  <a:close/>
                  <a:moveTo>
                    <a:pt x="4828501" y="4047640"/>
                  </a:moveTo>
                  <a:lnTo>
                    <a:pt x="4866233" y="4085372"/>
                  </a:lnTo>
                  <a:lnTo>
                    <a:pt x="4865878" y="4085372"/>
                  </a:lnTo>
                  <a:lnTo>
                    <a:pt x="5097706" y="4316602"/>
                  </a:lnTo>
                  <a:lnTo>
                    <a:pt x="4828477" y="4585831"/>
                  </a:lnTo>
                  <a:lnTo>
                    <a:pt x="4828477" y="4587014"/>
                  </a:lnTo>
                  <a:lnTo>
                    <a:pt x="5091417" y="4587014"/>
                  </a:lnTo>
                  <a:lnTo>
                    <a:pt x="5361829" y="4315903"/>
                  </a:lnTo>
                  <a:lnTo>
                    <a:pt x="5130702" y="4085372"/>
                  </a:lnTo>
                  <a:lnTo>
                    <a:pt x="5130356" y="4085372"/>
                  </a:lnTo>
                  <a:lnTo>
                    <a:pt x="5092624" y="4047640"/>
                  </a:lnTo>
                  <a:close/>
                  <a:moveTo>
                    <a:pt x="6476371" y="4046941"/>
                  </a:moveTo>
                  <a:lnTo>
                    <a:pt x="6602789" y="4173361"/>
                  </a:lnTo>
                  <a:lnTo>
                    <a:pt x="6743935" y="4313807"/>
                  </a:lnTo>
                  <a:lnTo>
                    <a:pt x="6473523" y="4584918"/>
                  </a:lnTo>
                  <a:lnTo>
                    <a:pt x="6736948" y="4584918"/>
                  </a:lnTo>
                  <a:lnTo>
                    <a:pt x="7007360" y="4314506"/>
                  </a:lnTo>
                  <a:lnTo>
                    <a:pt x="6874599" y="4181745"/>
                  </a:lnTo>
                  <a:lnTo>
                    <a:pt x="6874599" y="4181047"/>
                  </a:lnTo>
                  <a:lnTo>
                    <a:pt x="6779842" y="4086769"/>
                  </a:lnTo>
                  <a:lnTo>
                    <a:pt x="6776587" y="4086769"/>
                  </a:lnTo>
                  <a:lnTo>
                    <a:pt x="6736759" y="4046941"/>
                  </a:lnTo>
                  <a:close/>
                  <a:moveTo>
                    <a:pt x="5926476" y="4046941"/>
                  </a:moveTo>
                  <a:lnTo>
                    <a:pt x="6194726" y="4313807"/>
                  </a:lnTo>
                  <a:lnTo>
                    <a:pt x="6191930" y="4316602"/>
                  </a:lnTo>
                  <a:lnTo>
                    <a:pt x="6101794" y="4407439"/>
                  </a:lnTo>
                  <a:lnTo>
                    <a:pt x="6101096" y="4407439"/>
                  </a:lnTo>
                  <a:lnTo>
                    <a:pt x="5923616" y="4585617"/>
                  </a:lnTo>
                  <a:lnTo>
                    <a:pt x="6187739" y="4585617"/>
                  </a:lnTo>
                  <a:lnTo>
                    <a:pt x="6458151" y="4315205"/>
                  </a:lnTo>
                  <a:lnTo>
                    <a:pt x="6453259" y="4310314"/>
                  </a:lnTo>
                  <a:lnTo>
                    <a:pt x="6455355" y="4311013"/>
                  </a:lnTo>
                  <a:lnTo>
                    <a:pt x="6229824" y="4086071"/>
                  </a:lnTo>
                  <a:lnTo>
                    <a:pt x="6227377" y="4086071"/>
                  </a:lnTo>
                  <a:lnTo>
                    <a:pt x="6188247" y="4046941"/>
                  </a:lnTo>
                  <a:close/>
                  <a:moveTo>
                    <a:pt x="4555321" y="4046813"/>
                  </a:moveTo>
                  <a:lnTo>
                    <a:pt x="4555968" y="4047459"/>
                  </a:lnTo>
                  <a:lnTo>
                    <a:pt x="4821607" y="4312410"/>
                  </a:lnTo>
                  <a:lnTo>
                    <a:pt x="5083731" y="4312410"/>
                  </a:lnTo>
                  <a:lnTo>
                    <a:pt x="4816757" y="4046813"/>
                  </a:lnTo>
                  <a:close/>
                  <a:moveTo>
                    <a:pt x="7023483" y="4046243"/>
                  </a:moveTo>
                  <a:lnTo>
                    <a:pt x="7291048" y="4313807"/>
                  </a:lnTo>
                  <a:lnTo>
                    <a:pt x="7292445" y="4315205"/>
                  </a:lnTo>
                  <a:lnTo>
                    <a:pt x="7023431" y="4584918"/>
                  </a:lnTo>
                  <a:lnTo>
                    <a:pt x="7285458" y="4584918"/>
                  </a:lnTo>
                  <a:lnTo>
                    <a:pt x="7555171" y="4314506"/>
                  </a:lnTo>
                  <a:lnTo>
                    <a:pt x="7550979" y="4310314"/>
                  </a:lnTo>
                  <a:lnTo>
                    <a:pt x="7553074" y="4311013"/>
                  </a:lnTo>
                  <a:lnTo>
                    <a:pt x="7328246" y="4086769"/>
                  </a:lnTo>
                  <a:lnTo>
                    <a:pt x="7326493" y="4086769"/>
                  </a:lnTo>
                  <a:lnTo>
                    <a:pt x="7285967" y="4046243"/>
                  </a:lnTo>
                  <a:close/>
                  <a:moveTo>
                    <a:pt x="7571985" y="4044845"/>
                  </a:moveTo>
                  <a:lnTo>
                    <a:pt x="7839558" y="4313109"/>
                  </a:lnTo>
                  <a:lnTo>
                    <a:pt x="7747324" y="4406041"/>
                  </a:lnTo>
                  <a:lnTo>
                    <a:pt x="7748023" y="4406740"/>
                  </a:lnTo>
                  <a:lnTo>
                    <a:pt x="7571940" y="4582822"/>
                  </a:lnTo>
                  <a:lnTo>
                    <a:pt x="7768286" y="4582822"/>
                  </a:lnTo>
                  <a:lnTo>
                    <a:pt x="7767587" y="4584220"/>
                  </a:lnTo>
                  <a:lnTo>
                    <a:pt x="7833269" y="4584220"/>
                  </a:lnTo>
                  <a:lnTo>
                    <a:pt x="8103681" y="4313109"/>
                  </a:lnTo>
                  <a:lnTo>
                    <a:pt x="7876057" y="4086071"/>
                  </a:lnTo>
                  <a:lnTo>
                    <a:pt x="7875702" y="4086071"/>
                  </a:lnTo>
                  <a:lnTo>
                    <a:pt x="7834477" y="4044845"/>
                  </a:lnTo>
                  <a:close/>
                  <a:moveTo>
                    <a:pt x="10037678" y="4044465"/>
                  </a:moveTo>
                  <a:lnTo>
                    <a:pt x="10307331" y="4312728"/>
                  </a:lnTo>
                  <a:lnTo>
                    <a:pt x="10036919" y="4583839"/>
                  </a:lnTo>
                  <a:lnTo>
                    <a:pt x="10300344" y="4583839"/>
                  </a:lnTo>
                  <a:lnTo>
                    <a:pt x="10570756" y="4312728"/>
                  </a:lnTo>
                  <a:lnTo>
                    <a:pt x="10436598" y="4179269"/>
                  </a:lnTo>
                  <a:lnTo>
                    <a:pt x="10340225" y="4082896"/>
                  </a:lnTo>
                  <a:lnTo>
                    <a:pt x="10339284" y="4082896"/>
                  </a:lnTo>
                  <a:lnTo>
                    <a:pt x="10300853" y="4044465"/>
                  </a:lnTo>
                  <a:close/>
                  <a:moveTo>
                    <a:pt x="9488918" y="4044465"/>
                  </a:moveTo>
                  <a:lnTo>
                    <a:pt x="9526650" y="4082197"/>
                  </a:lnTo>
                  <a:lnTo>
                    <a:pt x="9526295" y="4082197"/>
                  </a:lnTo>
                  <a:lnTo>
                    <a:pt x="9758122" y="4313427"/>
                  </a:lnTo>
                  <a:lnTo>
                    <a:pt x="9488582" y="4582967"/>
                  </a:lnTo>
                  <a:lnTo>
                    <a:pt x="9488582" y="4583521"/>
                  </a:lnTo>
                  <a:lnTo>
                    <a:pt x="9488264" y="4583839"/>
                  </a:lnTo>
                  <a:lnTo>
                    <a:pt x="9751834" y="4583839"/>
                  </a:lnTo>
                  <a:lnTo>
                    <a:pt x="10022245" y="4312728"/>
                  </a:lnTo>
                  <a:lnTo>
                    <a:pt x="9791119" y="4082197"/>
                  </a:lnTo>
                  <a:lnTo>
                    <a:pt x="9790773" y="4082197"/>
                  </a:lnTo>
                  <a:lnTo>
                    <a:pt x="9753041" y="4044465"/>
                  </a:lnTo>
                  <a:close/>
                  <a:moveTo>
                    <a:pt x="8119110" y="4044146"/>
                  </a:moveTo>
                  <a:lnTo>
                    <a:pt x="8388766" y="4313109"/>
                  </a:lnTo>
                  <a:lnTo>
                    <a:pt x="8118354" y="4583521"/>
                  </a:lnTo>
                  <a:lnTo>
                    <a:pt x="8382478" y="4583521"/>
                  </a:lnTo>
                  <a:lnTo>
                    <a:pt x="8652889" y="4313109"/>
                  </a:lnTo>
                  <a:lnTo>
                    <a:pt x="8425266" y="4086071"/>
                  </a:lnTo>
                  <a:lnTo>
                    <a:pt x="8424213" y="4086071"/>
                  </a:lnTo>
                  <a:lnTo>
                    <a:pt x="8382289" y="4044146"/>
                  </a:lnTo>
                  <a:close/>
                  <a:moveTo>
                    <a:pt x="11136788" y="4043766"/>
                  </a:moveTo>
                  <a:lnTo>
                    <a:pt x="11263206" y="4170186"/>
                  </a:lnTo>
                  <a:lnTo>
                    <a:pt x="11404352" y="4310632"/>
                  </a:lnTo>
                  <a:lnTo>
                    <a:pt x="11133940" y="4581743"/>
                  </a:lnTo>
                  <a:lnTo>
                    <a:pt x="11397365" y="4581743"/>
                  </a:lnTo>
                  <a:lnTo>
                    <a:pt x="11667777" y="4311331"/>
                  </a:lnTo>
                  <a:lnTo>
                    <a:pt x="11535016" y="4178570"/>
                  </a:lnTo>
                  <a:lnTo>
                    <a:pt x="11535016" y="4177872"/>
                  </a:lnTo>
                  <a:lnTo>
                    <a:pt x="11440259" y="4083594"/>
                  </a:lnTo>
                  <a:lnTo>
                    <a:pt x="11437003" y="4083594"/>
                  </a:lnTo>
                  <a:lnTo>
                    <a:pt x="11397175" y="4043766"/>
                  </a:lnTo>
                  <a:close/>
                  <a:moveTo>
                    <a:pt x="10586892" y="4043766"/>
                  </a:moveTo>
                  <a:lnTo>
                    <a:pt x="10855143" y="4310632"/>
                  </a:lnTo>
                  <a:lnTo>
                    <a:pt x="10852347" y="4313427"/>
                  </a:lnTo>
                  <a:lnTo>
                    <a:pt x="10762211" y="4404264"/>
                  </a:lnTo>
                  <a:lnTo>
                    <a:pt x="10761512" y="4404264"/>
                  </a:lnTo>
                  <a:lnTo>
                    <a:pt x="10584032" y="4582442"/>
                  </a:lnTo>
                  <a:lnTo>
                    <a:pt x="10848155" y="4582442"/>
                  </a:lnTo>
                  <a:lnTo>
                    <a:pt x="11118567" y="4312030"/>
                  </a:lnTo>
                  <a:lnTo>
                    <a:pt x="11113676" y="4307139"/>
                  </a:lnTo>
                  <a:lnTo>
                    <a:pt x="11115772" y="4307838"/>
                  </a:lnTo>
                  <a:lnTo>
                    <a:pt x="10890241" y="4082896"/>
                  </a:lnTo>
                  <a:lnTo>
                    <a:pt x="10887794" y="4082896"/>
                  </a:lnTo>
                  <a:lnTo>
                    <a:pt x="10848664" y="4043766"/>
                  </a:lnTo>
                  <a:close/>
                  <a:moveTo>
                    <a:pt x="8667626" y="4043447"/>
                  </a:moveTo>
                  <a:lnTo>
                    <a:pt x="8937975" y="4311711"/>
                  </a:lnTo>
                  <a:lnTo>
                    <a:pt x="8667563" y="4582822"/>
                  </a:lnTo>
                  <a:lnTo>
                    <a:pt x="8930988" y="4582822"/>
                  </a:lnTo>
                  <a:lnTo>
                    <a:pt x="9201400" y="4311711"/>
                  </a:lnTo>
                  <a:lnTo>
                    <a:pt x="9067242" y="4178252"/>
                  </a:lnTo>
                  <a:lnTo>
                    <a:pt x="8974588" y="4086071"/>
                  </a:lnTo>
                  <a:lnTo>
                    <a:pt x="8973422" y="4086071"/>
                  </a:lnTo>
                  <a:lnTo>
                    <a:pt x="8930798" y="4043447"/>
                  </a:lnTo>
                  <a:close/>
                  <a:moveTo>
                    <a:pt x="9215427" y="4042051"/>
                  </a:moveTo>
                  <a:lnTo>
                    <a:pt x="9216074" y="4042697"/>
                  </a:lnTo>
                  <a:lnTo>
                    <a:pt x="9483305" y="4309235"/>
                  </a:lnTo>
                  <a:lnTo>
                    <a:pt x="9744147" y="4309235"/>
                  </a:lnTo>
                  <a:lnTo>
                    <a:pt x="9475578" y="4042051"/>
                  </a:lnTo>
                  <a:close/>
                  <a:moveTo>
                    <a:pt x="2354051" y="3777098"/>
                  </a:moveTo>
                  <a:lnTo>
                    <a:pt x="2084461" y="4047387"/>
                  </a:lnTo>
                  <a:lnTo>
                    <a:pt x="2353542" y="4315775"/>
                  </a:lnTo>
                  <a:lnTo>
                    <a:pt x="2616967" y="4315775"/>
                  </a:lnTo>
                  <a:lnTo>
                    <a:pt x="2392140" y="4091531"/>
                  </a:lnTo>
                  <a:lnTo>
                    <a:pt x="2391783" y="4091531"/>
                  </a:lnTo>
                  <a:lnTo>
                    <a:pt x="2347762" y="4047510"/>
                  </a:lnTo>
                  <a:lnTo>
                    <a:pt x="2347884" y="4047389"/>
                  </a:lnTo>
                  <a:lnTo>
                    <a:pt x="2347254" y="4046760"/>
                  </a:lnTo>
                  <a:lnTo>
                    <a:pt x="2347952" y="4046061"/>
                  </a:lnTo>
                  <a:lnTo>
                    <a:pt x="2346555" y="4044664"/>
                  </a:lnTo>
                  <a:lnTo>
                    <a:pt x="2521938" y="3868581"/>
                  </a:lnTo>
                  <a:lnTo>
                    <a:pt x="2526691" y="3868581"/>
                  </a:lnTo>
                  <a:lnTo>
                    <a:pt x="2532230" y="3863043"/>
                  </a:lnTo>
                  <a:lnTo>
                    <a:pt x="2618174" y="3777098"/>
                  </a:lnTo>
                  <a:close/>
                  <a:moveTo>
                    <a:pt x="1804842" y="3777098"/>
                  </a:moveTo>
                  <a:lnTo>
                    <a:pt x="1535948" y="4046688"/>
                  </a:lnTo>
                  <a:lnTo>
                    <a:pt x="1805731" y="4315775"/>
                  </a:lnTo>
                  <a:lnTo>
                    <a:pt x="2069155" y="4315775"/>
                  </a:lnTo>
                  <a:lnTo>
                    <a:pt x="1939190" y="4185809"/>
                  </a:lnTo>
                  <a:lnTo>
                    <a:pt x="1844912" y="4091531"/>
                  </a:lnTo>
                  <a:lnTo>
                    <a:pt x="1841875" y="4091531"/>
                  </a:lnTo>
                  <a:lnTo>
                    <a:pt x="1798553" y="4048209"/>
                  </a:lnTo>
                  <a:lnTo>
                    <a:pt x="1800069" y="4046689"/>
                  </a:lnTo>
                  <a:lnTo>
                    <a:pt x="1798743" y="4045363"/>
                  </a:lnTo>
                  <a:lnTo>
                    <a:pt x="1974825" y="3868581"/>
                  </a:lnTo>
                  <a:lnTo>
                    <a:pt x="1977718" y="3868581"/>
                  </a:lnTo>
                  <a:lnTo>
                    <a:pt x="2068965" y="3777098"/>
                  </a:lnTo>
                  <a:close/>
                  <a:moveTo>
                    <a:pt x="1257031" y="3777098"/>
                  </a:moveTo>
                  <a:lnTo>
                    <a:pt x="987788" y="4047037"/>
                  </a:lnTo>
                  <a:lnTo>
                    <a:pt x="1257220" y="4315775"/>
                  </a:lnTo>
                  <a:lnTo>
                    <a:pt x="1519946" y="4315775"/>
                  </a:lnTo>
                  <a:lnTo>
                    <a:pt x="1294422" y="4090833"/>
                  </a:lnTo>
                  <a:lnTo>
                    <a:pt x="1293365" y="4090833"/>
                  </a:lnTo>
                  <a:lnTo>
                    <a:pt x="1250742" y="4048209"/>
                  </a:lnTo>
                  <a:lnTo>
                    <a:pt x="1251213" y="4047737"/>
                  </a:lnTo>
                  <a:lnTo>
                    <a:pt x="1249534" y="4046061"/>
                  </a:lnTo>
                  <a:lnTo>
                    <a:pt x="1250932" y="4044664"/>
                  </a:lnTo>
                  <a:lnTo>
                    <a:pt x="1426315" y="3868581"/>
                  </a:lnTo>
                  <a:lnTo>
                    <a:pt x="1429907" y="3868581"/>
                  </a:lnTo>
                  <a:lnTo>
                    <a:pt x="1521154" y="3777098"/>
                  </a:lnTo>
                  <a:close/>
                  <a:moveTo>
                    <a:pt x="709219" y="3777098"/>
                  </a:moveTo>
                  <a:lnTo>
                    <a:pt x="438807" y="4048209"/>
                  </a:lnTo>
                  <a:lnTo>
                    <a:pt x="480732" y="4090134"/>
                  </a:lnTo>
                  <a:lnTo>
                    <a:pt x="480499" y="4090134"/>
                  </a:lnTo>
                  <a:lnTo>
                    <a:pt x="708011" y="4316473"/>
                  </a:lnTo>
                  <a:lnTo>
                    <a:pt x="972135" y="4316473"/>
                  </a:lnTo>
                  <a:lnTo>
                    <a:pt x="745211" y="4090134"/>
                  </a:lnTo>
                  <a:lnTo>
                    <a:pt x="744855" y="4090134"/>
                  </a:lnTo>
                  <a:lnTo>
                    <a:pt x="702930" y="4048209"/>
                  </a:lnTo>
                  <a:lnTo>
                    <a:pt x="703053" y="4048086"/>
                  </a:lnTo>
                  <a:lnTo>
                    <a:pt x="701024" y="4046061"/>
                  </a:lnTo>
                  <a:lnTo>
                    <a:pt x="878504" y="3868581"/>
                  </a:lnTo>
                  <a:lnTo>
                    <a:pt x="882095" y="3868581"/>
                  </a:lnTo>
                  <a:lnTo>
                    <a:pt x="973342" y="3777098"/>
                  </a:lnTo>
                  <a:close/>
                  <a:moveTo>
                    <a:pt x="3451072" y="3775003"/>
                  </a:moveTo>
                  <a:lnTo>
                    <a:pt x="3181135" y="4045639"/>
                  </a:lnTo>
                  <a:lnTo>
                    <a:pt x="3312910" y="4176725"/>
                  </a:lnTo>
                  <a:lnTo>
                    <a:pt x="3312910" y="4177424"/>
                  </a:lnTo>
                  <a:lnTo>
                    <a:pt x="3450563" y="4314377"/>
                  </a:lnTo>
                  <a:lnTo>
                    <a:pt x="3714686" y="4314377"/>
                  </a:lnTo>
                  <a:lnTo>
                    <a:pt x="3490444" y="4090134"/>
                  </a:lnTo>
                  <a:lnTo>
                    <a:pt x="3489503" y="4090134"/>
                  </a:lnTo>
                  <a:lnTo>
                    <a:pt x="3444084" y="4044716"/>
                  </a:lnTo>
                  <a:lnTo>
                    <a:pt x="3444556" y="4044247"/>
                  </a:lnTo>
                  <a:lnTo>
                    <a:pt x="3444274" y="4043965"/>
                  </a:lnTo>
                  <a:lnTo>
                    <a:pt x="3618959" y="3868581"/>
                  </a:lnTo>
                  <a:lnTo>
                    <a:pt x="3621132" y="3868581"/>
                  </a:lnTo>
                  <a:lnTo>
                    <a:pt x="3715195" y="3775003"/>
                  </a:lnTo>
                  <a:close/>
                  <a:moveTo>
                    <a:pt x="3999582" y="3774304"/>
                  </a:moveTo>
                  <a:lnTo>
                    <a:pt x="3729642" y="4044941"/>
                  </a:lnTo>
                  <a:lnTo>
                    <a:pt x="3999073" y="4313678"/>
                  </a:lnTo>
                  <a:lnTo>
                    <a:pt x="4263197" y="4313678"/>
                  </a:lnTo>
                  <a:lnTo>
                    <a:pt x="4039076" y="4090134"/>
                  </a:lnTo>
                  <a:lnTo>
                    <a:pt x="4038711" y="4090134"/>
                  </a:lnTo>
                  <a:lnTo>
                    <a:pt x="3992595" y="4044017"/>
                  </a:lnTo>
                  <a:lnTo>
                    <a:pt x="3992717" y="4043895"/>
                  </a:lnTo>
                  <a:lnTo>
                    <a:pt x="3992086" y="4043266"/>
                  </a:lnTo>
                  <a:lnTo>
                    <a:pt x="4166770" y="3868581"/>
                  </a:lnTo>
                  <a:lnTo>
                    <a:pt x="4168939" y="3868581"/>
                  </a:lnTo>
                  <a:lnTo>
                    <a:pt x="4263707" y="3774304"/>
                  </a:lnTo>
                  <a:close/>
                  <a:moveTo>
                    <a:pt x="4547394" y="3773605"/>
                  </a:moveTo>
                  <a:lnTo>
                    <a:pt x="4277804" y="4043891"/>
                  </a:lnTo>
                  <a:lnTo>
                    <a:pt x="4410631" y="4176026"/>
                  </a:lnTo>
                  <a:lnTo>
                    <a:pt x="4547585" y="4312979"/>
                  </a:lnTo>
                  <a:lnTo>
                    <a:pt x="4809681" y="4312979"/>
                  </a:lnTo>
                  <a:lnTo>
                    <a:pt x="4665187" y="4169168"/>
                  </a:lnTo>
                  <a:lnTo>
                    <a:pt x="4665187" y="4166459"/>
                  </a:lnTo>
                  <a:lnTo>
                    <a:pt x="4588162" y="4089435"/>
                  </a:lnTo>
                  <a:lnTo>
                    <a:pt x="4587920" y="4089435"/>
                  </a:lnTo>
                  <a:lnTo>
                    <a:pt x="4541105" y="4043318"/>
                  </a:lnTo>
                  <a:lnTo>
                    <a:pt x="4541576" y="4042849"/>
                  </a:lnTo>
                  <a:lnTo>
                    <a:pt x="4541295" y="4042567"/>
                  </a:lnTo>
                  <a:lnTo>
                    <a:pt x="4542692" y="4041170"/>
                  </a:lnTo>
                  <a:lnTo>
                    <a:pt x="4660106" y="3923279"/>
                  </a:lnTo>
                  <a:lnTo>
                    <a:pt x="4660106" y="3920469"/>
                  </a:lnTo>
                  <a:lnTo>
                    <a:pt x="4806969" y="3773605"/>
                  </a:lnTo>
                  <a:close/>
                  <a:moveTo>
                    <a:pt x="7014157" y="3772336"/>
                  </a:moveTo>
                  <a:lnTo>
                    <a:pt x="6744567" y="4042625"/>
                  </a:lnTo>
                  <a:lnTo>
                    <a:pt x="7013649" y="4311013"/>
                  </a:lnTo>
                  <a:lnTo>
                    <a:pt x="7277073" y="4311013"/>
                  </a:lnTo>
                  <a:lnTo>
                    <a:pt x="7052246" y="4086769"/>
                  </a:lnTo>
                  <a:lnTo>
                    <a:pt x="7051889" y="4086769"/>
                  </a:lnTo>
                  <a:lnTo>
                    <a:pt x="7007868" y="4042748"/>
                  </a:lnTo>
                  <a:lnTo>
                    <a:pt x="7007990" y="4042627"/>
                  </a:lnTo>
                  <a:lnTo>
                    <a:pt x="7007360" y="4041998"/>
                  </a:lnTo>
                  <a:lnTo>
                    <a:pt x="7008058" y="4041299"/>
                  </a:lnTo>
                  <a:lnTo>
                    <a:pt x="7006662" y="4039902"/>
                  </a:lnTo>
                  <a:lnTo>
                    <a:pt x="7182045" y="3863819"/>
                  </a:lnTo>
                  <a:lnTo>
                    <a:pt x="7186797" y="3863819"/>
                  </a:lnTo>
                  <a:lnTo>
                    <a:pt x="7192337" y="3858281"/>
                  </a:lnTo>
                  <a:lnTo>
                    <a:pt x="7278280" y="3772336"/>
                  </a:lnTo>
                  <a:close/>
                  <a:moveTo>
                    <a:pt x="6464948" y="3772336"/>
                  </a:moveTo>
                  <a:lnTo>
                    <a:pt x="6196054" y="4041926"/>
                  </a:lnTo>
                  <a:lnTo>
                    <a:pt x="6465837" y="4311013"/>
                  </a:lnTo>
                  <a:lnTo>
                    <a:pt x="6729262" y="4311013"/>
                  </a:lnTo>
                  <a:lnTo>
                    <a:pt x="6599296" y="4181047"/>
                  </a:lnTo>
                  <a:lnTo>
                    <a:pt x="6505018" y="4086769"/>
                  </a:lnTo>
                  <a:lnTo>
                    <a:pt x="6501982" y="4086769"/>
                  </a:lnTo>
                  <a:lnTo>
                    <a:pt x="6458659" y="4043447"/>
                  </a:lnTo>
                  <a:lnTo>
                    <a:pt x="6460176" y="4041927"/>
                  </a:lnTo>
                  <a:lnTo>
                    <a:pt x="6458849" y="4040601"/>
                  </a:lnTo>
                  <a:lnTo>
                    <a:pt x="6634931" y="3863819"/>
                  </a:lnTo>
                  <a:lnTo>
                    <a:pt x="6637824" y="3863819"/>
                  </a:lnTo>
                  <a:lnTo>
                    <a:pt x="6729071" y="3772336"/>
                  </a:lnTo>
                  <a:close/>
                  <a:moveTo>
                    <a:pt x="5917138" y="3772336"/>
                  </a:moveTo>
                  <a:lnTo>
                    <a:pt x="5647895" y="4042275"/>
                  </a:lnTo>
                  <a:lnTo>
                    <a:pt x="5917326" y="4311013"/>
                  </a:lnTo>
                  <a:lnTo>
                    <a:pt x="6180052" y="4311013"/>
                  </a:lnTo>
                  <a:lnTo>
                    <a:pt x="5954528" y="4086071"/>
                  </a:lnTo>
                  <a:lnTo>
                    <a:pt x="5953471" y="4086071"/>
                  </a:lnTo>
                  <a:lnTo>
                    <a:pt x="5910849" y="4043447"/>
                  </a:lnTo>
                  <a:lnTo>
                    <a:pt x="5911320" y="4042975"/>
                  </a:lnTo>
                  <a:lnTo>
                    <a:pt x="5909641" y="4041299"/>
                  </a:lnTo>
                  <a:lnTo>
                    <a:pt x="5911038" y="4039902"/>
                  </a:lnTo>
                  <a:lnTo>
                    <a:pt x="6086421" y="3863819"/>
                  </a:lnTo>
                  <a:lnTo>
                    <a:pt x="6090013" y="3863819"/>
                  </a:lnTo>
                  <a:lnTo>
                    <a:pt x="6181261" y="3772336"/>
                  </a:lnTo>
                  <a:close/>
                  <a:moveTo>
                    <a:pt x="5369326" y="3772336"/>
                  </a:moveTo>
                  <a:lnTo>
                    <a:pt x="5098913" y="4043447"/>
                  </a:lnTo>
                  <a:lnTo>
                    <a:pt x="5140838" y="4085372"/>
                  </a:lnTo>
                  <a:lnTo>
                    <a:pt x="5140605" y="4085372"/>
                  </a:lnTo>
                  <a:lnTo>
                    <a:pt x="5368118" y="4311711"/>
                  </a:lnTo>
                  <a:lnTo>
                    <a:pt x="5632241" y="4311711"/>
                  </a:lnTo>
                  <a:lnTo>
                    <a:pt x="5405317" y="4085372"/>
                  </a:lnTo>
                  <a:lnTo>
                    <a:pt x="5404961" y="4085372"/>
                  </a:lnTo>
                  <a:lnTo>
                    <a:pt x="5363036" y="4043447"/>
                  </a:lnTo>
                  <a:lnTo>
                    <a:pt x="5363159" y="4043324"/>
                  </a:lnTo>
                  <a:lnTo>
                    <a:pt x="5361131" y="4041299"/>
                  </a:lnTo>
                  <a:lnTo>
                    <a:pt x="5538610" y="3863819"/>
                  </a:lnTo>
                  <a:lnTo>
                    <a:pt x="5542201" y="3863819"/>
                  </a:lnTo>
                  <a:lnTo>
                    <a:pt x="5633449" y="3772336"/>
                  </a:lnTo>
                  <a:close/>
                  <a:moveTo>
                    <a:pt x="4821872" y="3771639"/>
                  </a:moveTo>
                  <a:lnTo>
                    <a:pt x="4555828" y="4038375"/>
                  </a:lnTo>
                  <a:lnTo>
                    <a:pt x="4816942" y="4038375"/>
                  </a:lnTo>
                  <a:lnTo>
                    <a:pt x="4991497" y="3863819"/>
                  </a:lnTo>
                  <a:lnTo>
                    <a:pt x="4991595" y="3863819"/>
                  </a:lnTo>
                  <a:lnTo>
                    <a:pt x="5082144" y="3773035"/>
                  </a:lnTo>
                  <a:lnTo>
                    <a:pt x="4885799" y="3773035"/>
                  </a:lnTo>
                  <a:lnTo>
                    <a:pt x="4886497" y="3771639"/>
                  </a:lnTo>
                  <a:close/>
                  <a:moveTo>
                    <a:pt x="8111178" y="3770241"/>
                  </a:moveTo>
                  <a:lnTo>
                    <a:pt x="7841241" y="4040877"/>
                  </a:lnTo>
                  <a:lnTo>
                    <a:pt x="7973016" y="4171963"/>
                  </a:lnTo>
                  <a:lnTo>
                    <a:pt x="7973016" y="4172662"/>
                  </a:lnTo>
                  <a:lnTo>
                    <a:pt x="8110669" y="4309615"/>
                  </a:lnTo>
                  <a:lnTo>
                    <a:pt x="8374792" y="4309615"/>
                  </a:lnTo>
                  <a:lnTo>
                    <a:pt x="8150550" y="4085372"/>
                  </a:lnTo>
                  <a:lnTo>
                    <a:pt x="8149609" y="4085372"/>
                  </a:lnTo>
                  <a:lnTo>
                    <a:pt x="8104190" y="4039954"/>
                  </a:lnTo>
                  <a:lnTo>
                    <a:pt x="8104662" y="4039485"/>
                  </a:lnTo>
                  <a:lnTo>
                    <a:pt x="8104380" y="4039203"/>
                  </a:lnTo>
                  <a:lnTo>
                    <a:pt x="8279065" y="3863819"/>
                  </a:lnTo>
                  <a:lnTo>
                    <a:pt x="8281238" y="3863819"/>
                  </a:lnTo>
                  <a:lnTo>
                    <a:pt x="8375301" y="3770241"/>
                  </a:lnTo>
                  <a:close/>
                  <a:moveTo>
                    <a:pt x="8659688" y="3769542"/>
                  </a:moveTo>
                  <a:lnTo>
                    <a:pt x="8389748" y="4040179"/>
                  </a:lnTo>
                  <a:lnTo>
                    <a:pt x="8659179" y="4308916"/>
                  </a:lnTo>
                  <a:lnTo>
                    <a:pt x="8923303" y="4308916"/>
                  </a:lnTo>
                  <a:lnTo>
                    <a:pt x="8699182" y="4085372"/>
                  </a:lnTo>
                  <a:lnTo>
                    <a:pt x="8698817" y="4085372"/>
                  </a:lnTo>
                  <a:lnTo>
                    <a:pt x="8652701" y="4039255"/>
                  </a:lnTo>
                  <a:lnTo>
                    <a:pt x="8652823" y="4039133"/>
                  </a:lnTo>
                  <a:lnTo>
                    <a:pt x="8652192" y="4038504"/>
                  </a:lnTo>
                  <a:lnTo>
                    <a:pt x="8826876" y="3863819"/>
                  </a:lnTo>
                  <a:lnTo>
                    <a:pt x="8829045" y="3863819"/>
                  </a:lnTo>
                  <a:lnTo>
                    <a:pt x="8923812" y="3769542"/>
                  </a:lnTo>
                  <a:close/>
                  <a:moveTo>
                    <a:pt x="11674574" y="3769161"/>
                  </a:moveTo>
                  <a:lnTo>
                    <a:pt x="11404984" y="4039450"/>
                  </a:lnTo>
                  <a:lnTo>
                    <a:pt x="11674065" y="4307838"/>
                  </a:lnTo>
                  <a:lnTo>
                    <a:pt x="11937490" y="4307838"/>
                  </a:lnTo>
                  <a:lnTo>
                    <a:pt x="11712663" y="4083594"/>
                  </a:lnTo>
                  <a:lnTo>
                    <a:pt x="11712306" y="4083594"/>
                  </a:lnTo>
                  <a:lnTo>
                    <a:pt x="11668285" y="4039573"/>
                  </a:lnTo>
                  <a:lnTo>
                    <a:pt x="11668407" y="4039452"/>
                  </a:lnTo>
                  <a:lnTo>
                    <a:pt x="11667777" y="4038823"/>
                  </a:lnTo>
                  <a:lnTo>
                    <a:pt x="11668475" y="4038124"/>
                  </a:lnTo>
                  <a:lnTo>
                    <a:pt x="11667078" y="4036727"/>
                  </a:lnTo>
                  <a:lnTo>
                    <a:pt x="11842461" y="3860644"/>
                  </a:lnTo>
                  <a:lnTo>
                    <a:pt x="11847214" y="3860644"/>
                  </a:lnTo>
                  <a:lnTo>
                    <a:pt x="11852753" y="3855106"/>
                  </a:lnTo>
                  <a:lnTo>
                    <a:pt x="11938697" y="3769161"/>
                  </a:lnTo>
                  <a:close/>
                  <a:moveTo>
                    <a:pt x="11125365" y="3769161"/>
                  </a:moveTo>
                  <a:lnTo>
                    <a:pt x="10856471" y="4038751"/>
                  </a:lnTo>
                  <a:lnTo>
                    <a:pt x="11126254" y="4307838"/>
                  </a:lnTo>
                  <a:lnTo>
                    <a:pt x="11389678" y="4307838"/>
                  </a:lnTo>
                  <a:lnTo>
                    <a:pt x="11259713" y="4177872"/>
                  </a:lnTo>
                  <a:lnTo>
                    <a:pt x="11165435" y="4083594"/>
                  </a:lnTo>
                  <a:lnTo>
                    <a:pt x="11162398" y="4083594"/>
                  </a:lnTo>
                  <a:lnTo>
                    <a:pt x="11119076" y="4040272"/>
                  </a:lnTo>
                  <a:lnTo>
                    <a:pt x="11120592" y="4038752"/>
                  </a:lnTo>
                  <a:lnTo>
                    <a:pt x="11119266" y="4037426"/>
                  </a:lnTo>
                  <a:lnTo>
                    <a:pt x="11295348" y="3860644"/>
                  </a:lnTo>
                  <a:lnTo>
                    <a:pt x="11298241" y="3860644"/>
                  </a:lnTo>
                  <a:lnTo>
                    <a:pt x="11389488" y="3769161"/>
                  </a:lnTo>
                  <a:close/>
                  <a:moveTo>
                    <a:pt x="10577554" y="3769161"/>
                  </a:moveTo>
                  <a:lnTo>
                    <a:pt x="10308311" y="4039100"/>
                  </a:lnTo>
                  <a:lnTo>
                    <a:pt x="10577743" y="4307838"/>
                  </a:lnTo>
                  <a:lnTo>
                    <a:pt x="10840469" y="4307838"/>
                  </a:lnTo>
                  <a:lnTo>
                    <a:pt x="10614945" y="4082896"/>
                  </a:lnTo>
                  <a:lnTo>
                    <a:pt x="10613888" y="4082896"/>
                  </a:lnTo>
                  <a:lnTo>
                    <a:pt x="10571265" y="4040272"/>
                  </a:lnTo>
                  <a:lnTo>
                    <a:pt x="10571736" y="4039800"/>
                  </a:lnTo>
                  <a:lnTo>
                    <a:pt x="10570057" y="4038124"/>
                  </a:lnTo>
                  <a:lnTo>
                    <a:pt x="10571455" y="4036727"/>
                  </a:lnTo>
                  <a:lnTo>
                    <a:pt x="10746838" y="3860644"/>
                  </a:lnTo>
                  <a:lnTo>
                    <a:pt x="10750430" y="3860644"/>
                  </a:lnTo>
                  <a:lnTo>
                    <a:pt x="10841677" y="3769161"/>
                  </a:lnTo>
                  <a:close/>
                  <a:moveTo>
                    <a:pt x="10029742" y="3769161"/>
                  </a:moveTo>
                  <a:lnTo>
                    <a:pt x="9759330" y="4040272"/>
                  </a:lnTo>
                  <a:lnTo>
                    <a:pt x="9801255" y="4082197"/>
                  </a:lnTo>
                  <a:lnTo>
                    <a:pt x="9801022" y="4082197"/>
                  </a:lnTo>
                  <a:lnTo>
                    <a:pt x="10028534" y="4308536"/>
                  </a:lnTo>
                  <a:lnTo>
                    <a:pt x="10292658" y="4308536"/>
                  </a:lnTo>
                  <a:lnTo>
                    <a:pt x="10065734" y="4082197"/>
                  </a:lnTo>
                  <a:lnTo>
                    <a:pt x="10065378" y="4082197"/>
                  </a:lnTo>
                  <a:lnTo>
                    <a:pt x="10023453" y="4040272"/>
                  </a:lnTo>
                  <a:lnTo>
                    <a:pt x="10023576" y="4040149"/>
                  </a:lnTo>
                  <a:lnTo>
                    <a:pt x="10021547" y="4038124"/>
                  </a:lnTo>
                  <a:lnTo>
                    <a:pt x="10199027" y="3860644"/>
                  </a:lnTo>
                  <a:lnTo>
                    <a:pt x="10202618" y="3860644"/>
                  </a:lnTo>
                  <a:lnTo>
                    <a:pt x="10293865" y="3769161"/>
                  </a:lnTo>
                  <a:close/>
                  <a:moveTo>
                    <a:pt x="9207500" y="3768843"/>
                  </a:moveTo>
                  <a:lnTo>
                    <a:pt x="8937910" y="4039129"/>
                  </a:lnTo>
                  <a:lnTo>
                    <a:pt x="9070736" y="4171264"/>
                  </a:lnTo>
                  <a:lnTo>
                    <a:pt x="9207690" y="4308217"/>
                  </a:lnTo>
                  <a:lnTo>
                    <a:pt x="9468504" y="4308217"/>
                  </a:lnTo>
                  <a:lnTo>
                    <a:pt x="9325603" y="4165993"/>
                  </a:lnTo>
                  <a:lnTo>
                    <a:pt x="9325603" y="4162008"/>
                  </a:lnTo>
                  <a:lnTo>
                    <a:pt x="9248268" y="4084673"/>
                  </a:lnTo>
                  <a:lnTo>
                    <a:pt x="9248026" y="4084673"/>
                  </a:lnTo>
                  <a:lnTo>
                    <a:pt x="9201211" y="4038556"/>
                  </a:lnTo>
                  <a:lnTo>
                    <a:pt x="9201682" y="4038087"/>
                  </a:lnTo>
                  <a:lnTo>
                    <a:pt x="9201400" y="4037805"/>
                  </a:lnTo>
                  <a:lnTo>
                    <a:pt x="9202798" y="4036408"/>
                  </a:lnTo>
                  <a:lnTo>
                    <a:pt x="9320523" y="3918204"/>
                  </a:lnTo>
                  <a:lnTo>
                    <a:pt x="9320523" y="3917294"/>
                  </a:lnTo>
                  <a:lnTo>
                    <a:pt x="9468973" y="3768843"/>
                  </a:lnTo>
                  <a:close/>
                  <a:moveTo>
                    <a:pt x="9480395" y="3768464"/>
                  </a:moveTo>
                  <a:lnTo>
                    <a:pt x="9215934" y="4033613"/>
                  </a:lnTo>
                  <a:lnTo>
                    <a:pt x="9478102" y="4033613"/>
                  </a:lnTo>
                  <a:lnTo>
                    <a:pt x="9488582" y="4023132"/>
                  </a:lnTo>
                  <a:lnTo>
                    <a:pt x="9488582" y="4023976"/>
                  </a:lnTo>
                  <a:lnTo>
                    <a:pt x="9651914" y="3860644"/>
                  </a:lnTo>
                  <a:lnTo>
                    <a:pt x="9652012" y="3860644"/>
                  </a:lnTo>
                  <a:lnTo>
                    <a:pt x="9742561" y="3769860"/>
                  </a:lnTo>
                  <a:lnTo>
                    <a:pt x="9546215" y="3769860"/>
                  </a:lnTo>
                  <a:lnTo>
                    <a:pt x="9546914" y="3768464"/>
                  </a:lnTo>
                  <a:close/>
                  <a:moveTo>
                    <a:pt x="1264018" y="3501795"/>
                  </a:moveTo>
                  <a:lnTo>
                    <a:pt x="1535828" y="3771509"/>
                  </a:lnTo>
                  <a:lnTo>
                    <a:pt x="1266165" y="4041868"/>
                  </a:lnTo>
                  <a:lnTo>
                    <a:pt x="1527632" y="4041868"/>
                  </a:lnTo>
                  <a:lnTo>
                    <a:pt x="1700221" y="3868581"/>
                  </a:lnTo>
                  <a:lnTo>
                    <a:pt x="1702878" y="3868581"/>
                  </a:lnTo>
                  <a:lnTo>
                    <a:pt x="1799252" y="3772207"/>
                  </a:lnTo>
                  <a:lnTo>
                    <a:pt x="1665094" y="3638748"/>
                  </a:lnTo>
                  <a:lnTo>
                    <a:pt x="1528141" y="3501795"/>
                  </a:lnTo>
                  <a:close/>
                  <a:moveTo>
                    <a:pt x="715508" y="3501795"/>
                  </a:moveTo>
                  <a:lnTo>
                    <a:pt x="986618" y="3772207"/>
                  </a:lnTo>
                  <a:lnTo>
                    <a:pt x="716955" y="4042567"/>
                  </a:lnTo>
                  <a:lnTo>
                    <a:pt x="979122" y="4042567"/>
                  </a:lnTo>
                  <a:lnTo>
                    <a:pt x="1067862" y="3953129"/>
                  </a:lnTo>
                  <a:lnTo>
                    <a:pt x="1152410" y="3868581"/>
                  </a:lnTo>
                  <a:lnTo>
                    <a:pt x="1154616" y="3868581"/>
                  </a:lnTo>
                  <a:lnTo>
                    <a:pt x="1250742" y="3772207"/>
                  </a:lnTo>
                  <a:lnTo>
                    <a:pt x="979631" y="3501795"/>
                  </a:lnTo>
                  <a:close/>
                  <a:moveTo>
                    <a:pt x="165601" y="3501795"/>
                  </a:moveTo>
                  <a:lnTo>
                    <a:pt x="436711" y="3772207"/>
                  </a:lnTo>
                  <a:lnTo>
                    <a:pt x="438108" y="3772906"/>
                  </a:lnTo>
                  <a:lnTo>
                    <a:pt x="169094" y="4042619"/>
                  </a:lnTo>
                  <a:lnTo>
                    <a:pt x="365440" y="4042619"/>
                  </a:lnTo>
                  <a:lnTo>
                    <a:pt x="365116" y="4043266"/>
                  </a:lnTo>
                  <a:lnTo>
                    <a:pt x="430612" y="4043266"/>
                  </a:lnTo>
                  <a:lnTo>
                    <a:pt x="604598" y="3868581"/>
                  </a:lnTo>
                  <a:lnTo>
                    <a:pt x="606802" y="3868581"/>
                  </a:lnTo>
                  <a:lnTo>
                    <a:pt x="701533" y="3773605"/>
                  </a:lnTo>
                  <a:lnTo>
                    <a:pt x="430423" y="3503193"/>
                  </a:lnTo>
                  <a:lnTo>
                    <a:pt x="362644" y="3501795"/>
                  </a:lnTo>
                  <a:close/>
                  <a:moveTo>
                    <a:pt x="2361039" y="3501097"/>
                  </a:moveTo>
                  <a:lnTo>
                    <a:pt x="2631451" y="3770111"/>
                  </a:lnTo>
                  <a:lnTo>
                    <a:pt x="2628655" y="3772906"/>
                  </a:lnTo>
                  <a:lnTo>
                    <a:pt x="2538519" y="3863743"/>
                  </a:lnTo>
                  <a:lnTo>
                    <a:pt x="2361789" y="4040472"/>
                  </a:lnTo>
                  <a:lnTo>
                    <a:pt x="2624653" y="4040472"/>
                  </a:lnTo>
                  <a:lnTo>
                    <a:pt x="2795844" y="3868581"/>
                  </a:lnTo>
                  <a:lnTo>
                    <a:pt x="2797802" y="3868581"/>
                  </a:lnTo>
                  <a:lnTo>
                    <a:pt x="2895574" y="3770810"/>
                  </a:lnTo>
                  <a:lnTo>
                    <a:pt x="2625162" y="3501097"/>
                  </a:lnTo>
                  <a:close/>
                  <a:moveTo>
                    <a:pt x="1812528" y="3501097"/>
                  </a:moveTo>
                  <a:lnTo>
                    <a:pt x="1813926" y="3502494"/>
                  </a:lnTo>
                  <a:lnTo>
                    <a:pt x="2083639" y="3771509"/>
                  </a:lnTo>
                  <a:lnTo>
                    <a:pt x="1814673" y="4041170"/>
                  </a:lnTo>
                  <a:lnTo>
                    <a:pt x="2076143" y="4041170"/>
                  </a:lnTo>
                  <a:lnTo>
                    <a:pt x="2248033" y="3868581"/>
                  </a:lnTo>
                  <a:lnTo>
                    <a:pt x="2250940" y="3868581"/>
                  </a:lnTo>
                  <a:lnTo>
                    <a:pt x="2347762" y="3771509"/>
                  </a:lnTo>
                  <a:lnTo>
                    <a:pt x="2342173" y="3766618"/>
                  </a:lnTo>
                  <a:lnTo>
                    <a:pt x="2076652" y="3501097"/>
                  </a:lnTo>
                  <a:close/>
                  <a:moveTo>
                    <a:pt x="4005871" y="3499001"/>
                  </a:moveTo>
                  <a:lnTo>
                    <a:pt x="4277680" y="3768713"/>
                  </a:lnTo>
                  <a:lnTo>
                    <a:pt x="4008016" y="4039074"/>
                  </a:lnTo>
                  <a:lnTo>
                    <a:pt x="4270183" y="4039074"/>
                  </a:lnTo>
                  <a:lnTo>
                    <a:pt x="4359622" y="3949635"/>
                  </a:lnTo>
                  <a:lnTo>
                    <a:pt x="4440677" y="3868581"/>
                  </a:lnTo>
                  <a:lnTo>
                    <a:pt x="4441937" y="3868581"/>
                  </a:lnTo>
                  <a:lnTo>
                    <a:pt x="4541105" y="3769413"/>
                  </a:lnTo>
                  <a:lnTo>
                    <a:pt x="4406948" y="3635954"/>
                  </a:lnTo>
                  <a:lnTo>
                    <a:pt x="4269994" y="3499001"/>
                  </a:lnTo>
                  <a:close/>
                  <a:moveTo>
                    <a:pt x="4554381" y="3498302"/>
                  </a:moveTo>
                  <a:lnTo>
                    <a:pt x="4555778" y="3499699"/>
                  </a:lnTo>
                  <a:lnTo>
                    <a:pt x="4820723" y="3763951"/>
                  </a:lnTo>
                  <a:lnTo>
                    <a:pt x="5083541" y="3763951"/>
                  </a:lnTo>
                  <a:lnTo>
                    <a:pt x="4954274" y="3635384"/>
                  </a:lnTo>
                  <a:lnTo>
                    <a:pt x="4816513" y="3498302"/>
                  </a:lnTo>
                  <a:close/>
                  <a:moveTo>
                    <a:pt x="3721484" y="3498302"/>
                  </a:moveTo>
                  <a:lnTo>
                    <a:pt x="3457360" y="3499001"/>
                  </a:lnTo>
                  <a:lnTo>
                    <a:pt x="3728471" y="3769413"/>
                  </a:lnTo>
                  <a:lnTo>
                    <a:pt x="3458808" y="4039773"/>
                  </a:lnTo>
                  <a:lnTo>
                    <a:pt x="3721674" y="4039773"/>
                  </a:lnTo>
                  <a:lnTo>
                    <a:pt x="3892166" y="3867883"/>
                  </a:lnTo>
                  <a:lnTo>
                    <a:pt x="3893935" y="3867883"/>
                  </a:lnTo>
                  <a:lnTo>
                    <a:pt x="3992595" y="3768713"/>
                  </a:lnTo>
                  <a:close/>
                  <a:moveTo>
                    <a:pt x="5924124" y="3497033"/>
                  </a:moveTo>
                  <a:lnTo>
                    <a:pt x="6195934" y="3766747"/>
                  </a:lnTo>
                  <a:lnTo>
                    <a:pt x="5926271" y="4037106"/>
                  </a:lnTo>
                  <a:lnTo>
                    <a:pt x="6187739" y="4037106"/>
                  </a:lnTo>
                  <a:lnTo>
                    <a:pt x="6360328" y="3863819"/>
                  </a:lnTo>
                  <a:lnTo>
                    <a:pt x="6362985" y="3863819"/>
                  </a:lnTo>
                  <a:lnTo>
                    <a:pt x="6459359" y="3767445"/>
                  </a:lnTo>
                  <a:lnTo>
                    <a:pt x="6325200" y="3633986"/>
                  </a:lnTo>
                  <a:lnTo>
                    <a:pt x="6188247" y="3497033"/>
                  </a:lnTo>
                  <a:close/>
                  <a:moveTo>
                    <a:pt x="5375615" y="3497033"/>
                  </a:moveTo>
                  <a:lnTo>
                    <a:pt x="5646724" y="3767445"/>
                  </a:lnTo>
                  <a:lnTo>
                    <a:pt x="5377062" y="4037805"/>
                  </a:lnTo>
                  <a:lnTo>
                    <a:pt x="5639228" y="4037805"/>
                  </a:lnTo>
                  <a:lnTo>
                    <a:pt x="5727968" y="3948367"/>
                  </a:lnTo>
                  <a:lnTo>
                    <a:pt x="5812516" y="3863819"/>
                  </a:lnTo>
                  <a:lnTo>
                    <a:pt x="5814722" y="3863819"/>
                  </a:lnTo>
                  <a:lnTo>
                    <a:pt x="5910849" y="3767445"/>
                  </a:lnTo>
                  <a:lnTo>
                    <a:pt x="5639738" y="3497033"/>
                  </a:lnTo>
                  <a:close/>
                  <a:moveTo>
                    <a:pt x="4825707" y="3497033"/>
                  </a:moveTo>
                  <a:lnTo>
                    <a:pt x="5096817" y="3767445"/>
                  </a:lnTo>
                  <a:lnTo>
                    <a:pt x="5098215" y="3768144"/>
                  </a:lnTo>
                  <a:lnTo>
                    <a:pt x="4829200" y="4037857"/>
                  </a:lnTo>
                  <a:lnTo>
                    <a:pt x="5025547" y="4037857"/>
                  </a:lnTo>
                  <a:lnTo>
                    <a:pt x="5025222" y="4038504"/>
                  </a:lnTo>
                  <a:lnTo>
                    <a:pt x="5090718" y="4038504"/>
                  </a:lnTo>
                  <a:lnTo>
                    <a:pt x="5264704" y="3863819"/>
                  </a:lnTo>
                  <a:lnTo>
                    <a:pt x="5266909" y="3863819"/>
                  </a:lnTo>
                  <a:lnTo>
                    <a:pt x="5361639" y="3768843"/>
                  </a:lnTo>
                  <a:lnTo>
                    <a:pt x="5090530" y="3498431"/>
                  </a:lnTo>
                  <a:lnTo>
                    <a:pt x="5022750" y="3497033"/>
                  </a:lnTo>
                  <a:close/>
                  <a:moveTo>
                    <a:pt x="7021145" y="3496335"/>
                  </a:moveTo>
                  <a:lnTo>
                    <a:pt x="7291557" y="3765349"/>
                  </a:lnTo>
                  <a:lnTo>
                    <a:pt x="7288761" y="3768144"/>
                  </a:lnTo>
                  <a:lnTo>
                    <a:pt x="7198625" y="3858981"/>
                  </a:lnTo>
                  <a:lnTo>
                    <a:pt x="7021895" y="4035710"/>
                  </a:lnTo>
                  <a:lnTo>
                    <a:pt x="7284759" y="4035710"/>
                  </a:lnTo>
                  <a:lnTo>
                    <a:pt x="7455950" y="3863819"/>
                  </a:lnTo>
                  <a:lnTo>
                    <a:pt x="7457908" y="3863819"/>
                  </a:lnTo>
                  <a:lnTo>
                    <a:pt x="7555680" y="3766048"/>
                  </a:lnTo>
                  <a:lnTo>
                    <a:pt x="7285268" y="3496335"/>
                  </a:lnTo>
                  <a:close/>
                  <a:moveTo>
                    <a:pt x="6472634" y="3496335"/>
                  </a:moveTo>
                  <a:lnTo>
                    <a:pt x="6474032" y="3497732"/>
                  </a:lnTo>
                  <a:lnTo>
                    <a:pt x="6743745" y="3766747"/>
                  </a:lnTo>
                  <a:lnTo>
                    <a:pt x="6474780" y="4036408"/>
                  </a:lnTo>
                  <a:lnTo>
                    <a:pt x="6736249" y="4036408"/>
                  </a:lnTo>
                  <a:lnTo>
                    <a:pt x="6908140" y="3863819"/>
                  </a:lnTo>
                  <a:lnTo>
                    <a:pt x="6911046" y="3863819"/>
                  </a:lnTo>
                  <a:lnTo>
                    <a:pt x="7007868" y="3766747"/>
                  </a:lnTo>
                  <a:lnTo>
                    <a:pt x="7002279" y="3761856"/>
                  </a:lnTo>
                  <a:lnTo>
                    <a:pt x="6736759" y="3496335"/>
                  </a:lnTo>
                  <a:close/>
                  <a:moveTo>
                    <a:pt x="8665977" y="3494239"/>
                  </a:moveTo>
                  <a:lnTo>
                    <a:pt x="8937786" y="3763951"/>
                  </a:lnTo>
                  <a:lnTo>
                    <a:pt x="8668122" y="4034312"/>
                  </a:lnTo>
                  <a:lnTo>
                    <a:pt x="8930289" y="4034312"/>
                  </a:lnTo>
                  <a:lnTo>
                    <a:pt x="9019728" y="3944873"/>
                  </a:lnTo>
                  <a:lnTo>
                    <a:pt x="9100782" y="3863819"/>
                  </a:lnTo>
                  <a:lnTo>
                    <a:pt x="9102043" y="3863819"/>
                  </a:lnTo>
                  <a:lnTo>
                    <a:pt x="9201211" y="3764651"/>
                  </a:lnTo>
                  <a:lnTo>
                    <a:pt x="9067053" y="3631192"/>
                  </a:lnTo>
                  <a:lnTo>
                    <a:pt x="8930100" y="3494239"/>
                  </a:lnTo>
                  <a:close/>
                  <a:moveTo>
                    <a:pt x="10584541" y="3493858"/>
                  </a:moveTo>
                  <a:lnTo>
                    <a:pt x="10856351" y="3763572"/>
                  </a:lnTo>
                  <a:lnTo>
                    <a:pt x="10586688" y="4033931"/>
                  </a:lnTo>
                  <a:lnTo>
                    <a:pt x="10848155" y="4033931"/>
                  </a:lnTo>
                  <a:lnTo>
                    <a:pt x="11020744" y="3860644"/>
                  </a:lnTo>
                  <a:lnTo>
                    <a:pt x="11023401" y="3860644"/>
                  </a:lnTo>
                  <a:lnTo>
                    <a:pt x="11119775" y="3764270"/>
                  </a:lnTo>
                  <a:lnTo>
                    <a:pt x="10985617" y="3630811"/>
                  </a:lnTo>
                  <a:lnTo>
                    <a:pt x="10848664" y="3493858"/>
                  </a:lnTo>
                  <a:close/>
                  <a:moveTo>
                    <a:pt x="10036031" y="3493858"/>
                  </a:moveTo>
                  <a:lnTo>
                    <a:pt x="10307141" y="3764270"/>
                  </a:lnTo>
                  <a:lnTo>
                    <a:pt x="10037478" y="4034630"/>
                  </a:lnTo>
                  <a:lnTo>
                    <a:pt x="10299645" y="4034630"/>
                  </a:lnTo>
                  <a:lnTo>
                    <a:pt x="10388385" y="3945192"/>
                  </a:lnTo>
                  <a:lnTo>
                    <a:pt x="10472933" y="3860644"/>
                  </a:lnTo>
                  <a:lnTo>
                    <a:pt x="10475139" y="3860644"/>
                  </a:lnTo>
                  <a:lnTo>
                    <a:pt x="10571265" y="3764270"/>
                  </a:lnTo>
                  <a:lnTo>
                    <a:pt x="10300154" y="3493858"/>
                  </a:lnTo>
                  <a:close/>
                  <a:moveTo>
                    <a:pt x="9486124" y="3493858"/>
                  </a:moveTo>
                  <a:lnTo>
                    <a:pt x="9757234" y="3764270"/>
                  </a:lnTo>
                  <a:lnTo>
                    <a:pt x="9758631" y="3764969"/>
                  </a:lnTo>
                  <a:lnTo>
                    <a:pt x="9489617" y="4034682"/>
                  </a:lnTo>
                  <a:lnTo>
                    <a:pt x="9685963" y="4034682"/>
                  </a:lnTo>
                  <a:lnTo>
                    <a:pt x="9685639" y="4035329"/>
                  </a:lnTo>
                  <a:lnTo>
                    <a:pt x="9751135" y="4035329"/>
                  </a:lnTo>
                  <a:lnTo>
                    <a:pt x="9925121" y="3860644"/>
                  </a:lnTo>
                  <a:lnTo>
                    <a:pt x="9927325" y="3860644"/>
                  </a:lnTo>
                  <a:lnTo>
                    <a:pt x="10022056" y="3765668"/>
                  </a:lnTo>
                  <a:lnTo>
                    <a:pt x="9750946" y="3495256"/>
                  </a:lnTo>
                  <a:lnTo>
                    <a:pt x="9683167" y="3493858"/>
                  </a:lnTo>
                  <a:close/>
                  <a:moveTo>
                    <a:pt x="9214487" y="3493540"/>
                  </a:moveTo>
                  <a:lnTo>
                    <a:pt x="9215884" y="3494937"/>
                  </a:lnTo>
                  <a:lnTo>
                    <a:pt x="9482419" y="3760776"/>
                  </a:lnTo>
                  <a:lnTo>
                    <a:pt x="9743958" y="3760776"/>
                  </a:lnTo>
                  <a:lnTo>
                    <a:pt x="9614691" y="3632209"/>
                  </a:lnTo>
                  <a:lnTo>
                    <a:pt x="9475335" y="3493540"/>
                  </a:lnTo>
                  <a:close/>
                  <a:moveTo>
                    <a:pt x="8381590" y="3493540"/>
                  </a:moveTo>
                  <a:lnTo>
                    <a:pt x="8117466" y="3494239"/>
                  </a:lnTo>
                  <a:lnTo>
                    <a:pt x="8388577" y="3764651"/>
                  </a:lnTo>
                  <a:lnTo>
                    <a:pt x="8118914" y="4035011"/>
                  </a:lnTo>
                  <a:lnTo>
                    <a:pt x="8381780" y="4035011"/>
                  </a:lnTo>
                  <a:lnTo>
                    <a:pt x="8552272" y="3863121"/>
                  </a:lnTo>
                  <a:lnTo>
                    <a:pt x="8554041" y="3863121"/>
                  </a:lnTo>
                  <a:lnTo>
                    <a:pt x="8652701" y="3763951"/>
                  </a:lnTo>
                  <a:close/>
                  <a:moveTo>
                    <a:pt x="11133051" y="3493160"/>
                  </a:moveTo>
                  <a:lnTo>
                    <a:pt x="11134449" y="3494557"/>
                  </a:lnTo>
                  <a:lnTo>
                    <a:pt x="11404162" y="3763572"/>
                  </a:lnTo>
                  <a:lnTo>
                    <a:pt x="11135196" y="4033233"/>
                  </a:lnTo>
                  <a:lnTo>
                    <a:pt x="11396666" y="4033233"/>
                  </a:lnTo>
                  <a:lnTo>
                    <a:pt x="11568556" y="3860644"/>
                  </a:lnTo>
                  <a:lnTo>
                    <a:pt x="11571463" y="3860644"/>
                  </a:lnTo>
                  <a:lnTo>
                    <a:pt x="11668285" y="3763572"/>
                  </a:lnTo>
                  <a:lnTo>
                    <a:pt x="11662696" y="3758681"/>
                  </a:lnTo>
                  <a:lnTo>
                    <a:pt x="11397175" y="3493160"/>
                  </a:lnTo>
                  <a:close/>
                  <a:moveTo>
                    <a:pt x="707821" y="3228588"/>
                  </a:moveTo>
                  <a:lnTo>
                    <a:pt x="437409" y="3499699"/>
                  </a:lnTo>
                  <a:lnTo>
                    <a:pt x="570170" y="3631761"/>
                  </a:lnTo>
                  <a:lnTo>
                    <a:pt x="708520" y="3769413"/>
                  </a:lnTo>
                  <a:lnTo>
                    <a:pt x="972643" y="3769413"/>
                  </a:lnTo>
                  <a:lnTo>
                    <a:pt x="701533" y="3499001"/>
                  </a:lnTo>
                  <a:lnTo>
                    <a:pt x="971945" y="3228588"/>
                  </a:lnTo>
                  <a:close/>
                  <a:moveTo>
                    <a:pt x="1256332" y="3227890"/>
                  </a:moveTo>
                  <a:lnTo>
                    <a:pt x="985920" y="3499001"/>
                  </a:lnTo>
                  <a:lnTo>
                    <a:pt x="1257031" y="3769413"/>
                  </a:lnTo>
                  <a:lnTo>
                    <a:pt x="1521154" y="3768713"/>
                  </a:lnTo>
                  <a:lnTo>
                    <a:pt x="1250043" y="3498302"/>
                  </a:lnTo>
                  <a:lnTo>
                    <a:pt x="1434510" y="3313835"/>
                  </a:lnTo>
                  <a:lnTo>
                    <a:pt x="1520455" y="3227890"/>
                  </a:lnTo>
                  <a:close/>
                  <a:moveTo>
                    <a:pt x="1804143" y="3227192"/>
                  </a:moveTo>
                  <a:lnTo>
                    <a:pt x="1623869" y="3408165"/>
                  </a:lnTo>
                  <a:lnTo>
                    <a:pt x="1534430" y="3498302"/>
                  </a:lnTo>
                  <a:lnTo>
                    <a:pt x="1668588" y="3631761"/>
                  </a:lnTo>
                  <a:lnTo>
                    <a:pt x="1805541" y="3768713"/>
                  </a:lnTo>
                  <a:lnTo>
                    <a:pt x="2069664" y="3768015"/>
                  </a:lnTo>
                  <a:lnTo>
                    <a:pt x="1798553" y="3497603"/>
                  </a:lnTo>
                  <a:lnTo>
                    <a:pt x="1799951" y="3496206"/>
                  </a:lnTo>
                  <a:lnTo>
                    <a:pt x="2068266" y="3227192"/>
                  </a:lnTo>
                  <a:close/>
                  <a:moveTo>
                    <a:pt x="2353352" y="3226492"/>
                  </a:moveTo>
                  <a:lnTo>
                    <a:pt x="2082940" y="3497603"/>
                  </a:lnTo>
                  <a:lnTo>
                    <a:pt x="2354051" y="3768015"/>
                  </a:lnTo>
                  <a:lnTo>
                    <a:pt x="2618174" y="3768015"/>
                  </a:lnTo>
                  <a:lnTo>
                    <a:pt x="2347064" y="3497603"/>
                  </a:lnTo>
                  <a:lnTo>
                    <a:pt x="2617476" y="3226492"/>
                  </a:lnTo>
                  <a:close/>
                  <a:moveTo>
                    <a:pt x="3449674" y="3225095"/>
                  </a:moveTo>
                  <a:lnTo>
                    <a:pt x="3179262" y="3496206"/>
                  </a:lnTo>
                  <a:lnTo>
                    <a:pt x="3450373" y="3766618"/>
                  </a:lnTo>
                  <a:lnTo>
                    <a:pt x="3714496" y="3766618"/>
                  </a:lnTo>
                  <a:lnTo>
                    <a:pt x="3443385" y="3496206"/>
                  </a:lnTo>
                  <a:lnTo>
                    <a:pt x="3713797" y="3225095"/>
                  </a:lnTo>
                  <a:close/>
                  <a:moveTo>
                    <a:pt x="3998184" y="3224396"/>
                  </a:moveTo>
                  <a:lnTo>
                    <a:pt x="3727772" y="3495507"/>
                  </a:lnTo>
                  <a:lnTo>
                    <a:pt x="3998883" y="3765919"/>
                  </a:lnTo>
                  <a:lnTo>
                    <a:pt x="4263007" y="3765220"/>
                  </a:lnTo>
                  <a:lnTo>
                    <a:pt x="3991896" y="3494808"/>
                  </a:lnTo>
                  <a:lnTo>
                    <a:pt x="4176362" y="3310341"/>
                  </a:lnTo>
                  <a:lnTo>
                    <a:pt x="4177062" y="3310341"/>
                  </a:lnTo>
                  <a:lnTo>
                    <a:pt x="4262309" y="3224396"/>
                  </a:lnTo>
                  <a:close/>
                  <a:moveTo>
                    <a:pt x="5367927" y="3223826"/>
                  </a:moveTo>
                  <a:lnTo>
                    <a:pt x="5097515" y="3494937"/>
                  </a:lnTo>
                  <a:lnTo>
                    <a:pt x="5230276" y="3626999"/>
                  </a:lnTo>
                  <a:lnTo>
                    <a:pt x="5368626" y="3764651"/>
                  </a:lnTo>
                  <a:lnTo>
                    <a:pt x="5632749" y="3764651"/>
                  </a:lnTo>
                  <a:lnTo>
                    <a:pt x="5361639" y="3494239"/>
                  </a:lnTo>
                  <a:lnTo>
                    <a:pt x="5632051" y="3223826"/>
                  </a:lnTo>
                  <a:close/>
                  <a:moveTo>
                    <a:pt x="4546696" y="3223697"/>
                  </a:moveTo>
                  <a:lnTo>
                    <a:pt x="4366420" y="3404671"/>
                  </a:lnTo>
                  <a:lnTo>
                    <a:pt x="4365722" y="3404671"/>
                  </a:lnTo>
                  <a:lnTo>
                    <a:pt x="4276283" y="3494808"/>
                  </a:lnTo>
                  <a:lnTo>
                    <a:pt x="4410440" y="3628267"/>
                  </a:lnTo>
                  <a:lnTo>
                    <a:pt x="4547394" y="3765220"/>
                  </a:lnTo>
                  <a:lnTo>
                    <a:pt x="4809493" y="3765220"/>
                  </a:lnTo>
                  <a:lnTo>
                    <a:pt x="4660106" y="3616519"/>
                  </a:lnTo>
                  <a:lnTo>
                    <a:pt x="4660106" y="3614199"/>
                  </a:lnTo>
                  <a:lnTo>
                    <a:pt x="4540406" y="3494808"/>
                  </a:lnTo>
                  <a:lnTo>
                    <a:pt x="4542503" y="3493410"/>
                  </a:lnTo>
                  <a:lnTo>
                    <a:pt x="4660106" y="3374886"/>
                  </a:lnTo>
                  <a:lnTo>
                    <a:pt x="4660106" y="3371259"/>
                  </a:lnTo>
                  <a:lnTo>
                    <a:pt x="4808350" y="3223697"/>
                  </a:lnTo>
                  <a:close/>
                  <a:moveTo>
                    <a:pt x="5916438" y="3223128"/>
                  </a:moveTo>
                  <a:lnTo>
                    <a:pt x="5646026" y="3494239"/>
                  </a:lnTo>
                  <a:lnTo>
                    <a:pt x="5917138" y="3764651"/>
                  </a:lnTo>
                  <a:lnTo>
                    <a:pt x="6181261" y="3763951"/>
                  </a:lnTo>
                  <a:lnTo>
                    <a:pt x="5910149" y="3493540"/>
                  </a:lnTo>
                  <a:lnTo>
                    <a:pt x="6094616" y="3309073"/>
                  </a:lnTo>
                  <a:lnTo>
                    <a:pt x="6180561" y="3223128"/>
                  </a:lnTo>
                  <a:close/>
                  <a:moveTo>
                    <a:pt x="4821874" y="3223128"/>
                  </a:moveTo>
                  <a:lnTo>
                    <a:pt x="4554381" y="3491315"/>
                  </a:lnTo>
                  <a:lnTo>
                    <a:pt x="4815332" y="3491315"/>
                  </a:lnTo>
                  <a:lnTo>
                    <a:pt x="4996199" y="3309073"/>
                  </a:lnTo>
                  <a:lnTo>
                    <a:pt x="5082144" y="3223128"/>
                  </a:lnTo>
                  <a:close/>
                  <a:moveTo>
                    <a:pt x="6464250" y="3222430"/>
                  </a:moveTo>
                  <a:lnTo>
                    <a:pt x="6283976" y="3403403"/>
                  </a:lnTo>
                  <a:lnTo>
                    <a:pt x="6194536" y="3493540"/>
                  </a:lnTo>
                  <a:lnTo>
                    <a:pt x="6328695" y="3626999"/>
                  </a:lnTo>
                  <a:lnTo>
                    <a:pt x="6465647" y="3763951"/>
                  </a:lnTo>
                  <a:lnTo>
                    <a:pt x="6729770" y="3763253"/>
                  </a:lnTo>
                  <a:lnTo>
                    <a:pt x="6458659" y="3492841"/>
                  </a:lnTo>
                  <a:lnTo>
                    <a:pt x="6460057" y="3491444"/>
                  </a:lnTo>
                  <a:lnTo>
                    <a:pt x="6728373" y="3222430"/>
                  </a:lnTo>
                  <a:close/>
                  <a:moveTo>
                    <a:pt x="7013458" y="3221730"/>
                  </a:moveTo>
                  <a:lnTo>
                    <a:pt x="6743046" y="3492841"/>
                  </a:lnTo>
                  <a:lnTo>
                    <a:pt x="7014157" y="3763253"/>
                  </a:lnTo>
                  <a:lnTo>
                    <a:pt x="7278280" y="3763253"/>
                  </a:lnTo>
                  <a:lnTo>
                    <a:pt x="7007170" y="3492841"/>
                  </a:lnTo>
                  <a:lnTo>
                    <a:pt x="7277582" y="3221730"/>
                  </a:lnTo>
                  <a:close/>
                  <a:moveTo>
                    <a:pt x="10028344" y="3220651"/>
                  </a:moveTo>
                  <a:lnTo>
                    <a:pt x="9757932" y="3491762"/>
                  </a:lnTo>
                  <a:lnTo>
                    <a:pt x="9890693" y="3623824"/>
                  </a:lnTo>
                  <a:lnTo>
                    <a:pt x="10029043" y="3761476"/>
                  </a:lnTo>
                  <a:lnTo>
                    <a:pt x="10293166" y="3761476"/>
                  </a:lnTo>
                  <a:lnTo>
                    <a:pt x="10022056" y="3491064"/>
                  </a:lnTo>
                  <a:lnTo>
                    <a:pt x="10292468" y="3220651"/>
                  </a:lnTo>
                  <a:close/>
                  <a:moveTo>
                    <a:pt x="8109780" y="3220333"/>
                  </a:moveTo>
                  <a:lnTo>
                    <a:pt x="7839368" y="3491444"/>
                  </a:lnTo>
                  <a:lnTo>
                    <a:pt x="8110479" y="3761856"/>
                  </a:lnTo>
                  <a:lnTo>
                    <a:pt x="8374602" y="3761856"/>
                  </a:lnTo>
                  <a:lnTo>
                    <a:pt x="8103491" y="3491444"/>
                  </a:lnTo>
                  <a:lnTo>
                    <a:pt x="8373903" y="3220333"/>
                  </a:lnTo>
                  <a:close/>
                  <a:moveTo>
                    <a:pt x="10576855" y="3219953"/>
                  </a:moveTo>
                  <a:lnTo>
                    <a:pt x="10306443" y="3491064"/>
                  </a:lnTo>
                  <a:lnTo>
                    <a:pt x="10577554" y="3761476"/>
                  </a:lnTo>
                  <a:lnTo>
                    <a:pt x="10841677" y="3760776"/>
                  </a:lnTo>
                  <a:lnTo>
                    <a:pt x="10570566" y="3490365"/>
                  </a:lnTo>
                  <a:lnTo>
                    <a:pt x="10755033" y="3305898"/>
                  </a:lnTo>
                  <a:lnTo>
                    <a:pt x="10840978" y="3219953"/>
                  </a:lnTo>
                  <a:close/>
                  <a:moveTo>
                    <a:pt x="9480397" y="3219953"/>
                  </a:moveTo>
                  <a:lnTo>
                    <a:pt x="9214487" y="3486553"/>
                  </a:lnTo>
                  <a:lnTo>
                    <a:pt x="9477324" y="3486553"/>
                  </a:lnTo>
                  <a:lnTo>
                    <a:pt x="9656616" y="3305898"/>
                  </a:lnTo>
                  <a:lnTo>
                    <a:pt x="9742561" y="3219953"/>
                  </a:lnTo>
                  <a:close/>
                  <a:moveTo>
                    <a:pt x="8658290" y="3219635"/>
                  </a:moveTo>
                  <a:lnTo>
                    <a:pt x="8387878" y="3490745"/>
                  </a:lnTo>
                  <a:lnTo>
                    <a:pt x="8658989" y="3761157"/>
                  </a:lnTo>
                  <a:lnTo>
                    <a:pt x="8923113" y="3760458"/>
                  </a:lnTo>
                  <a:lnTo>
                    <a:pt x="8652002" y="3490046"/>
                  </a:lnTo>
                  <a:lnTo>
                    <a:pt x="8836468" y="3305579"/>
                  </a:lnTo>
                  <a:lnTo>
                    <a:pt x="8837168" y="3305579"/>
                  </a:lnTo>
                  <a:lnTo>
                    <a:pt x="8922414" y="3219635"/>
                  </a:lnTo>
                  <a:close/>
                  <a:moveTo>
                    <a:pt x="11124666" y="3219256"/>
                  </a:moveTo>
                  <a:lnTo>
                    <a:pt x="10944392" y="3400228"/>
                  </a:lnTo>
                  <a:lnTo>
                    <a:pt x="10854953" y="3490365"/>
                  </a:lnTo>
                  <a:lnTo>
                    <a:pt x="10989111" y="3623824"/>
                  </a:lnTo>
                  <a:lnTo>
                    <a:pt x="11126064" y="3760776"/>
                  </a:lnTo>
                  <a:lnTo>
                    <a:pt x="11390187" y="3760078"/>
                  </a:lnTo>
                  <a:lnTo>
                    <a:pt x="11119076" y="3489666"/>
                  </a:lnTo>
                  <a:lnTo>
                    <a:pt x="11120474" y="3488269"/>
                  </a:lnTo>
                  <a:lnTo>
                    <a:pt x="11388789" y="3219256"/>
                  </a:lnTo>
                  <a:close/>
                  <a:moveTo>
                    <a:pt x="9206801" y="3218935"/>
                  </a:moveTo>
                  <a:lnTo>
                    <a:pt x="9026526" y="3399909"/>
                  </a:lnTo>
                  <a:lnTo>
                    <a:pt x="9025828" y="3399909"/>
                  </a:lnTo>
                  <a:lnTo>
                    <a:pt x="8936388" y="3490046"/>
                  </a:lnTo>
                  <a:lnTo>
                    <a:pt x="9070546" y="3623505"/>
                  </a:lnTo>
                  <a:lnTo>
                    <a:pt x="9207500" y="3760458"/>
                  </a:lnTo>
                  <a:lnTo>
                    <a:pt x="9468315" y="3760458"/>
                  </a:lnTo>
                  <a:lnTo>
                    <a:pt x="9320523" y="3613344"/>
                  </a:lnTo>
                  <a:lnTo>
                    <a:pt x="9320523" y="3609748"/>
                  </a:lnTo>
                  <a:lnTo>
                    <a:pt x="9200512" y="3490046"/>
                  </a:lnTo>
                  <a:lnTo>
                    <a:pt x="9202609" y="3488648"/>
                  </a:lnTo>
                  <a:lnTo>
                    <a:pt x="9320523" y="3369810"/>
                  </a:lnTo>
                  <a:lnTo>
                    <a:pt x="9320523" y="3368084"/>
                  </a:lnTo>
                  <a:lnTo>
                    <a:pt x="9459449" y="3229795"/>
                  </a:lnTo>
                  <a:lnTo>
                    <a:pt x="9470225" y="3218935"/>
                  </a:lnTo>
                  <a:close/>
                  <a:moveTo>
                    <a:pt x="11673875" y="3218555"/>
                  </a:moveTo>
                  <a:lnTo>
                    <a:pt x="11403463" y="3489666"/>
                  </a:lnTo>
                  <a:lnTo>
                    <a:pt x="11674574" y="3760078"/>
                  </a:lnTo>
                  <a:lnTo>
                    <a:pt x="11938697" y="3760078"/>
                  </a:lnTo>
                  <a:lnTo>
                    <a:pt x="11667587" y="3489666"/>
                  </a:lnTo>
                  <a:lnTo>
                    <a:pt x="11937999" y="3218555"/>
                  </a:lnTo>
                  <a:close/>
                  <a:moveTo>
                    <a:pt x="1263319" y="2953984"/>
                  </a:moveTo>
                  <a:lnTo>
                    <a:pt x="1534430" y="3223697"/>
                  </a:lnTo>
                  <a:lnTo>
                    <a:pt x="1531636" y="3226492"/>
                  </a:lnTo>
                  <a:lnTo>
                    <a:pt x="1441498" y="3317328"/>
                  </a:lnTo>
                  <a:lnTo>
                    <a:pt x="1264018" y="3494808"/>
                  </a:lnTo>
                  <a:lnTo>
                    <a:pt x="1528141" y="3494808"/>
                  </a:lnTo>
                  <a:lnTo>
                    <a:pt x="1617580" y="3405369"/>
                  </a:lnTo>
                  <a:lnTo>
                    <a:pt x="1798553" y="3224396"/>
                  </a:lnTo>
                  <a:lnTo>
                    <a:pt x="1527442" y="2953984"/>
                  </a:lnTo>
                  <a:close/>
                  <a:moveTo>
                    <a:pt x="714809" y="2953984"/>
                  </a:moveTo>
                  <a:lnTo>
                    <a:pt x="843377" y="3082552"/>
                  </a:lnTo>
                  <a:lnTo>
                    <a:pt x="985221" y="3224396"/>
                  </a:lnTo>
                  <a:lnTo>
                    <a:pt x="714809" y="3495507"/>
                  </a:lnTo>
                  <a:lnTo>
                    <a:pt x="978932" y="3495507"/>
                  </a:lnTo>
                  <a:lnTo>
                    <a:pt x="1249344" y="3224396"/>
                  </a:lnTo>
                  <a:lnTo>
                    <a:pt x="1244453" y="3219505"/>
                  </a:lnTo>
                  <a:lnTo>
                    <a:pt x="978932" y="2953984"/>
                  </a:lnTo>
                  <a:close/>
                  <a:moveTo>
                    <a:pt x="164902" y="2953984"/>
                  </a:moveTo>
                  <a:lnTo>
                    <a:pt x="436013" y="3223697"/>
                  </a:lnTo>
                  <a:lnTo>
                    <a:pt x="433217" y="3226492"/>
                  </a:lnTo>
                  <a:lnTo>
                    <a:pt x="343079" y="3317328"/>
                  </a:lnTo>
                  <a:lnTo>
                    <a:pt x="165601" y="3494808"/>
                  </a:lnTo>
                  <a:lnTo>
                    <a:pt x="429724" y="3494808"/>
                  </a:lnTo>
                  <a:lnTo>
                    <a:pt x="519162" y="3405369"/>
                  </a:lnTo>
                  <a:lnTo>
                    <a:pt x="700136" y="3224396"/>
                  </a:lnTo>
                  <a:lnTo>
                    <a:pt x="429025" y="2953984"/>
                  </a:lnTo>
                  <a:close/>
                  <a:moveTo>
                    <a:pt x="2908151" y="2953285"/>
                  </a:moveTo>
                  <a:lnTo>
                    <a:pt x="3179262" y="3223697"/>
                  </a:lnTo>
                  <a:lnTo>
                    <a:pt x="2908850" y="3494808"/>
                  </a:lnTo>
                  <a:lnTo>
                    <a:pt x="3107292" y="3494808"/>
                  </a:lnTo>
                  <a:lnTo>
                    <a:pt x="3103798" y="3501795"/>
                  </a:lnTo>
                  <a:lnTo>
                    <a:pt x="2908850" y="3501795"/>
                  </a:lnTo>
                  <a:lnTo>
                    <a:pt x="3038815" y="3631761"/>
                  </a:lnTo>
                  <a:lnTo>
                    <a:pt x="3035322" y="3638748"/>
                  </a:lnTo>
                  <a:lnTo>
                    <a:pt x="2894875" y="3498302"/>
                  </a:lnTo>
                  <a:lnTo>
                    <a:pt x="3165287" y="3227192"/>
                  </a:lnTo>
                  <a:lnTo>
                    <a:pt x="2901164" y="3227192"/>
                  </a:lnTo>
                  <a:lnTo>
                    <a:pt x="2630752" y="3498302"/>
                  </a:lnTo>
                  <a:lnTo>
                    <a:pt x="2901863" y="3768713"/>
                  </a:lnTo>
                  <a:lnTo>
                    <a:pt x="2970339" y="3768713"/>
                  </a:lnTo>
                  <a:lnTo>
                    <a:pt x="2966846" y="3775701"/>
                  </a:lnTo>
                  <a:lnTo>
                    <a:pt x="2901863" y="3775701"/>
                  </a:lnTo>
                  <a:lnTo>
                    <a:pt x="2721588" y="3956675"/>
                  </a:lnTo>
                  <a:lnTo>
                    <a:pt x="2633317" y="4045637"/>
                  </a:lnTo>
                  <a:lnTo>
                    <a:pt x="2902751" y="4314377"/>
                  </a:lnTo>
                  <a:lnTo>
                    <a:pt x="3165477" y="4314377"/>
                  </a:lnTo>
                  <a:lnTo>
                    <a:pt x="3036210" y="4185111"/>
                  </a:lnTo>
                  <a:lnTo>
                    <a:pt x="3036909" y="4184412"/>
                  </a:lnTo>
                  <a:lnTo>
                    <a:pt x="2942163" y="4090134"/>
                  </a:lnTo>
                  <a:lnTo>
                    <a:pt x="2940992" y="4090134"/>
                  </a:lnTo>
                  <a:lnTo>
                    <a:pt x="2896273" y="4045415"/>
                  </a:lnTo>
                  <a:lnTo>
                    <a:pt x="2896745" y="4044942"/>
                  </a:lnTo>
                  <a:lnTo>
                    <a:pt x="2895764" y="4043965"/>
                  </a:lnTo>
                  <a:lnTo>
                    <a:pt x="3070448" y="3868581"/>
                  </a:lnTo>
                  <a:lnTo>
                    <a:pt x="3072651" y="3868581"/>
                  </a:lnTo>
                  <a:lnTo>
                    <a:pt x="3165986" y="3775003"/>
                  </a:lnTo>
                  <a:lnTo>
                    <a:pt x="2967543" y="3775003"/>
                  </a:lnTo>
                  <a:lnTo>
                    <a:pt x="2971038" y="3768015"/>
                  </a:lnTo>
                  <a:lnTo>
                    <a:pt x="3165986" y="3768015"/>
                  </a:lnTo>
                  <a:lnTo>
                    <a:pt x="3036021" y="3638050"/>
                  </a:lnTo>
                  <a:lnTo>
                    <a:pt x="3039514" y="3631063"/>
                  </a:lnTo>
                  <a:lnTo>
                    <a:pt x="3179961" y="3771509"/>
                  </a:lnTo>
                  <a:lnTo>
                    <a:pt x="2912388" y="4039773"/>
                  </a:lnTo>
                  <a:lnTo>
                    <a:pt x="3173163" y="4039773"/>
                  </a:lnTo>
                  <a:lnTo>
                    <a:pt x="3262601" y="3950334"/>
                  </a:lnTo>
                  <a:lnTo>
                    <a:pt x="3344354" y="3868581"/>
                  </a:lnTo>
                  <a:lnTo>
                    <a:pt x="3347262" y="3868581"/>
                  </a:lnTo>
                  <a:lnTo>
                    <a:pt x="3444084" y="3771509"/>
                  </a:lnTo>
                  <a:lnTo>
                    <a:pt x="3172973" y="3501795"/>
                  </a:lnTo>
                  <a:lnTo>
                    <a:pt x="3104497" y="3501795"/>
                  </a:lnTo>
                  <a:lnTo>
                    <a:pt x="3107990" y="3494808"/>
                  </a:lnTo>
                  <a:lnTo>
                    <a:pt x="3172973" y="3494808"/>
                  </a:lnTo>
                  <a:lnTo>
                    <a:pt x="3443385" y="3223697"/>
                  </a:lnTo>
                  <a:lnTo>
                    <a:pt x="3309227" y="3090238"/>
                  </a:lnTo>
                  <a:lnTo>
                    <a:pt x="3172275" y="2953285"/>
                  </a:lnTo>
                  <a:close/>
                  <a:moveTo>
                    <a:pt x="1811829" y="2952586"/>
                  </a:moveTo>
                  <a:lnTo>
                    <a:pt x="1941795" y="3082552"/>
                  </a:lnTo>
                  <a:lnTo>
                    <a:pt x="2082940" y="3222998"/>
                  </a:lnTo>
                  <a:lnTo>
                    <a:pt x="1812528" y="3494109"/>
                  </a:lnTo>
                  <a:lnTo>
                    <a:pt x="2076652" y="3494109"/>
                  </a:lnTo>
                  <a:lnTo>
                    <a:pt x="2347064" y="3222998"/>
                  </a:lnTo>
                  <a:lnTo>
                    <a:pt x="2075953" y="2952586"/>
                  </a:lnTo>
                  <a:close/>
                  <a:moveTo>
                    <a:pt x="2360340" y="2951889"/>
                  </a:moveTo>
                  <a:lnTo>
                    <a:pt x="2631451" y="3222301"/>
                  </a:lnTo>
                  <a:lnTo>
                    <a:pt x="2361039" y="3493410"/>
                  </a:lnTo>
                  <a:lnTo>
                    <a:pt x="2625162" y="3493410"/>
                  </a:lnTo>
                  <a:lnTo>
                    <a:pt x="2895574" y="3222301"/>
                  </a:lnTo>
                  <a:lnTo>
                    <a:pt x="2624463" y="2951889"/>
                  </a:lnTo>
                  <a:close/>
                  <a:moveTo>
                    <a:pt x="4005871" y="2951190"/>
                  </a:moveTo>
                  <a:lnTo>
                    <a:pt x="4275584" y="3220204"/>
                  </a:lnTo>
                  <a:lnTo>
                    <a:pt x="4272789" y="3222998"/>
                  </a:lnTo>
                  <a:lnTo>
                    <a:pt x="4182652" y="3313835"/>
                  </a:lnTo>
                  <a:lnTo>
                    <a:pt x="4181952" y="3313835"/>
                  </a:lnTo>
                  <a:lnTo>
                    <a:pt x="4005172" y="3491315"/>
                  </a:lnTo>
                  <a:lnTo>
                    <a:pt x="4269296" y="3491315"/>
                  </a:lnTo>
                  <a:lnTo>
                    <a:pt x="4358734" y="3401876"/>
                  </a:lnTo>
                  <a:lnTo>
                    <a:pt x="4359432" y="3401876"/>
                  </a:lnTo>
                  <a:lnTo>
                    <a:pt x="4541105" y="3221602"/>
                  </a:lnTo>
                  <a:lnTo>
                    <a:pt x="4269994" y="2951190"/>
                  </a:lnTo>
                  <a:close/>
                  <a:moveTo>
                    <a:pt x="3457360" y="2951190"/>
                  </a:moveTo>
                  <a:lnTo>
                    <a:pt x="3458059" y="2951889"/>
                  </a:lnTo>
                  <a:lnTo>
                    <a:pt x="3458758" y="2951889"/>
                  </a:lnTo>
                  <a:lnTo>
                    <a:pt x="3727772" y="3220903"/>
                  </a:lnTo>
                  <a:lnTo>
                    <a:pt x="3457360" y="3492014"/>
                  </a:lnTo>
                  <a:lnTo>
                    <a:pt x="3721484" y="3492014"/>
                  </a:lnTo>
                  <a:lnTo>
                    <a:pt x="3991896" y="3221602"/>
                  </a:lnTo>
                  <a:lnTo>
                    <a:pt x="3987005" y="3216011"/>
                  </a:lnTo>
                  <a:lnTo>
                    <a:pt x="3721484" y="2951190"/>
                  </a:lnTo>
                  <a:close/>
                  <a:moveTo>
                    <a:pt x="4554381" y="2949792"/>
                  </a:moveTo>
                  <a:lnTo>
                    <a:pt x="4684346" y="3079757"/>
                  </a:lnTo>
                  <a:lnTo>
                    <a:pt x="4820732" y="3216141"/>
                  </a:lnTo>
                  <a:lnTo>
                    <a:pt x="5082144" y="3216141"/>
                  </a:lnTo>
                  <a:lnTo>
                    <a:pt x="4815107" y="2949792"/>
                  </a:lnTo>
                  <a:close/>
                  <a:moveTo>
                    <a:pt x="5923425" y="2949222"/>
                  </a:moveTo>
                  <a:lnTo>
                    <a:pt x="6194536" y="3218935"/>
                  </a:lnTo>
                  <a:lnTo>
                    <a:pt x="6191742" y="3221730"/>
                  </a:lnTo>
                  <a:lnTo>
                    <a:pt x="6101604" y="3312566"/>
                  </a:lnTo>
                  <a:lnTo>
                    <a:pt x="5924124" y="3490046"/>
                  </a:lnTo>
                  <a:lnTo>
                    <a:pt x="6188247" y="3490046"/>
                  </a:lnTo>
                  <a:lnTo>
                    <a:pt x="6277687" y="3400607"/>
                  </a:lnTo>
                  <a:lnTo>
                    <a:pt x="6458659" y="3219635"/>
                  </a:lnTo>
                  <a:lnTo>
                    <a:pt x="6187548" y="2949222"/>
                  </a:lnTo>
                  <a:close/>
                  <a:moveTo>
                    <a:pt x="5374915" y="2949222"/>
                  </a:moveTo>
                  <a:lnTo>
                    <a:pt x="5503483" y="3077790"/>
                  </a:lnTo>
                  <a:lnTo>
                    <a:pt x="5645327" y="3219635"/>
                  </a:lnTo>
                  <a:lnTo>
                    <a:pt x="5374915" y="3490745"/>
                  </a:lnTo>
                  <a:lnTo>
                    <a:pt x="5639038" y="3490745"/>
                  </a:lnTo>
                  <a:lnTo>
                    <a:pt x="5909450" y="3219635"/>
                  </a:lnTo>
                  <a:lnTo>
                    <a:pt x="5904559" y="3214743"/>
                  </a:lnTo>
                  <a:lnTo>
                    <a:pt x="5639038" y="2949222"/>
                  </a:lnTo>
                  <a:close/>
                  <a:moveTo>
                    <a:pt x="4825009" y="2949222"/>
                  </a:moveTo>
                  <a:lnTo>
                    <a:pt x="5096119" y="3218935"/>
                  </a:lnTo>
                  <a:lnTo>
                    <a:pt x="5093323" y="3221730"/>
                  </a:lnTo>
                  <a:lnTo>
                    <a:pt x="5003186" y="3312566"/>
                  </a:lnTo>
                  <a:lnTo>
                    <a:pt x="4825707" y="3490046"/>
                  </a:lnTo>
                  <a:lnTo>
                    <a:pt x="5089830" y="3490046"/>
                  </a:lnTo>
                  <a:lnTo>
                    <a:pt x="5179268" y="3400607"/>
                  </a:lnTo>
                  <a:lnTo>
                    <a:pt x="5360242" y="3219635"/>
                  </a:lnTo>
                  <a:lnTo>
                    <a:pt x="5089132" y="2949222"/>
                  </a:lnTo>
                  <a:close/>
                  <a:moveTo>
                    <a:pt x="7568257" y="2948523"/>
                  </a:moveTo>
                  <a:lnTo>
                    <a:pt x="7839368" y="3218935"/>
                  </a:lnTo>
                  <a:lnTo>
                    <a:pt x="7568956" y="3490046"/>
                  </a:lnTo>
                  <a:lnTo>
                    <a:pt x="7767398" y="3490046"/>
                  </a:lnTo>
                  <a:lnTo>
                    <a:pt x="7763904" y="3497033"/>
                  </a:lnTo>
                  <a:lnTo>
                    <a:pt x="7568956" y="3497033"/>
                  </a:lnTo>
                  <a:lnTo>
                    <a:pt x="7698921" y="3626999"/>
                  </a:lnTo>
                  <a:lnTo>
                    <a:pt x="7695428" y="3633986"/>
                  </a:lnTo>
                  <a:lnTo>
                    <a:pt x="7554981" y="3493540"/>
                  </a:lnTo>
                  <a:lnTo>
                    <a:pt x="7825393" y="3222430"/>
                  </a:lnTo>
                  <a:lnTo>
                    <a:pt x="7561270" y="3222430"/>
                  </a:lnTo>
                  <a:lnTo>
                    <a:pt x="7290858" y="3493540"/>
                  </a:lnTo>
                  <a:lnTo>
                    <a:pt x="7561969" y="3763951"/>
                  </a:lnTo>
                  <a:lnTo>
                    <a:pt x="7630445" y="3763951"/>
                  </a:lnTo>
                  <a:lnTo>
                    <a:pt x="7626952" y="3770939"/>
                  </a:lnTo>
                  <a:lnTo>
                    <a:pt x="7561969" y="3770939"/>
                  </a:lnTo>
                  <a:lnTo>
                    <a:pt x="7381694" y="3951913"/>
                  </a:lnTo>
                  <a:lnTo>
                    <a:pt x="7293423" y="4040875"/>
                  </a:lnTo>
                  <a:lnTo>
                    <a:pt x="7562857" y="4309615"/>
                  </a:lnTo>
                  <a:lnTo>
                    <a:pt x="7825583" y="4309615"/>
                  </a:lnTo>
                  <a:lnTo>
                    <a:pt x="7696316" y="4180349"/>
                  </a:lnTo>
                  <a:lnTo>
                    <a:pt x="7697015" y="4179650"/>
                  </a:lnTo>
                  <a:lnTo>
                    <a:pt x="7602269" y="4085372"/>
                  </a:lnTo>
                  <a:lnTo>
                    <a:pt x="7601098" y="4085372"/>
                  </a:lnTo>
                  <a:lnTo>
                    <a:pt x="7556379" y="4040653"/>
                  </a:lnTo>
                  <a:lnTo>
                    <a:pt x="7556851" y="4040180"/>
                  </a:lnTo>
                  <a:lnTo>
                    <a:pt x="7555870" y="4039203"/>
                  </a:lnTo>
                  <a:lnTo>
                    <a:pt x="7730554" y="3863819"/>
                  </a:lnTo>
                  <a:lnTo>
                    <a:pt x="7732757" y="3863819"/>
                  </a:lnTo>
                  <a:lnTo>
                    <a:pt x="7826092" y="3770241"/>
                  </a:lnTo>
                  <a:lnTo>
                    <a:pt x="7627649" y="3770241"/>
                  </a:lnTo>
                  <a:lnTo>
                    <a:pt x="7631144" y="3763253"/>
                  </a:lnTo>
                  <a:lnTo>
                    <a:pt x="7826092" y="3763253"/>
                  </a:lnTo>
                  <a:lnTo>
                    <a:pt x="7696127" y="3633288"/>
                  </a:lnTo>
                  <a:lnTo>
                    <a:pt x="7699620" y="3626301"/>
                  </a:lnTo>
                  <a:lnTo>
                    <a:pt x="7840067" y="3766747"/>
                  </a:lnTo>
                  <a:lnTo>
                    <a:pt x="7572494" y="4035011"/>
                  </a:lnTo>
                  <a:lnTo>
                    <a:pt x="7833269" y="4035011"/>
                  </a:lnTo>
                  <a:lnTo>
                    <a:pt x="7922707" y="3945572"/>
                  </a:lnTo>
                  <a:lnTo>
                    <a:pt x="8004460" y="3863819"/>
                  </a:lnTo>
                  <a:lnTo>
                    <a:pt x="8007368" y="3863819"/>
                  </a:lnTo>
                  <a:lnTo>
                    <a:pt x="8104190" y="3766747"/>
                  </a:lnTo>
                  <a:lnTo>
                    <a:pt x="7833079" y="3497033"/>
                  </a:lnTo>
                  <a:lnTo>
                    <a:pt x="7764603" y="3497033"/>
                  </a:lnTo>
                  <a:lnTo>
                    <a:pt x="7768096" y="3490046"/>
                  </a:lnTo>
                  <a:lnTo>
                    <a:pt x="7833079" y="3490046"/>
                  </a:lnTo>
                  <a:lnTo>
                    <a:pt x="8103491" y="3218935"/>
                  </a:lnTo>
                  <a:lnTo>
                    <a:pt x="7969333" y="3085476"/>
                  </a:lnTo>
                  <a:lnTo>
                    <a:pt x="7832381" y="2948523"/>
                  </a:lnTo>
                  <a:close/>
                  <a:moveTo>
                    <a:pt x="6471935" y="2947824"/>
                  </a:moveTo>
                  <a:lnTo>
                    <a:pt x="6601902" y="3077790"/>
                  </a:lnTo>
                  <a:lnTo>
                    <a:pt x="6743046" y="3218236"/>
                  </a:lnTo>
                  <a:lnTo>
                    <a:pt x="6472634" y="3489347"/>
                  </a:lnTo>
                  <a:lnTo>
                    <a:pt x="6736759" y="3489347"/>
                  </a:lnTo>
                  <a:lnTo>
                    <a:pt x="7007170" y="3218236"/>
                  </a:lnTo>
                  <a:lnTo>
                    <a:pt x="6736059" y="2947824"/>
                  </a:lnTo>
                  <a:close/>
                  <a:moveTo>
                    <a:pt x="7020446" y="2947127"/>
                  </a:moveTo>
                  <a:lnTo>
                    <a:pt x="7291557" y="3217539"/>
                  </a:lnTo>
                  <a:lnTo>
                    <a:pt x="7021145" y="3488648"/>
                  </a:lnTo>
                  <a:lnTo>
                    <a:pt x="7285268" y="3488648"/>
                  </a:lnTo>
                  <a:lnTo>
                    <a:pt x="7555680" y="3217539"/>
                  </a:lnTo>
                  <a:lnTo>
                    <a:pt x="7284569" y="2947127"/>
                  </a:lnTo>
                  <a:close/>
                  <a:moveTo>
                    <a:pt x="8665977" y="2946428"/>
                  </a:moveTo>
                  <a:lnTo>
                    <a:pt x="8935690" y="3215442"/>
                  </a:lnTo>
                  <a:lnTo>
                    <a:pt x="8932895" y="3218236"/>
                  </a:lnTo>
                  <a:lnTo>
                    <a:pt x="8842758" y="3309073"/>
                  </a:lnTo>
                  <a:lnTo>
                    <a:pt x="8842058" y="3309073"/>
                  </a:lnTo>
                  <a:lnTo>
                    <a:pt x="8665278" y="3486553"/>
                  </a:lnTo>
                  <a:lnTo>
                    <a:pt x="8929401" y="3486553"/>
                  </a:lnTo>
                  <a:lnTo>
                    <a:pt x="9018840" y="3397114"/>
                  </a:lnTo>
                  <a:lnTo>
                    <a:pt x="9019538" y="3397114"/>
                  </a:lnTo>
                  <a:lnTo>
                    <a:pt x="9201211" y="3216840"/>
                  </a:lnTo>
                  <a:lnTo>
                    <a:pt x="8930100" y="2946428"/>
                  </a:lnTo>
                  <a:close/>
                  <a:moveTo>
                    <a:pt x="8117466" y="2946428"/>
                  </a:moveTo>
                  <a:lnTo>
                    <a:pt x="8118165" y="2947127"/>
                  </a:lnTo>
                  <a:lnTo>
                    <a:pt x="8118864" y="2947127"/>
                  </a:lnTo>
                  <a:lnTo>
                    <a:pt x="8387878" y="3216141"/>
                  </a:lnTo>
                  <a:lnTo>
                    <a:pt x="8117466" y="3487252"/>
                  </a:lnTo>
                  <a:lnTo>
                    <a:pt x="8381590" y="3487252"/>
                  </a:lnTo>
                  <a:lnTo>
                    <a:pt x="8652002" y="3216840"/>
                  </a:lnTo>
                  <a:lnTo>
                    <a:pt x="8647111" y="3211249"/>
                  </a:lnTo>
                  <a:lnTo>
                    <a:pt x="8381590" y="2946428"/>
                  </a:lnTo>
                  <a:close/>
                  <a:moveTo>
                    <a:pt x="10583842" y="2946047"/>
                  </a:moveTo>
                  <a:lnTo>
                    <a:pt x="10854953" y="3215760"/>
                  </a:lnTo>
                  <a:lnTo>
                    <a:pt x="10852159" y="3218555"/>
                  </a:lnTo>
                  <a:lnTo>
                    <a:pt x="10762021" y="3309391"/>
                  </a:lnTo>
                  <a:lnTo>
                    <a:pt x="10584541" y="3486871"/>
                  </a:lnTo>
                  <a:lnTo>
                    <a:pt x="10848664" y="3486871"/>
                  </a:lnTo>
                  <a:lnTo>
                    <a:pt x="10938103" y="3397432"/>
                  </a:lnTo>
                  <a:lnTo>
                    <a:pt x="11119076" y="3216459"/>
                  </a:lnTo>
                  <a:lnTo>
                    <a:pt x="10847965" y="2946047"/>
                  </a:lnTo>
                  <a:close/>
                  <a:moveTo>
                    <a:pt x="10035332" y="2946047"/>
                  </a:moveTo>
                  <a:lnTo>
                    <a:pt x="10163900" y="3074615"/>
                  </a:lnTo>
                  <a:lnTo>
                    <a:pt x="10305744" y="3216459"/>
                  </a:lnTo>
                  <a:lnTo>
                    <a:pt x="10035332" y="3487570"/>
                  </a:lnTo>
                  <a:lnTo>
                    <a:pt x="10299455" y="3487570"/>
                  </a:lnTo>
                  <a:lnTo>
                    <a:pt x="10569867" y="3216459"/>
                  </a:lnTo>
                  <a:lnTo>
                    <a:pt x="10564976" y="3211568"/>
                  </a:lnTo>
                  <a:lnTo>
                    <a:pt x="10299455" y="2946047"/>
                  </a:lnTo>
                  <a:close/>
                  <a:moveTo>
                    <a:pt x="9485425" y="2946047"/>
                  </a:moveTo>
                  <a:lnTo>
                    <a:pt x="9756536" y="3215760"/>
                  </a:lnTo>
                  <a:lnTo>
                    <a:pt x="9753740" y="3218555"/>
                  </a:lnTo>
                  <a:lnTo>
                    <a:pt x="9663602" y="3309391"/>
                  </a:lnTo>
                  <a:lnTo>
                    <a:pt x="9486124" y="3486871"/>
                  </a:lnTo>
                  <a:lnTo>
                    <a:pt x="9750247" y="3486871"/>
                  </a:lnTo>
                  <a:lnTo>
                    <a:pt x="9839685" y="3397432"/>
                  </a:lnTo>
                  <a:lnTo>
                    <a:pt x="10020659" y="3216459"/>
                  </a:lnTo>
                  <a:lnTo>
                    <a:pt x="9749548" y="2946047"/>
                  </a:lnTo>
                  <a:close/>
                  <a:moveTo>
                    <a:pt x="9214487" y="2945031"/>
                  </a:moveTo>
                  <a:lnTo>
                    <a:pt x="9344452" y="3074995"/>
                  </a:lnTo>
                  <a:lnTo>
                    <a:pt x="9482424" y="3212966"/>
                  </a:lnTo>
                  <a:lnTo>
                    <a:pt x="9742561" y="3212966"/>
                  </a:lnTo>
                  <a:lnTo>
                    <a:pt x="9473932" y="2945031"/>
                  </a:lnTo>
                  <a:close/>
                  <a:moveTo>
                    <a:pt x="11132352" y="2944649"/>
                  </a:moveTo>
                  <a:lnTo>
                    <a:pt x="11262318" y="3074615"/>
                  </a:lnTo>
                  <a:lnTo>
                    <a:pt x="11403463" y="3215061"/>
                  </a:lnTo>
                  <a:lnTo>
                    <a:pt x="11133051" y="3486172"/>
                  </a:lnTo>
                  <a:lnTo>
                    <a:pt x="11397175" y="3486172"/>
                  </a:lnTo>
                  <a:lnTo>
                    <a:pt x="11667587" y="3215061"/>
                  </a:lnTo>
                  <a:lnTo>
                    <a:pt x="11396476" y="2944649"/>
                  </a:lnTo>
                  <a:close/>
                  <a:moveTo>
                    <a:pt x="1255633" y="2679380"/>
                  </a:moveTo>
                  <a:lnTo>
                    <a:pt x="985221" y="2950491"/>
                  </a:lnTo>
                  <a:lnTo>
                    <a:pt x="1256332" y="3220903"/>
                  </a:lnTo>
                  <a:lnTo>
                    <a:pt x="1520455" y="3220903"/>
                  </a:lnTo>
                  <a:lnTo>
                    <a:pt x="1249344" y="2950491"/>
                  </a:lnTo>
                  <a:lnTo>
                    <a:pt x="1519757" y="2679380"/>
                  </a:lnTo>
                  <a:close/>
                  <a:moveTo>
                    <a:pt x="1804143" y="2678681"/>
                  </a:moveTo>
                  <a:lnTo>
                    <a:pt x="1533731" y="2949792"/>
                  </a:lnTo>
                  <a:lnTo>
                    <a:pt x="1805541" y="3220204"/>
                  </a:lnTo>
                  <a:lnTo>
                    <a:pt x="2068965" y="3220204"/>
                  </a:lnTo>
                  <a:lnTo>
                    <a:pt x="1938301" y="3090238"/>
                  </a:lnTo>
                  <a:lnTo>
                    <a:pt x="1797854" y="2949792"/>
                  </a:lnTo>
                  <a:lnTo>
                    <a:pt x="2068266" y="2678681"/>
                  </a:lnTo>
                  <a:close/>
                  <a:moveTo>
                    <a:pt x="705027" y="2678681"/>
                  </a:moveTo>
                  <a:lnTo>
                    <a:pt x="434615" y="2949792"/>
                  </a:lnTo>
                  <a:lnTo>
                    <a:pt x="705726" y="3220204"/>
                  </a:lnTo>
                  <a:lnTo>
                    <a:pt x="774202" y="3220204"/>
                  </a:lnTo>
                  <a:lnTo>
                    <a:pt x="773503" y="3221602"/>
                  </a:lnTo>
                  <a:lnTo>
                    <a:pt x="971247" y="3221602"/>
                  </a:lnTo>
                  <a:lnTo>
                    <a:pt x="839884" y="3090238"/>
                  </a:lnTo>
                  <a:lnTo>
                    <a:pt x="699437" y="2949792"/>
                  </a:lnTo>
                  <a:lnTo>
                    <a:pt x="968451" y="2680079"/>
                  </a:lnTo>
                  <a:lnTo>
                    <a:pt x="772105" y="2680079"/>
                  </a:lnTo>
                  <a:lnTo>
                    <a:pt x="772804" y="2678681"/>
                  </a:lnTo>
                  <a:close/>
                  <a:moveTo>
                    <a:pt x="2352653" y="2677982"/>
                  </a:moveTo>
                  <a:lnTo>
                    <a:pt x="2082241" y="2949093"/>
                  </a:lnTo>
                  <a:lnTo>
                    <a:pt x="2353352" y="3219505"/>
                  </a:lnTo>
                  <a:lnTo>
                    <a:pt x="2617476" y="3219505"/>
                  </a:lnTo>
                  <a:lnTo>
                    <a:pt x="2346365" y="2949093"/>
                  </a:lnTo>
                  <a:lnTo>
                    <a:pt x="2616777" y="2677982"/>
                  </a:lnTo>
                  <a:close/>
                  <a:moveTo>
                    <a:pt x="3998184" y="2675886"/>
                  </a:moveTo>
                  <a:lnTo>
                    <a:pt x="3727772" y="2946997"/>
                  </a:lnTo>
                  <a:lnTo>
                    <a:pt x="3998883" y="3217408"/>
                  </a:lnTo>
                  <a:lnTo>
                    <a:pt x="4263007" y="3217408"/>
                  </a:lnTo>
                  <a:lnTo>
                    <a:pt x="3991896" y="2946997"/>
                  </a:lnTo>
                  <a:lnTo>
                    <a:pt x="4262309" y="2675886"/>
                  </a:lnTo>
                  <a:close/>
                  <a:moveTo>
                    <a:pt x="4546696" y="2675187"/>
                  </a:moveTo>
                  <a:lnTo>
                    <a:pt x="4276283" y="2946297"/>
                  </a:lnTo>
                  <a:lnTo>
                    <a:pt x="4547394" y="3216709"/>
                  </a:lnTo>
                  <a:lnTo>
                    <a:pt x="4809087" y="3216709"/>
                  </a:lnTo>
                  <a:lnTo>
                    <a:pt x="4806841" y="3214743"/>
                  </a:lnTo>
                  <a:lnTo>
                    <a:pt x="4660106" y="3068707"/>
                  </a:lnTo>
                  <a:lnTo>
                    <a:pt x="4660106" y="3065999"/>
                  </a:lnTo>
                  <a:lnTo>
                    <a:pt x="4540406" y="2946297"/>
                  </a:lnTo>
                  <a:lnTo>
                    <a:pt x="4660106" y="2826288"/>
                  </a:lnTo>
                  <a:lnTo>
                    <a:pt x="4660106" y="2822050"/>
                  </a:lnTo>
                  <a:lnTo>
                    <a:pt x="4806970" y="2675187"/>
                  </a:lnTo>
                  <a:close/>
                  <a:moveTo>
                    <a:pt x="5915740" y="2674618"/>
                  </a:moveTo>
                  <a:lnTo>
                    <a:pt x="5645327" y="2945729"/>
                  </a:lnTo>
                  <a:lnTo>
                    <a:pt x="5916438" y="3216141"/>
                  </a:lnTo>
                  <a:lnTo>
                    <a:pt x="6180561" y="3216141"/>
                  </a:lnTo>
                  <a:lnTo>
                    <a:pt x="5909450" y="2945729"/>
                  </a:lnTo>
                  <a:lnTo>
                    <a:pt x="6179863" y="2674618"/>
                  </a:lnTo>
                  <a:close/>
                  <a:moveTo>
                    <a:pt x="4821179" y="2674618"/>
                  </a:moveTo>
                  <a:lnTo>
                    <a:pt x="4554381" y="2942106"/>
                  </a:lnTo>
                  <a:lnTo>
                    <a:pt x="4814648" y="2942106"/>
                  </a:lnTo>
                  <a:lnTo>
                    <a:pt x="5081446" y="2674618"/>
                  </a:lnTo>
                  <a:close/>
                  <a:moveTo>
                    <a:pt x="6464250" y="2673919"/>
                  </a:moveTo>
                  <a:lnTo>
                    <a:pt x="6193838" y="2945031"/>
                  </a:lnTo>
                  <a:lnTo>
                    <a:pt x="6465647" y="3215442"/>
                  </a:lnTo>
                  <a:lnTo>
                    <a:pt x="6729071" y="3215442"/>
                  </a:lnTo>
                  <a:lnTo>
                    <a:pt x="6598407" y="3085476"/>
                  </a:lnTo>
                  <a:lnTo>
                    <a:pt x="6457961" y="2945031"/>
                  </a:lnTo>
                  <a:lnTo>
                    <a:pt x="6728373" y="2673919"/>
                  </a:lnTo>
                  <a:close/>
                  <a:moveTo>
                    <a:pt x="5365133" y="2673919"/>
                  </a:moveTo>
                  <a:lnTo>
                    <a:pt x="5094721" y="2945031"/>
                  </a:lnTo>
                  <a:lnTo>
                    <a:pt x="5365832" y="3215442"/>
                  </a:lnTo>
                  <a:lnTo>
                    <a:pt x="5434309" y="3215442"/>
                  </a:lnTo>
                  <a:lnTo>
                    <a:pt x="5433609" y="3216840"/>
                  </a:lnTo>
                  <a:lnTo>
                    <a:pt x="5631353" y="3216840"/>
                  </a:lnTo>
                  <a:lnTo>
                    <a:pt x="5499990" y="3085476"/>
                  </a:lnTo>
                  <a:lnTo>
                    <a:pt x="5359544" y="2945031"/>
                  </a:lnTo>
                  <a:lnTo>
                    <a:pt x="5628558" y="2675317"/>
                  </a:lnTo>
                  <a:lnTo>
                    <a:pt x="5432211" y="2675317"/>
                  </a:lnTo>
                  <a:lnTo>
                    <a:pt x="5432910" y="2673919"/>
                  </a:lnTo>
                  <a:close/>
                  <a:moveTo>
                    <a:pt x="7012759" y="2673220"/>
                  </a:moveTo>
                  <a:lnTo>
                    <a:pt x="6742348" y="2944331"/>
                  </a:lnTo>
                  <a:lnTo>
                    <a:pt x="7013458" y="3214743"/>
                  </a:lnTo>
                  <a:lnTo>
                    <a:pt x="7277582" y="3214743"/>
                  </a:lnTo>
                  <a:lnTo>
                    <a:pt x="7006471" y="2944331"/>
                  </a:lnTo>
                  <a:lnTo>
                    <a:pt x="7276883" y="2673220"/>
                  </a:lnTo>
                  <a:close/>
                  <a:moveTo>
                    <a:pt x="10576156" y="2671443"/>
                  </a:moveTo>
                  <a:lnTo>
                    <a:pt x="10305744" y="2942554"/>
                  </a:lnTo>
                  <a:lnTo>
                    <a:pt x="10576855" y="3212966"/>
                  </a:lnTo>
                  <a:lnTo>
                    <a:pt x="10840978" y="3212966"/>
                  </a:lnTo>
                  <a:lnTo>
                    <a:pt x="10569867" y="2942554"/>
                  </a:lnTo>
                  <a:lnTo>
                    <a:pt x="10840280" y="2671443"/>
                  </a:lnTo>
                  <a:close/>
                  <a:moveTo>
                    <a:pt x="9479701" y="2671443"/>
                  </a:moveTo>
                  <a:lnTo>
                    <a:pt x="9214487" y="2937344"/>
                  </a:lnTo>
                  <a:lnTo>
                    <a:pt x="9476647" y="2937344"/>
                  </a:lnTo>
                  <a:lnTo>
                    <a:pt x="9741862" y="2671443"/>
                  </a:lnTo>
                  <a:close/>
                  <a:moveTo>
                    <a:pt x="8658290" y="2671124"/>
                  </a:moveTo>
                  <a:lnTo>
                    <a:pt x="8387878" y="2942235"/>
                  </a:lnTo>
                  <a:lnTo>
                    <a:pt x="8658989" y="3212646"/>
                  </a:lnTo>
                  <a:lnTo>
                    <a:pt x="8923113" y="3212646"/>
                  </a:lnTo>
                  <a:lnTo>
                    <a:pt x="8652002" y="2942235"/>
                  </a:lnTo>
                  <a:lnTo>
                    <a:pt x="8922414" y="2671124"/>
                  </a:lnTo>
                  <a:close/>
                  <a:moveTo>
                    <a:pt x="11124666" y="2670744"/>
                  </a:moveTo>
                  <a:lnTo>
                    <a:pt x="10854254" y="2941855"/>
                  </a:lnTo>
                  <a:lnTo>
                    <a:pt x="11126064" y="3212267"/>
                  </a:lnTo>
                  <a:lnTo>
                    <a:pt x="11389488" y="3212267"/>
                  </a:lnTo>
                  <a:lnTo>
                    <a:pt x="11258824" y="3082301"/>
                  </a:lnTo>
                  <a:lnTo>
                    <a:pt x="11118377" y="2941855"/>
                  </a:lnTo>
                  <a:lnTo>
                    <a:pt x="11388789" y="2670744"/>
                  </a:lnTo>
                  <a:close/>
                  <a:moveTo>
                    <a:pt x="10025550" y="2670744"/>
                  </a:moveTo>
                  <a:lnTo>
                    <a:pt x="9755138" y="2941855"/>
                  </a:lnTo>
                  <a:lnTo>
                    <a:pt x="10026249" y="3212267"/>
                  </a:lnTo>
                  <a:lnTo>
                    <a:pt x="10094725" y="3212267"/>
                  </a:lnTo>
                  <a:lnTo>
                    <a:pt x="10094026" y="3213665"/>
                  </a:lnTo>
                  <a:lnTo>
                    <a:pt x="10291770" y="3213665"/>
                  </a:lnTo>
                  <a:lnTo>
                    <a:pt x="10160407" y="3082301"/>
                  </a:lnTo>
                  <a:lnTo>
                    <a:pt x="10019960" y="2941855"/>
                  </a:lnTo>
                  <a:lnTo>
                    <a:pt x="10288974" y="2672142"/>
                  </a:lnTo>
                  <a:lnTo>
                    <a:pt x="10092628" y="2672142"/>
                  </a:lnTo>
                  <a:lnTo>
                    <a:pt x="10093327" y="2670744"/>
                  </a:lnTo>
                  <a:close/>
                  <a:moveTo>
                    <a:pt x="3517239" y="2670723"/>
                  </a:moveTo>
                  <a:lnTo>
                    <a:pt x="3513958" y="2677283"/>
                  </a:lnTo>
                  <a:lnTo>
                    <a:pt x="3448975" y="2677283"/>
                  </a:lnTo>
                  <a:lnTo>
                    <a:pt x="3268701" y="2858257"/>
                  </a:lnTo>
                  <a:lnTo>
                    <a:pt x="3179262" y="2947695"/>
                  </a:lnTo>
                  <a:lnTo>
                    <a:pt x="3312721" y="3081853"/>
                  </a:lnTo>
                  <a:lnTo>
                    <a:pt x="3451072" y="3215313"/>
                  </a:lnTo>
                  <a:lnTo>
                    <a:pt x="3715195" y="3215313"/>
                  </a:lnTo>
                  <a:lnTo>
                    <a:pt x="3444084" y="2944901"/>
                  </a:lnTo>
                  <a:lnTo>
                    <a:pt x="3445482" y="2943503"/>
                  </a:lnTo>
                  <a:lnTo>
                    <a:pt x="3713797" y="2674489"/>
                  </a:lnTo>
                  <a:lnTo>
                    <a:pt x="3515356" y="2674489"/>
                  </a:lnTo>
                  <a:close/>
                  <a:moveTo>
                    <a:pt x="9206801" y="2670425"/>
                  </a:moveTo>
                  <a:lnTo>
                    <a:pt x="8936388" y="2941535"/>
                  </a:lnTo>
                  <a:lnTo>
                    <a:pt x="9207500" y="3211947"/>
                  </a:lnTo>
                  <a:lnTo>
                    <a:pt x="9467691" y="3211947"/>
                  </a:lnTo>
                  <a:lnTo>
                    <a:pt x="9467258" y="3211568"/>
                  </a:lnTo>
                  <a:lnTo>
                    <a:pt x="9320523" y="3065532"/>
                  </a:lnTo>
                  <a:lnTo>
                    <a:pt x="9320523" y="3061548"/>
                  </a:lnTo>
                  <a:lnTo>
                    <a:pt x="9200512" y="2941535"/>
                  </a:lnTo>
                  <a:lnTo>
                    <a:pt x="9320523" y="2821214"/>
                  </a:lnTo>
                  <a:lnTo>
                    <a:pt x="9320523" y="2818876"/>
                  </a:lnTo>
                  <a:lnTo>
                    <a:pt x="9468974" y="2670425"/>
                  </a:lnTo>
                  <a:close/>
                  <a:moveTo>
                    <a:pt x="11673176" y="2670045"/>
                  </a:moveTo>
                  <a:lnTo>
                    <a:pt x="11402764" y="2941156"/>
                  </a:lnTo>
                  <a:lnTo>
                    <a:pt x="11673875" y="3211568"/>
                  </a:lnTo>
                  <a:lnTo>
                    <a:pt x="11937999" y="3211568"/>
                  </a:lnTo>
                  <a:lnTo>
                    <a:pt x="11666888" y="2941156"/>
                  </a:lnTo>
                  <a:lnTo>
                    <a:pt x="11937300" y="2670045"/>
                  </a:lnTo>
                  <a:close/>
                  <a:moveTo>
                    <a:pt x="8177520" y="2665610"/>
                  </a:moveTo>
                  <a:lnTo>
                    <a:pt x="8174064" y="2672521"/>
                  </a:lnTo>
                  <a:lnTo>
                    <a:pt x="8109081" y="2672521"/>
                  </a:lnTo>
                  <a:lnTo>
                    <a:pt x="7928807" y="2853496"/>
                  </a:lnTo>
                  <a:lnTo>
                    <a:pt x="7839368" y="2942933"/>
                  </a:lnTo>
                  <a:lnTo>
                    <a:pt x="7972827" y="3077091"/>
                  </a:lnTo>
                  <a:lnTo>
                    <a:pt x="8111178" y="3210551"/>
                  </a:lnTo>
                  <a:lnTo>
                    <a:pt x="8375301" y="3210551"/>
                  </a:lnTo>
                  <a:lnTo>
                    <a:pt x="8104190" y="2940139"/>
                  </a:lnTo>
                  <a:lnTo>
                    <a:pt x="8105588" y="2938741"/>
                  </a:lnTo>
                  <a:lnTo>
                    <a:pt x="8373903" y="2669727"/>
                  </a:lnTo>
                  <a:lnTo>
                    <a:pt x="8175462" y="2669727"/>
                  </a:lnTo>
                  <a:close/>
                  <a:moveTo>
                    <a:pt x="164203" y="2405474"/>
                  </a:moveTo>
                  <a:lnTo>
                    <a:pt x="435314" y="2675886"/>
                  </a:lnTo>
                  <a:lnTo>
                    <a:pt x="164902" y="2946997"/>
                  </a:lnTo>
                  <a:lnTo>
                    <a:pt x="429025" y="2946997"/>
                  </a:lnTo>
                  <a:lnTo>
                    <a:pt x="699437" y="2675886"/>
                  </a:lnTo>
                  <a:lnTo>
                    <a:pt x="428326" y="2405474"/>
                  </a:lnTo>
                  <a:close/>
                  <a:moveTo>
                    <a:pt x="1811131" y="2404775"/>
                  </a:moveTo>
                  <a:lnTo>
                    <a:pt x="2082940" y="2675187"/>
                  </a:lnTo>
                  <a:lnTo>
                    <a:pt x="1812528" y="2946297"/>
                  </a:lnTo>
                  <a:lnTo>
                    <a:pt x="2075953" y="2946297"/>
                  </a:lnTo>
                  <a:lnTo>
                    <a:pt x="2346365" y="2675187"/>
                  </a:lnTo>
                  <a:lnTo>
                    <a:pt x="2212208" y="2541728"/>
                  </a:lnTo>
                  <a:lnTo>
                    <a:pt x="2075254" y="2404775"/>
                  </a:lnTo>
                  <a:close/>
                  <a:moveTo>
                    <a:pt x="1262620" y="2404775"/>
                  </a:moveTo>
                  <a:lnTo>
                    <a:pt x="1533731" y="2675187"/>
                  </a:lnTo>
                  <a:lnTo>
                    <a:pt x="1263319" y="2946297"/>
                  </a:lnTo>
                  <a:lnTo>
                    <a:pt x="1527442" y="2946297"/>
                  </a:lnTo>
                  <a:lnTo>
                    <a:pt x="1797854" y="2675187"/>
                  </a:lnTo>
                  <a:lnTo>
                    <a:pt x="1526744" y="2404775"/>
                  </a:lnTo>
                  <a:close/>
                  <a:moveTo>
                    <a:pt x="2359641" y="2404076"/>
                  </a:moveTo>
                  <a:lnTo>
                    <a:pt x="2361039" y="2405474"/>
                  </a:lnTo>
                  <a:lnTo>
                    <a:pt x="2629354" y="2673790"/>
                  </a:lnTo>
                  <a:lnTo>
                    <a:pt x="2358942" y="2944901"/>
                  </a:lnTo>
                  <a:lnTo>
                    <a:pt x="2623065" y="2944901"/>
                  </a:lnTo>
                  <a:lnTo>
                    <a:pt x="2893477" y="2673790"/>
                  </a:lnTo>
                  <a:lnTo>
                    <a:pt x="2888586" y="2668899"/>
                  </a:lnTo>
                  <a:lnTo>
                    <a:pt x="2906055" y="2677283"/>
                  </a:lnTo>
                  <a:lnTo>
                    <a:pt x="2900465" y="2677283"/>
                  </a:lnTo>
                  <a:lnTo>
                    <a:pt x="2630053" y="2948394"/>
                  </a:lnTo>
                  <a:lnTo>
                    <a:pt x="2901164" y="3218806"/>
                  </a:lnTo>
                  <a:lnTo>
                    <a:pt x="3165287" y="3218806"/>
                  </a:lnTo>
                  <a:lnTo>
                    <a:pt x="2894875" y="2947695"/>
                  </a:lnTo>
                  <a:lnTo>
                    <a:pt x="3079343" y="2763229"/>
                  </a:lnTo>
                  <a:lnTo>
                    <a:pt x="3165287" y="2677283"/>
                  </a:lnTo>
                  <a:lnTo>
                    <a:pt x="2906754" y="2677283"/>
                  </a:lnTo>
                  <a:lnTo>
                    <a:pt x="2889285" y="2668899"/>
                  </a:lnTo>
                  <a:lnTo>
                    <a:pt x="2623764" y="2404076"/>
                  </a:lnTo>
                  <a:close/>
                  <a:moveTo>
                    <a:pt x="713412" y="2404076"/>
                  </a:moveTo>
                  <a:lnTo>
                    <a:pt x="844775" y="2535440"/>
                  </a:lnTo>
                  <a:lnTo>
                    <a:pt x="985221" y="2675886"/>
                  </a:lnTo>
                  <a:lnTo>
                    <a:pt x="716206" y="2945599"/>
                  </a:lnTo>
                  <a:lnTo>
                    <a:pt x="912552" y="2945599"/>
                  </a:lnTo>
                  <a:lnTo>
                    <a:pt x="911853" y="2946997"/>
                  </a:lnTo>
                  <a:lnTo>
                    <a:pt x="978932" y="2946997"/>
                  </a:lnTo>
                  <a:lnTo>
                    <a:pt x="1248646" y="2675886"/>
                  </a:lnTo>
                  <a:lnTo>
                    <a:pt x="1113090" y="2541029"/>
                  </a:lnTo>
                  <a:lnTo>
                    <a:pt x="1094923" y="2522863"/>
                  </a:lnTo>
                  <a:lnTo>
                    <a:pt x="977535" y="2406173"/>
                  </a:lnTo>
                  <a:lnTo>
                    <a:pt x="909058" y="2406173"/>
                  </a:lnTo>
                  <a:lnTo>
                    <a:pt x="909757" y="2404775"/>
                  </a:lnTo>
                  <a:close/>
                  <a:moveTo>
                    <a:pt x="2907452" y="2402679"/>
                  </a:moveTo>
                  <a:lnTo>
                    <a:pt x="3178563" y="2673091"/>
                  </a:lnTo>
                  <a:lnTo>
                    <a:pt x="3175769" y="2675886"/>
                  </a:lnTo>
                  <a:lnTo>
                    <a:pt x="3085631" y="2766722"/>
                  </a:lnTo>
                  <a:lnTo>
                    <a:pt x="2908151" y="2944202"/>
                  </a:lnTo>
                  <a:lnTo>
                    <a:pt x="3172275" y="2944202"/>
                  </a:lnTo>
                  <a:lnTo>
                    <a:pt x="3262412" y="2854763"/>
                  </a:lnTo>
                  <a:lnTo>
                    <a:pt x="3442687" y="2673091"/>
                  </a:lnTo>
                  <a:lnTo>
                    <a:pt x="3171576" y="2402679"/>
                  </a:lnTo>
                  <a:close/>
                  <a:moveTo>
                    <a:pt x="4004473" y="2401981"/>
                  </a:moveTo>
                  <a:lnTo>
                    <a:pt x="4275584" y="2671694"/>
                  </a:lnTo>
                  <a:lnTo>
                    <a:pt x="4005172" y="2942805"/>
                  </a:lnTo>
                  <a:lnTo>
                    <a:pt x="4269296" y="2942805"/>
                  </a:lnTo>
                  <a:lnTo>
                    <a:pt x="4539707" y="2672393"/>
                  </a:lnTo>
                  <a:lnTo>
                    <a:pt x="4268598" y="2401981"/>
                  </a:lnTo>
                  <a:close/>
                  <a:moveTo>
                    <a:pt x="4824309" y="2400713"/>
                  </a:moveTo>
                  <a:lnTo>
                    <a:pt x="5095421" y="2671124"/>
                  </a:lnTo>
                  <a:lnTo>
                    <a:pt x="4825009" y="2942235"/>
                  </a:lnTo>
                  <a:lnTo>
                    <a:pt x="5089132" y="2942235"/>
                  </a:lnTo>
                  <a:lnTo>
                    <a:pt x="5359544" y="2671124"/>
                  </a:lnTo>
                  <a:lnTo>
                    <a:pt x="5088432" y="2400713"/>
                  </a:lnTo>
                  <a:close/>
                  <a:moveTo>
                    <a:pt x="4553683" y="2400583"/>
                  </a:moveTo>
                  <a:lnTo>
                    <a:pt x="4821422" y="2667631"/>
                  </a:lnTo>
                  <a:lnTo>
                    <a:pt x="5082144" y="2667631"/>
                  </a:lnTo>
                  <a:lnTo>
                    <a:pt x="4814405" y="2400583"/>
                  </a:lnTo>
                  <a:close/>
                  <a:moveTo>
                    <a:pt x="6471238" y="2400013"/>
                  </a:moveTo>
                  <a:lnTo>
                    <a:pt x="6743046" y="2670425"/>
                  </a:lnTo>
                  <a:lnTo>
                    <a:pt x="6472634" y="2941535"/>
                  </a:lnTo>
                  <a:lnTo>
                    <a:pt x="6736059" y="2941535"/>
                  </a:lnTo>
                  <a:lnTo>
                    <a:pt x="7006471" y="2670425"/>
                  </a:lnTo>
                  <a:lnTo>
                    <a:pt x="6872314" y="2536966"/>
                  </a:lnTo>
                  <a:lnTo>
                    <a:pt x="6735361" y="2400013"/>
                  </a:lnTo>
                  <a:close/>
                  <a:moveTo>
                    <a:pt x="5922727" y="2400013"/>
                  </a:moveTo>
                  <a:lnTo>
                    <a:pt x="6193838" y="2670425"/>
                  </a:lnTo>
                  <a:lnTo>
                    <a:pt x="5923425" y="2941535"/>
                  </a:lnTo>
                  <a:lnTo>
                    <a:pt x="6187548" y="2941535"/>
                  </a:lnTo>
                  <a:lnTo>
                    <a:pt x="6457961" y="2670425"/>
                  </a:lnTo>
                  <a:lnTo>
                    <a:pt x="6186850" y="2400013"/>
                  </a:lnTo>
                  <a:close/>
                  <a:moveTo>
                    <a:pt x="7019748" y="2399314"/>
                  </a:moveTo>
                  <a:lnTo>
                    <a:pt x="7021145" y="2400713"/>
                  </a:lnTo>
                  <a:lnTo>
                    <a:pt x="7289460" y="2669028"/>
                  </a:lnTo>
                  <a:lnTo>
                    <a:pt x="7019048" y="2940139"/>
                  </a:lnTo>
                  <a:lnTo>
                    <a:pt x="7283171" y="2940139"/>
                  </a:lnTo>
                  <a:lnTo>
                    <a:pt x="7553583" y="2669028"/>
                  </a:lnTo>
                  <a:lnTo>
                    <a:pt x="7548692" y="2664137"/>
                  </a:lnTo>
                  <a:lnTo>
                    <a:pt x="7566161" y="2672521"/>
                  </a:lnTo>
                  <a:lnTo>
                    <a:pt x="7560571" y="2672521"/>
                  </a:lnTo>
                  <a:lnTo>
                    <a:pt x="7290159" y="2943632"/>
                  </a:lnTo>
                  <a:lnTo>
                    <a:pt x="7561270" y="3214044"/>
                  </a:lnTo>
                  <a:lnTo>
                    <a:pt x="7825393" y="3214044"/>
                  </a:lnTo>
                  <a:lnTo>
                    <a:pt x="7554981" y="2942933"/>
                  </a:lnTo>
                  <a:lnTo>
                    <a:pt x="7739449" y="2758467"/>
                  </a:lnTo>
                  <a:lnTo>
                    <a:pt x="7825393" y="2672521"/>
                  </a:lnTo>
                  <a:lnTo>
                    <a:pt x="7566860" y="2672521"/>
                  </a:lnTo>
                  <a:lnTo>
                    <a:pt x="7549391" y="2664137"/>
                  </a:lnTo>
                  <a:lnTo>
                    <a:pt x="7283870" y="2399314"/>
                  </a:lnTo>
                  <a:close/>
                  <a:moveTo>
                    <a:pt x="5373519" y="2399314"/>
                  </a:moveTo>
                  <a:lnTo>
                    <a:pt x="5504881" y="2530678"/>
                  </a:lnTo>
                  <a:lnTo>
                    <a:pt x="5645327" y="2671124"/>
                  </a:lnTo>
                  <a:lnTo>
                    <a:pt x="5376313" y="2940837"/>
                  </a:lnTo>
                  <a:lnTo>
                    <a:pt x="5572659" y="2940837"/>
                  </a:lnTo>
                  <a:lnTo>
                    <a:pt x="5571959" y="2942235"/>
                  </a:lnTo>
                  <a:lnTo>
                    <a:pt x="5639038" y="2942235"/>
                  </a:lnTo>
                  <a:lnTo>
                    <a:pt x="5908752" y="2671124"/>
                  </a:lnTo>
                  <a:lnTo>
                    <a:pt x="5773197" y="2536267"/>
                  </a:lnTo>
                  <a:lnTo>
                    <a:pt x="5755029" y="2518101"/>
                  </a:lnTo>
                  <a:lnTo>
                    <a:pt x="5637642" y="2401411"/>
                  </a:lnTo>
                  <a:lnTo>
                    <a:pt x="5569164" y="2401411"/>
                  </a:lnTo>
                  <a:lnTo>
                    <a:pt x="5569864" y="2400013"/>
                  </a:lnTo>
                  <a:close/>
                  <a:moveTo>
                    <a:pt x="7567558" y="2397917"/>
                  </a:moveTo>
                  <a:lnTo>
                    <a:pt x="7838669" y="2668329"/>
                  </a:lnTo>
                  <a:lnTo>
                    <a:pt x="7835875" y="2671124"/>
                  </a:lnTo>
                  <a:lnTo>
                    <a:pt x="7745737" y="2761960"/>
                  </a:lnTo>
                  <a:lnTo>
                    <a:pt x="7568257" y="2939440"/>
                  </a:lnTo>
                  <a:lnTo>
                    <a:pt x="7832381" y="2939440"/>
                  </a:lnTo>
                  <a:lnTo>
                    <a:pt x="7922518" y="2850001"/>
                  </a:lnTo>
                  <a:lnTo>
                    <a:pt x="8102793" y="2668329"/>
                  </a:lnTo>
                  <a:lnTo>
                    <a:pt x="7831682" y="2397917"/>
                  </a:lnTo>
                  <a:close/>
                  <a:moveTo>
                    <a:pt x="9484726" y="2397537"/>
                  </a:moveTo>
                  <a:lnTo>
                    <a:pt x="9755837" y="2667949"/>
                  </a:lnTo>
                  <a:lnTo>
                    <a:pt x="9485425" y="2939060"/>
                  </a:lnTo>
                  <a:lnTo>
                    <a:pt x="9749548" y="2939060"/>
                  </a:lnTo>
                  <a:lnTo>
                    <a:pt x="10019960" y="2667949"/>
                  </a:lnTo>
                  <a:lnTo>
                    <a:pt x="9748849" y="2397537"/>
                  </a:lnTo>
                  <a:close/>
                  <a:moveTo>
                    <a:pt x="8664579" y="2397219"/>
                  </a:moveTo>
                  <a:lnTo>
                    <a:pt x="8935690" y="2666932"/>
                  </a:lnTo>
                  <a:lnTo>
                    <a:pt x="8665278" y="2938043"/>
                  </a:lnTo>
                  <a:lnTo>
                    <a:pt x="8929401" y="2938043"/>
                  </a:lnTo>
                  <a:lnTo>
                    <a:pt x="9199813" y="2667631"/>
                  </a:lnTo>
                  <a:lnTo>
                    <a:pt x="8928703" y="2397219"/>
                  </a:lnTo>
                  <a:close/>
                  <a:moveTo>
                    <a:pt x="11131654" y="2396838"/>
                  </a:moveTo>
                  <a:lnTo>
                    <a:pt x="11403463" y="2667250"/>
                  </a:lnTo>
                  <a:lnTo>
                    <a:pt x="11133051" y="2938360"/>
                  </a:lnTo>
                  <a:lnTo>
                    <a:pt x="11396476" y="2938360"/>
                  </a:lnTo>
                  <a:lnTo>
                    <a:pt x="11666888" y="2667250"/>
                  </a:lnTo>
                  <a:lnTo>
                    <a:pt x="11532731" y="2533791"/>
                  </a:lnTo>
                  <a:lnTo>
                    <a:pt x="11395777" y="2396838"/>
                  </a:lnTo>
                  <a:close/>
                  <a:moveTo>
                    <a:pt x="10583143" y="2396838"/>
                  </a:moveTo>
                  <a:lnTo>
                    <a:pt x="10854254" y="2667250"/>
                  </a:lnTo>
                  <a:lnTo>
                    <a:pt x="10583842" y="2938360"/>
                  </a:lnTo>
                  <a:lnTo>
                    <a:pt x="10847965" y="2938360"/>
                  </a:lnTo>
                  <a:lnTo>
                    <a:pt x="11118377" y="2667250"/>
                  </a:lnTo>
                  <a:lnTo>
                    <a:pt x="10847267" y="2396838"/>
                  </a:lnTo>
                  <a:close/>
                  <a:moveTo>
                    <a:pt x="10033935" y="2396139"/>
                  </a:moveTo>
                  <a:lnTo>
                    <a:pt x="10165298" y="2527503"/>
                  </a:lnTo>
                  <a:lnTo>
                    <a:pt x="10305744" y="2667949"/>
                  </a:lnTo>
                  <a:lnTo>
                    <a:pt x="10036729" y="2937662"/>
                  </a:lnTo>
                  <a:lnTo>
                    <a:pt x="10233075" y="2937662"/>
                  </a:lnTo>
                  <a:lnTo>
                    <a:pt x="10232376" y="2939060"/>
                  </a:lnTo>
                  <a:lnTo>
                    <a:pt x="10299455" y="2939060"/>
                  </a:lnTo>
                  <a:lnTo>
                    <a:pt x="10569169" y="2667949"/>
                  </a:lnTo>
                  <a:lnTo>
                    <a:pt x="10433613" y="2533092"/>
                  </a:lnTo>
                  <a:lnTo>
                    <a:pt x="10415446" y="2514926"/>
                  </a:lnTo>
                  <a:lnTo>
                    <a:pt x="10298058" y="2398236"/>
                  </a:lnTo>
                  <a:lnTo>
                    <a:pt x="10229581" y="2398236"/>
                  </a:lnTo>
                  <a:lnTo>
                    <a:pt x="10230280" y="2396838"/>
                  </a:lnTo>
                  <a:close/>
                  <a:moveTo>
                    <a:pt x="9213788" y="2395821"/>
                  </a:moveTo>
                  <a:lnTo>
                    <a:pt x="9483119" y="2664456"/>
                  </a:lnTo>
                  <a:lnTo>
                    <a:pt x="9742561" y="2664456"/>
                  </a:lnTo>
                  <a:lnTo>
                    <a:pt x="9473232" y="2395821"/>
                  </a:lnTo>
                  <a:close/>
                  <a:moveTo>
                    <a:pt x="1255633" y="2130870"/>
                  </a:moveTo>
                  <a:lnTo>
                    <a:pt x="985221" y="2401981"/>
                  </a:lnTo>
                  <a:lnTo>
                    <a:pt x="1117282" y="2534042"/>
                  </a:lnTo>
                  <a:lnTo>
                    <a:pt x="1255633" y="2672393"/>
                  </a:lnTo>
                  <a:lnTo>
                    <a:pt x="1519757" y="2672393"/>
                  </a:lnTo>
                  <a:lnTo>
                    <a:pt x="1248646" y="2401981"/>
                  </a:lnTo>
                  <a:lnTo>
                    <a:pt x="1519757" y="2130870"/>
                  </a:lnTo>
                  <a:close/>
                  <a:moveTo>
                    <a:pt x="2351955" y="2130171"/>
                  </a:moveTo>
                  <a:lnTo>
                    <a:pt x="2171680" y="2311144"/>
                  </a:lnTo>
                  <a:lnTo>
                    <a:pt x="2170981" y="2311144"/>
                  </a:lnTo>
                  <a:lnTo>
                    <a:pt x="2081543" y="2400583"/>
                  </a:lnTo>
                  <a:lnTo>
                    <a:pt x="2215701" y="2534741"/>
                  </a:lnTo>
                  <a:lnTo>
                    <a:pt x="2352653" y="2670995"/>
                  </a:lnTo>
                  <a:lnTo>
                    <a:pt x="2616078" y="2670995"/>
                  </a:lnTo>
                  <a:lnTo>
                    <a:pt x="2344968" y="2400583"/>
                  </a:lnTo>
                  <a:lnTo>
                    <a:pt x="2346365" y="2399185"/>
                  </a:lnTo>
                  <a:lnTo>
                    <a:pt x="2347064" y="2399185"/>
                  </a:lnTo>
                  <a:lnTo>
                    <a:pt x="2615379" y="2130171"/>
                  </a:lnTo>
                  <a:close/>
                  <a:moveTo>
                    <a:pt x="1803445" y="2130171"/>
                  </a:moveTo>
                  <a:lnTo>
                    <a:pt x="1533032" y="2401282"/>
                  </a:lnTo>
                  <a:lnTo>
                    <a:pt x="1803445" y="2670995"/>
                  </a:lnTo>
                  <a:lnTo>
                    <a:pt x="2067568" y="2670995"/>
                  </a:lnTo>
                  <a:lnTo>
                    <a:pt x="1796458" y="2400583"/>
                  </a:lnTo>
                  <a:lnTo>
                    <a:pt x="1980924" y="2216115"/>
                  </a:lnTo>
                  <a:lnTo>
                    <a:pt x="1981623" y="2216115"/>
                  </a:lnTo>
                  <a:lnTo>
                    <a:pt x="2067568" y="2130171"/>
                  </a:lnTo>
                  <a:close/>
                  <a:moveTo>
                    <a:pt x="2900465" y="2129472"/>
                  </a:moveTo>
                  <a:lnTo>
                    <a:pt x="2630053" y="2400583"/>
                  </a:lnTo>
                  <a:lnTo>
                    <a:pt x="2901164" y="2670995"/>
                  </a:lnTo>
                  <a:lnTo>
                    <a:pt x="3165287" y="2670995"/>
                  </a:lnTo>
                  <a:lnTo>
                    <a:pt x="2894176" y="2400583"/>
                  </a:lnTo>
                  <a:lnTo>
                    <a:pt x="3164588" y="2129472"/>
                  </a:lnTo>
                  <a:close/>
                  <a:moveTo>
                    <a:pt x="3997486" y="2128074"/>
                  </a:moveTo>
                  <a:lnTo>
                    <a:pt x="3727074" y="2399185"/>
                  </a:lnTo>
                  <a:lnTo>
                    <a:pt x="3998184" y="2669597"/>
                  </a:lnTo>
                  <a:lnTo>
                    <a:pt x="4262309" y="2669597"/>
                  </a:lnTo>
                  <a:lnTo>
                    <a:pt x="3991197" y="2399185"/>
                  </a:lnTo>
                  <a:lnTo>
                    <a:pt x="4261609" y="2128074"/>
                  </a:lnTo>
                  <a:close/>
                  <a:moveTo>
                    <a:pt x="4545996" y="2127376"/>
                  </a:moveTo>
                  <a:lnTo>
                    <a:pt x="4275584" y="2398486"/>
                  </a:lnTo>
                  <a:lnTo>
                    <a:pt x="4545996" y="2668200"/>
                  </a:lnTo>
                  <a:lnTo>
                    <a:pt x="4808096" y="2668200"/>
                  </a:lnTo>
                  <a:lnTo>
                    <a:pt x="4660106" y="2520896"/>
                  </a:lnTo>
                  <a:lnTo>
                    <a:pt x="4660106" y="2518573"/>
                  </a:lnTo>
                  <a:lnTo>
                    <a:pt x="4539009" y="2397788"/>
                  </a:lnTo>
                  <a:lnTo>
                    <a:pt x="4660106" y="2276691"/>
                  </a:lnTo>
                  <a:lnTo>
                    <a:pt x="4660106" y="2272842"/>
                  </a:lnTo>
                  <a:lnTo>
                    <a:pt x="4805573" y="2127376"/>
                  </a:lnTo>
                  <a:close/>
                  <a:moveTo>
                    <a:pt x="5915740" y="2126108"/>
                  </a:moveTo>
                  <a:lnTo>
                    <a:pt x="5645327" y="2397219"/>
                  </a:lnTo>
                  <a:lnTo>
                    <a:pt x="5777388" y="2529280"/>
                  </a:lnTo>
                  <a:lnTo>
                    <a:pt x="5915740" y="2667631"/>
                  </a:lnTo>
                  <a:lnTo>
                    <a:pt x="6179863" y="2667631"/>
                  </a:lnTo>
                  <a:lnTo>
                    <a:pt x="5908752" y="2397219"/>
                  </a:lnTo>
                  <a:lnTo>
                    <a:pt x="6179863" y="2126108"/>
                  </a:lnTo>
                  <a:close/>
                  <a:moveTo>
                    <a:pt x="4821171" y="2126108"/>
                  </a:moveTo>
                  <a:lnTo>
                    <a:pt x="4731163" y="2216814"/>
                  </a:lnTo>
                  <a:lnTo>
                    <a:pt x="4553683" y="2394294"/>
                  </a:lnTo>
                  <a:lnTo>
                    <a:pt x="4813944" y="2394294"/>
                  </a:lnTo>
                  <a:lnTo>
                    <a:pt x="5080746" y="2126108"/>
                  </a:lnTo>
                  <a:close/>
                  <a:moveTo>
                    <a:pt x="7012061" y="2125409"/>
                  </a:moveTo>
                  <a:lnTo>
                    <a:pt x="6831786" y="2306383"/>
                  </a:lnTo>
                  <a:lnTo>
                    <a:pt x="6831088" y="2306383"/>
                  </a:lnTo>
                  <a:lnTo>
                    <a:pt x="6741650" y="2395821"/>
                  </a:lnTo>
                  <a:lnTo>
                    <a:pt x="6875807" y="2529979"/>
                  </a:lnTo>
                  <a:lnTo>
                    <a:pt x="7012759" y="2666233"/>
                  </a:lnTo>
                  <a:lnTo>
                    <a:pt x="7276184" y="2666233"/>
                  </a:lnTo>
                  <a:lnTo>
                    <a:pt x="7005075" y="2395821"/>
                  </a:lnTo>
                  <a:lnTo>
                    <a:pt x="7006471" y="2394423"/>
                  </a:lnTo>
                  <a:lnTo>
                    <a:pt x="7007170" y="2394423"/>
                  </a:lnTo>
                  <a:lnTo>
                    <a:pt x="7275485" y="2125409"/>
                  </a:lnTo>
                  <a:close/>
                  <a:moveTo>
                    <a:pt x="6463552" y="2125409"/>
                  </a:moveTo>
                  <a:lnTo>
                    <a:pt x="6193138" y="2396520"/>
                  </a:lnTo>
                  <a:lnTo>
                    <a:pt x="6463552" y="2666233"/>
                  </a:lnTo>
                  <a:lnTo>
                    <a:pt x="6727675" y="2666233"/>
                  </a:lnTo>
                  <a:lnTo>
                    <a:pt x="6456565" y="2395821"/>
                  </a:lnTo>
                  <a:lnTo>
                    <a:pt x="6641030" y="2211353"/>
                  </a:lnTo>
                  <a:lnTo>
                    <a:pt x="6641730" y="2211353"/>
                  </a:lnTo>
                  <a:lnTo>
                    <a:pt x="6727675" y="2125409"/>
                  </a:lnTo>
                  <a:close/>
                  <a:moveTo>
                    <a:pt x="7560571" y="2124710"/>
                  </a:moveTo>
                  <a:lnTo>
                    <a:pt x="7290159" y="2395821"/>
                  </a:lnTo>
                  <a:lnTo>
                    <a:pt x="7561270" y="2666233"/>
                  </a:lnTo>
                  <a:lnTo>
                    <a:pt x="7825393" y="2666233"/>
                  </a:lnTo>
                  <a:lnTo>
                    <a:pt x="7554282" y="2395821"/>
                  </a:lnTo>
                  <a:lnTo>
                    <a:pt x="7824694" y="2124710"/>
                  </a:lnTo>
                  <a:close/>
                  <a:moveTo>
                    <a:pt x="8657592" y="2123312"/>
                  </a:moveTo>
                  <a:lnTo>
                    <a:pt x="8387180" y="2394423"/>
                  </a:lnTo>
                  <a:lnTo>
                    <a:pt x="8658290" y="2664835"/>
                  </a:lnTo>
                  <a:lnTo>
                    <a:pt x="8922414" y="2664835"/>
                  </a:lnTo>
                  <a:lnTo>
                    <a:pt x="8651303" y="2394423"/>
                  </a:lnTo>
                  <a:lnTo>
                    <a:pt x="8921715" y="2123312"/>
                  </a:lnTo>
                  <a:close/>
                  <a:moveTo>
                    <a:pt x="10576156" y="2122933"/>
                  </a:moveTo>
                  <a:lnTo>
                    <a:pt x="10305744" y="2394044"/>
                  </a:lnTo>
                  <a:lnTo>
                    <a:pt x="10437805" y="2526105"/>
                  </a:lnTo>
                  <a:lnTo>
                    <a:pt x="10576156" y="2664456"/>
                  </a:lnTo>
                  <a:lnTo>
                    <a:pt x="10840280" y="2664456"/>
                  </a:lnTo>
                  <a:lnTo>
                    <a:pt x="10569169" y="2394044"/>
                  </a:lnTo>
                  <a:lnTo>
                    <a:pt x="10840280" y="2122933"/>
                  </a:lnTo>
                  <a:close/>
                  <a:moveTo>
                    <a:pt x="9479702" y="2122933"/>
                  </a:moveTo>
                  <a:lnTo>
                    <a:pt x="9391268" y="2212052"/>
                  </a:lnTo>
                  <a:lnTo>
                    <a:pt x="9213788" y="2389532"/>
                  </a:lnTo>
                  <a:lnTo>
                    <a:pt x="9475939" y="2389532"/>
                  </a:lnTo>
                  <a:lnTo>
                    <a:pt x="9741163" y="2122933"/>
                  </a:lnTo>
                  <a:close/>
                  <a:moveTo>
                    <a:pt x="9206102" y="2122614"/>
                  </a:moveTo>
                  <a:lnTo>
                    <a:pt x="8935690" y="2393724"/>
                  </a:lnTo>
                  <a:lnTo>
                    <a:pt x="9206102" y="2663438"/>
                  </a:lnTo>
                  <a:lnTo>
                    <a:pt x="9466918" y="2663438"/>
                  </a:lnTo>
                  <a:lnTo>
                    <a:pt x="9320523" y="2517721"/>
                  </a:lnTo>
                  <a:lnTo>
                    <a:pt x="9320523" y="2514122"/>
                  </a:lnTo>
                  <a:lnTo>
                    <a:pt x="9199115" y="2393026"/>
                  </a:lnTo>
                  <a:lnTo>
                    <a:pt x="9320523" y="2271618"/>
                  </a:lnTo>
                  <a:lnTo>
                    <a:pt x="9320523" y="2269668"/>
                  </a:lnTo>
                  <a:lnTo>
                    <a:pt x="9467576" y="2122614"/>
                  </a:lnTo>
                  <a:close/>
                  <a:moveTo>
                    <a:pt x="11672478" y="2122234"/>
                  </a:moveTo>
                  <a:lnTo>
                    <a:pt x="11492203" y="2303207"/>
                  </a:lnTo>
                  <a:lnTo>
                    <a:pt x="11491504" y="2303207"/>
                  </a:lnTo>
                  <a:lnTo>
                    <a:pt x="11402066" y="2392646"/>
                  </a:lnTo>
                  <a:lnTo>
                    <a:pt x="11536224" y="2526804"/>
                  </a:lnTo>
                  <a:lnTo>
                    <a:pt x="11673176" y="2663058"/>
                  </a:lnTo>
                  <a:lnTo>
                    <a:pt x="11936601" y="2663058"/>
                  </a:lnTo>
                  <a:lnTo>
                    <a:pt x="11665491" y="2392646"/>
                  </a:lnTo>
                  <a:lnTo>
                    <a:pt x="11666888" y="2391248"/>
                  </a:lnTo>
                  <a:lnTo>
                    <a:pt x="11667587" y="2391248"/>
                  </a:lnTo>
                  <a:lnTo>
                    <a:pt x="11935902" y="2122234"/>
                  </a:lnTo>
                  <a:close/>
                  <a:moveTo>
                    <a:pt x="11123968" y="2122234"/>
                  </a:moveTo>
                  <a:lnTo>
                    <a:pt x="10853555" y="2393345"/>
                  </a:lnTo>
                  <a:lnTo>
                    <a:pt x="11123968" y="2663058"/>
                  </a:lnTo>
                  <a:lnTo>
                    <a:pt x="11388091" y="2663058"/>
                  </a:lnTo>
                  <a:lnTo>
                    <a:pt x="11116981" y="2392646"/>
                  </a:lnTo>
                  <a:lnTo>
                    <a:pt x="11301447" y="2208178"/>
                  </a:lnTo>
                  <a:lnTo>
                    <a:pt x="11302146" y="2208178"/>
                  </a:lnTo>
                  <a:lnTo>
                    <a:pt x="11388091" y="2122234"/>
                  </a:lnTo>
                  <a:close/>
                  <a:moveTo>
                    <a:pt x="1261921" y="1856964"/>
                  </a:moveTo>
                  <a:lnTo>
                    <a:pt x="1262620" y="1857662"/>
                  </a:lnTo>
                  <a:lnTo>
                    <a:pt x="1263319" y="1857662"/>
                  </a:lnTo>
                  <a:lnTo>
                    <a:pt x="1532333" y="2126677"/>
                  </a:lnTo>
                  <a:lnTo>
                    <a:pt x="1261921" y="2397788"/>
                  </a:lnTo>
                  <a:lnTo>
                    <a:pt x="1526046" y="2397788"/>
                  </a:lnTo>
                  <a:lnTo>
                    <a:pt x="1796458" y="2126677"/>
                  </a:lnTo>
                  <a:lnTo>
                    <a:pt x="1791566" y="2121786"/>
                  </a:lnTo>
                  <a:lnTo>
                    <a:pt x="1526046" y="1856964"/>
                  </a:lnTo>
                  <a:close/>
                  <a:moveTo>
                    <a:pt x="164203" y="1856964"/>
                  </a:moveTo>
                  <a:lnTo>
                    <a:pt x="165601" y="1858361"/>
                  </a:lnTo>
                  <a:lnTo>
                    <a:pt x="434615" y="2127376"/>
                  </a:lnTo>
                  <a:lnTo>
                    <a:pt x="164203" y="2397089"/>
                  </a:lnTo>
                  <a:lnTo>
                    <a:pt x="428326" y="2397089"/>
                  </a:lnTo>
                  <a:lnTo>
                    <a:pt x="698738" y="2125979"/>
                  </a:lnTo>
                  <a:lnTo>
                    <a:pt x="695191" y="2122430"/>
                  </a:lnTo>
                  <a:lnTo>
                    <a:pt x="709860" y="2129472"/>
                  </a:lnTo>
                  <a:lnTo>
                    <a:pt x="705726" y="2129472"/>
                  </a:lnTo>
                  <a:lnTo>
                    <a:pt x="435314" y="2400583"/>
                  </a:lnTo>
                  <a:lnTo>
                    <a:pt x="706425" y="2670995"/>
                  </a:lnTo>
                  <a:lnTo>
                    <a:pt x="970548" y="2670995"/>
                  </a:lnTo>
                  <a:lnTo>
                    <a:pt x="699437" y="2400583"/>
                  </a:lnTo>
                  <a:lnTo>
                    <a:pt x="883903" y="2216115"/>
                  </a:lnTo>
                  <a:lnTo>
                    <a:pt x="969849" y="2130171"/>
                  </a:lnTo>
                  <a:lnTo>
                    <a:pt x="711316" y="2130171"/>
                  </a:lnTo>
                  <a:lnTo>
                    <a:pt x="709860" y="2129472"/>
                  </a:lnTo>
                  <a:lnTo>
                    <a:pt x="711316" y="2129472"/>
                  </a:lnTo>
                  <a:lnTo>
                    <a:pt x="693847" y="2121087"/>
                  </a:lnTo>
                  <a:lnTo>
                    <a:pt x="695191" y="2122430"/>
                  </a:lnTo>
                  <a:lnTo>
                    <a:pt x="693847" y="2121786"/>
                  </a:lnTo>
                  <a:lnTo>
                    <a:pt x="428326" y="1856964"/>
                  </a:lnTo>
                  <a:close/>
                  <a:moveTo>
                    <a:pt x="712014" y="1856265"/>
                  </a:moveTo>
                  <a:lnTo>
                    <a:pt x="983125" y="2125979"/>
                  </a:lnTo>
                  <a:lnTo>
                    <a:pt x="980330" y="2128773"/>
                  </a:lnTo>
                  <a:lnTo>
                    <a:pt x="890192" y="2219610"/>
                  </a:lnTo>
                  <a:lnTo>
                    <a:pt x="712713" y="2397089"/>
                  </a:lnTo>
                  <a:lnTo>
                    <a:pt x="976837" y="2397089"/>
                  </a:lnTo>
                  <a:lnTo>
                    <a:pt x="1066275" y="2307651"/>
                  </a:lnTo>
                  <a:lnTo>
                    <a:pt x="1247249" y="2126677"/>
                  </a:lnTo>
                  <a:lnTo>
                    <a:pt x="1114488" y="1994616"/>
                  </a:lnTo>
                  <a:lnTo>
                    <a:pt x="976138" y="1856265"/>
                  </a:lnTo>
                  <a:close/>
                  <a:moveTo>
                    <a:pt x="2359641" y="1855567"/>
                  </a:moveTo>
                  <a:lnTo>
                    <a:pt x="2489606" y="1985532"/>
                  </a:lnTo>
                  <a:lnTo>
                    <a:pt x="2630053" y="2125979"/>
                  </a:lnTo>
                  <a:lnTo>
                    <a:pt x="2359641" y="2397089"/>
                  </a:lnTo>
                  <a:lnTo>
                    <a:pt x="2623764" y="2397089"/>
                  </a:lnTo>
                  <a:lnTo>
                    <a:pt x="2894176" y="2125979"/>
                  </a:lnTo>
                  <a:lnTo>
                    <a:pt x="2623065" y="1855567"/>
                  </a:lnTo>
                  <a:close/>
                  <a:moveTo>
                    <a:pt x="1810432" y="1855567"/>
                  </a:moveTo>
                  <a:lnTo>
                    <a:pt x="2081543" y="2125979"/>
                  </a:lnTo>
                  <a:lnTo>
                    <a:pt x="2078748" y="2128773"/>
                  </a:lnTo>
                  <a:lnTo>
                    <a:pt x="1988611" y="2219610"/>
                  </a:lnTo>
                  <a:lnTo>
                    <a:pt x="1987912" y="2219610"/>
                  </a:lnTo>
                  <a:lnTo>
                    <a:pt x="1811131" y="2397089"/>
                  </a:lnTo>
                  <a:lnTo>
                    <a:pt x="2074555" y="2396391"/>
                  </a:lnTo>
                  <a:lnTo>
                    <a:pt x="2163994" y="2306952"/>
                  </a:lnTo>
                  <a:lnTo>
                    <a:pt x="2164693" y="2306952"/>
                  </a:lnTo>
                  <a:lnTo>
                    <a:pt x="2345666" y="2125979"/>
                  </a:lnTo>
                  <a:lnTo>
                    <a:pt x="2074555" y="1855567"/>
                  </a:lnTo>
                  <a:close/>
                  <a:moveTo>
                    <a:pt x="2907452" y="1854868"/>
                  </a:moveTo>
                  <a:lnTo>
                    <a:pt x="3178563" y="2125280"/>
                  </a:lnTo>
                  <a:lnTo>
                    <a:pt x="2908151" y="2396391"/>
                  </a:lnTo>
                  <a:lnTo>
                    <a:pt x="3172275" y="2396391"/>
                  </a:lnTo>
                  <a:lnTo>
                    <a:pt x="3442687" y="2125280"/>
                  </a:lnTo>
                  <a:lnTo>
                    <a:pt x="3171576" y="1854868"/>
                  </a:lnTo>
                  <a:close/>
                  <a:moveTo>
                    <a:pt x="4552984" y="1852771"/>
                  </a:moveTo>
                  <a:lnTo>
                    <a:pt x="4820022" y="2119120"/>
                  </a:lnTo>
                  <a:lnTo>
                    <a:pt x="5080746" y="2119120"/>
                  </a:lnTo>
                  <a:lnTo>
                    <a:pt x="4813709" y="1852771"/>
                  </a:lnTo>
                  <a:close/>
                  <a:moveTo>
                    <a:pt x="4004473" y="1852771"/>
                  </a:moveTo>
                  <a:lnTo>
                    <a:pt x="4005871" y="1854169"/>
                  </a:lnTo>
                  <a:lnTo>
                    <a:pt x="4274885" y="2123183"/>
                  </a:lnTo>
                  <a:lnTo>
                    <a:pt x="4004473" y="2394294"/>
                  </a:lnTo>
                  <a:lnTo>
                    <a:pt x="4268598" y="2394294"/>
                  </a:lnTo>
                  <a:lnTo>
                    <a:pt x="4539009" y="2123183"/>
                  </a:lnTo>
                  <a:lnTo>
                    <a:pt x="4534118" y="2118292"/>
                  </a:lnTo>
                  <a:lnTo>
                    <a:pt x="4268598" y="1852771"/>
                  </a:lnTo>
                  <a:close/>
                  <a:moveTo>
                    <a:pt x="5922027" y="1852202"/>
                  </a:moveTo>
                  <a:lnTo>
                    <a:pt x="5922727" y="1852900"/>
                  </a:lnTo>
                  <a:lnTo>
                    <a:pt x="5923425" y="1852900"/>
                  </a:lnTo>
                  <a:lnTo>
                    <a:pt x="6192439" y="2121915"/>
                  </a:lnTo>
                  <a:lnTo>
                    <a:pt x="5922027" y="2393026"/>
                  </a:lnTo>
                  <a:lnTo>
                    <a:pt x="6186152" y="2393026"/>
                  </a:lnTo>
                  <a:lnTo>
                    <a:pt x="6456565" y="2121915"/>
                  </a:lnTo>
                  <a:lnTo>
                    <a:pt x="6451672" y="2117024"/>
                  </a:lnTo>
                  <a:lnTo>
                    <a:pt x="6186152" y="1852202"/>
                  </a:lnTo>
                  <a:close/>
                  <a:moveTo>
                    <a:pt x="4824309" y="1852202"/>
                  </a:moveTo>
                  <a:lnTo>
                    <a:pt x="4825707" y="1853599"/>
                  </a:lnTo>
                  <a:lnTo>
                    <a:pt x="5094721" y="2122614"/>
                  </a:lnTo>
                  <a:lnTo>
                    <a:pt x="4824309" y="2392327"/>
                  </a:lnTo>
                  <a:lnTo>
                    <a:pt x="5088432" y="2392327"/>
                  </a:lnTo>
                  <a:lnTo>
                    <a:pt x="5358844" y="2121217"/>
                  </a:lnTo>
                  <a:lnTo>
                    <a:pt x="5355297" y="2117668"/>
                  </a:lnTo>
                  <a:lnTo>
                    <a:pt x="5369967" y="2124710"/>
                  </a:lnTo>
                  <a:lnTo>
                    <a:pt x="5365832" y="2124710"/>
                  </a:lnTo>
                  <a:lnTo>
                    <a:pt x="5095421" y="2395821"/>
                  </a:lnTo>
                  <a:lnTo>
                    <a:pt x="5366532" y="2666233"/>
                  </a:lnTo>
                  <a:lnTo>
                    <a:pt x="5630655" y="2666233"/>
                  </a:lnTo>
                  <a:lnTo>
                    <a:pt x="5359544" y="2395821"/>
                  </a:lnTo>
                  <a:lnTo>
                    <a:pt x="5544009" y="2211353"/>
                  </a:lnTo>
                  <a:lnTo>
                    <a:pt x="5629955" y="2125409"/>
                  </a:lnTo>
                  <a:lnTo>
                    <a:pt x="5371422" y="2125409"/>
                  </a:lnTo>
                  <a:lnTo>
                    <a:pt x="5369967" y="2124710"/>
                  </a:lnTo>
                  <a:lnTo>
                    <a:pt x="5371422" y="2124710"/>
                  </a:lnTo>
                  <a:lnTo>
                    <a:pt x="5353953" y="2116325"/>
                  </a:lnTo>
                  <a:lnTo>
                    <a:pt x="5355297" y="2117668"/>
                  </a:lnTo>
                  <a:lnTo>
                    <a:pt x="5353953" y="2117024"/>
                  </a:lnTo>
                  <a:lnTo>
                    <a:pt x="5088432" y="1852202"/>
                  </a:lnTo>
                  <a:close/>
                  <a:moveTo>
                    <a:pt x="5372120" y="1851503"/>
                  </a:moveTo>
                  <a:lnTo>
                    <a:pt x="5643231" y="2121217"/>
                  </a:lnTo>
                  <a:lnTo>
                    <a:pt x="5640436" y="2124011"/>
                  </a:lnTo>
                  <a:lnTo>
                    <a:pt x="5550298" y="2214848"/>
                  </a:lnTo>
                  <a:lnTo>
                    <a:pt x="5372819" y="2392327"/>
                  </a:lnTo>
                  <a:lnTo>
                    <a:pt x="5636944" y="2392327"/>
                  </a:lnTo>
                  <a:lnTo>
                    <a:pt x="5726382" y="2302889"/>
                  </a:lnTo>
                  <a:lnTo>
                    <a:pt x="5907355" y="2121915"/>
                  </a:lnTo>
                  <a:lnTo>
                    <a:pt x="5774594" y="1989854"/>
                  </a:lnTo>
                  <a:lnTo>
                    <a:pt x="5636244" y="1851503"/>
                  </a:lnTo>
                  <a:close/>
                  <a:moveTo>
                    <a:pt x="7019748" y="1850805"/>
                  </a:moveTo>
                  <a:lnTo>
                    <a:pt x="7149712" y="1980770"/>
                  </a:lnTo>
                  <a:lnTo>
                    <a:pt x="7290159" y="2121217"/>
                  </a:lnTo>
                  <a:lnTo>
                    <a:pt x="7019748" y="2392327"/>
                  </a:lnTo>
                  <a:lnTo>
                    <a:pt x="7283870" y="2392327"/>
                  </a:lnTo>
                  <a:lnTo>
                    <a:pt x="7554282" y="2121217"/>
                  </a:lnTo>
                  <a:lnTo>
                    <a:pt x="7283171" y="1850805"/>
                  </a:lnTo>
                  <a:close/>
                  <a:moveTo>
                    <a:pt x="6470538" y="1850805"/>
                  </a:moveTo>
                  <a:lnTo>
                    <a:pt x="6741650" y="2121217"/>
                  </a:lnTo>
                  <a:lnTo>
                    <a:pt x="6738854" y="2124011"/>
                  </a:lnTo>
                  <a:lnTo>
                    <a:pt x="6648717" y="2214848"/>
                  </a:lnTo>
                  <a:lnTo>
                    <a:pt x="6648019" y="2214848"/>
                  </a:lnTo>
                  <a:lnTo>
                    <a:pt x="6471238" y="2392327"/>
                  </a:lnTo>
                  <a:lnTo>
                    <a:pt x="6734661" y="2391629"/>
                  </a:lnTo>
                  <a:lnTo>
                    <a:pt x="6824100" y="2302190"/>
                  </a:lnTo>
                  <a:lnTo>
                    <a:pt x="6824799" y="2302190"/>
                  </a:lnTo>
                  <a:lnTo>
                    <a:pt x="7005773" y="2121217"/>
                  </a:lnTo>
                  <a:lnTo>
                    <a:pt x="6734661" y="1850805"/>
                  </a:lnTo>
                  <a:close/>
                  <a:moveTo>
                    <a:pt x="7567558" y="1850106"/>
                  </a:moveTo>
                  <a:lnTo>
                    <a:pt x="7838669" y="2120518"/>
                  </a:lnTo>
                  <a:lnTo>
                    <a:pt x="7568257" y="2391629"/>
                  </a:lnTo>
                  <a:lnTo>
                    <a:pt x="7832381" y="2391629"/>
                  </a:lnTo>
                  <a:lnTo>
                    <a:pt x="8102793" y="2120518"/>
                  </a:lnTo>
                  <a:lnTo>
                    <a:pt x="7831682" y="1850106"/>
                  </a:lnTo>
                  <a:close/>
                  <a:moveTo>
                    <a:pt x="10582444" y="1849027"/>
                  </a:moveTo>
                  <a:lnTo>
                    <a:pt x="10583143" y="1849725"/>
                  </a:lnTo>
                  <a:lnTo>
                    <a:pt x="10583842" y="1849725"/>
                  </a:lnTo>
                  <a:lnTo>
                    <a:pt x="10852856" y="2118740"/>
                  </a:lnTo>
                  <a:lnTo>
                    <a:pt x="10582444" y="2389851"/>
                  </a:lnTo>
                  <a:lnTo>
                    <a:pt x="10846569" y="2389851"/>
                  </a:lnTo>
                  <a:lnTo>
                    <a:pt x="11116981" y="2118740"/>
                  </a:lnTo>
                  <a:lnTo>
                    <a:pt x="11112089" y="2113849"/>
                  </a:lnTo>
                  <a:lnTo>
                    <a:pt x="10846569" y="1849027"/>
                  </a:lnTo>
                  <a:close/>
                  <a:moveTo>
                    <a:pt x="9484726" y="1849027"/>
                  </a:moveTo>
                  <a:lnTo>
                    <a:pt x="9486124" y="1850424"/>
                  </a:lnTo>
                  <a:lnTo>
                    <a:pt x="9755138" y="2119439"/>
                  </a:lnTo>
                  <a:lnTo>
                    <a:pt x="9484726" y="2389152"/>
                  </a:lnTo>
                  <a:lnTo>
                    <a:pt x="9748849" y="2389152"/>
                  </a:lnTo>
                  <a:lnTo>
                    <a:pt x="10019261" y="2118042"/>
                  </a:lnTo>
                  <a:lnTo>
                    <a:pt x="10015714" y="2114494"/>
                  </a:lnTo>
                  <a:lnTo>
                    <a:pt x="10030383" y="2121535"/>
                  </a:lnTo>
                  <a:lnTo>
                    <a:pt x="10026249" y="2121535"/>
                  </a:lnTo>
                  <a:lnTo>
                    <a:pt x="9755837" y="2392646"/>
                  </a:lnTo>
                  <a:lnTo>
                    <a:pt x="10026948" y="2663058"/>
                  </a:lnTo>
                  <a:lnTo>
                    <a:pt x="10291071" y="2663058"/>
                  </a:lnTo>
                  <a:lnTo>
                    <a:pt x="10019960" y="2392646"/>
                  </a:lnTo>
                  <a:lnTo>
                    <a:pt x="10204426" y="2208178"/>
                  </a:lnTo>
                  <a:lnTo>
                    <a:pt x="10290372" y="2122234"/>
                  </a:lnTo>
                  <a:lnTo>
                    <a:pt x="10031839" y="2122234"/>
                  </a:lnTo>
                  <a:lnTo>
                    <a:pt x="10030383" y="2121535"/>
                  </a:lnTo>
                  <a:lnTo>
                    <a:pt x="10031839" y="2121535"/>
                  </a:lnTo>
                  <a:lnTo>
                    <a:pt x="10014370" y="2113150"/>
                  </a:lnTo>
                  <a:lnTo>
                    <a:pt x="10015714" y="2114494"/>
                  </a:lnTo>
                  <a:lnTo>
                    <a:pt x="10014370" y="2113849"/>
                  </a:lnTo>
                  <a:lnTo>
                    <a:pt x="9748849" y="1849027"/>
                  </a:lnTo>
                  <a:close/>
                  <a:moveTo>
                    <a:pt x="10032537" y="1848328"/>
                  </a:moveTo>
                  <a:lnTo>
                    <a:pt x="10303648" y="2118042"/>
                  </a:lnTo>
                  <a:lnTo>
                    <a:pt x="10300853" y="2120836"/>
                  </a:lnTo>
                  <a:lnTo>
                    <a:pt x="10210715" y="2211673"/>
                  </a:lnTo>
                  <a:lnTo>
                    <a:pt x="10033236" y="2389152"/>
                  </a:lnTo>
                  <a:lnTo>
                    <a:pt x="10297360" y="2389152"/>
                  </a:lnTo>
                  <a:lnTo>
                    <a:pt x="10386798" y="2299714"/>
                  </a:lnTo>
                  <a:lnTo>
                    <a:pt x="10567772" y="2118740"/>
                  </a:lnTo>
                  <a:lnTo>
                    <a:pt x="10435011" y="1986679"/>
                  </a:lnTo>
                  <a:lnTo>
                    <a:pt x="10296661" y="1848328"/>
                  </a:lnTo>
                  <a:close/>
                  <a:moveTo>
                    <a:pt x="9213090" y="1848009"/>
                  </a:moveTo>
                  <a:lnTo>
                    <a:pt x="9481718" y="2115945"/>
                  </a:lnTo>
                  <a:lnTo>
                    <a:pt x="9741163" y="2115945"/>
                  </a:lnTo>
                  <a:lnTo>
                    <a:pt x="9472534" y="1848009"/>
                  </a:lnTo>
                  <a:close/>
                  <a:moveTo>
                    <a:pt x="8664579" y="1848009"/>
                  </a:moveTo>
                  <a:lnTo>
                    <a:pt x="8665977" y="1849407"/>
                  </a:lnTo>
                  <a:lnTo>
                    <a:pt x="8934991" y="2118421"/>
                  </a:lnTo>
                  <a:lnTo>
                    <a:pt x="8664579" y="2389532"/>
                  </a:lnTo>
                  <a:lnTo>
                    <a:pt x="8928703" y="2389532"/>
                  </a:lnTo>
                  <a:lnTo>
                    <a:pt x="9199115" y="2118421"/>
                  </a:lnTo>
                  <a:lnTo>
                    <a:pt x="9194224" y="2113530"/>
                  </a:lnTo>
                  <a:lnTo>
                    <a:pt x="8928703" y="1848009"/>
                  </a:lnTo>
                  <a:close/>
                  <a:moveTo>
                    <a:pt x="11130955" y="1847630"/>
                  </a:moveTo>
                  <a:lnTo>
                    <a:pt x="11402066" y="2118042"/>
                  </a:lnTo>
                  <a:lnTo>
                    <a:pt x="11399271" y="2120836"/>
                  </a:lnTo>
                  <a:lnTo>
                    <a:pt x="11309134" y="2211673"/>
                  </a:lnTo>
                  <a:lnTo>
                    <a:pt x="11308435" y="2211673"/>
                  </a:lnTo>
                  <a:lnTo>
                    <a:pt x="11131654" y="2389152"/>
                  </a:lnTo>
                  <a:lnTo>
                    <a:pt x="11395078" y="2388455"/>
                  </a:lnTo>
                  <a:lnTo>
                    <a:pt x="11484517" y="2299015"/>
                  </a:lnTo>
                  <a:lnTo>
                    <a:pt x="11485216" y="2299015"/>
                  </a:lnTo>
                  <a:lnTo>
                    <a:pt x="11666189" y="2118042"/>
                  </a:lnTo>
                  <a:lnTo>
                    <a:pt x="11395078" y="1847630"/>
                  </a:lnTo>
                  <a:close/>
                  <a:moveTo>
                    <a:pt x="705027" y="1582359"/>
                  </a:moveTo>
                  <a:lnTo>
                    <a:pt x="434615" y="1853470"/>
                  </a:lnTo>
                  <a:lnTo>
                    <a:pt x="705726" y="2123882"/>
                  </a:lnTo>
                  <a:lnTo>
                    <a:pt x="969849" y="2123882"/>
                  </a:lnTo>
                  <a:lnTo>
                    <a:pt x="698738" y="1853470"/>
                  </a:lnTo>
                  <a:lnTo>
                    <a:pt x="969150" y="1582359"/>
                  </a:lnTo>
                  <a:close/>
                  <a:moveTo>
                    <a:pt x="1802746" y="1581660"/>
                  </a:moveTo>
                  <a:lnTo>
                    <a:pt x="1532333" y="1852771"/>
                  </a:lnTo>
                  <a:lnTo>
                    <a:pt x="1803445" y="2123183"/>
                  </a:lnTo>
                  <a:lnTo>
                    <a:pt x="2067568" y="2123183"/>
                  </a:lnTo>
                  <a:lnTo>
                    <a:pt x="1796458" y="1852771"/>
                  </a:lnTo>
                  <a:lnTo>
                    <a:pt x="2066870" y="1581660"/>
                  </a:lnTo>
                  <a:close/>
                  <a:moveTo>
                    <a:pt x="1252838" y="1581660"/>
                  </a:moveTo>
                  <a:lnTo>
                    <a:pt x="983125" y="1852771"/>
                  </a:lnTo>
                  <a:lnTo>
                    <a:pt x="1183663" y="2053309"/>
                  </a:lnTo>
                  <a:lnTo>
                    <a:pt x="1254236" y="2123183"/>
                  </a:lnTo>
                  <a:lnTo>
                    <a:pt x="1322712" y="2123183"/>
                  </a:lnTo>
                  <a:lnTo>
                    <a:pt x="1322014" y="2124581"/>
                  </a:lnTo>
                  <a:lnTo>
                    <a:pt x="1519058" y="2124581"/>
                  </a:lnTo>
                  <a:lnTo>
                    <a:pt x="1247947" y="1854169"/>
                  </a:lnTo>
                  <a:lnTo>
                    <a:pt x="1248646" y="1853470"/>
                  </a:lnTo>
                  <a:lnTo>
                    <a:pt x="1246550" y="1852771"/>
                  </a:lnTo>
                  <a:lnTo>
                    <a:pt x="1516962" y="1581660"/>
                  </a:lnTo>
                  <a:close/>
                  <a:moveTo>
                    <a:pt x="2899766" y="1580961"/>
                  </a:moveTo>
                  <a:lnTo>
                    <a:pt x="2629354" y="1852072"/>
                  </a:lnTo>
                  <a:lnTo>
                    <a:pt x="2900465" y="2122484"/>
                  </a:lnTo>
                  <a:lnTo>
                    <a:pt x="3164588" y="2122484"/>
                  </a:lnTo>
                  <a:lnTo>
                    <a:pt x="2893477" y="1852072"/>
                  </a:lnTo>
                  <a:lnTo>
                    <a:pt x="3163889" y="1580961"/>
                  </a:lnTo>
                  <a:close/>
                  <a:moveTo>
                    <a:pt x="2351257" y="1580961"/>
                  </a:moveTo>
                  <a:lnTo>
                    <a:pt x="2080844" y="1852072"/>
                  </a:lnTo>
                  <a:lnTo>
                    <a:pt x="2351955" y="2122484"/>
                  </a:lnTo>
                  <a:lnTo>
                    <a:pt x="2615379" y="2122484"/>
                  </a:lnTo>
                  <a:lnTo>
                    <a:pt x="2485414" y="1992519"/>
                  </a:lnTo>
                  <a:lnTo>
                    <a:pt x="2344968" y="1852072"/>
                  </a:lnTo>
                  <a:lnTo>
                    <a:pt x="2615379" y="1580961"/>
                  </a:lnTo>
                  <a:close/>
                  <a:moveTo>
                    <a:pt x="3448276" y="1580263"/>
                  </a:moveTo>
                  <a:lnTo>
                    <a:pt x="3177864" y="1851373"/>
                  </a:lnTo>
                  <a:lnTo>
                    <a:pt x="3448975" y="2121087"/>
                  </a:lnTo>
                  <a:lnTo>
                    <a:pt x="3713099" y="2121087"/>
                  </a:lnTo>
                  <a:lnTo>
                    <a:pt x="3441988" y="1850676"/>
                  </a:lnTo>
                  <a:lnTo>
                    <a:pt x="3626455" y="1666208"/>
                  </a:lnTo>
                  <a:lnTo>
                    <a:pt x="3712400" y="1580263"/>
                  </a:lnTo>
                  <a:close/>
                  <a:moveTo>
                    <a:pt x="4545297" y="1578866"/>
                  </a:moveTo>
                  <a:lnTo>
                    <a:pt x="4274885" y="1849977"/>
                  </a:lnTo>
                  <a:lnTo>
                    <a:pt x="4545996" y="2119690"/>
                  </a:lnTo>
                  <a:lnTo>
                    <a:pt x="4807395" y="2119690"/>
                  </a:lnTo>
                  <a:lnTo>
                    <a:pt x="4676176" y="1989155"/>
                  </a:lnTo>
                  <a:lnTo>
                    <a:pt x="4660106" y="1973084"/>
                  </a:lnTo>
                  <a:lnTo>
                    <a:pt x="4660106" y="1970063"/>
                  </a:lnTo>
                  <a:lnTo>
                    <a:pt x="4539009" y="1849278"/>
                  </a:lnTo>
                  <a:lnTo>
                    <a:pt x="4660106" y="1728181"/>
                  </a:lnTo>
                  <a:lnTo>
                    <a:pt x="4660106" y="1724332"/>
                  </a:lnTo>
                  <a:lnTo>
                    <a:pt x="4805571" y="1578866"/>
                  </a:lnTo>
                  <a:close/>
                  <a:moveTo>
                    <a:pt x="4819782" y="1578296"/>
                  </a:moveTo>
                  <a:lnTo>
                    <a:pt x="4552984" y="1845784"/>
                  </a:lnTo>
                  <a:lnTo>
                    <a:pt x="4813254" y="1845784"/>
                  </a:lnTo>
                  <a:lnTo>
                    <a:pt x="5080048" y="1578296"/>
                  </a:lnTo>
                  <a:close/>
                  <a:moveTo>
                    <a:pt x="5365133" y="1577597"/>
                  </a:moveTo>
                  <a:lnTo>
                    <a:pt x="5094721" y="1848708"/>
                  </a:lnTo>
                  <a:lnTo>
                    <a:pt x="5365832" y="2119120"/>
                  </a:lnTo>
                  <a:lnTo>
                    <a:pt x="5629955" y="2119120"/>
                  </a:lnTo>
                  <a:lnTo>
                    <a:pt x="5358844" y="1848708"/>
                  </a:lnTo>
                  <a:lnTo>
                    <a:pt x="5629256" y="1577597"/>
                  </a:lnTo>
                  <a:close/>
                  <a:moveTo>
                    <a:pt x="6462852" y="1576898"/>
                  </a:moveTo>
                  <a:lnTo>
                    <a:pt x="6192439" y="1848009"/>
                  </a:lnTo>
                  <a:lnTo>
                    <a:pt x="6463552" y="2118421"/>
                  </a:lnTo>
                  <a:lnTo>
                    <a:pt x="6727675" y="2118421"/>
                  </a:lnTo>
                  <a:lnTo>
                    <a:pt x="6456565" y="1848009"/>
                  </a:lnTo>
                  <a:lnTo>
                    <a:pt x="6726977" y="1576898"/>
                  </a:lnTo>
                  <a:close/>
                  <a:moveTo>
                    <a:pt x="5912945" y="1576898"/>
                  </a:moveTo>
                  <a:lnTo>
                    <a:pt x="5643231" y="1848009"/>
                  </a:lnTo>
                  <a:lnTo>
                    <a:pt x="5843769" y="2048547"/>
                  </a:lnTo>
                  <a:lnTo>
                    <a:pt x="5914342" y="2118421"/>
                  </a:lnTo>
                  <a:lnTo>
                    <a:pt x="5982819" y="2118421"/>
                  </a:lnTo>
                  <a:lnTo>
                    <a:pt x="5982120" y="2119819"/>
                  </a:lnTo>
                  <a:lnTo>
                    <a:pt x="6179165" y="2119819"/>
                  </a:lnTo>
                  <a:lnTo>
                    <a:pt x="5908054" y="1849407"/>
                  </a:lnTo>
                  <a:lnTo>
                    <a:pt x="5908752" y="1848708"/>
                  </a:lnTo>
                  <a:lnTo>
                    <a:pt x="5906656" y="1848009"/>
                  </a:lnTo>
                  <a:lnTo>
                    <a:pt x="6177068" y="1576898"/>
                  </a:lnTo>
                  <a:close/>
                  <a:moveTo>
                    <a:pt x="7559872" y="1576199"/>
                  </a:moveTo>
                  <a:lnTo>
                    <a:pt x="7289460" y="1847310"/>
                  </a:lnTo>
                  <a:lnTo>
                    <a:pt x="7560571" y="2117722"/>
                  </a:lnTo>
                  <a:lnTo>
                    <a:pt x="7824694" y="2117722"/>
                  </a:lnTo>
                  <a:lnTo>
                    <a:pt x="7553583" y="1847310"/>
                  </a:lnTo>
                  <a:lnTo>
                    <a:pt x="7823995" y="1576199"/>
                  </a:lnTo>
                  <a:close/>
                  <a:moveTo>
                    <a:pt x="7011363" y="1576199"/>
                  </a:moveTo>
                  <a:lnTo>
                    <a:pt x="6740950" y="1847310"/>
                  </a:lnTo>
                  <a:lnTo>
                    <a:pt x="7012061" y="2117722"/>
                  </a:lnTo>
                  <a:lnTo>
                    <a:pt x="7275485" y="2117722"/>
                  </a:lnTo>
                  <a:lnTo>
                    <a:pt x="7145521" y="1987757"/>
                  </a:lnTo>
                  <a:lnTo>
                    <a:pt x="7005075" y="1847310"/>
                  </a:lnTo>
                  <a:lnTo>
                    <a:pt x="7275485" y="1576199"/>
                  </a:lnTo>
                  <a:close/>
                  <a:moveTo>
                    <a:pt x="8108382" y="1575501"/>
                  </a:moveTo>
                  <a:lnTo>
                    <a:pt x="7837970" y="1846611"/>
                  </a:lnTo>
                  <a:lnTo>
                    <a:pt x="8109081" y="2116325"/>
                  </a:lnTo>
                  <a:lnTo>
                    <a:pt x="8373205" y="2116325"/>
                  </a:lnTo>
                  <a:lnTo>
                    <a:pt x="8102094" y="1845914"/>
                  </a:lnTo>
                  <a:lnTo>
                    <a:pt x="8286561" y="1661446"/>
                  </a:lnTo>
                  <a:lnTo>
                    <a:pt x="8372506" y="1575501"/>
                  </a:lnTo>
                  <a:close/>
                  <a:moveTo>
                    <a:pt x="9478306" y="1575121"/>
                  </a:moveTo>
                  <a:lnTo>
                    <a:pt x="9213090" y="1841022"/>
                  </a:lnTo>
                  <a:lnTo>
                    <a:pt x="9475254" y="1841022"/>
                  </a:lnTo>
                  <a:lnTo>
                    <a:pt x="9740464" y="1575121"/>
                  </a:lnTo>
                  <a:close/>
                  <a:moveTo>
                    <a:pt x="10025550" y="1574422"/>
                  </a:moveTo>
                  <a:lnTo>
                    <a:pt x="9755138" y="1845533"/>
                  </a:lnTo>
                  <a:lnTo>
                    <a:pt x="10026249" y="2115945"/>
                  </a:lnTo>
                  <a:lnTo>
                    <a:pt x="10290372" y="2115945"/>
                  </a:lnTo>
                  <a:lnTo>
                    <a:pt x="10019261" y="1845533"/>
                  </a:lnTo>
                  <a:lnTo>
                    <a:pt x="10289673" y="1574422"/>
                  </a:lnTo>
                  <a:close/>
                  <a:moveTo>
                    <a:pt x="9205403" y="1574104"/>
                  </a:moveTo>
                  <a:lnTo>
                    <a:pt x="8934991" y="1845215"/>
                  </a:lnTo>
                  <a:lnTo>
                    <a:pt x="9206102" y="2114928"/>
                  </a:lnTo>
                  <a:lnTo>
                    <a:pt x="9466216" y="2114928"/>
                  </a:lnTo>
                  <a:lnTo>
                    <a:pt x="9336593" y="1985980"/>
                  </a:lnTo>
                  <a:lnTo>
                    <a:pt x="9320523" y="1969909"/>
                  </a:lnTo>
                  <a:lnTo>
                    <a:pt x="9320523" y="1965612"/>
                  </a:lnTo>
                  <a:lnTo>
                    <a:pt x="9199115" y="1844516"/>
                  </a:lnTo>
                  <a:lnTo>
                    <a:pt x="9320523" y="1723108"/>
                  </a:lnTo>
                  <a:lnTo>
                    <a:pt x="9320523" y="1721157"/>
                  </a:lnTo>
                  <a:lnTo>
                    <a:pt x="9467575" y="1574104"/>
                  </a:lnTo>
                  <a:close/>
                  <a:moveTo>
                    <a:pt x="11123269" y="1573723"/>
                  </a:moveTo>
                  <a:lnTo>
                    <a:pt x="10852856" y="1844834"/>
                  </a:lnTo>
                  <a:lnTo>
                    <a:pt x="11123968" y="2115246"/>
                  </a:lnTo>
                  <a:lnTo>
                    <a:pt x="11388091" y="2115246"/>
                  </a:lnTo>
                  <a:lnTo>
                    <a:pt x="11116981" y="1844834"/>
                  </a:lnTo>
                  <a:lnTo>
                    <a:pt x="11387393" y="1573723"/>
                  </a:lnTo>
                  <a:close/>
                  <a:moveTo>
                    <a:pt x="10573361" y="1573723"/>
                  </a:moveTo>
                  <a:lnTo>
                    <a:pt x="10303648" y="1844834"/>
                  </a:lnTo>
                  <a:lnTo>
                    <a:pt x="10504186" y="2045372"/>
                  </a:lnTo>
                  <a:lnTo>
                    <a:pt x="10574759" y="2115246"/>
                  </a:lnTo>
                  <a:lnTo>
                    <a:pt x="10643235" y="2115246"/>
                  </a:lnTo>
                  <a:lnTo>
                    <a:pt x="10642537" y="2116644"/>
                  </a:lnTo>
                  <a:lnTo>
                    <a:pt x="10839581" y="2116644"/>
                  </a:lnTo>
                  <a:lnTo>
                    <a:pt x="10568470" y="1846232"/>
                  </a:lnTo>
                  <a:lnTo>
                    <a:pt x="10569169" y="1845533"/>
                  </a:lnTo>
                  <a:lnTo>
                    <a:pt x="10567073" y="1844834"/>
                  </a:lnTo>
                  <a:lnTo>
                    <a:pt x="10837485" y="1573723"/>
                  </a:lnTo>
                  <a:close/>
                  <a:moveTo>
                    <a:pt x="11671780" y="1573024"/>
                  </a:moveTo>
                  <a:lnTo>
                    <a:pt x="11401367" y="1844135"/>
                  </a:lnTo>
                  <a:lnTo>
                    <a:pt x="11672478" y="2114547"/>
                  </a:lnTo>
                  <a:lnTo>
                    <a:pt x="11935902" y="2114547"/>
                  </a:lnTo>
                  <a:lnTo>
                    <a:pt x="11805937" y="1984582"/>
                  </a:lnTo>
                  <a:lnTo>
                    <a:pt x="11665491" y="1844135"/>
                  </a:lnTo>
                  <a:lnTo>
                    <a:pt x="11935902" y="1573024"/>
                  </a:lnTo>
                  <a:close/>
                  <a:moveTo>
                    <a:pt x="164203" y="1308454"/>
                  </a:moveTo>
                  <a:lnTo>
                    <a:pt x="294168" y="1438419"/>
                  </a:lnTo>
                  <a:lnTo>
                    <a:pt x="434615" y="1578866"/>
                  </a:lnTo>
                  <a:lnTo>
                    <a:pt x="164203" y="1849977"/>
                  </a:lnTo>
                  <a:lnTo>
                    <a:pt x="428326" y="1849977"/>
                  </a:lnTo>
                  <a:lnTo>
                    <a:pt x="698738" y="1578866"/>
                  </a:lnTo>
                  <a:lnTo>
                    <a:pt x="427627" y="1308454"/>
                  </a:lnTo>
                  <a:close/>
                  <a:moveTo>
                    <a:pt x="1809733" y="1307755"/>
                  </a:moveTo>
                  <a:lnTo>
                    <a:pt x="2080844" y="1578167"/>
                  </a:lnTo>
                  <a:lnTo>
                    <a:pt x="1810432" y="1848579"/>
                  </a:lnTo>
                  <a:lnTo>
                    <a:pt x="2074555" y="1848579"/>
                  </a:lnTo>
                  <a:lnTo>
                    <a:pt x="2344968" y="1578167"/>
                  </a:lnTo>
                  <a:lnTo>
                    <a:pt x="2073856" y="1307755"/>
                  </a:lnTo>
                  <a:close/>
                  <a:moveTo>
                    <a:pt x="712014" y="1307755"/>
                  </a:moveTo>
                  <a:lnTo>
                    <a:pt x="983125" y="1578167"/>
                  </a:lnTo>
                  <a:lnTo>
                    <a:pt x="712713" y="1849278"/>
                  </a:lnTo>
                  <a:lnTo>
                    <a:pt x="976837" y="1849278"/>
                  </a:lnTo>
                  <a:lnTo>
                    <a:pt x="1247249" y="1578167"/>
                  </a:lnTo>
                  <a:lnTo>
                    <a:pt x="976138" y="1307755"/>
                  </a:lnTo>
                  <a:close/>
                  <a:moveTo>
                    <a:pt x="2358243" y="1307056"/>
                  </a:moveTo>
                  <a:lnTo>
                    <a:pt x="2629354" y="1577468"/>
                  </a:lnTo>
                  <a:lnTo>
                    <a:pt x="2359641" y="1848579"/>
                  </a:lnTo>
                  <a:lnTo>
                    <a:pt x="2623065" y="1848579"/>
                  </a:lnTo>
                  <a:lnTo>
                    <a:pt x="2893477" y="1577468"/>
                  </a:lnTo>
                  <a:lnTo>
                    <a:pt x="2759320" y="1444009"/>
                  </a:lnTo>
                  <a:lnTo>
                    <a:pt x="2622367" y="1307056"/>
                  </a:lnTo>
                  <a:close/>
                  <a:moveTo>
                    <a:pt x="2906754" y="1306358"/>
                  </a:moveTo>
                  <a:lnTo>
                    <a:pt x="2908151" y="1307755"/>
                  </a:lnTo>
                  <a:lnTo>
                    <a:pt x="3177864" y="1576769"/>
                  </a:lnTo>
                  <a:lnTo>
                    <a:pt x="2907452" y="1847181"/>
                  </a:lnTo>
                  <a:lnTo>
                    <a:pt x="3171576" y="1847181"/>
                  </a:lnTo>
                  <a:lnTo>
                    <a:pt x="3441988" y="1576769"/>
                  </a:lnTo>
                  <a:lnTo>
                    <a:pt x="3436398" y="1571878"/>
                  </a:lnTo>
                  <a:lnTo>
                    <a:pt x="3170877" y="1306358"/>
                  </a:lnTo>
                  <a:close/>
                  <a:moveTo>
                    <a:pt x="1525347" y="1306358"/>
                  </a:moveTo>
                  <a:lnTo>
                    <a:pt x="1523949" y="1307056"/>
                  </a:lnTo>
                  <a:lnTo>
                    <a:pt x="1259826" y="1307056"/>
                  </a:lnTo>
                  <a:lnTo>
                    <a:pt x="1530937" y="1577468"/>
                  </a:lnTo>
                  <a:lnTo>
                    <a:pt x="1526744" y="1581660"/>
                  </a:lnTo>
                  <a:lnTo>
                    <a:pt x="1532333" y="1578866"/>
                  </a:lnTo>
                  <a:lnTo>
                    <a:pt x="1261921" y="1849977"/>
                  </a:lnTo>
                  <a:lnTo>
                    <a:pt x="1526046" y="1849977"/>
                  </a:lnTo>
                  <a:lnTo>
                    <a:pt x="1796458" y="1578866"/>
                  </a:lnTo>
                  <a:lnTo>
                    <a:pt x="1525347" y="1308454"/>
                  </a:lnTo>
                  <a:close/>
                  <a:moveTo>
                    <a:pt x="3454565" y="1305659"/>
                  </a:moveTo>
                  <a:lnTo>
                    <a:pt x="3725676" y="1576071"/>
                  </a:lnTo>
                  <a:lnTo>
                    <a:pt x="3722882" y="1578866"/>
                  </a:lnTo>
                  <a:lnTo>
                    <a:pt x="3632744" y="1669701"/>
                  </a:lnTo>
                  <a:lnTo>
                    <a:pt x="3455264" y="1846482"/>
                  </a:lnTo>
                  <a:lnTo>
                    <a:pt x="3719387" y="1846482"/>
                  </a:lnTo>
                  <a:lnTo>
                    <a:pt x="3808826" y="1757044"/>
                  </a:lnTo>
                  <a:lnTo>
                    <a:pt x="3989799" y="1576071"/>
                  </a:lnTo>
                  <a:lnTo>
                    <a:pt x="3718688" y="1305659"/>
                  </a:lnTo>
                  <a:close/>
                  <a:moveTo>
                    <a:pt x="4813703" y="1304267"/>
                  </a:moveTo>
                  <a:lnTo>
                    <a:pt x="4551587" y="1304960"/>
                  </a:lnTo>
                  <a:lnTo>
                    <a:pt x="4819301" y="1570610"/>
                  </a:lnTo>
                  <a:lnTo>
                    <a:pt x="5080048" y="1570610"/>
                  </a:lnTo>
                  <a:lnTo>
                    <a:pt x="4950082" y="1440645"/>
                  </a:lnTo>
                  <a:close/>
                  <a:moveTo>
                    <a:pt x="4824309" y="1303692"/>
                  </a:moveTo>
                  <a:lnTo>
                    <a:pt x="4954274" y="1433657"/>
                  </a:lnTo>
                  <a:lnTo>
                    <a:pt x="5094721" y="1574104"/>
                  </a:lnTo>
                  <a:lnTo>
                    <a:pt x="4824309" y="1845215"/>
                  </a:lnTo>
                  <a:lnTo>
                    <a:pt x="5088432" y="1845215"/>
                  </a:lnTo>
                  <a:lnTo>
                    <a:pt x="5358844" y="1574104"/>
                  </a:lnTo>
                  <a:lnTo>
                    <a:pt x="5087733" y="1303692"/>
                  </a:lnTo>
                  <a:close/>
                  <a:moveTo>
                    <a:pt x="6469839" y="1302993"/>
                  </a:moveTo>
                  <a:lnTo>
                    <a:pt x="6740950" y="1573405"/>
                  </a:lnTo>
                  <a:lnTo>
                    <a:pt x="6470538" y="1843817"/>
                  </a:lnTo>
                  <a:lnTo>
                    <a:pt x="6734661" y="1843817"/>
                  </a:lnTo>
                  <a:lnTo>
                    <a:pt x="7005075" y="1573405"/>
                  </a:lnTo>
                  <a:lnTo>
                    <a:pt x="6733962" y="1302993"/>
                  </a:lnTo>
                  <a:close/>
                  <a:moveTo>
                    <a:pt x="5372120" y="1302993"/>
                  </a:moveTo>
                  <a:lnTo>
                    <a:pt x="5643231" y="1573405"/>
                  </a:lnTo>
                  <a:lnTo>
                    <a:pt x="5372819" y="1844516"/>
                  </a:lnTo>
                  <a:lnTo>
                    <a:pt x="5636944" y="1844516"/>
                  </a:lnTo>
                  <a:lnTo>
                    <a:pt x="5907355" y="1573405"/>
                  </a:lnTo>
                  <a:lnTo>
                    <a:pt x="5636244" y="1302993"/>
                  </a:lnTo>
                  <a:close/>
                  <a:moveTo>
                    <a:pt x="7018349" y="1302294"/>
                  </a:moveTo>
                  <a:lnTo>
                    <a:pt x="7289460" y="1572706"/>
                  </a:lnTo>
                  <a:lnTo>
                    <a:pt x="7019748" y="1843817"/>
                  </a:lnTo>
                  <a:lnTo>
                    <a:pt x="7283171" y="1843817"/>
                  </a:lnTo>
                  <a:lnTo>
                    <a:pt x="7553583" y="1572706"/>
                  </a:lnTo>
                  <a:lnTo>
                    <a:pt x="7419426" y="1439247"/>
                  </a:lnTo>
                  <a:lnTo>
                    <a:pt x="7282473" y="1302294"/>
                  </a:lnTo>
                  <a:close/>
                  <a:moveTo>
                    <a:pt x="7566860" y="1301596"/>
                  </a:moveTo>
                  <a:lnTo>
                    <a:pt x="7568257" y="1302993"/>
                  </a:lnTo>
                  <a:lnTo>
                    <a:pt x="7837970" y="1572007"/>
                  </a:lnTo>
                  <a:lnTo>
                    <a:pt x="7567558" y="1842419"/>
                  </a:lnTo>
                  <a:lnTo>
                    <a:pt x="7831682" y="1842419"/>
                  </a:lnTo>
                  <a:lnTo>
                    <a:pt x="8102094" y="1572007"/>
                  </a:lnTo>
                  <a:lnTo>
                    <a:pt x="8096504" y="1567116"/>
                  </a:lnTo>
                  <a:lnTo>
                    <a:pt x="7830983" y="1301596"/>
                  </a:lnTo>
                  <a:close/>
                  <a:moveTo>
                    <a:pt x="6185454" y="1301596"/>
                  </a:moveTo>
                  <a:lnTo>
                    <a:pt x="6184056" y="1302294"/>
                  </a:lnTo>
                  <a:lnTo>
                    <a:pt x="5919933" y="1302294"/>
                  </a:lnTo>
                  <a:lnTo>
                    <a:pt x="6191043" y="1572706"/>
                  </a:lnTo>
                  <a:lnTo>
                    <a:pt x="6186850" y="1576898"/>
                  </a:lnTo>
                  <a:lnTo>
                    <a:pt x="6192439" y="1574104"/>
                  </a:lnTo>
                  <a:lnTo>
                    <a:pt x="5922027" y="1845215"/>
                  </a:lnTo>
                  <a:lnTo>
                    <a:pt x="6186152" y="1845215"/>
                  </a:lnTo>
                  <a:lnTo>
                    <a:pt x="6456565" y="1574104"/>
                  </a:lnTo>
                  <a:lnTo>
                    <a:pt x="6185454" y="1303692"/>
                  </a:lnTo>
                  <a:close/>
                  <a:moveTo>
                    <a:pt x="8114671" y="1300897"/>
                  </a:moveTo>
                  <a:lnTo>
                    <a:pt x="8385782" y="1571309"/>
                  </a:lnTo>
                  <a:lnTo>
                    <a:pt x="8382988" y="1574104"/>
                  </a:lnTo>
                  <a:lnTo>
                    <a:pt x="8292850" y="1664939"/>
                  </a:lnTo>
                  <a:lnTo>
                    <a:pt x="8115370" y="1841720"/>
                  </a:lnTo>
                  <a:lnTo>
                    <a:pt x="8379493" y="1841720"/>
                  </a:lnTo>
                  <a:lnTo>
                    <a:pt x="8468932" y="1752282"/>
                  </a:lnTo>
                  <a:lnTo>
                    <a:pt x="8649905" y="1571309"/>
                  </a:lnTo>
                  <a:lnTo>
                    <a:pt x="8378794" y="1300897"/>
                  </a:lnTo>
                  <a:close/>
                  <a:moveTo>
                    <a:pt x="9484726" y="1300517"/>
                  </a:moveTo>
                  <a:lnTo>
                    <a:pt x="9614691" y="1430482"/>
                  </a:lnTo>
                  <a:lnTo>
                    <a:pt x="9755138" y="1570929"/>
                  </a:lnTo>
                  <a:lnTo>
                    <a:pt x="9484726" y="1842040"/>
                  </a:lnTo>
                  <a:lnTo>
                    <a:pt x="9748849" y="1842040"/>
                  </a:lnTo>
                  <a:lnTo>
                    <a:pt x="10019261" y="1570929"/>
                  </a:lnTo>
                  <a:lnTo>
                    <a:pt x="9748150" y="1300517"/>
                  </a:lnTo>
                  <a:close/>
                  <a:moveTo>
                    <a:pt x="11130256" y="1299818"/>
                  </a:moveTo>
                  <a:lnTo>
                    <a:pt x="11401367" y="1570230"/>
                  </a:lnTo>
                  <a:lnTo>
                    <a:pt x="11130955" y="1840642"/>
                  </a:lnTo>
                  <a:lnTo>
                    <a:pt x="11395078" y="1840642"/>
                  </a:lnTo>
                  <a:lnTo>
                    <a:pt x="11665491" y="1570230"/>
                  </a:lnTo>
                  <a:lnTo>
                    <a:pt x="11394379" y="1299818"/>
                  </a:lnTo>
                  <a:close/>
                  <a:moveTo>
                    <a:pt x="10032537" y="1299818"/>
                  </a:moveTo>
                  <a:lnTo>
                    <a:pt x="10303648" y="1570230"/>
                  </a:lnTo>
                  <a:lnTo>
                    <a:pt x="10033236" y="1841341"/>
                  </a:lnTo>
                  <a:lnTo>
                    <a:pt x="10297360" y="1841341"/>
                  </a:lnTo>
                  <a:lnTo>
                    <a:pt x="10567772" y="1570230"/>
                  </a:lnTo>
                  <a:lnTo>
                    <a:pt x="10296661" y="1299818"/>
                  </a:lnTo>
                  <a:close/>
                  <a:moveTo>
                    <a:pt x="9472537" y="1299508"/>
                  </a:moveTo>
                  <a:lnTo>
                    <a:pt x="9211692" y="1300198"/>
                  </a:lnTo>
                  <a:lnTo>
                    <a:pt x="9481007" y="1567435"/>
                  </a:lnTo>
                  <a:lnTo>
                    <a:pt x="9740464" y="1567435"/>
                  </a:lnTo>
                  <a:lnTo>
                    <a:pt x="9610499" y="1437470"/>
                  </a:lnTo>
                  <a:close/>
                  <a:moveTo>
                    <a:pt x="10845870" y="1298421"/>
                  </a:moveTo>
                  <a:lnTo>
                    <a:pt x="10844472" y="1299119"/>
                  </a:lnTo>
                  <a:lnTo>
                    <a:pt x="10580349" y="1299119"/>
                  </a:lnTo>
                  <a:lnTo>
                    <a:pt x="10851460" y="1569531"/>
                  </a:lnTo>
                  <a:lnTo>
                    <a:pt x="10847267" y="1573723"/>
                  </a:lnTo>
                  <a:lnTo>
                    <a:pt x="10852856" y="1570929"/>
                  </a:lnTo>
                  <a:lnTo>
                    <a:pt x="10582444" y="1842040"/>
                  </a:lnTo>
                  <a:lnTo>
                    <a:pt x="10846569" y="1842040"/>
                  </a:lnTo>
                  <a:lnTo>
                    <a:pt x="11116981" y="1570929"/>
                  </a:lnTo>
                  <a:lnTo>
                    <a:pt x="10845870" y="1300517"/>
                  </a:lnTo>
                  <a:close/>
                  <a:moveTo>
                    <a:pt x="1802048" y="1033150"/>
                  </a:moveTo>
                  <a:lnTo>
                    <a:pt x="1531636" y="1304261"/>
                  </a:lnTo>
                  <a:lnTo>
                    <a:pt x="1802746" y="1574673"/>
                  </a:lnTo>
                  <a:lnTo>
                    <a:pt x="2066870" y="1574673"/>
                  </a:lnTo>
                  <a:lnTo>
                    <a:pt x="1795759" y="1304261"/>
                  </a:lnTo>
                  <a:lnTo>
                    <a:pt x="2066171" y="1033150"/>
                  </a:lnTo>
                  <a:close/>
                  <a:moveTo>
                    <a:pt x="704328" y="1033150"/>
                  </a:moveTo>
                  <a:lnTo>
                    <a:pt x="433916" y="1304261"/>
                  </a:lnTo>
                  <a:lnTo>
                    <a:pt x="705027" y="1574673"/>
                  </a:lnTo>
                  <a:lnTo>
                    <a:pt x="969150" y="1574673"/>
                  </a:lnTo>
                  <a:lnTo>
                    <a:pt x="698039" y="1304261"/>
                  </a:lnTo>
                  <a:lnTo>
                    <a:pt x="967752" y="1033150"/>
                  </a:lnTo>
                  <a:close/>
                  <a:moveTo>
                    <a:pt x="2899067" y="1032451"/>
                  </a:moveTo>
                  <a:lnTo>
                    <a:pt x="2718793" y="1212727"/>
                  </a:lnTo>
                  <a:lnTo>
                    <a:pt x="2629354" y="1302864"/>
                  </a:lnTo>
                  <a:lnTo>
                    <a:pt x="2763512" y="1436323"/>
                  </a:lnTo>
                  <a:lnTo>
                    <a:pt x="2900465" y="1573275"/>
                  </a:lnTo>
                  <a:lnTo>
                    <a:pt x="3164588" y="1573275"/>
                  </a:lnTo>
                  <a:lnTo>
                    <a:pt x="2893477" y="1302864"/>
                  </a:lnTo>
                  <a:lnTo>
                    <a:pt x="2894875" y="1301467"/>
                  </a:lnTo>
                  <a:lnTo>
                    <a:pt x="3163191" y="1032451"/>
                  </a:lnTo>
                  <a:close/>
                  <a:moveTo>
                    <a:pt x="2350558" y="1032451"/>
                  </a:moveTo>
                  <a:lnTo>
                    <a:pt x="2080145" y="1303562"/>
                  </a:lnTo>
                  <a:lnTo>
                    <a:pt x="2351257" y="1573974"/>
                  </a:lnTo>
                  <a:lnTo>
                    <a:pt x="2615379" y="1573974"/>
                  </a:lnTo>
                  <a:lnTo>
                    <a:pt x="2344269" y="1303562"/>
                  </a:lnTo>
                  <a:lnTo>
                    <a:pt x="2528736" y="1119096"/>
                  </a:lnTo>
                  <a:lnTo>
                    <a:pt x="2614681" y="1033150"/>
                  </a:lnTo>
                  <a:lnTo>
                    <a:pt x="2356148" y="1033150"/>
                  </a:lnTo>
                  <a:close/>
                  <a:moveTo>
                    <a:pt x="1252838" y="1032451"/>
                  </a:moveTo>
                  <a:lnTo>
                    <a:pt x="982426" y="1303562"/>
                  </a:lnTo>
                  <a:lnTo>
                    <a:pt x="1253537" y="1573974"/>
                  </a:lnTo>
                  <a:lnTo>
                    <a:pt x="1517660" y="1573974"/>
                  </a:lnTo>
                  <a:lnTo>
                    <a:pt x="1246550" y="1303562"/>
                  </a:lnTo>
                  <a:lnTo>
                    <a:pt x="1431017" y="1119096"/>
                  </a:lnTo>
                  <a:lnTo>
                    <a:pt x="1516962" y="1032451"/>
                  </a:lnTo>
                  <a:close/>
                  <a:moveTo>
                    <a:pt x="3447578" y="1031753"/>
                  </a:moveTo>
                  <a:lnTo>
                    <a:pt x="3177166" y="1302864"/>
                  </a:lnTo>
                  <a:lnTo>
                    <a:pt x="3448276" y="1573275"/>
                  </a:lnTo>
                  <a:lnTo>
                    <a:pt x="3712400" y="1573275"/>
                  </a:lnTo>
                  <a:lnTo>
                    <a:pt x="3441289" y="1302864"/>
                  </a:lnTo>
                  <a:lnTo>
                    <a:pt x="3711701" y="1031753"/>
                  </a:lnTo>
                  <a:close/>
                  <a:moveTo>
                    <a:pt x="4544599" y="1030356"/>
                  </a:moveTo>
                  <a:lnTo>
                    <a:pt x="4274187" y="1301467"/>
                  </a:lnTo>
                  <a:lnTo>
                    <a:pt x="4545297" y="1571878"/>
                  </a:lnTo>
                  <a:lnTo>
                    <a:pt x="4806712" y="1571878"/>
                  </a:lnTo>
                  <a:lnTo>
                    <a:pt x="4660106" y="1425273"/>
                  </a:lnTo>
                  <a:lnTo>
                    <a:pt x="4660106" y="1422949"/>
                  </a:lnTo>
                  <a:lnTo>
                    <a:pt x="4538310" y="1301467"/>
                  </a:lnTo>
                  <a:lnTo>
                    <a:pt x="4660106" y="1179209"/>
                  </a:lnTo>
                  <a:lnTo>
                    <a:pt x="4660106" y="1175123"/>
                  </a:lnTo>
                  <a:lnTo>
                    <a:pt x="4804873" y="1030356"/>
                  </a:lnTo>
                  <a:close/>
                  <a:moveTo>
                    <a:pt x="3995389" y="1030356"/>
                  </a:moveTo>
                  <a:lnTo>
                    <a:pt x="3724977" y="1301467"/>
                  </a:lnTo>
                  <a:lnTo>
                    <a:pt x="3996088" y="1571878"/>
                  </a:lnTo>
                  <a:lnTo>
                    <a:pt x="4064564" y="1571878"/>
                  </a:lnTo>
                  <a:lnTo>
                    <a:pt x="4061071" y="1578866"/>
                  </a:lnTo>
                  <a:lnTo>
                    <a:pt x="3996088" y="1578866"/>
                  </a:lnTo>
                  <a:lnTo>
                    <a:pt x="3815814" y="1759839"/>
                  </a:lnTo>
                  <a:lnTo>
                    <a:pt x="3726375" y="1849977"/>
                  </a:lnTo>
                  <a:lnTo>
                    <a:pt x="3859834" y="1983435"/>
                  </a:lnTo>
                  <a:lnTo>
                    <a:pt x="3857039" y="1989025"/>
                  </a:lnTo>
                  <a:lnTo>
                    <a:pt x="3857739" y="1989722"/>
                  </a:lnTo>
                  <a:lnTo>
                    <a:pt x="3857039" y="1991122"/>
                  </a:lnTo>
                  <a:lnTo>
                    <a:pt x="3720086" y="1854169"/>
                  </a:lnTo>
                  <a:lnTo>
                    <a:pt x="3455963" y="1854169"/>
                  </a:lnTo>
                  <a:lnTo>
                    <a:pt x="3727074" y="2124581"/>
                  </a:lnTo>
                  <a:lnTo>
                    <a:pt x="3456662" y="2395692"/>
                  </a:lnTo>
                  <a:lnTo>
                    <a:pt x="3654754" y="2395692"/>
                  </a:lnTo>
                  <a:lnTo>
                    <a:pt x="3652309" y="2400583"/>
                  </a:lnTo>
                  <a:lnTo>
                    <a:pt x="3652658" y="2400583"/>
                  </a:lnTo>
                  <a:lnTo>
                    <a:pt x="3651610" y="2402679"/>
                  </a:lnTo>
                  <a:lnTo>
                    <a:pt x="3456662" y="2402679"/>
                  </a:lnTo>
                  <a:lnTo>
                    <a:pt x="3586394" y="2532412"/>
                  </a:lnTo>
                  <a:lnTo>
                    <a:pt x="3583832" y="2537535"/>
                  </a:lnTo>
                  <a:lnTo>
                    <a:pt x="3584065" y="2537768"/>
                  </a:lnTo>
                  <a:lnTo>
                    <a:pt x="3583133" y="2539632"/>
                  </a:lnTo>
                  <a:lnTo>
                    <a:pt x="3442687" y="2399185"/>
                  </a:lnTo>
                  <a:lnTo>
                    <a:pt x="3713099" y="2128074"/>
                  </a:lnTo>
                  <a:lnTo>
                    <a:pt x="3448975" y="2128074"/>
                  </a:lnTo>
                  <a:lnTo>
                    <a:pt x="3178563" y="2399185"/>
                  </a:lnTo>
                  <a:lnTo>
                    <a:pt x="3448975" y="2670296"/>
                  </a:lnTo>
                  <a:lnTo>
                    <a:pt x="3517452" y="2670296"/>
                  </a:lnTo>
                  <a:lnTo>
                    <a:pt x="3518849" y="2667501"/>
                  </a:lnTo>
                  <a:lnTo>
                    <a:pt x="3713797" y="2667501"/>
                  </a:lnTo>
                  <a:lnTo>
                    <a:pt x="3584065" y="2537768"/>
                  </a:lnTo>
                  <a:lnTo>
                    <a:pt x="3586627" y="2532645"/>
                  </a:lnTo>
                  <a:lnTo>
                    <a:pt x="3586394" y="2532412"/>
                  </a:lnTo>
                  <a:lnTo>
                    <a:pt x="3587326" y="2530548"/>
                  </a:lnTo>
                  <a:lnTo>
                    <a:pt x="3727772" y="2670995"/>
                  </a:lnTo>
                  <a:lnTo>
                    <a:pt x="3457360" y="2942106"/>
                  </a:lnTo>
                  <a:lnTo>
                    <a:pt x="3721484" y="2942106"/>
                  </a:lnTo>
                  <a:lnTo>
                    <a:pt x="3991896" y="2670995"/>
                  </a:lnTo>
                  <a:lnTo>
                    <a:pt x="3720785" y="2400583"/>
                  </a:lnTo>
                  <a:lnTo>
                    <a:pt x="3652658" y="2400583"/>
                  </a:lnTo>
                  <a:lnTo>
                    <a:pt x="3655103" y="2395692"/>
                  </a:lnTo>
                  <a:lnTo>
                    <a:pt x="3654754" y="2395692"/>
                  </a:lnTo>
                  <a:lnTo>
                    <a:pt x="3655802" y="2393595"/>
                  </a:lnTo>
                  <a:lnTo>
                    <a:pt x="3720785" y="2393595"/>
                  </a:lnTo>
                  <a:lnTo>
                    <a:pt x="3991197" y="2122484"/>
                  </a:lnTo>
                  <a:lnTo>
                    <a:pt x="3857739" y="1989722"/>
                  </a:lnTo>
                  <a:lnTo>
                    <a:pt x="3860533" y="1984134"/>
                  </a:lnTo>
                  <a:lnTo>
                    <a:pt x="3859834" y="1983435"/>
                  </a:lnTo>
                  <a:lnTo>
                    <a:pt x="3860533" y="1982038"/>
                  </a:lnTo>
                  <a:lnTo>
                    <a:pt x="3997486" y="2118991"/>
                  </a:lnTo>
                  <a:lnTo>
                    <a:pt x="4261609" y="2118991"/>
                  </a:lnTo>
                  <a:lnTo>
                    <a:pt x="3990498" y="1848579"/>
                  </a:lnTo>
                  <a:lnTo>
                    <a:pt x="3991896" y="1847181"/>
                  </a:lnTo>
                  <a:lnTo>
                    <a:pt x="4260212" y="1578167"/>
                  </a:lnTo>
                  <a:lnTo>
                    <a:pt x="4061770" y="1578167"/>
                  </a:lnTo>
                  <a:lnTo>
                    <a:pt x="4065263" y="1571180"/>
                  </a:lnTo>
                  <a:lnTo>
                    <a:pt x="4260212" y="1571180"/>
                  </a:lnTo>
                  <a:lnTo>
                    <a:pt x="4130246" y="1441215"/>
                  </a:lnTo>
                  <a:lnTo>
                    <a:pt x="4133739" y="1434227"/>
                  </a:lnTo>
                  <a:lnTo>
                    <a:pt x="4274187" y="1574673"/>
                  </a:lnTo>
                  <a:lnTo>
                    <a:pt x="4003774" y="1845784"/>
                  </a:lnTo>
                  <a:lnTo>
                    <a:pt x="4267898" y="1845784"/>
                  </a:lnTo>
                  <a:lnTo>
                    <a:pt x="4538310" y="1574673"/>
                  </a:lnTo>
                  <a:lnTo>
                    <a:pt x="4267200" y="1304960"/>
                  </a:lnTo>
                  <a:lnTo>
                    <a:pt x="4198724" y="1304960"/>
                  </a:lnTo>
                  <a:lnTo>
                    <a:pt x="4003774" y="1304960"/>
                  </a:lnTo>
                  <a:lnTo>
                    <a:pt x="4133040" y="1434926"/>
                  </a:lnTo>
                  <a:lnTo>
                    <a:pt x="4129547" y="1441912"/>
                  </a:lnTo>
                  <a:lnTo>
                    <a:pt x="3989100" y="1301467"/>
                  </a:lnTo>
                  <a:lnTo>
                    <a:pt x="4259512" y="1030356"/>
                  </a:lnTo>
                  <a:close/>
                  <a:moveTo>
                    <a:pt x="4819080" y="1029786"/>
                  </a:moveTo>
                  <a:lnTo>
                    <a:pt x="4551587" y="1297972"/>
                  </a:lnTo>
                  <a:lnTo>
                    <a:pt x="4811861" y="1297972"/>
                  </a:lnTo>
                  <a:lnTo>
                    <a:pt x="5080048" y="1029786"/>
                  </a:lnTo>
                  <a:close/>
                  <a:moveTo>
                    <a:pt x="6462154" y="1028388"/>
                  </a:moveTo>
                  <a:lnTo>
                    <a:pt x="6191742" y="1299499"/>
                  </a:lnTo>
                  <a:lnTo>
                    <a:pt x="6462852" y="1569911"/>
                  </a:lnTo>
                  <a:lnTo>
                    <a:pt x="6726977" y="1569911"/>
                  </a:lnTo>
                  <a:lnTo>
                    <a:pt x="6455865" y="1299499"/>
                  </a:lnTo>
                  <a:lnTo>
                    <a:pt x="6726277" y="1028388"/>
                  </a:lnTo>
                  <a:close/>
                  <a:moveTo>
                    <a:pt x="5364435" y="1028388"/>
                  </a:moveTo>
                  <a:lnTo>
                    <a:pt x="5094022" y="1299499"/>
                  </a:lnTo>
                  <a:lnTo>
                    <a:pt x="5365133" y="1569911"/>
                  </a:lnTo>
                  <a:lnTo>
                    <a:pt x="5629256" y="1569911"/>
                  </a:lnTo>
                  <a:lnTo>
                    <a:pt x="5358145" y="1299499"/>
                  </a:lnTo>
                  <a:lnTo>
                    <a:pt x="5627858" y="1028388"/>
                  </a:lnTo>
                  <a:close/>
                  <a:moveTo>
                    <a:pt x="7559173" y="1027689"/>
                  </a:moveTo>
                  <a:lnTo>
                    <a:pt x="7378899" y="1207965"/>
                  </a:lnTo>
                  <a:lnTo>
                    <a:pt x="7289460" y="1298102"/>
                  </a:lnTo>
                  <a:lnTo>
                    <a:pt x="7423618" y="1431561"/>
                  </a:lnTo>
                  <a:lnTo>
                    <a:pt x="7560571" y="1568513"/>
                  </a:lnTo>
                  <a:lnTo>
                    <a:pt x="7824694" y="1568513"/>
                  </a:lnTo>
                  <a:lnTo>
                    <a:pt x="7553583" y="1298102"/>
                  </a:lnTo>
                  <a:lnTo>
                    <a:pt x="7554981" y="1296705"/>
                  </a:lnTo>
                  <a:lnTo>
                    <a:pt x="7823297" y="1027689"/>
                  </a:lnTo>
                  <a:close/>
                  <a:moveTo>
                    <a:pt x="7010664" y="1027689"/>
                  </a:moveTo>
                  <a:lnTo>
                    <a:pt x="6740251" y="1298800"/>
                  </a:lnTo>
                  <a:lnTo>
                    <a:pt x="7011363" y="1569212"/>
                  </a:lnTo>
                  <a:lnTo>
                    <a:pt x="7275485" y="1569212"/>
                  </a:lnTo>
                  <a:lnTo>
                    <a:pt x="7004375" y="1298800"/>
                  </a:lnTo>
                  <a:lnTo>
                    <a:pt x="7188842" y="1114334"/>
                  </a:lnTo>
                  <a:lnTo>
                    <a:pt x="7274787" y="1028388"/>
                  </a:lnTo>
                  <a:lnTo>
                    <a:pt x="7016254" y="1028388"/>
                  </a:lnTo>
                  <a:close/>
                  <a:moveTo>
                    <a:pt x="5912945" y="1027689"/>
                  </a:moveTo>
                  <a:lnTo>
                    <a:pt x="5642533" y="1298800"/>
                  </a:lnTo>
                  <a:lnTo>
                    <a:pt x="5913643" y="1569212"/>
                  </a:lnTo>
                  <a:lnTo>
                    <a:pt x="6177766" y="1569212"/>
                  </a:lnTo>
                  <a:lnTo>
                    <a:pt x="5906656" y="1298800"/>
                  </a:lnTo>
                  <a:lnTo>
                    <a:pt x="6091123" y="1114334"/>
                  </a:lnTo>
                  <a:lnTo>
                    <a:pt x="6177068" y="1027689"/>
                  </a:lnTo>
                  <a:close/>
                  <a:moveTo>
                    <a:pt x="8107684" y="1026991"/>
                  </a:moveTo>
                  <a:lnTo>
                    <a:pt x="7837272" y="1298102"/>
                  </a:lnTo>
                  <a:lnTo>
                    <a:pt x="8108382" y="1568513"/>
                  </a:lnTo>
                  <a:lnTo>
                    <a:pt x="8372506" y="1568513"/>
                  </a:lnTo>
                  <a:lnTo>
                    <a:pt x="8101395" y="1298102"/>
                  </a:lnTo>
                  <a:lnTo>
                    <a:pt x="8371807" y="1026991"/>
                  </a:lnTo>
                  <a:close/>
                  <a:moveTo>
                    <a:pt x="9477604" y="1026611"/>
                  </a:moveTo>
                  <a:lnTo>
                    <a:pt x="9211692" y="1293210"/>
                  </a:lnTo>
                  <a:lnTo>
                    <a:pt x="9473865" y="1293210"/>
                  </a:lnTo>
                  <a:lnTo>
                    <a:pt x="9740464" y="1026611"/>
                  </a:lnTo>
                  <a:close/>
                  <a:moveTo>
                    <a:pt x="9204704" y="1025594"/>
                  </a:moveTo>
                  <a:lnTo>
                    <a:pt x="8934292" y="1296705"/>
                  </a:lnTo>
                  <a:lnTo>
                    <a:pt x="9205403" y="1567116"/>
                  </a:lnTo>
                  <a:lnTo>
                    <a:pt x="9465541" y="1567116"/>
                  </a:lnTo>
                  <a:lnTo>
                    <a:pt x="9320523" y="1422098"/>
                  </a:lnTo>
                  <a:lnTo>
                    <a:pt x="9320523" y="1418497"/>
                  </a:lnTo>
                  <a:lnTo>
                    <a:pt x="9198416" y="1296705"/>
                  </a:lnTo>
                  <a:lnTo>
                    <a:pt x="9320523" y="1174135"/>
                  </a:lnTo>
                  <a:lnTo>
                    <a:pt x="9320523" y="1171948"/>
                  </a:lnTo>
                  <a:lnTo>
                    <a:pt x="9466877" y="1025594"/>
                  </a:lnTo>
                  <a:close/>
                  <a:moveTo>
                    <a:pt x="8655495" y="1025594"/>
                  </a:moveTo>
                  <a:lnTo>
                    <a:pt x="8385083" y="1296705"/>
                  </a:lnTo>
                  <a:lnTo>
                    <a:pt x="8656194" y="1567116"/>
                  </a:lnTo>
                  <a:lnTo>
                    <a:pt x="8724670" y="1567116"/>
                  </a:lnTo>
                  <a:lnTo>
                    <a:pt x="8721177" y="1574104"/>
                  </a:lnTo>
                  <a:lnTo>
                    <a:pt x="8656194" y="1574104"/>
                  </a:lnTo>
                  <a:lnTo>
                    <a:pt x="8475920" y="1755077"/>
                  </a:lnTo>
                  <a:lnTo>
                    <a:pt x="8386481" y="1845215"/>
                  </a:lnTo>
                  <a:lnTo>
                    <a:pt x="8519940" y="1978673"/>
                  </a:lnTo>
                  <a:lnTo>
                    <a:pt x="8517145" y="1984263"/>
                  </a:lnTo>
                  <a:lnTo>
                    <a:pt x="8517845" y="1984960"/>
                  </a:lnTo>
                  <a:lnTo>
                    <a:pt x="8517145" y="1986360"/>
                  </a:lnTo>
                  <a:lnTo>
                    <a:pt x="8380192" y="1849407"/>
                  </a:lnTo>
                  <a:lnTo>
                    <a:pt x="8116069" y="1849407"/>
                  </a:lnTo>
                  <a:lnTo>
                    <a:pt x="8387180" y="2119819"/>
                  </a:lnTo>
                  <a:lnTo>
                    <a:pt x="8116768" y="2390930"/>
                  </a:lnTo>
                  <a:lnTo>
                    <a:pt x="8314860" y="2390930"/>
                  </a:lnTo>
                  <a:lnTo>
                    <a:pt x="8312415" y="2395821"/>
                  </a:lnTo>
                  <a:lnTo>
                    <a:pt x="8312764" y="2395821"/>
                  </a:lnTo>
                  <a:lnTo>
                    <a:pt x="8311716" y="2397917"/>
                  </a:lnTo>
                  <a:lnTo>
                    <a:pt x="8116768" y="2397917"/>
                  </a:lnTo>
                  <a:lnTo>
                    <a:pt x="8246500" y="2527650"/>
                  </a:lnTo>
                  <a:lnTo>
                    <a:pt x="8243938" y="2532773"/>
                  </a:lnTo>
                  <a:lnTo>
                    <a:pt x="8244171" y="2533006"/>
                  </a:lnTo>
                  <a:lnTo>
                    <a:pt x="8243239" y="2534870"/>
                  </a:lnTo>
                  <a:lnTo>
                    <a:pt x="8102793" y="2394423"/>
                  </a:lnTo>
                  <a:lnTo>
                    <a:pt x="8373205" y="2123312"/>
                  </a:lnTo>
                  <a:lnTo>
                    <a:pt x="8109081" y="2123312"/>
                  </a:lnTo>
                  <a:lnTo>
                    <a:pt x="7838669" y="2394423"/>
                  </a:lnTo>
                  <a:lnTo>
                    <a:pt x="8109081" y="2665534"/>
                  </a:lnTo>
                  <a:lnTo>
                    <a:pt x="8177558" y="2665534"/>
                  </a:lnTo>
                  <a:lnTo>
                    <a:pt x="8178955" y="2662739"/>
                  </a:lnTo>
                  <a:lnTo>
                    <a:pt x="8373903" y="2662739"/>
                  </a:lnTo>
                  <a:lnTo>
                    <a:pt x="8244171" y="2533006"/>
                  </a:lnTo>
                  <a:lnTo>
                    <a:pt x="8246733" y="2527883"/>
                  </a:lnTo>
                  <a:lnTo>
                    <a:pt x="8246500" y="2527650"/>
                  </a:lnTo>
                  <a:lnTo>
                    <a:pt x="8247432" y="2525786"/>
                  </a:lnTo>
                  <a:lnTo>
                    <a:pt x="8387878" y="2666233"/>
                  </a:lnTo>
                  <a:lnTo>
                    <a:pt x="8117466" y="2937344"/>
                  </a:lnTo>
                  <a:lnTo>
                    <a:pt x="8381590" y="2937344"/>
                  </a:lnTo>
                  <a:lnTo>
                    <a:pt x="8652002" y="2666233"/>
                  </a:lnTo>
                  <a:lnTo>
                    <a:pt x="8380891" y="2395821"/>
                  </a:lnTo>
                  <a:lnTo>
                    <a:pt x="8312764" y="2395821"/>
                  </a:lnTo>
                  <a:lnTo>
                    <a:pt x="8315209" y="2390930"/>
                  </a:lnTo>
                  <a:lnTo>
                    <a:pt x="8314860" y="2390930"/>
                  </a:lnTo>
                  <a:lnTo>
                    <a:pt x="8315908" y="2388833"/>
                  </a:lnTo>
                  <a:lnTo>
                    <a:pt x="8380891" y="2388833"/>
                  </a:lnTo>
                  <a:lnTo>
                    <a:pt x="8651303" y="2117722"/>
                  </a:lnTo>
                  <a:lnTo>
                    <a:pt x="8517845" y="1984960"/>
                  </a:lnTo>
                  <a:lnTo>
                    <a:pt x="8520639" y="1979372"/>
                  </a:lnTo>
                  <a:lnTo>
                    <a:pt x="8519940" y="1978673"/>
                  </a:lnTo>
                  <a:lnTo>
                    <a:pt x="8520639" y="1977276"/>
                  </a:lnTo>
                  <a:lnTo>
                    <a:pt x="8657592" y="2114230"/>
                  </a:lnTo>
                  <a:lnTo>
                    <a:pt x="8921715" y="2114230"/>
                  </a:lnTo>
                  <a:lnTo>
                    <a:pt x="8650604" y="1843817"/>
                  </a:lnTo>
                  <a:lnTo>
                    <a:pt x="8652002" y="1842419"/>
                  </a:lnTo>
                  <a:lnTo>
                    <a:pt x="8920317" y="1573405"/>
                  </a:lnTo>
                  <a:lnTo>
                    <a:pt x="8721876" y="1573405"/>
                  </a:lnTo>
                  <a:lnTo>
                    <a:pt x="8725369" y="1566418"/>
                  </a:lnTo>
                  <a:lnTo>
                    <a:pt x="8920317" y="1566418"/>
                  </a:lnTo>
                  <a:lnTo>
                    <a:pt x="8790352" y="1436453"/>
                  </a:lnTo>
                  <a:lnTo>
                    <a:pt x="8793845" y="1429465"/>
                  </a:lnTo>
                  <a:lnTo>
                    <a:pt x="8934292" y="1569911"/>
                  </a:lnTo>
                  <a:lnTo>
                    <a:pt x="8663880" y="1841022"/>
                  </a:lnTo>
                  <a:lnTo>
                    <a:pt x="8928004" y="1841022"/>
                  </a:lnTo>
                  <a:lnTo>
                    <a:pt x="9198416" y="1569911"/>
                  </a:lnTo>
                  <a:lnTo>
                    <a:pt x="8927305" y="1300198"/>
                  </a:lnTo>
                  <a:lnTo>
                    <a:pt x="8858829" y="1300198"/>
                  </a:lnTo>
                  <a:lnTo>
                    <a:pt x="8663880" y="1300198"/>
                  </a:lnTo>
                  <a:lnTo>
                    <a:pt x="8793146" y="1430164"/>
                  </a:lnTo>
                  <a:lnTo>
                    <a:pt x="8789653" y="1437150"/>
                  </a:lnTo>
                  <a:lnTo>
                    <a:pt x="8649206" y="1296705"/>
                  </a:lnTo>
                  <a:lnTo>
                    <a:pt x="8919618" y="1025594"/>
                  </a:lnTo>
                  <a:close/>
                  <a:moveTo>
                    <a:pt x="11122571" y="1025213"/>
                  </a:moveTo>
                  <a:lnTo>
                    <a:pt x="10852159" y="1296324"/>
                  </a:lnTo>
                  <a:lnTo>
                    <a:pt x="11123269" y="1566736"/>
                  </a:lnTo>
                  <a:lnTo>
                    <a:pt x="11387393" y="1566736"/>
                  </a:lnTo>
                  <a:lnTo>
                    <a:pt x="11116282" y="1296324"/>
                  </a:lnTo>
                  <a:lnTo>
                    <a:pt x="11386694" y="1025213"/>
                  </a:lnTo>
                  <a:close/>
                  <a:moveTo>
                    <a:pt x="10024851" y="1025213"/>
                  </a:moveTo>
                  <a:lnTo>
                    <a:pt x="9754439" y="1296324"/>
                  </a:lnTo>
                  <a:lnTo>
                    <a:pt x="10025550" y="1566736"/>
                  </a:lnTo>
                  <a:lnTo>
                    <a:pt x="10289673" y="1566736"/>
                  </a:lnTo>
                  <a:lnTo>
                    <a:pt x="10018562" y="1296324"/>
                  </a:lnTo>
                  <a:lnTo>
                    <a:pt x="10288275" y="1025213"/>
                  </a:lnTo>
                  <a:close/>
                  <a:moveTo>
                    <a:pt x="11671081" y="1024514"/>
                  </a:moveTo>
                  <a:lnTo>
                    <a:pt x="11400668" y="1295625"/>
                  </a:lnTo>
                  <a:lnTo>
                    <a:pt x="11671780" y="1566037"/>
                  </a:lnTo>
                  <a:lnTo>
                    <a:pt x="11935902" y="1566037"/>
                  </a:lnTo>
                  <a:lnTo>
                    <a:pt x="11664792" y="1295625"/>
                  </a:lnTo>
                  <a:lnTo>
                    <a:pt x="11849259" y="1111159"/>
                  </a:lnTo>
                  <a:lnTo>
                    <a:pt x="11935204" y="1025213"/>
                  </a:lnTo>
                  <a:lnTo>
                    <a:pt x="11676671" y="1025213"/>
                  </a:lnTo>
                  <a:close/>
                  <a:moveTo>
                    <a:pt x="10573361" y="1024514"/>
                  </a:moveTo>
                  <a:lnTo>
                    <a:pt x="10302949" y="1295625"/>
                  </a:lnTo>
                  <a:lnTo>
                    <a:pt x="10574060" y="1566037"/>
                  </a:lnTo>
                  <a:lnTo>
                    <a:pt x="10838183" y="1566037"/>
                  </a:lnTo>
                  <a:lnTo>
                    <a:pt x="10567073" y="1295625"/>
                  </a:lnTo>
                  <a:lnTo>
                    <a:pt x="10751540" y="1111159"/>
                  </a:lnTo>
                  <a:lnTo>
                    <a:pt x="10837485" y="1024514"/>
                  </a:lnTo>
                  <a:close/>
                  <a:moveTo>
                    <a:pt x="162805" y="759944"/>
                  </a:moveTo>
                  <a:lnTo>
                    <a:pt x="433916" y="1030356"/>
                  </a:lnTo>
                  <a:lnTo>
                    <a:pt x="164203" y="1301467"/>
                  </a:lnTo>
                  <a:lnTo>
                    <a:pt x="427627" y="1301467"/>
                  </a:lnTo>
                  <a:lnTo>
                    <a:pt x="698039" y="1030356"/>
                  </a:lnTo>
                  <a:lnTo>
                    <a:pt x="563881" y="896896"/>
                  </a:lnTo>
                  <a:lnTo>
                    <a:pt x="426928" y="759944"/>
                  </a:lnTo>
                  <a:close/>
                  <a:moveTo>
                    <a:pt x="1809035" y="759245"/>
                  </a:moveTo>
                  <a:lnTo>
                    <a:pt x="1937603" y="887813"/>
                  </a:lnTo>
                  <a:lnTo>
                    <a:pt x="2079447" y="1029657"/>
                  </a:lnTo>
                  <a:lnTo>
                    <a:pt x="1809035" y="1300768"/>
                  </a:lnTo>
                  <a:lnTo>
                    <a:pt x="2073158" y="1300768"/>
                  </a:lnTo>
                  <a:lnTo>
                    <a:pt x="2343570" y="1029657"/>
                  </a:lnTo>
                  <a:lnTo>
                    <a:pt x="2338678" y="1024766"/>
                  </a:lnTo>
                  <a:lnTo>
                    <a:pt x="2073158" y="759245"/>
                  </a:lnTo>
                  <a:close/>
                  <a:moveTo>
                    <a:pt x="2357544" y="758546"/>
                  </a:moveTo>
                  <a:lnTo>
                    <a:pt x="2628655" y="1028259"/>
                  </a:lnTo>
                  <a:lnTo>
                    <a:pt x="2625861" y="1031055"/>
                  </a:lnTo>
                  <a:lnTo>
                    <a:pt x="2535723" y="1121890"/>
                  </a:lnTo>
                  <a:lnTo>
                    <a:pt x="2358243" y="1299370"/>
                  </a:lnTo>
                  <a:lnTo>
                    <a:pt x="2622367" y="1299370"/>
                  </a:lnTo>
                  <a:lnTo>
                    <a:pt x="2711805" y="1209931"/>
                  </a:lnTo>
                  <a:lnTo>
                    <a:pt x="2892779" y="1028958"/>
                  </a:lnTo>
                  <a:lnTo>
                    <a:pt x="2621668" y="758546"/>
                  </a:lnTo>
                  <a:close/>
                  <a:moveTo>
                    <a:pt x="1259127" y="758546"/>
                  </a:moveTo>
                  <a:lnTo>
                    <a:pt x="1530238" y="1028259"/>
                  </a:lnTo>
                  <a:lnTo>
                    <a:pt x="1527442" y="1031055"/>
                  </a:lnTo>
                  <a:lnTo>
                    <a:pt x="1437306" y="1121890"/>
                  </a:lnTo>
                  <a:lnTo>
                    <a:pt x="1259826" y="1299370"/>
                  </a:lnTo>
                  <a:lnTo>
                    <a:pt x="1523949" y="1299370"/>
                  </a:lnTo>
                  <a:lnTo>
                    <a:pt x="1613388" y="1209931"/>
                  </a:lnTo>
                  <a:lnTo>
                    <a:pt x="1794361" y="1028958"/>
                  </a:lnTo>
                  <a:lnTo>
                    <a:pt x="1523250" y="758546"/>
                  </a:lnTo>
                  <a:close/>
                  <a:moveTo>
                    <a:pt x="710617" y="758546"/>
                  </a:moveTo>
                  <a:lnTo>
                    <a:pt x="712014" y="759944"/>
                  </a:lnTo>
                  <a:lnTo>
                    <a:pt x="981727" y="1028958"/>
                  </a:lnTo>
                  <a:lnTo>
                    <a:pt x="711316" y="1300069"/>
                  </a:lnTo>
                  <a:lnTo>
                    <a:pt x="975439" y="1300069"/>
                  </a:lnTo>
                  <a:lnTo>
                    <a:pt x="1245851" y="1028958"/>
                  </a:lnTo>
                  <a:lnTo>
                    <a:pt x="1240261" y="1024067"/>
                  </a:lnTo>
                  <a:lnTo>
                    <a:pt x="974740" y="758546"/>
                  </a:lnTo>
                  <a:close/>
                  <a:moveTo>
                    <a:pt x="2906055" y="757847"/>
                  </a:moveTo>
                  <a:lnTo>
                    <a:pt x="3036720" y="887114"/>
                  </a:lnTo>
                  <a:lnTo>
                    <a:pt x="3177166" y="1027560"/>
                  </a:lnTo>
                  <a:lnTo>
                    <a:pt x="2906754" y="1298671"/>
                  </a:lnTo>
                  <a:lnTo>
                    <a:pt x="3170877" y="1298671"/>
                  </a:lnTo>
                  <a:lnTo>
                    <a:pt x="3441289" y="1028259"/>
                  </a:lnTo>
                  <a:lnTo>
                    <a:pt x="3170178" y="757847"/>
                  </a:lnTo>
                  <a:close/>
                  <a:moveTo>
                    <a:pt x="3454565" y="757148"/>
                  </a:moveTo>
                  <a:lnTo>
                    <a:pt x="3725676" y="1027560"/>
                  </a:lnTo>
                  <a:lnTo>
                    <a:pt x="3455264" y="1298671"/>
                  </a:lnTo>
                  <a:lnTo>
                    <a:pt x="3719387" y="1298671"/>
                  </a:lnTo>
                  <a:lnTo>
                    <a:pt x="3989799" y="1027560"/>
                  </a:lnTo>
                  <a:lnTo>
                    <a:pt x="3718688" y="757148"/>
                  </a:lnTo>
                  <a:close/>
                  <a:moveTo>
                    <a:pt x="4003075" y="756449"/>
                  </a:moveTo>
                  <a:lnTo>
                    <a:pt x="4274187" y="1026861"/>
                  </a:lnTo>
                  <a:lnTo>
                    <a:pt x="4003774" y="1297972"/>
                  </a:lnTo>
                  <a:lnTo>
                    <a:pt x="4202216" y="1297972"/>
                  </a:lnTo>
                  <a:lnTo>
                    <a:pt x="4267200" y="1297972"/>
                  </a:lnTo>
                  <a:lnTo>
                    <a:pt x="4538310" y="1026861"/>
                  </a:lnTo>
                  <a:lnTo>
                    <a:pt x="4404151" y="893403"/>
                  </a:lnTo>
                  <a:lnTo>
                    <a:pt x="4267200" y="756449"/>
                  </a:lnTo>
                  <a:close/>
                  <a:moveTo>
                    <a:pt x="4550188" y="755751"/>
                  </a:moveTo>
                  <a:lnTo>
                    <a:pt x="4817225" y="1022099"/>
                  </a:lnTo>
                  <a:lnTo>
                    <a:pt x="5080048" y="1022099"/>
                  </a:lnTo>
                  <a:lnTo>
                    <a:pt x="4813011" y="755751"/>
                  </a:lnTo>
                  <a:close/>
                  <a:moveTo>
                    <a:pt x="4823396" y="755182"/>
                  </a:moveTo>
                  <a:lnTo>
                    <a:pt x="4823396" y="755666"/>
                  </a:lnTo>
                  <a:lnTo>
                    <a:pt x="5094022" y="1025594"/>
                  </a:lnTo>
                  <a:lnTo>
                    <a:pt x="4824309" y="1296705"/>
                  </a:lnTo>
                  <a:lnTo>
                    <a:pt x="5087733" y="1296705"/>
                  </a:lnTo>
                  <a:lnTo>
                    <a:pt x="5358145" y="1025594"/>
                  </a:lnTo>
                  <a:lnTo>
                    <a:pt x="5223987" y="892134"/>
                  </a:lnTo>
                  <a:lnTo>
                    <a:pt x="5087035" y="755182"/>
                  </a:lnTo>
                  <a:close/>
                  <a:moveTo>
                    <a:pt x="6469141" y="754483"/>
                  </a:moveTo>
                  <a:lnTo>
                    <a:pt x="6597709" y="883051"/>
                  </a:lnTo>
                  <a:lnTo>
                    <a:pt x="6739554" y="1024895"/>
                  </a:lnTo>
                  <a:lnTo>
                    <a:pt x="6469141" y="1296006"/>
                  </a:lnTo>
                  <a:lnTo>
                    <a:pt x="6733264" y="1296006"/>
                  </a:lnTo>
                  <a:lnTo>
                    <a:pt x="7003677" y="1024895"/>
                  </a:lnTo>
                  <a:lnTo>
                    <a:pt x="6998784" y="1020004"/>
                  </a:lnTo>
                  <a:lnTo>
                    <a:pt x="6733264" y="754483"/>
                  </a:lnTo>
                  <a:close/>
                  <a:moveTo>
                    <a:pt x="7017651" y="753784"/>
                  </a:moveTo>
                  <a:lnTo>
                    <a:pt x="7288761" y="1023497"/>
                  </a:lnTo>
                  <a:lnTo>
                    <a:pt x="7285967" y="1026293"/>
                  </a:lnTo>
                  <a:lnTo>
                    <a:pt x="7195829" y="1117128"/>
                  </a:lnTo>
                  <a:lnTo>
                    <a:pt x="7018349" y="1294608"/>
                  </a:lnTo>
                  <a:lnTo>
                    <a:pt x="7282473" y="1294608"/>
                  </a:lnTo>
                  <a:lnTo>
                    <a:pt x="7371911" y="1205169"/>
                  </a:lnTo>
                  <a:lnTo>
                    <a:pt x="7552885" y="1024196"/>
                  </a:lnTo>
                  <a:lnTo>
                    <a:pt x="7281774" y="753784"/>
                  </a:lnTo>
                  <a:close/>
                  <a:moveTo>
                    <a:pt x="5919233" y="753784"/>
                  </a:moveTo>
                  <a:lnTo>
                    <a:pt x="6190345" y="1023497"/>
                  </a:lnTo>
                  <a:lnTo>
                    <a:pt x="6187548" y="1026293"/>
                  </a:lnTo>
                  <a:lnTo>
                    <a:pt x="6097412" y="1117128"/>
                  </a:lnTo>
                  <a:lnTo>
                    <a:pt x="5919933" y="1294608"/>
                  </a:lnTo>
                  <a:lnTo>
                    <a:pt x="6184056" y="1294608"/>
                  </a:lnTo>
                  <a:lnTo>
                    <a:pt x="6273494" y="1205169"/>
                  </a:lnTo>
                  <a:lnTo>
                    <a:pt x="6454468" y="1024196"/>
                  </a:lnTo>
                  <a:lnTo>
                    <a:pt x="6183356" y="753784"/>
                  </a:lnTo>
                  <a:close/>
                  <a:moveTo>
                    <a:pt x="5370723" y="753784"/>
                  </a:moveTo>
                  <a:lnTo>
                    <a:pt x="5372120" y="755182"/>
                  </a:lnTo>
                  <a:lnTo>
                    <a:pt x="5641833" y="1024196"/>
                  </a:lnTo>
                  <a:lnTo>
                    <a:pt x="5371422" y="1295307"/>
                  </a:lnTo>
                  <a:lnTo>
                    <a:pt x="5635545" y="1295307"/>
                  </a:lnTo>
                  <a:lnTo>
                    <a:pt x="5905958" y="1024196"/>
                  </a:lnTo>
                  <a:lnTo>
                    <a:pt x="5900367" y="1019305"/>
                  </a:lnTo>
                  <a:lnTo>
                    <a:pt x="5634846" y="753784"/>
                  </a:lnTo>
                  <a:close/>
                  <a:moveTo>
                    <a:pt x="7566161" y="753085"/>
                  </a:moveTo>
                  <a:lnTo>
                    <a:pt x="7696826" y="882352"/>
                  </a:lnTo>
                  <a:lnTo>
                    <a:pt x="7837272" y="1022798"/>
                  </a:lnTo>
                  <a:lnTo>
                    <a:pt x="7566860" y="1293909"/>
                  </a:lnTo>
                  <a:lnTo>
                    <a:pt x="7830983" y="1293909"/>
                  </a:lnTo>
                  <a:lnTo>
                    <a:pt x="8101395" y="1023497"/>
                  </a:lnTo>
                  <a:lnTo>
                    <a:pt x="7830284" y="753085"/>
                  </a:lnTo>
                  <a:close/>
                  <a:moveTo>
                    <a:pt x="8114671" y="752386"/>
                  </a:moveTo>
                  <a:lnTo>
                    <a:pt x="8385782" y="1022798"/>
                  </a:lnTo>
                  <a:lnTo>
                    <a:pt x="8115370" y="1293909"/>
                  </a:lnTo>
                  <a:lnTo>
                    <a:pt x="8379493" y="1293909"/>
                  </a:lnTo>
                  <a:lnTo>
                    <a:pt x="8649905" y="1022798"/>
                  </a:lnTo>
                  <a:lnTo>
                    <a:pt x="8378794" y="752386"/>
                  </a:lnTo>
                  <a:close/>
                  <a:moveTo>
                    <a:pt x="9483502" y="752007"/>
                  </a:moveTo>
                  <a:lnTo>
                    <a:pt x="9483502" y="752181"/>
                  </a:lnTo>
                  <a:lnTo>
                    <a:pt x="9754439" y="1022419"/>
                  </a:lnTo>
                  <a:lnTo>
                    <a:pt x="9484726" y="1293530"/>
                  </a:lnTo>
                  <a:lnTo>
                    <a:pt x="9748150" y="1293530"/>
                  </a:lnTo>
                  <a:lnTo>
                    <a:pt x="10018562" y="1022419"/>
                  </a:lnTo>
                  <a:lnTo>
                    <a:pt x="9884404" y="888959"/>
                  </a:lnTo>
                  <a:lnTo>
                    <a:pt x="9747451" y="752007"/>
                  </a:lnTo>
                  <a:close/>
                  <a:moveTo>
                    <a:pt x="8663181" y="751687"/>
                  </a:moveTo>
                  <a:lnTo>
                    <a:pt x="8934292" y="1022099"/>
                  </a:lnTo>
                  <a:lnTo>
                    <a:pt x="8663880" y="1293210"/>
                  </a:lnTo>
                  <a:lnTo>
                    <a:pt x="8862322" y="1293210"/>
                  </a:lnTo>
                  <a:lnTo>
                    <a:pt x="8927305" y="1293210"/>
                  </a:lnTo>
                  <a:lnTo>
                    <a:pt x="9198416" y="1022099"/>
                  </a:lnTo>
                  <a:lnTo>
                    <a:pt x="9064257" y="888641"/>
                  </a:lnTo>
                  <a:lnTo>
                    <a:pt x="8927305" y="751687"/>
                  </a:lnTo>
                  <a:close/>
                  <a:moveTo>
                    <a:pt x="11129558" y="751308"/>
                  </a:moveTo>
                  <a:lnTo>
                    <a:pt x="11258126" y="879876"/>
                  </a:lnTo>
                  <a:lnTo>
                    <a:pt x="11399970" y="1021720"/>
                  </a:lnTo>
                  <a:lnTo>
                    <a:pt x="11129558" y="1292831"/>
                  </a:lnTo>
                  <a:lnTo>
                    <a:pt x="11393681" y="1292831"/>
                  </a:lnTo>
                  <a:lnTo>
                    <a:pt x="11664093" y="1021720"/>
                  </a:lnTo>
                  <a:lnTo>
                    <a:pt x="11659201" y="1016829"/>
                  </a:lnTo>
                  <a:lnTo>
                    <a:pt x="11393681" y="751308"/>
                  </a:lnTo>
                  <a:close/>
                  <a:moveTo>
                    <a:pt x="9210294" y="750989"/>
                  </a:moveTo>
                  <a:lnTo>
                    <a:pt x="9478921" y="1018924"/>
                  </a:lnTo>
                  <a:lnTo>
                    <a:pt x="9740464" y="1018924"/>
                  </a:lnTo>
                  <a:lnTo>
                    <a:pt x="9471836" y="750989"/>
                  </a:lnTo>
                  <a:close/>
                  <a:moveTo>
                    <a:pt x="10579650" y="750609"/>
                  </a:moveTo>
                  <a:lnTo>
                    <a:pt x="10850761" y="1020322"/>
                  </a:lnTo>
                  <a:lnTo>
                    <a:pt x="10847965" y="1023118"/>
                  </a:lnTo>
                  <a:lnTo>
                    <a:pt x="10757829" y="1113953"/>
                  </a:lnTo>
                  <a:lnTo>
                    <a:pt x="10580349" y="1291433"/>
                  </a:lnTo>
                  <a:lnTo>
                    <a:pt x="10844472" y="1291433"/>
                  </a:lnTo>
                  <a:lnTo>
                    <a:pt x="10933911" y="1201994"/>
                  </a:lnTo>
                  <a:lnTo>
                    <a:pt x="11114884" y="1021021"/>
                  </a:lnTo>
                  <a:lnTo>
                    <a:pt x="10843773" y="750609"/>
                  </a:lnTo>
                  <a:close/>
                  <a:moveTo>
                    <a:pt x="10031140" y="750609"/>
                  </a:moveTo>
                  <a:lnTo>
                    <a:pt x="10032537" y="752007"/>
                  </a:lnTo>
                  <a:lnTo>
                    <a:pt x="10302250" y="1021021"/>
                  </a:lnTo>
                  <a:lnTo>
                    <a:pt x="10031839" y="1292132"/>
                  </a:lnTo>
                  <a:lnTo>
                    <a:pt x="10295962" y="1292132"/>
                  </a:lnTo>
                  <a:lnTo>
                    <a:pt x="10566374" y="1021021"/>
                  </a:lnTo>
                  <a:lnTo>
                    <a:pt x="10560784" y="1016130"/>
                  </a:lnTo>
                  <a:lnTo>
                    <a:pt x="10295263" y="750609"/>
                  </a:lnTo>
                  <a:close/>
                  <a:moveTo>
                    <a:pt x="702930" y="484641"/>
                  </a:moveTo>
                  <a:lnTo>
                    <a:pt x="522656" y="665614"/>
                  </a:lnTo>
                  <a:lnTo>
                    <a:pt x="433217" y="755751"/>
                  </a:lnTo>
                  <a:lnTo>
                    <a:pt x="567375" y="889210"/>
                  </a:lnTo>
                  <a:lnTo>
                    <a:pt x="704328" y="1026164"/>
                  </a:lnTo>
                  <a:lnTo>
                    <a:pt x="968451" y="1026164"/>
                  </a:lnTo>
                  <a:lnTo>
                    <a:pt x="697340" y="755751"/>
                  </a:lnTo>
                  <a:lnTo>
                    <a:pt x="698738" y="754354"/>
                  </a:lnTo>
                  <a:lnTo>
                    <a:pt x="967054" y="484641"/>
                  </a:lnTo>
                  <a:close/>
                  <a:moveTo>
                    <a:pt x="1252140" y="483942"/>
                  </a:moveTo>
                  <a:lnTo>
                    <a:pt x="981727" y="755053"/>
                  </a:lnTo>
                  <a:lnTo>
                    <a:pt x="1252838" y="1025465"/>
                  </a:lnTo>
                  <a:lnTo>
                    <a:pt x="1516962" y="1025465"/>
                  </a:lnTo>
                  <a:lnTo>
                    <a:pt x="1245851" y="755053"/>
                  </a:lnTo>
                  <a:lnTo>
                    <a:pt x="1516263" y="483942"/>
                  </a:lnTo>
                  <a:close/>
                  <a:moveTo>
                    <a:pt x="2899067" y="483243"/>
                  </a:moveTo>
                  <a:lnTo>
                    <a:pt x="2628655" y="754354"/>
                  </a:lnTo>
                  <a:lnTo>
                    <a:pt x="2899766" y="1024766"/>
                  </a:lnTo>
                  <a:lnTo>
                    <a:pt x="3163191" y="1024766"/>
                  </a:lnTo>
                  <a:lnTo>
                    <a:pt x="3032527" y="894800"/>
                  </a:lnTo>
                  <a:lnTo>
                    <a:pt x="2892081" y="754354"/>
                  </a:lnTo>
                  <a:lnTo>
                    <a:pt x="3163191" y="483243"/>
                  </a:lnTo>
                  <a:close/>
                  <a:moveTo>
                    <a:pt x="1799951" y="483243"/>
                  </a:moveTo>
                  <a:lnTo>
                    <a:pt x="1529539" y="754354"/>
                  </a:lnTo>
                  <a:lnTo>
                    <a:pt x="1800650" y="1024766"/>
                  </a:lnTo>
                  <a:lnTo>
                    <a:pt x="1802048" y="1026164"/>
                  </a:lnTo>
                  <a:lnTo>
                    <a:pt x="2066171" y="1026164"/>
                  </a:lnTo>
                  <a:lnTo>
                    <a:pt x="1934808" y="894800"/>
                  </a:lnTo>
                  <a:lnTo>
                    <a:pt x="1797155" y="757148"/>
                  </a:lnTo>
                  <a:lnTo>
                    <a:pt x="2066171" y="483243"/>
                  </a:lnTo>
                  <a:close/>
                  <a:moveTo>
                    <a:pt x="3446879" y="482544"/>
                  </a:moveTo>
                  <a:lnTo>
                    <a:pt x="3176467" y="753655"/>
                  </a:lnTo>
                  <a:lnTo>
                    <a:pt x="3447578" y="1024067"/>
                  </a:lnTo>
                  <a:lnTo>
                    <a:pt x="3711701" y="1024067"/>
                  </a:lnTo>
                  <a:lnTo>
                    <a:pt x="3440590" y="753655"/>
                  </a:lnTo>
                  <a:lnTo>
                    <a:pt x="3625057" y="569188"/>
                  </a:lnTo>
                  <a:lnTo>
                    <a:pt x="3709605" y="482544"/>
                  </a:lnTo>
                  <a:close/>
                  <a:moveTo>
                    <a:pt x="3995389" y="481845"/>
                  </a:moveTo>
                  <a:lnTo>
                    <a:pt x="3724977" y="752956"/>
                  </a:lnTo>
                  <a:lnTo>
                    <a:pt x="3996088" y="1023368"/>
                  </a:lnTo>
                  <a:lnTo>
                    <a:pt x="4260212" y="1023368"/>
                  </a:lnTo>
                  <a:lnTo>
                    <a:pt x="3989100" y="752956"/>
                  </a:lnTo>
                  <a:lnTo>
                    <a:pt x="3990498" y="751558"/>
                  </a:lnTo>
                  <a:lnTo>
                    <a:pt x="3989799" y="751558"/>
                  </a:lnTo>
                  <a:lnTo>
                    <a:pt x="4258116" y="482544"/>
                  </a:lnTo>
                  <a:lnTo>
                    <a:pt x="3999582" y="482544"/>
                  </a:lnTo>
                  <a:lnTo>
                    <a:pt x="4000979" y="481845"/>
                  </a:lnTo>
                  <a:close/>
                  <a:moveTo>
                    <a:pt x="4818383" y="481275"/>
                  </a:moveTo>
                  <a:lnTo>
                    <a:pt x="4550887" y="749462"/>
                  </a:lnTo>
                  <a:lnTo>
                    <a:pt x="4811162" y="749462"/>
                  </a:lnTo>
                  <a:lnTo>
                    <a:pt x="4993404" y="567221"/>
                  </a:lnTo>
                  <a:lnTo>
                    <a:pt x="5079348" y="481275"/>
                  </a:lnTo>
                  <a:close/>
                  <a:moveTo>
                    <a:pt x="4543201" y="481146"/>
                  </a:moveTo>
                  <a:lnTo>
                    <a:pt x="4362227" y="662120"/>
                  </a:lnTo>
                  <a:lnTo>
                    <a:pt x="4362927" y="662819"/>
                  </a:lnTo>
                  <a:lnTo>
                    <a:pt x="4273487" y="752956"/>
                  </a:lnTo>
                  <a:lnTo>
                    <a:pt x="4407646" y="886416"/>
                  </a:lnTo>
                  <a:lnTo>
                    <a:pt x="4543899" y="1022669"/>
                  </a:lnTo>
                  <a:lnTo>
                    <a:pt x="4805312" y="1022669"/>
                  </a:lnTo>
                  <a:lnTo>
                    <a:pt x="4660106" y="877461"/>
                  </a:lnTo>
                  <a:lnTo>
                    <a:pt x="4660106" y="875133"/>
                  </a:lnTo>
                  <a:lnTo>
                    <a:pt x="4536912" y="752257"/>
                  </a:lnTo>
                  <a:lnTo>
                    <a:pt x="4660106" y="628745"/>
                  </a:lnTo>
                  <a:lnTo>
                    <a:pt x="4660106" y="625913"/>
                  </a:lnTo>
                  <a:lnTo>
                    <a:pt x="4804193" y="481146"/>
                  </a:lnTo>
                  <a:close/>
                  <a:moveTo>
                    <a:pt x="2616078" y="481146"/>
                  </a:moveTo>
                  <a:lnTo>
                    <a:pt x="2349859" y="483942"/>
                  </a:lnTo>
                  <a:lnTo>
                    <a:pt x="2079447" y="755053"/>
                  </a:lnTo>
                  <a:lnTo>
                    <a:pt x="2350558" y="1025465"/>
                  </a:lnTo>
                  <a:lnTo>
                    <a:pt x="2614681" y="1025465"/>
                  </a:lnTo>
                  <a:lnTo>
                    <a:pt x="2343570" y="755053"/>
                  </a:lnTo>
                  <a:close/>
                  <a:moveTo>
                    <a:pt x="5363036" y="479879"/>
                  </a:moveTo>
                  <a:lnTo>
                    <a:pt x="5182762" y="660852"/>
                  </a:lnTo>
                  <a:lnTo>
                    <a:pt x="5093323" y="750989"/>
                  </a:lnTo>
                  <a:lnTo>
                    <a:pt x="5227481" y="884448"/>
                  </a:lnTo>
                  <a:lnTo>
                    <a:pt x="5364435" y="1021402"/>
                  </a:lnTo>
                  <a:lnTo>
                    <a:pt x="5628558" y="1021402"/>
                  </a:lnTo>
                  <a:lnTo>
                    <a:pt x="5357446" y="750989"/>
                  </a:lnTo>
                  <a:lnTo>
                    <a:pt x="5358844" y="749592"/>
                  </a:lnTo>
                  <a:lnTo>
                    <a:pt x="5627160" y="479879"/>
                  </a:lnTo>
                  <a:close/>
                  <a:moveTo>
                    <a:pt x="5912246" y="479180"/>
                  </a:moveTo>
                  <a:lnTo>
                    <a:pt x="5641833" y="750291"/>
                  </a:lnTo>
                  <a:lnTo>
                    <a:pt x="5912945" y="1020703"/>
                  </a:lnTo>
                  <a:lnTo>
                    <a:pt x="6177068" y="1020703"/>
                  </a:lnTo>
                  <a:lnTo>
                    <a:pt x="5905958" y="750291"/>
                  </a:lnTo>
                  <a:lnTo>
                    <a:pt x="6176369" y="479180"/>
                  </a:lnTo>
                  <a:close/>
                  <a:moveTo>
                    <a:pt x="7559173" y="478481"/>
                  </a:moveTo>
                  <a:lnTo>
                    <a:pt x="7288761" y="749592"/>
                  </a:lnTo>
                  <a:lnTo>
                    <a:pt x="7559872" y="1020004"/>
                  </a:lnTo>
                  <a:lnTo>
                    <a:pt x="7823297" y="1020004"/>
                  </a:lnTo>
                  <a:lnTo>
                    <a:pt x="7692633" y="890038"/>
                  </a:lnTo>
                  <a:lnTo>
                    <a:pt x="7552187" y="749592"/>
                  </a:lnTo>
                  <a:lnTo>
                    <a:pt x="7823297" y="478481"/>
                  </a:lnTo>
                  <a:close/>
                  <a:moveTo>
                    <a:pt x="6460057" y="478481"/>
                  </a:moveTo>
                  <a:lnTo>
                    <a:pt x="6189645" y="749592"/>
                  </a:lnTo>
                  <a:lnTo>
                    <a:pt x="6460756" y="1020004"/>
                  </a:lnTo>
                  <a:lnTo>
                    <a:pt x="6462154" y="1021402"/>
                  </a:lnTo>
                  <a:lnTo>
                    <a:pt x="6726277" y="1021402"/>
                  </a:lnTo>
                  <a:lnTo>
                    <a:pt x="6594914" y="890038"/>
                  </a:lnTo>
                  <a:lnTo>
                    <a:pt x="6457261" y="752386"/>
                  </a:lnTo>
                  <a:lnTo>
                    <a:pt x="6726277" y="478481"/>
                  </a:lnTo>
                  <a:close/>
                  <a:moveTo>
                    <a:pt x="9476907" y="478100"/>
                  </a:moveTo>
                  <a:lnTo>
                    <a:pt x="9210993" y="744700"/>
                  </a:lnTo>
                  <a:lnTo>
                    <a:pt x="9473165" y="744700"/>
                  </a:lnTo>
                  <a:lnTo>
                    <a:pt x="9653821" y="564046"/>
                  </a:lnTo>
                  <a:lnTo>
                    <a:pt x="9739765" y="478100"/>
                  </a:lnTo>
                  <a:close/>
                  <a:moveTo>
                    <a:pt x="8106985" y="477782"/>
                  </a:moveTo>
                  <a:lnTo>
                    <a:pt x="7836573" y="748893"/>
                  </a:lnTo>
                  <a:lnTo>
                    <a:pt x="8107684" y="1019305"/>
                  </a:lnTo>
                  <a:lnTo>
                    <a:pt x="8371807" y="1019305"/>
                  </a:lnTo>
                  <a:lnTo>
                    <a:pt x="8100696" y="748893"/>
                  </a:lnTo>
                  <a:lnTo>
                    <a:pt x="8285163" y="564426"/>
                  </a:lnTo>
                  <a:lnTo>
                    <a:pt x="8369711" y="477782"/>
                  </a:lnTo>
                  <a:close/>
                  <a:moveTo>
                    <a:pt x="8655495" y="477083"/>
                  </a:moveTo>
                  <a:lnTo>
                    <a:pt x="8385083" y="748194"/>
                  </a:lnTo>
                  <a:lnTo>
                    <a:pt x="8656194" y="1018606"/>
                  </a:lnTo>
                  <a:lnTo>
                    <a:pt x="8920317" y="1018606"/>
                  </a:lnTo>
                  <a:lnTo>
                    <a:pt x="8649206" y="748194"/>
                  </a:lnTo>
                  <a:lnTo>
                    <a:pt x="8650604" y="746796"/>
                  </a:lnTo>
                  <a:lnTo>
                    <a:pt x="8649905" y="746796"/>
                  </a:lnTo>
                  <a:lnTo>
                    <a:pt x="8918222" y="477782"/>
                  </a:lnTo>
                  <a:lnTo>
                    <a:pt x="8659688" y="477782"/>
                  </a:lnTo>
                  <a:lnTo>
                    <a:pt x="8661085" y="477083"/>
                  </a:lnTo>
                  <a:close/>
                  <a:moveTo>
                    <a:pt x="10023453" y="476704"/>
                  </a:moveTo>
                  <a:lnTo>
                    <a:pt x="9843179" y="657677"/>
                  </a:lnTo>
                  <a:lnTo>
                    <a:pt x="9753740" y="747814"/>
                  </a:lnTo>
                  <a:lnTo>
                    <a:pt x="9887898" y="881273"/>
                  </a:lnTo>
                  <a:lnTo>
                    <a:pt x="10024851" y="1018227"/>
                  </a:lnTo>
                  <a:lnTo>
                    <a:pt x="10288974" y="1018227"/>
                  </a:lnTo>
                  <a:lnTo>
                    <a:pt x="10017863" y="747814"/>
                  </a:lnTo>
                  <a:lnTo>
                    <a:pt x="10019261" y="746417"/>
                  </a:lnTo>
                  <a:lnTo>
                    <a:pt x="10287577" y="476704"/>
                  </a:lnTo>
                  <a:close/>
                  <a:moveTo>
                    <a:pt x="9203307" y="476384"/>
                  </a:moveTo>
                  <a:lnTo>
                    <a:pt x="9022333" y="657358"/>
                  </a:lnTo>
                  <a:lnTo>
                    <a:pt x="9023032" y="658057"/>
                  </a:lnTo>
                  <a:lnTo>
                    <a:pt x="8933593" y="748194"/>
                  </a:lnTo>
                  <a:lnTo>
                    <a:pt x="9067752" y="881654"/>
                  </a:lnTo>
                  <a:lnTo>
                    <a:pt x="9204005" y="1017907"/>
                  </a:lnTo>
                  <a:lnTo>
                    <a:pt x="9464142" y="1017907"/>
                  </a:lnTo>
                  <a:lnTo>
                    <a:pt x="9320523" y="874286"/>
                  </a:lnTo>
                  <a:lnTo>
                    <a:pt x="9320523" y="870682"/>
                  </a:lnTo>
                  <a:lnTo>
                    <a:pt x="9197018" y="747495"/>
                  </a:lnTo>
                  <a:lnTo>
                    <a:pt x="9320523" y="623671"/>
                  </a:lnTo>
                  <a:lnTo>
                    <a:pt x="9320523" y="622738"/>
                  </a:lnTo>
                  <a:lnTo>
                    <a:pt x="9466190" y="476384"/>
                  </a:lnTo>
                  <a:close/>
                  <a:moveTo>
                    <a:pt x="7276184" y="476384"/>
                  </a:moveTo>
                  <a:lnTo>
                    <a:pt x="7009966" y="479180"/>
                  </a:lnTo>
                  <a:lnTo>
                    <a:pt x="6739554" y="750291"/>
                  </a:lnTo>
                  <a:lnTo>
                    <a:pt x="7010664" y="1020703"/>
                  </a:lnTo>
                  <a:lnTo>
                    <a:pt x="7274787" y="1020703"/>
                  </a:lnTo>
                  <a:lnTo>
                    <a:pt x="7003677" y="750291"/>
                  </a:lnTo>
                  <a:close/>
                  <a:moveTo>
                    <a:pt x="10572663" y="476005"/>
                  </a:moveTo>
                  <a:lnTo>
                    <a:pt x="10302250" y="747116"/>
                  </a:lnTo>
                  <a:lnTo>
                    <a:pt x="10573361" y="1017528"/>
                  </a:lnTo>
                  <a:lnTo>
                    <a:pt x="10837485" y="1017528"/>
                  </a:lnTo>
                  <a:lnTo>
                    <a:pt x="10566374" y="747116"/>
                  </a:lnTo>
                  <a:lnTo>
                    <a:pt x="10836786" y="476005"/>
                  </a:lnTo>
                  <a:close/>
                  <a:moveTo>
                    <a:pt x="11120474" y="475306"/>
                  </a:moveTo>
                  <a:lnTo>
                    <a:pt x="10850062" y="746417"/>
                  </a:lnTo>
                  <a:lnTo>
                    <a:pt x="11121173" y="1016829"/>
                  </a:lnTo>
                  <a:lnTo>
                    <a:pt x="11122571" y="1018227"/>
                  </a:lnTo>
                  <a:lnTo>
                    <a:pt x="11386694" y="1018227"/>
                  </a:lnTo>
                  <a:lnTo>
                    <a:pt x="11255331" y="886863"/>
                  </a:lnTo>
                  <a:lnTo>
                    <a:pt x="11117678" y="749211"/>
                  </a:lnTo>
                  <a:lnTo>
                    <a:pt x="11386694" y="475306"/>
                  </a:lnTo>
                  <a:close/>
                  <a:moveTo>
                    <a:pt x="11936601" y="473209"/>
                  </a:moveTo>
                  <a:lnTo>
                    <a:pt x="11670382" y="476005"/>
                  </a:lnTo>
                  <a:lnTo>
                    <a:pt x="11399970" y="747116"/>
                  </a:lnTo>
                  <a:lnTo>
                    <a:pt x="11671081" y="1017528"/>
                  </a:lnTo>
                  <a:lnTo>
                    <a:pt x="11935204" y="1017528"/>
                  </a:lnTo>
                  <a:lnTo>
                    <a:pt x="11664093" y="747116"/>
                  </a:lnTo>
                  <a:close/>
                  <a:moveTo>
                    <a:pt x="161407" y="211433"/>
                  </a:moveTo>
                  <a:lnTo>
                    <a:pt x="432518" y="481845"/>
                  </a:lnTo>
                  <a:lnTo>
                    <a:pt x="429724" y="484641"/>
                  </a:lnTo>
                  <a:lnTo>
                    <a:pt x="339586" y="575476"/>
                  </a:lnTo>
                  <a:lnTo>
                    <a:pt x="162106" y="752257"/>
                  </a:lnTo>
                  <a:lnTo>
                    <a:pt x="426230" y="752257"/>
                  </a:lnTo>
                  <a:lnTo>
                    <a:pt x="515668" y="662819"/>
                  </a:lnTo>
                  <a:lnTo>
                    <a:pt x="696642" y="481845"/>
                  </a:lnTo>
                  <a:lnTo>
                    <a:pt x="425531" y="211433"/>
                  </a:lnTo>
                  <a:close/>
                  <a:moveTo>
                    <a:pt x="710617" y="210735"/>
                  </a:moveTo>
                  <a:lnTo>
                    <a:pt x="840582" y="340700"/>
                  </a:lnTo>
                  <a:lnTo>
                    <a:pt x="981029" y="480448"/>
                  </a:lnTo>
                  <a:lnTo>
                    <a:pt x="710617" y="751558"/>
                  </a:lnTo>
                  <a:lnTo>
                    <a:pt x="974740" y="751558"/>
                  </a:lnTo>
                  <a:lnTo>
                    <a:pt x="1245851" y="481146"/>
                  </a:lnTo>
                  <a:lnTo>
                    <a:pt x="974740" y="210735"/>
                  </a:lnTo>
                  <a:close/>
                  <a:moveTo>
                    <a:pt x="2906055" y="210036"/>
                  </a:moveTo>
                  <a:lnTo>
                    <a:pt x="3035322" y="337905"/>
                  </a:lnTo>
                  <a:lnTo>
                    <a:pt x="3035322" y="338604"/>
                  </a:lnTo>
                  <a:lnTo>
                    <a:pt x="3177166" y="480448"/>
                  </a:lnTo>
                  <a:lnTo>
                    <a:pt x="2906754" y="751558"/>
                  </a:lnTo>
                  <a:lnTo>
                    <a:pt x="3170178" y="751558"/>
                  </a:lnTo>
                  <a:lnTo>
                    <a:pt x="3440590" y="480448"/>
                  </a:lnTo>
                  <a:lnTo>
                    <a:pt x="3435000" y="474858"/>
                  </a:lnTo>
                  <a:lnTo>
                    <a:pt x="3434301" y="474858"/>
                  </a:lnTo>
                  <a:lnTo>
                    <a:pt x="3168781" y="210036"/>
                  </a:lnTo>
                  <a:close/>
                  <a:moveTo>
                    <a:pt x="1808336" y="210036"/>
                  </a:moveTo>
                  <a:lnTo>
                    <a:pt x="1810426" y="212824"/>
                  </a:lnTo>
                  <a:lnTo>
                    <a:pt x="1809733" y="212132"/>
                  </a:lnTo>
                  <a:lnTo>
                    <a:pt x="1810432" y="212831"/>
                  </a:lnTo>
                  <a:lnTo>
                    <a:pt x="1810426" y="212824"/>
                  </a:lnTo>
                  <a:lnTo>
                    <a:pt x="2068965" y="470666"/>
                  </a:lnTo>
                  <a:lnTo>
                    <a:pt x="2078748" y="479749"/>
                  </a:lnTo>
                  <a:lnTo>
                    <a:pt x="2080844" y="481845"/>
                  </a:lnTo>
                  <a:lnTo>
                    <a:pt x="1816022" y="751558"/>
                  </a:lnTo>
                  <a:lnTo>
                    <a:pt x="2075254" y="752257"/>
                  </a:lnTo>
                  <a:lnTo>
                    <a:pt x="2344968" y="481845"/>
                  </a:lnTo>
                  <a:lnTo>
                    <a:pt x="2209412" y="346988"/>
                  </a:lnTo>
                  <a:lnTo>
                    <a:pt x="2192643" y="330219"/>
                  </a:lnTo>
                  <a:lnTo>
                    <a:pt x="2073158" y="211433"/>
                  </a:lnTo>
                  <a:lnTo>
                    <a:pt x="2068965" y="210036"/>
                  </a:lnTo>
                  <a:close/>
                  <a:moveTo>
                    <a:pt x="1258428" y="210036"/>
                  </a:moveTo>
                  <a:lnTo>
                    <a:pt x="1529539" y="480448"/>
                  </a:lnTo>
                  <a:lnTo>
                    <a:pt x="1259127" y="751558"/>
                  </a:lnTo>
                  <a:lnTo>
                    <a:pt x="1523250" y="751558"/>
                  </a:lnTo>
                  <a:lnTo>
                    <a:pt x="1793662" y="480448"/>
                  </a:lnTo>
                  <a:lnTo>
                    <a:pt x="1522551" y="210036"/>
                  </a:lnTo>
                  <a:close/>
                  <a:moveTo>
                    <a:pt x="2621668" y="208638"/>
                  </a:moveTo>
                  <a:lnTo>
                    <a:pt x="2358243" y="209337"/>
                  </a:lnTo>
                  <a:lnTo>
                    <a:pt x="2627259" y="477653"/>
                  </a:lnTo>
                  <a:lnTo>
                    <a:pt x="2626560" y="478352"/>
                  </a:lnTo>
                  <a:lnTo>
                    <a:pt x="2627957" y="479749"/>
                  </a:lnTo>
                  <a:lnTo>
                    <a:pt x="2357544" y="750860"/>
                  </a:lnTo>
                  <a:lnTo>
                    <a:pt x="2621668" y="750860"/>
                  </a:lnTo>
                  <a:lnTo>
                    <a:pt x="2711805" y="660723"/>
                  </a:lnTo>
                  <a:lnTo>
                    <a:pt x="2891382" y="477653"/>
                  </a:lnTo>
                  <a:close/>
                  <a:moveTo>
                    <a:pt x="4550188" y="207940"/>
                  </a:moveTo>
                  <a:lnTo>
                    <a:pt x="4817219" y="474283"/>
                  </a:lnTo>
                  <a:lnTo>
                    <a:pt x="5079348" y="473590"/>
                  </a:lnTo>
                  <a:lnTo>
                    <a:pt x="4813011" y="207940"/>
                  </a:lnTo>
                  <a:close/>
                  <a:moveTo>
                    <a:pt x="4001678" y="207940"/>
                  </a:moveTo>
                  <a:lnTo>
                    <a:pt x="4131644" y="337206"/>
                  </a:lnTo>
                  <a:lnTo>
                    <a:pt x="4272090" y="477653"/>
                  </a:lnTo>
                  <a:lnTo>
                    <a:pt x="4179158" y="571284"/>
                  </a:lnTo>
                  <a:lnTo>
                    <a:pt x="4179856" y="571983"/>
                  </a:lnTo>
                  <a:lnTo>
                    <a:pt x="4003075" y="749462"/>
                  </a:lnTo>
                  <a:lnTo>
                    <a:pt x="4265801" y="749462"/>
                  </a:lnTo>
                  <a:lnTo>
                    <a:pt x="4536213" y="478352"/>
                  </a:lnTo>
                  <a:lnTo>
                    <a:pt x="4265103" y="207940"/>
                  </a:lnTo>
                  <a:close/>
                  <a:moveTo>
                    <a:pt x="3453167" y="207940"/>
                  </a:moveTo>
                  <a:lnTo>
                    <a:pt x="3724278" y="478352"/>
                  </a:lnTo>
                  <a:lnTo>
                    <a:pt x="3724977" y="479050"/>
                  </a:lnTo>
                  <a:lnTo>
                    <a:pt x="3454565" y="750161"/>
                  </a:lnTo>
                  <a:lnTo>
                    <a:pt x="3718688" y="750161"/>
                  </a:lnTo>
                  <a:lnTo>
                    <a:pt x="3808127" y="660024"/>
                  </a:lnTo>
                  <a:lnTo>
                    <a:pt x="3807428" y="660024"/>
                  </a:lnTo>
                  <a:lnTo>
                    <a:pt x="3988403" y="479050"/>
                  </a:lnTo>
                  <a:lnTo>
                    <a:pt x="3983511" y="473460"/>
                  </a:lnTo>
                  <a:lnTo>
                    <a:pt x="3717291" y="207940"/>
                  </a:lnTo>
                  <a:close/>
                  <a:moveTo>
                    <a:pt x="4823396" y="206671"/>
                  </a:moveTo>
                  <a:lnTo>
                    <a:pt x="4823396" y="208549"/>
                  </a:lnTo>
                  <a:lnTo>
                    <a:pt x="5092624" y="477083"/>
                  </a:lnTo>
                  <a:lnTo>
                    <a:pt x="5089830" y="479879"/>
                  </a:lnTo>
                  <a:lnTo>
                    <a:pt x="4999692" y="570714"/>
                  </a:lnTo>
                  <a:lnTo>
                    <a:pt x="4823396" y="746316"/>
                  </a:lnTo>
                  <a:lnTo>
                    <a:pt x="4823396" y="747495"/>
                  </a:lnTo>
                  <a:lnTo>
                    <a:pt x="5086337" y="747495"/>
                  </a:lnTo>
                  <a:lnTo>
                    <a:pt x="5175775" y="658057"/>
                  </a:lnTo>
                  <a:lnTo>
                    <a:pt x="5356748" y="477083"/>
                  </a:lnTo>
                  <a:lnTo>
                    <a:pt x="5085637" y="206671"/>
                  </a:lnTo>
                  <a:close/>
                  <a:moveTo>
                    <a:pt x="5370723" y="205973"/>
                  </a:moveTo>
                  <a:lnTo>
                    <a:pt x="5500688" y="335938"/>
                  </a:lnTo>
                  <a:lnTo>
                    <a:pt x="5641135" y="475686"/>
                  </a:lnTo>
                  <a:lnTo>
                    <a:pt x="5370723" y="746796"/>
                  </a:lnTo>
                  <a:lnTo>
                    <a:pt x="5634846" y="746796"/>
                  </a:lnTo>
                  <a:lnTo>
                    <a:pt x="5905958" y="476384"/>
                  </a:lnTo>
                  <a:lnTo>
                    <a:pt x="5634846" y="205973"/>
                  </a:lnTo>
                  <a:close/>
                  <a:moveTo>
                    <a:pt x="7566161" y="205274"/>
                  </a:moveTo>
                  <a:lnTo>
                    <a:pt x="7695428" y="333143"/>
                  </a:lnTo>
                  <a:lnTo>
                    <a:pt x="7695428" y="333842"/>
                  </a:lnTo>
                  <a:lnTo>
                    <a:pt x="7837272" y="475686"/>
                  </a:lnTo>
                  <a:lnTo>
                    <a:pt x="7566860" y="746796"/>
                  </a:lnTo>
                  <a:lnTo>
                    <a:pt x="7830284" y="746796"/>
                  </a:lnTo>
                  <a:lnTo>
                    <a:pt x="8100696" y="475686"/>
                  </a:lnTo>
                  <a:lnTo>
                    <a:pt x="8095106" y="470096"/>
                  </a:lnTo>
                  <a:lnTo>
                    <a:pt x="8094407" y="470096"/>
                  </a:lnTo>
                  <a:lnTo>
                    <a:pt x="7828887" y="205274"/>
                  </a:lnTo>
                  <a:close/>
                  <a:moveTo>
                    <a:pt x="6468443" y="205274"/>
                  </a:moveTo>
                  <a:lnTo>
                    <a:pt x="6470532" y="208062"/>
                  </a:lnTo>
                  <a:lnTo>
                    <a:pt x="6469839" y="207370"/>
                  </a:lnTo>
                  <a:lnTo>
                    <a:pt x="6470538" y="208069"/>
                  </a:lnTo>
                  <a:lnTo>
                    <a:pt x="6470532" y="208062"/>
                  </a:lnTo>
                  <a:lnTo>
                    <a:pt x="6729071" y="465904"/>
                  </a:lnTo>
                  <a:lnTo>
                    <a:pt x="6738854" y="474987"/>
                  </a:lnTo>
                  <a:lnTo>
                    <a:pt x="6740950" y="477083"/>
                  </a:lnTo>
                  <a:lnTo>
                    <a:pt x="6476128" y="746796"/>
                  </a:lnTo>
                  <a:lnTo>
                    <a:pt x="6735361" y="747495"/>
                  </a:lnTo>
                  <a:lnTo>
                    <a:pt x="7005075" y="477083"/>
                  </a:lnTo>
                  <a:lnTo>
                    <a:pt x="6869518" y="342226"/>
                  </a:lnTo>
                  <a:lnTo>
                    <a:pt x="6852749" y="325457"/>
                  </a:lnTo>
                  <a:lnTo>
                    <a:pt x="6733264" y="206671"/>
                  </a:lnTo>
                  <a:lnTo>
                    <a:pt x="6729071" y="205274"/>
                  </a:lnTo>
                  <a:close/>
                  <a:moveTo>
                    <a:pt x="5918534" y="205274"/>
                  </a:moveTo>
                  <a:lnTo>
                    <a:pt x="6189645" y="475686"/>
                  </a:lnTo>
                  <a:lnTo>
                    <a:pt x="5919233" y="746796"/>
                  </a:lnTo>
                  <a:lnTo>
                    <a:pt x="6183356" y="746796"/>
                  </a:lnTo>
                  <a:lnTo>
                    <a:pt x="6453768" y="475686"/>
                  </a:lnTo>
                  <a:lnTo>
                    <a:pt x="6182657" y="205274"/>
                  </a:lnTo>
                  <a:close/>
                  <a:moveTo>
                    <a:pt x="7281774" y="203876"/>
                  </a:moveTo>
                  <a:lnTo>
                    <a:pt x="7018349" y="204575"/>
                  </a:lnTo>
                  <a:lnTo>
                    <a:pt x="7287365" y="472891"/>
                  </a:lnTo>
                  <a:lnTo>
                    <a:pt x="7286666" y="473590"/>
                  </a:lnTo>
                  <a:lnTo>
                    <a:pt x="7288063" y="474987"/>
                  </a:lnTo>
                  <a:lnTo>
                    <a:pt x="7017651" y="746098"/>
                  </a:lnTo>
                  <a:lnTo>
                    <a:pt x="7281774" y="746098"/>
                  </a:lnTo>
                  <a:lnTo>
                    <a:pt x="7371911" y="655961"/>
                  </a:lnTo>
                  <a:lnTo>
                    <a:pt x="7551488" y="472891"/>
                  </a:lnTo>
                  <a:close/>
                  <a:moveTo>
                    <a:pt x="9483502" y="203496"/>
                  </a:moveTo>
                  <a:lnTo>
                    <a:pt x="9483502" y="205064"/>
                  </a:lnTo>
                  <a:lnTo>
                    <a:pt x="9753041" y="473908"/>
                  </a:lnTo>
                  <a:lnTo>
                    <a:pt x="9750247" y="476704"/>
                  </a:lnTo>
                  <a:lnTo>
                    <a:pt x="9660109" y="567539"/>
                  </a:lnTo>
                  <a:lnTo>
                    <a:pt x="9483502" y="743451"/>
                  </a:lnTo>
                  <a:lnTo>
                    <a:pt x="9483502" y="744320"/>
                  </a:lnTo>
                  <a:lnTo>
                    <a:pt x="9746753" y="744320"/>
                  </a:lnTo>
                  <a:lnTo>
                    <a:pt x="9836191" y="654882"/>
                  </a:lnTo>
                  <a:lnTo>
                    <a:pt x="10017165" y="473908"/>
                  </a:lnTo>
                  <a:lnTo>
                    <a:pt x="9746054" y="203496"/>
                  </a:lnTo>
                  <a:close/>
                  <a:moveTo>
                    <a:pt x="9210294" y="203178"/>
                  </a:moveTo>
                  <a:lnTo>
                    <a:pt x="9478913" y="471105"/>
                  </a:lnTo>
                  <a:lnTo>
                    <a:pt x="9739765" y="470415"/>
                  </a:lnTo>
                  <a:lnTo>
                    <a:pt x="9471837" y="203178"/>
                  </a:lnTo>
                  <a:close/>
                  <a:moveTo>
                    <a:pt x="8661784" y="203178"/>
                  </a:moveTo>
                  <a:lnTo>
                    <a:pt x="8791750" y="332444"/>
                  </a:lnTo>
                  <a:lnTo>
                    <a:pt x="8932196" y="472891"/>
                  </a:lnTo>
                  <a:lnTo>
                    <a:pt x="8839264" y="566522"/>
                  </a:lnTo>
                  <a:lnTo>
                    <a:pt x="8839962" y="567221"/>
                  </a:lnTo>
                  <a:lnTo>
                    <a:pt x="8663181" y="744700"/>
                  </a:lnTo>
                  <a:lnTo>
                    <a:pt x="8925907" y="744700"/>
                  </a:lnTo>
                  <a:lnTo>
                    <a:pt x="9196319" y="473590"/>
                  </a:lnTo>
                  <a:lnTo>
                    <a:pt x="8925208" y="203178"/>
                  </a:lnTo>
                  <a:close/>
                  <a:moveTo>
                    <a:pt x="8113273" y="203178"/>
                  </a:moveTo>
                  <a:lnTo>
                    <a:pt x="8384384" y="473590"/>
                  </a:lnTo>
                  <a:lnTo>
                    <a:pt x="8385083" y="474288"/>
                  </a:lnTo>
                  <a:lnTo>
                    <a:pt x="8114671" y="745399"/>
                  </a:lnTo>
                  <a:lnTo>
                    <a:pt x="8378794" y="745399"/>
                  </a:lnTo>
                  <a:lnTo>
                    <a:pt x="8468233" y="655262"/>
                  </a:lnTo>
                  <a:lnTo>
                    <a:pt x="8467534" y="655262"/>
                  </a:lnTo>
                  <a:lnTo>
                    <a:pt x="8648509" y="474288"/>
                  </a:lnTo>
                  <a:lnTo>
                    <a:pt x="8643617" y="468698"/>
                  </a:lnTo>
                  <a:lnTo>
                    <a:pt x="8377397" y="203178"/>
                  </a:lnTo>
                  <a:close/>
                  <a:moveTo>
                    <a:pt x="10031140" y="202798"/>
                  </a:moveTo>
                  <a:lnTo>
                    <a:pt x="10161105" y="332763"/>
                  </a:lnTo>
                  <a:lnTo>
                    <a:pt x="10301552" y="472511"/>
                  </a:lnTo>
                  <a:lnTo>
                    <a:pt x="10031140" y="743621"/>
                  </a:lnTo>
                  <a:lnTo>
                    <a:pt x="10295263" y="743621"/>
                  </a:lnTo>
                  <a:lnTo>
                    <a:pt x="10566374" y="473209"/>
                  </a:lnTo>
                  <a:lnTo>
                    <a:pt x="10295263" y="202798"/>
                  </a:lnTo>
                  <a:close/>
                  <a:moveTo>
                    <a:pt x="11128859" y="202099"/>
                  </a:moveTo>
                  <a:lnTo>
                    <a:pt x="11130949" y="204887"/>
                  </a:lnTo>
                  <a:lnTo>
                    <a:pt x="11130256" y="204195"/>
                  </a:lnTo>
                  <a:lnTo>
                    <a:pt x="11130955" y="204894"/>
                  </a:lnTo>
                  <a:lnTo>
                    <a:pt x="11130949" y="204887"/>
                  </a:lnTo>
                  <a:lnTo>
                    <a:pt x="11389488" y="462729"/>
                  </a:lnTo>
                  <a:lnTo>
                    <a:pt x="11399271" y="471812"/>
                  </a:lnTo>
                  <a:lnTo>
                    <a:pt x="11401367" y="473908"/>
                  </a:lnTo>
                  <a:lnTo>
                    <a:pt x="11136545" y="743621"/>
                  </a:lnTo>
                  <a:lnTo>
                    <a:pt x="11395777" y="744320"/>
                  </a:lnTo>
                  <a:lnTo>
                    <a:pt x="11665491" y="473908"/>
                  </a:lnTo>
                  <a:lnTo>
                    <a:pt x="11529935" y="339051"/>
                  </a:lnTo>
                  <a:lnTo>
                    <a:pt x="11513166" y="322282"/>
                  </a:lnTo>
                  <a:lnTo>
                    <a:pt x="11393681" y="203496"/>
                  </a:lnTo>
                  <a:lnTo>
                    <a:pt x="11389488" y="202099"/>
                  </a:lnTo>
                  <a:close/>
                  <a:moveTo>
                    <a:pt x="10578951" y="202099"/>
                  </a:moveTo>
                  <a:lnTo>
                    <a:pt x="10850062" y="472511"/>
                  </a:lnTo>
                  <a:lnTo>
                    <a:pt x="10579650" y="743621"/>
                  </a:lnTo>
                  <a:lnTo>
                    <a:pt x="10843773" y="743621"/>
                  </a:lnTo>
                  <a:lnTo>
                    <a:pt x="11114185" y="472511"/>
                  </a:lnTo>
                  <a:lnTo>
                    <a:pt x="10843074" y="202099"/>
                  </a:lnTo>
                  <a:close/>
                  <a:moveTo>
                    <a:pt x="73183" y="7937"/>
                  </a:moveTo>
                  <a:lnTo>
                    <a:pt x="84011" y="7937"/>
                  </a:lnTo>
                  <a:lnTo>
                    <a:pt x="0" y="91948"/>
                  </a:lnTo>
                  <a:lnTo>
                    <a:pt x="0" y="81467"/>
                  </a:lnTo>
                  <a:close/>
                  <a:moveTo>
                    <a:pt x="9393706" y="0"/>
                  </a:moveTo>
                  <a:lnTo>
                    <a:pt x="9404534" y="0"/>
                  </a:lnTo>
                  <a:lnTo>
                    <a:pt x="9401359" y="3175"/>
                  </a:lnTo>
                  <a:lnTo>
                    <a:pt x="9401912" y="3175"/>
                  </a:lnTo>
                  <a:lnTo>
                    <a:pt x="9209595" y="195492"/>
                  </a:lnTo>
                  <a:lnTo>
                    <a:pt x="9473165" y="195492"/>
                  </a:lnTo>
                  <a:lnTo>
                    <a:pt x="9668657" y="0"/>
                  </a:lnTo>
                  <a:lnTo>
                    <a:pt x="9679138" y="0"/>
                  </a:lnTo>
                  <a:lnTo>
                    <a:pt x="9483502" y="195636"/>
                  </a:lnTo>
                  <a:lnTo>
                    <a:pt x="9483502" y="196191"/>
                  </a:lnTo>
                  <a:lnTo>
                    <a:pt x="9483184" y="196509"/>
                  </a:lnTo>
                  <a:lnTo>
                    <a:pt x="9746753" y="196509"/>
                  </a:lnTo>
                  <a:lnTo>
                    <a:pt x="9942755" y="0"/>
                  </a:lnTo>
                  <a:lnTo>
                    <a:pt x="9952529" y="0"/>
                  </a:lnTo>
                  <a:lnTo>
                    <a:pt x="9753041" y="200003"/>
                  </a:lnTo>
                  <a:lnTo>
                    <a:pt x="10024851" y="470415"/>
                  </a:lnTo>
                  <a:lnTo>
                    <a:pt x="10288275" y="470415"/>
                  </a:lnTo>
                  <a:lnTo>
                    <a:pt x="10157612" y="340449"/>
                  </a:lnTo>
                  <a:lnTo>
                    <a:pt x="10017165" y="200003"/>
                  </a:lnTo>
                  <a:lnTo>
                    <a:pt x="10216652" y="0"/>
                  </a:lnTo>
                  <a:lnTo>
                    <a:pt x="10227841" y="0"/>
                  </a:lnTo>
                  <a:lnTo>
                    <a:pt x="10031839" y="196509"/>
                  </a:lnTo>
                  <a:lnTo>
                    <a:pt x="10295263" y="196509"/>
                  </a:lnTo>
                  <a:lnTo>
                    <a:pt x="10491265" y="0"/>
                  </a:lnTo>
                  <a:lnTo>
                    <a:pt x="10500342" y="0"/>
                  </a:lnTo>
                  <a:lnTo>
                    <a:pt x="10301552" y="199304"/>
                  </a:lnTo>
                  <a:lnTo>
                    <a:pt x="10572663" y="469716"/>
                  </a:lnTo>
                  <a:lnTo>
                    <a:pt x="10836786" y="469716"/>
                  </a:lnTo>
                  <a:lnTo>
                    <a:pt x="10565675" y="199304"/>
                  </a:lnTo>
                  <a:lnTo>
                    <a:pt x="10764465" y="0"/>
                  </a:lnTo>
                  <a:lnTo>
                    <a:pt x="10773933" y="0"/>
                  </a:lnTo>
                  <a:lnTo>
                    <a:pt x="10757130" y="16933"/>
                  </a:lnTo>
                  <a:lnTo>
                    <a:pt x="10756431" y="16933"/>
                  </a:lnTo>
                  <a:lnTo>
                    <a:pt x="10578951" y="195111"/>
                  </a:lnTo>
                  <a:lnTo>
                    <a:pt x="10843074" y="195111"/>
                  </a:lnTo>
                  <a:lnTo>
                    <a:pt x="11038186" y="0"/>
                  </a:lnTo>
                  <a:lnTo>
                    <a:pt x="11048947" y="0"/>
                  </a:lnTo>
                  <a:lnTo>
                    <a:pt x="10940899" y="108468"/>
                  </a:lnTo>
                  <a:lnTo>
                    <a:pt x="10940200" y="108468"/>
                  </a:lnTo>
                  <a:lnTo>
                    <a:pt x="10850062" y="198605"/>
                  </a:lnTo>
                  <a:lnTo>
                    <a:pt x="11120474" y="469716"/>
                  </a:lnTo>
                  <a:lnTo>
                    <a:pt x="11384597" y="469716"/>
                  </a:lnTo>
                  <a:lnTo>
                    <a:pt x="11113487" y="199304"/>
                  </a:lnTo>
                  <a:lnTo>
                    <a:pt x="11297954" y="14837"/>
                  </a:lnTo>
                  <a:lnTo>
                    <a:pt x="11298653" y="14837"/>
                  </a:lnTo>
                  <a:lnTo>
                    <a:pt x="11313370" y="0"/>
                  </a:lnTo>
                  <a:lnTo>
                    <a:pt x="11322770" y="0"/>
                  </a:lnTo>
                  <a:lnTo>
                    <a:pt x="11128859" y="194412"/>
                  </a:lnTo>
                  <a:lnTo>
                    <a:pt x="11392284" y="194412"/>
                  </a:lnTo>
                  <a:lnTo>
                    <a:pt x="11586696" y="0"/>
                  </a:lnTo>
                  <a:lnTo>
                    <a:pt x="11598062" y="0"/>
                  </a:lnTo>
                  <a:lnTo>
                    <a:pt x="11399271" y="199304"/>
                  </a:lnTo>
                  <a:lnTo>
                    <a:pt x="11668984" y="468319"/>
                  </a:lnTo>
                  <a:lnTo>
                    <a:pt x="11932409" y="468319"/>
                  </a:lnTo>
                  <a:lnTo>
                    <a:pt x="11663395" y="199304"/>
                  </a:lnTo>
                  <a:lnTo>
                    <a:pt x="11664093" y="198605"/>
                  </a:lnTo>
                  <a:lnTo>
                    <a:pt x="11662696" y="197208"/>
                  </a:lnTo>
                  <a:lnTo>
                    <a:pt x="11859391" y="0"/>
                  </a:lnTo>
                  <a:lnTo>
                    <a:pt x="11872675" y="0"/>
                  </a:lnTo>
                  <a:lnTo>
                    <a:pt x="11678766" y="194412"/>
                  </a:lnTo>
                  <a:lnTo>
                    <a:pt x="11940794" y="194412"/>
                  </a:lnTo>
                  <a:lnTo>
                    <a:pt x="12134704" y="0"/>
                  </a:lnTo>
                  <a:lnTo>
                    <a:pt x="12146063" y="0"/>
                  </a:lnTo>
                  <a:lnTo>
                    <a:pt x="11949178" y="197906"/>
                  </a:lnTo>
                  <a:lnTo>
                    <a:pt x="12192001" y="440101"/>
                  </a:lnTo>
                  <a:lnTo>
                    <a:pt x="12192001" y="449864"/>
                  </a:lnTo>
                  <a:lnTo>
                    <a:pt x="11942191" y="200701"/>
                  </a:lnTo>
                  <a:lnTo>
                    <a:pt x="11678766" y="201400"/>
                  </a:lnTo>
                  <a:lnTo>
                    <a:pt x="11947782" y="469716"/>
                  </a:lnTo>
                  <a:lnTo>
                    <a:pt x="11947083" y="470415"/>
                  </a:lnTo>
                  <a:lnTo>
                    <a:pt x="11948480" y="471812"/>
                  </a:lnTo>
                  <a:lnTo>
                    <a:pt x="11678067" y="742923"/>
                  </a:lnTo>
                  <a:lnTo>
                    <a:pt x="11942191" y="742923"/>
                  </a:lnTo>
                  <a:lnTo>
                    <a:pt x="12032328" y="652786"/>
                  </a:lnTo>
                  <a:lnTo>
                    <a:pt x="12192001" y="490007"/>
                  </a:lnTo>
                  <a:lnTo>
                    <a:pt x="12192001" y="502966"/>
                  </a:lnTo>
                  <a:lnTo>
                    <a:pt x="11949178" y="746417"/>
                  </a:lnTo>
                  <a:lnTo>
                    <a:pt x="12192001" y="988614"/>
                  </a:lnTo>
                  <a:lnTo>
                    <a:pt x="12192001" y="999775"/>
                  </a:lnTo>
                  <a:lnTo>
                    <a:pt x="11942191" y="750609"/>
                  </a:lnTo>
                  <a:lnTo>
                    <a:pt x="11678067" y="750609"/>
                  </a:lnTo>
                  <a:lnTo>
                    <a:pt x="11949178" y="1020322"/>
                  </a:lnTo>
                  <a:lnTo>
                    <a:pt x="11946384" y="1023118"/>
                  </a:lnTo>
                  <a:lnTo>
                    <a:pt x="11856246" y="1113953"/>
                  </a:lnTo>
                  <a:lnTo>
                    <a:pt x="11678766" y="1291433"/>
                  </a:lnTo>
                  <a:lnTo>
                    <a:pt x="11942890" y="1291433"/>
                  </a:lnTo>
                  <a:lnTo>
                    <a:pt x="12032328" y="1201994"/>
                  </a:lnTo>
                  <a:lnTo>
                    <a:pt x="12192001" y="1042322"/>
                  </a:lnTo>
                  <a:lnTo>
                    <a:pt x="12192001" y="1052103"/>
                  </a:lnTo>
                  <a:lnTo>
                    <a:pt x="12039316" y="1204790"/>
                  </a:lnTo>
                  <a:lnTo>
                    <a:pt x="11949877" y="1294927"/>
                  </a:lnTo>
                  <a:lnTo>
                    <a:pt x="12084035" y="1428386"/>
                  </a:lnTo>
                  <a:lnTo>
                    <a:pt x="12192001" y="1536351"/>
                  </a:lnTo>
                  <a:lnTo>
                    <a:pt x="12192001" y="1547647"/>
                  </a:lnTo>
                  <a:lnTo>
                    <a:pt x="12079843" y="1436072"/>
                  </a:lnTo>
                  <a:lnTo>
                    <a:pt x="11942890" y="1299119"/>
                  </a:lnTo>
                  <a:lnTo>
                    <a:pt x="11678766" y="1299119"/>
                  </a:lnTo>
                  <a:lnTo>
                    <a:pt x="11949877" y="1569531"/>
                  </a:lnTo>
                  <a:lnTo>
                    <a:pt x="11680164" y="1840642"/>
                  </a:lnTo>
                  <a:lnTo>
                    <a:pt x="11943588" y="1840642"/>
                  </a:lnTo>
                  <a:lnTo>
                    <a:pt x="12192001" y="1591587"/>
                  </a:lnTo>
                  <a:lnTo>
                    <a:pt x="12192001" y="1601385"/>
                  </a:lnTo>
                  <a:lnTo>
                    <a:pt x="11949877" y="1844135"/>
                  </a:lnTo>
                  <a:lnTo>
                    <a:pt x="12192001" y="2085635"/>
                  </a:lnTo>
                  <a:lnTo>
                    <a:pt x="12192001" y="2095403"/>
                  </a:lnTo>
                  <a:lnTo>
                    <a:pt x="11943588" y="1847630"/>
                  </a:lnTo>
                  <a:lnTo>
                    <a:pt x="11680164" y="1847630"/>
                  </a:lnTo>
                  <a:lnTo>
                    <a:pt x="11810129" y="1977595"/>
                  </a:lnTo>
                  <a:lnTo>
                    <a:pt x="11950576" y="2118042"/>
                  </a:lnTo>
                  <a:lnTo>
                    <a:pt x="11680164" y="2389152"/>
                  </a:lnTo>
                  <a:lnTo>
                    <a:pt x="11944287" y="2389152"/>
                  </a:lnTo>
                  <a:lnTo>
                    <a:pt x="12192001" y="2140799"/>
                  </a:lnTo>
                  <a:lnTo>
                    <a:pt x="12192001" y="2150597"/>
                  </a:lnTo>
                  <a:lnTo>
                    <a:pt x="11950576" y="2392646"/>
                  </a:lnTo>
                  <a:lnTo>
                    <a:pt x="12192001" y="2633449"/>
                  </a:lnTo>
                  <a:lnTo>
                    <a:pt x="12192001" y="2643202"/>
                  </a:lnTo>
                  <a:lnTo>
                    <a:pt x="11944287" y="2396139"/>
                  </a:lnTo>
                  <a:lnTo>
                    <a:pt x="11680164" y="2396139"/>
                  </a:lnTo>
                  <a:lnTo>
                    <a:pt x="11681562" y="2397537"/>
                  </a:lnTo>
                  <a:lnTo>
                    <a:pt x="11949877" y="2665853"/>
                  </a:lnTo>
                  <a:lnTo>
                    <a:pt x="11679465" y="2936964"/>
                  </a:lnTo>
                  <a:lnTo>
                    <a:pt x="11943588" y="2936964"/>
                  </a:lnTo>
                  <a:lnTo>
                    <a:pt x="12192001" y="2687909"/>
                  </a:lnTo>
                  <a:lnTo>
                    <a:pt x="12192001" y="2698409"/>
                  </a:lnTo>
                  <a:lnTo>
                    <a:pt x="11950576" y="2940457"/>
                  </a:lnTo>
                  <a:lnTo>
                    <a:pt x="12192001" y="3181261"/>
                  </a:lnTo>
                  <a:lnTo>
                    <a:pt x="12192001" y="3190330"/>
                  </a:lnTo>
                  <a:lnTo>
                    <a:pt x="11944986" y="2943952"/>
                  </a:lnTo>
                  <a:lnTo>
                    <a:pt x="11680863" y="2943952"/>
                  </a:lnTo>
                  <a:lnTo>
                    <a:pt x="11951974" y="3214364"/>
                  </a:lnTo>
                  <a:lnTo>
                    <a:pt x="11681562" y="3485473"/>
                  </a:lnTo>
                  <a:lnTo>
                    <a:pt x="11945685" y="3485473"/>
                  </a:lnTo>
                  <a:lnTo>
                    <a:pt x="12192001" y="3238522"/>
                  </a:lnTo>
                  <a:lnTo>
                    <a:pt x="12192001" y="3249019"/>
                  </a:lnTo>
                  <a:lnTo>
                    <a:pt x="11951275" y="3490365"/>
                  </a:lnTo>
                  <a:lnTo>
                    <a:pt x="12192001" y="3730470"/>
                  </a:lnTo>
                  <a:lnTo>
                    <a:pt x="12192001" y="3738839"/>
                  </a:lnTo>
                  <a:lnTo>
                    <a:pt x="11945685" y="3493160"/>
                  </a:lnTo>
                  <a:lnTo>
                    <a:pt x="11681562" y="3493160"/>
                  </a:lnTo>
                  <a:lnTo>
                    <a:pt x="11951974" y="3762174"/>
                  </a:lnTo>
                  <a:lnTo>
                    <a:pt x="11949178" y="3764969"/>
                  </a:lnTo>
                  <a:lnTo>
                    <a:pt x="11859042" y="3855806"/>
                  </a:lnTo>
                  <a:lnTo>
                    <a:pt x="11682312" y="4032535"/>
                  </a:lnTo>
                  <a:lnTo>
                    <a:pt x="11945176" y="4032535"/>
                  </a:lnTo>
                  <a:lnTo>
                    <a:pt x="12116367" y="3860644"/>
                  </a:lnTo>
                  <a:lnTo>
                    <a:pt x="12118325" y="3860644"/>
                  </a:lnTo>
                  <a:lnTo>
                    <a:pt x="12192001" y="3786969"/>
                  </a:lnTo>
                  <a:lnTo>
                    <a:pt x="12192001" y="3798267"/>
                  </a:lnTo>
                  <a:lnTo>
                    <a:pt x="12042111" y="3948738"/>
                  </a:lnTo>
                  <a:lnTo>
                    <a:pt x="11953840" y="4037700"/>
                  </a:lnTo>
                  <a:lnTo>
                    <a:pt x="12192001" y="4275248"/>
                  </a:lnTo>
                  <a:lnTo>
                    <a:pt x="12192001" y="4286404"/>
                  </a:lnTo>
                  <a:lnTo>
                    <a:pt x="11988663" y="4083594"/>
                  </a:lnTo>
                  <a:lnTo>
                    <a:pt x="11986910" y="4083594"/>
                  </a:lnTo>
                  <a:lnTo>
                    <a:pt x="11946384" y="4043068"/>
                  </a:lnTo>
                  <a:lnTo>
                    <a:pt x="11683900" y="4043068"/>
                  </a:lnTo>
                  <a:lnTo>
                    <a:pt x="11951465" y="4310632"/>
                  </a:lnTo>
                  <a:lnTo>
                    <a:pt x="11952862" y="4312030"/>
                  </a:lnTo>
                  <a:lnTo>
                    <a:pt x="11683847" y="4581743"/>
                  </a:lnTo>
                  <a:lnTo>
                    <a:pt x="11945875" y="4581743"/>
                  </a:lnTo>
                  <a:lnTo>
                    <a:pt x="12192001" y="4334979"/>
                  </a:lnTo>
                  <a:lnTo>
                    <a:pt x="12192001" y="4346260"/>
                  </a:lnTo>
                  <a:lnTo>
                    <a:pt x="11954259" y="4585237"/>
                  </a:lnTo>
                  <a:lnTo>
                    <a:pt x="12192001" y="4822363"/>
                  </a:lnTo>
                  <a:lnTo>
                    <a:pt x="12192001" y="4832127"/>
                  </a:lnTo>
                  <a:lnTo>
                    <a:pt x="11947272" y="4588031"/>
                  </a:lnTo>
                  <a:lnTo>
                    <a:pt x="11683847" y="4588730"/>
                  </a:lnTo>
                  <a:lnTo>
                    <a:pt x="11952862" y="4857047"/>
                  </a:lnTo>
                  <a:lnTo>
                    <a:pt x="11952164" y="4857746"/>
                  </a:lnTo>
                  <a:lnTo>
                    <a:pt x="11953561" y="4859142"/>
                  </a:lnTo>
                  <a:lnTo>
                    <a:pt x="11683148" y="5130253"/>
                  </a:lnTo>
                  <a:lnTo>
                    <a:pt x="11947272" y="5130253"/>
                  </a:lnTo>
                  <a:lnTo>
                    <a:pt x="12037409" y="5040116"/>
                  </a:lnTo>
                  <a:lnTo>
                    <a:pt x="12192001" y="4882518"/>
                  </a:lnTo>
                  <a:lnTo>
                    <a:pt x="12192001" y="4895391"/>
                  </a:lnTo>
                  <a:lnTo>
                    <a:pt x="11954259" y="5133747"/>
                  </a:lnTo>
                  <a:lnTo>
                    <a:pt x="12192001" y="5370876"/>
                  </a:lnTo>
                  <a:lnTo>
                    <a:pt x="12192001" y="5382038"/>
                  </a:lnTo>
                  <a:lnTo>
                    <a:pt x="11947272" y="5137939"/>
                  </a:lnTo>
                  <a:lnTo>
                    <a:pt x="11683148" y="5137939"/>
                  </a:lnTo>
                  <a:lnTo>
                    <a:pt x="11954259" y="5407653"/>
                  </a:lnTo>
                  <a:lnTo>
                    <a:pt x="11951465" y="5410448"/>
                  </a:lnTo>
                  <a:lnTo>
                    <a:pt x="11861327" y="5501283"/>
                  </a:lnTo>
                  <a:lnTo>
                    <a:pt x="11683847" y="5678763"/>
                  </a:lnTo>
                  <a:lnTo>
                    <a:pt x="11947970" y="5678763"/>
                  </a:lnTo>
                  <a:lnTo>
                    <a:pt x="12037409" y="5589325"/>
                  </a:lnTo>
                  <a:lnTo>
                    <a:pt x="12192001" y="5434732"/>
                  </a:lnTo>
                  <a:lnTo>
                    <a:pt x="12192001" y="5444515"/>
                  </a:lnTo>
                  <a:lnTo>
                    <a:pt x="12044397" y="5592120"/>
                  </a:lnTo>
                  <a:lnTo>
                    <a:pt x="11954958" y="5682258"/>
                  </a:lnTo>
                  <a:lnTo>
                    <a:pt x="12089116" y="5815716"/>
                  </a:lnTo>
                  <a:lnTo>
                    <a:pt x="12192001" y="5918601"/>
                  </a:lnTo>
                  <a:lnTo>
                    <a:pt x="12192001" y="5929923"/>
                  </a:lnTo>
                  <a:lnTo>
                    <a:pt x="12084924" y="5823402"/>
                  </a:lnTo>
                  <a:lnTo>
                    <a:pt x="11947970" y="5686450"/>
                  </a:lnTo>
                  <a:lnTo>
                    <a:pt x="11683847" y="5686450"/>
                  </a:lnTo>
                  <a:lnTo>
                    <a:pt x="11954958" y="5956862"/>
                  </a:lnTo>
                  <a:lnTo>
                    <a:pt x="11685245" y="6227973"/>
                  </a:lnTo>
                  <a:lnTo>
                    <a:pt x="11948669" y="6227973"/>
                  </a:lnTo>
                  <a:lnTo>
                    <a:pt x="12192001" y="5984012"/>
                  </a:lnTo>
                  <a:lnTo>
                    <a:pt x="12192001" y="5993810"/>
                  </a:lnTo>
                  <a:lnTo>
                    <a:pt x="11954958" y="6231466"/>
                  </a:lnTo>
                  <a:lnTo>
                    <a:pt x="12192001" y="6467898"/>
                  </a:lnTo>
                  <a:lnTo>
                    <a:pt x="12192001" y="6477665"/>
                  </a:lnTo>
                  <a:lnTo>
                    <a:pt x="11948669" y="6234960"/>
                  </a:lnTo>
                  <a:lnTo>
                    <a:pt x="11685245" y="6234960"/>
                  </a:lnTo>
                  <a:lnTo>
                    <a:pt x="11815210" y="6364925"/>
                  </a:lnTo>
                  <a:lnTo>
                    <a:pt x="11955657" y="6505372"/>
                  </a:lnTo>
                  <a:lnTo>
                    <a:pt x="11945954" y="6515100"/>
                  </a:lnTo>
                  <a:lnTo>
                    <a:pt x="11935461" y="6515100"/>
                  </a:lnTo>
                  <a:lnTo>
                    <a:pt x="11940983" y="6509564"/>
                  </a:lnTo>
                  <a:lnTo>
                    <a:pt x="11677558" y="6509564"/>
                  </a:lnTo>
                  <a:lnTo>
                    <a:pt x="11672044" y="6515100"/>
                  </a:lnTo>
                  <a:lnTo>
                    <a:pt x="11661542" y="6515100"/>
                  </a:lnTo>
                  <a:lnTo>
                    <a:pt x="11671270" y="6505372"/>
                  </a:lnTo>
                  <a:lnTo>
                    <a:pt x="11400159" y="6234960"/>
                  </a:lnTo>
                  <a:lnTo>
                    <a:pt x="11136036" y="6234960"/>
                  </a:lnTo>
                  <a:lnTo>
                    <a:pt x="11407146" y="6505372"/>
                  </a:lnTo>
                  <a:lnTo>
                    <a:pt x="11404352" y="6508166"/>
                  </a:lnTo>
                  <a:lnTo>
                    <a:pt x="11397471" y="6515100"/>
                  </a:lnTo>
                  <a:lnTo>
                    <a:pt x="11387635" y="6515100"/>
                  </a:lnTo>
                  <a:lnTo>
                    <a:pt x="11393171" y="6509564"/>
                  </a:lnTo>
                  <a:lnTo>
                    <a:pt x="11129049" y="6509564"/>
                  </a:lnTo>
                  <a:lnTo>
                    <a:pt x="11123527" y="6515100"/>
                  </a:lnTo>
                  <a:lnTo>
                    <a:pt x="11113055" y="6515100"/>
                  </a:lnTo>
                  <a:lnTo>
                    <a:pt x="11122062" y="6506071"/>
                  </a:lnTo>
                  <a:lnTo>
                    <a:pt x="11117170" y="6501179"/>
                  </a:lnTo>
                  <a:lnTo>
                    <a:pt x="10851650" y="6236358"/>
                  </a:lnTo>
                  <a:lnTo>
                    <a:pt x="10587525" y="6236358"/>
                  </a:lnTo>
                  <a:lnTo>
                    <a:pt x="10588224" y="6237056"/>
                  </a:lnTo>
                  <a:lnTo>
                    <a:pt x="10588923" y="6237056"/>
                  </a:lnTo>
                  <a:lnTo>
                    <a:pt x="10857937" y="6506071"/>
                  </a:lnTo>
                  <a:lnTo>
                    <a:pt x="10848931" y="6515100"/>
                  </a:lnTo>
                  <a:lnTo>
                    <a:pt x="10840523" y="6515100"/>
                  </a:lnTo>
                  <a:lnTo>
                    <a:pt x="10845361" y="6510263"/>
                  </a:lnTo>
                  <a:lnTo>
                    <a:pt x="10581237" y="6510263"/>
                  </a:lnTo>
                  <a:lnTo>
                    <a:pt x="10576412" y="6515100"/>
                  </a:lnTo>
                  <a:lnTo>
                    <a:pt x="10563823" y="6515100"/>
                  </a:lnTo>
                  <a:lnTo>
                    <a:pt x="10572852" y="6506071"/>
                  </a:lnTo>
                  <a:lnTo>
                    <a:pt x="10440092" y="6374009"/>
                  </a:lnTo>
                  <a:lnTo>
                    <a:pt x="10301742" y="6235659"/>
                  </a:lnTo>
                  <a:lnTo>
                    <a:pt x="10037618" y="6235659"/>
                  </a:lnTo>
                  <a:lnTo>
                    <a:pt x="10308729" y="6505372"/>
                  </a:lnTo>
                  <a:lnTo>
                    <a:pt x="10305934" y="6508166"/>
                  </a:lnTo>
                  <a:lnTo>
                    <a:pt x="10299053" y="6515100"/>
                  </a:lnTo>
                  <a:lnTo>
                    <a:pt x="10289917" y="6515100"/>
                  </a:lnTo>
                  <a:lnTo>
                    <a:pt x="10295453" y="6509564"/>
                  </a:lnTo>
                  <a:lnTo>
                    <a:pt x="10036919" y="6509564"/>
                  </a:lnTo>
                  <a:lnTo>
                    <a:pt x="10035464" y="6508865"/>
                  </a:lnTo>
                  <a:lnTo>
                    <a:pt x="10036919" y="6508865"/>
                  </a:lnTo>
                  <a:lnTo>
                    <a:pt x="10019451" y="6500480"/>
                  </a:lnTo>
                  <a:lnTo>
                    <a:pt x="10020794" y="6501824"/>
                  </a:lnTo>
                  <a:lnTo>
                    <a:pt x="10019451" y="6501179"/>
                  </a:lnTo>
                  <a:lnTo>
                    <a:pt x="9753930" y="6236358"/>
                  </a:lnTo>
                  <a:lnTo>
                    <a:pt x="9489807" y="6236358"/>
                  </a:lnTo>
                  <a:lnTo>
                    <a:pt x="9491204" y="6237754"/>
                  </a:lnTo>
                  <a:lnTo>
                    <a:pt x="9760219" y="6506770"/>
                  </a:lnTo>
                  <a:lnTo>
                    <a:pt x="9751867" y="6515100"/>
                  </a:lnTo>
                  <a:lnTo>
                    <a:pt x="9741431" y="6515100"/>
                  </a:lnTo>
                  <a:lnTo>
                    <a:pt x="9746244" y="6510263"/>
                  </a:lnTo>
                  <a:lnTo>
                    <a:pt x="9484783" y="6510263"/>
                  </a:lnTo>
                  <a:lnTo>
                    <a:pt x="9476833" y="6518275"/>
                  </a:lnTo>
                  <a:lnTo>
                    <a:pt x="9466908" y="6518275"/>
                  </a:lnTo>
                  <a:lnTo>
                    <a:pt x="9470109" y="6515100"/>
                  </a:lnTo>
                  <a:lnTo>
                    <a:pt x="9467501" y="6515100"/>
                  </a:lnTo>
                  <a:lnTo>
                    <a:pt x="9472657" y="6509945"/>
                  </a:lnTo>
                  <a:lnTo>
                    <a:pt x="9211183" y="6509945"/>
                  </a:lnTo>
                  <a:lnTo>
                    <a:pt x="9202874" y="6518275"/>
                  </a:lnTo>
                  <a:lnTo>
                    <a:pt x="9191704" y="6518275"/>
                  </a:lnTo>
                  <a:lnTo>
                    <a:pt x="9204195" y="6505752"/>
                  </a:lnTo>
                  <a:lnTo>
                    <a:pt x="9199304" y="6500861"/>
                  </a:lnTo>
                  <a:lnTo>
                    <a:pt x="8933783" y="6235340"/>
                  </a:lnTo>
                  <a:lnTo>
                    <a:pt x="8669660" y="6235340"/>
                  </a:lnTo>
                  <a:lnTo>
                    <a:pt x="8671058" y="6236737"/>
                  </a:lnTo>
                  <a:lnTo>
                    <a:pt x="8940072" y="6505752"/>
                  </a:lnTo>
                  <a:lnTo>
                    <a:pt x="8927581" y="6518275"/>
                  </a:lnTo>
                  <a:lnTo>
                    <a:pt x="8919183" y="6518275"/>
                  </a:lnTo>
                  <a:lnTo>
                    <a:pt x="8926796" y="6510643"/>
                  </a:lnTo>
                  <a:lnTo>
                    <a:pt x="8662672" y="6510643"/>
                  </a:lnTo>
                  <a:lnTo>
                    <a:pt x="8655060" y="6518275"/>
                  </a:lnTo>
                  <a:lnTo>
                    <a:pt x="8643195" y="6518275"/>
                  </a:lnTo>
                  <a:lnTo>
                    <a:pt x="8656384" y="6505053"/>
                  </a:lnTo>
                  <a:lnTo>
                    <a:pt x="8522925" y="6372290"/>
                  </a:lnTo>
                  <a:lnTo>
                    <a:pt x="8525720" y="6366702"/>
                  </a:lnTo>
                  <a:lnTo>
                    <a:pt x="8525021" y="6366004"/>
                  </a:lnTo>
                  <a:lnTo>
                    <a:pt x="8525720" y="6364607"/>
                  </a:lnTo>
                  <a:lnTo>
                    <a:pt x="8662672" y="6501560"/>
                  </a:lnTo>
                  <a:lnTo>
                    <a:pt x="8926796" y="6501560"/>
                  </a:lnTo>
                  <a:lnTo>
                    <a:pt x="8655685" y="6231148"/>
                  </a:lnTo>
                  <a:lnTo>
                    <a:pt x="8657083" y="6229750"/>
                  </a:lnTo>
                  <a:lnTo>
                    <a:pt x="8925398" y="5960736"/>
                  </a:lnTo>
                  <a:lnTo>
                    <a:pt x="8726957" y="5960736"/>
                  </a:lnTo>
                  <a:lnTo>
                    <a:pt x="8730450" y="5953748"/>
                  </a:lnTo>
                  <a:lnTo>
                    <a:pt x="8925398" y="5953748"/>
                  </a:lnTo>
                  <a:lnTo>
                    <a:pt x="8795433" y="5823783"/>
                  </a:lnTo>
                  <a:lnTo>
                    <a:pt x="8798926" y="5816795"/>
                  </a:lnTo>
                  <a:lnTo>
                    <a:pt x="8939373" y="5957241"/>
                  </a:lnTo>
                  <a:lnTo>
                    <a:pt x="8668961" y="6228352"/>
                  </a:lnTo>
                  <a:lnTo>
                    <a:pt x="8933085" y="6228352"/>
                  </a:lnTo>
                  <a:lnTo>
                    <a:pt x="9203497" y="5957241"/>
                  </a:lnTo>
                  <a:lnTo>
                    <a:pt x="8932386" y="5687528"/>
                  </a:lnTo>
                  <a:lnTo>
                    <a:pt x="8863909" y="5687528"/>
                  </a:lnTo>
                  <a:lnTo>
                    <a:pt x="8668961" y="5687528"/>
                  </a:lnTo>
                  <a:lnTo>
                    <a:pt x="8798227" y="5817494"/>
                  </a:lnTo>
                  <a:lnTo>
                    <a:pt x="8794734" y="5824481"/>
                  </a:lnTo>
                  <a:lnTo>
                    <a:pt x="8654287" y="5684035"/>
                  </a:lnTo>
                  <a:lnTo>
                    <a:pt x="8924699" y="5412924"/>
                  </a:lnTo>
                  <a:lnTo>
                    <a:pt x="8660576" y="5412924"/>
                  </a:lnTo>
                  <a:lnTo>
                    <a:pt x="8390164" y="5684035"/>
                  </a:lnTo>
                  <a:lnTo>
                    <a:pt x="8661275" y="5954447"/>
                  </a:lnTo>
                  <a:lnTo>
                    <a:pt x="8729751" y="5954447"/>
                  </a:lnTo>
                  <a:lnTo>
                    <a:pt x="8726258" y="5961434"/>
                  </a:lnTo>
                  <a:lnTo>
                    <a:pt x="8661275" y="5961434"/>
                  </a:lnTo>
                  <a:lnTo>
                    <a:pt x="8481000" y="6142408"/>
                  </a:lnTo>
                  <a:lnTo>
                    <a:pt x="8391562" y="6232545"/>
                  </a:lnTo>
                  <a:lnTo>
                    <a:pt x="8525021" y="6366004"/>
                  </a:lnTo>
                  <a:lnTo>
                    <a:pt x="8522226" y="6371593"/>
                  </a:lnTo>
                  <a:lnTo>
                    <a:pt x="8522925" y="6372290"/>
                  </a:lnTo>
                  <a:lnTo>
                    <a:pt x="8522226" y="6373690"/>
                  </a:lnTo>
                  <a:lnTo>
                    <a:pt x="8385273" y="6236737"/>
                  </a:lnTo>
                  <a:lnTo>
                    <a:pt x="8121150" y="6236737"/>
                  </a:lnTo>
                  <a:lnTo>
                    <a:pt x="8392260" y="6507149"/>
                  </a:lnTo>
                  <a:lnTo>
                    <a:pt x="8381163" y="6518275"/>
                  </a:lnTo>
                  <a:lnTo>
                    <a:pt x="8370672" y="6518275"/>
                  </a:lnTo>
                  <a:lnTo>
                    <a:pt x="8378285" y="6510643"/>
                  </a:lnTo>
                  <a:lnTo>
                    <a:pt x="8114162" y="6510643"/>
                  </a:lnTo>
                  <a:lnTo>
                    <a:pt x="8106549" y="6518275"/>
                  </a:lnTo>
                  <a:lnTo>
                    <a:pt x="8097473" y="6518275"/>
                  </a:lnTo>
                  <a:lnTo>
                    <a:pt x="8107873" y="6507848"/>
                  </a:lnTo>
                  <a:lnTo>
                    <a:pt x="7836763" y="6237436"/>
                  </a:lnTo>
                  <a:lnTo>
                    <a:pt x="7572639" y="6237436"/>
                  </a:lnTo>
                  <a:lnTo>
                    <a:pt x="7843750" y="6507848"/>
                  </a:lnTo>
                  <a:lnTo>
                    <a:pt x="7833350" y="6518275"/>
                  </a:lnTo>
                  <a:lnTo>
                    <a:pt x="7823556" y="6518275"/>
                  </a:lnTo>
                  <a:lnTo>
                    <a:pt x="7829775" y="6512040"/>
                  </a:lnTo>
                  <a:lnTo>
                    <a:pt x="7565652" y="6512040"/>
                  </a:lnTo>
                  <a:lnTo>
                    <a:pt x="7559433" y="6518275"/>
                  </a:lnTo>
                  <a:lnTo>
                    <a:pt x="7549660" y="6518275"/>
                  </a:lnTo>
                  <a:lnTo>
                    <a:pt x="7559363" y="6508547"/>
                  </a:lnTo>
                  <a:lnTo>
                    <a:pt x="7288252" y="6238135"/>
                  </a:lnTo>
                  <a:lnTo>
                    <a:pt x="7024828" y="6238135"/>
                  </a:lnTo>
                  <a:lnTo>
                    <a:pt x="7154793" y="6368100"/>
                  </a:lnTo>
                  <a:lnTo>
                    <a:pt x="7295240" y="6508547"/>
                  </a:lnTo>
                  <a:lnTo>
                    <a:pt x="7285537" y="6518275"/>
                  </a:lnTo>
                  <a:lnTo>
                    <a:pt x="7275044" y="6518275"/>
                  </a:lnTo>
                  <a:lnTo>
                    <a:pt x="7280566" y="6512739"/>
                  </a:lnTo>
                  <a:lnTo>
                    <a:pt x="7017141" y="6512739"/>
                  </a:lnTo>
                  <a:lnTo>
                    <a:pt x="7011627" y="6518275"/>
                  </a:lnTo>
                  <a:lnTo>
                    <a:pt x="7001125" y="6518275"/>
                  </a:lnTo>
                  <a:lnTo>
                    <a:pt x="7010853" y="6508547"/>
                  </a:lnTo>
                  <a:lnTo>
                    <a:pt x="6739742" y="6238135"/>
                  </a:lnTo>
                  <a:lnTo>
                    <a:pt x="6475619" y="6238135"/>
                  </a:lnTo>
                  <a:lnTo>
                    <a:pt x="6746729" y="6508547"/>
                  </a:lnTo>
                  <a:lnTo>
                    <a:pt x="6743935" y="6511341"/>
                  </a:lnTo>
                  <a:lnTo>
                    <a:pt x="6737054" y="6518275"/>
                  </a:lnTo>
                  <a:lnTo>
                    <a:pt x="6727219" y="6518275"/>
                  </a:lnTo>
                  <a:lnTo>
                    <a:pt x="6732754" y="6512739"/>
                  </a:lnTo>
                  <a:lnTo>
                    <a:pt x="6468632" y="6512739"/>
                  </a:lnTo>
                  <a:lnTo>
                    <a:pt x="6463111" y="6518275"/>
                  </a:lnTo>
                  <a:lnTo>
                    <a:pt x="6452638" y="6518275"/>
                  </a:lnTo>
                  <a:lnTo>
                    <a:pt x="6461645" y="6509246"/>
                  </a:lnTo>
                  <a:lnTo>
                    <a:pt x="6456753" y="6504354"/>
                  </a:lnTo>
                  <a:lnTo>
                    <a:pt x="6191234" y="6239533"/>
                  </a:lnTo>
                  <a:lnTo>
                    <a:pt x="5927108" y="6239533"/>
                  </a:lnTo>
                  <a:lnTo>
                    <a:pt x="5927807" y="6240231"/>
                  </a:lnTo>
                  <a:lnTo>
                    <a:pt x="5928507" y="6240231"/>
                  </a:lnTo>
                  <a:lnTo>
                    <a:pt x="6197521" y="6509246"/>
                  </a:lnTo>
                  <a:lnTo>
                    <a:pt x="6188514" y="6518275"/>
                  </a:lnTo>
                  <a:lnTo>
                    <a:pt x="6180107" y="6518275"/>
                  </a:lnTo>
                  <a:lnTo>
                    <a:pt x="6184944" y="6513438"/>
                  </a:lnTo>
                  <a:lnTo>
                    <a:pt x="5920821" y="6513438"/>
                  </a:lnTo>
                  <a:lnTo>
                    <a:pt x="5915996" y="6518275"/>
                  </a:lnTo>
                  <a:lnTo>
                    <a:pt x="5903406" y="6518275"/>
                  </a:lnTo>
                  <a:lnTo>
                    <a:pt x="5912435" y="6509246"/>
                  </a:lnTo>
                  <a:lnTo>
                    <a:pt x="5779675" y="6377184"/>
                  </a:lnTo>
                  <a:lnTo>
                    <a:pt x="5641325" y="6238834"/>
                  </a:lnTo>
                  <a:lnTo>
                    <a:pt x="5377202" y="6238834"/>
                  </a:lnTo>
                  <a:lnTo>
                    <a:pt x="5648312" y="6508547"/>
                  </a:lnTo>
                  <a:lnTo>
                    <a:pt x="5645518" y="6511341"/>
                  </a:lnTo>
                  <a:lnTo>
                    <a:pt x="5638636" y="6518275"/>
                  </a:lnTo>
                  <a:lnTo>
                    <a:pt x="5629500" y="6518275"/>
                  </a:lnTo>
                  <a:lnTo>
                    <a:pt x="5635036" y="6512739"/>
                  </a:lnTo>
                  <a:lnTo>
                    <a:pt x="5376502" y="6512739"/>
                  </a:lnTo>
                  <a:lnTo>
                    <a:pt x="5375047" y="6512040"/>
                  </a:lnTo>
                  <a:lnTo>
                    <a:pt x="5376502" y="6512040"/>
                  </a:lnTo>
                  <a:lnTo>
                    <a:pt x="5359034" y="6503655"/>
                  </a:lnTo>
                  <a:lnTo>
                    <a:pt x="5360377" y="6504999"/>
                  </a:lnTo>
                  <a:lnTo>
                    <a:pt x="5359034" y="6504354"/>
                  </a:lnTo>
                  <a:lnTo>
                    <a:pt x="5093513" y="6239533"/>
                  </a:lnTo>
                  <a:lnTo>
                    <a:pt x="4829390" y="6239533"/>
                  </a:lnTo>
                  <a:lnTo>
                    <a:pt x="4830788" y="6240929"/>
                  </a:lnTo>
                  <a:lnTo>
                    <a:pt x="5099802" y="6509945"/>
                  </a:lnTo>
                  <a:lnTo>
                    <a:pt x="5091450" y="6518275"/>
                  </a:lnTo>
                  <a:lnTo>
                    <a:pt x="5081014" y="6518275"/>
                  </a:lnTo>
                  <a:lnTo>
                    <a:pt x="5085827" y="6513438"/>
                  </a:lnTo>
                  <a:lnTo>
                    <a:pt x="4826252" y="6513438"/>
                  </a:lnTo>
                  <a:lnTo>
                    <a:pt x="4816727" y="6523037"/>
                  </a:lnTo>
                  <a:lnTo>
                    <a:pt x="4806802" y="6523037"/>
                  </a:lnTo>
                  <a:lnTo>
                    <a:pt x="4811603" y="6518275"/>
                  </a:lnTo>
                  <a:lnTo>
                    <a:pt x="4807085" y="6518275"/>
                  </a:lnTo>
                  <a:lnTo>
                    <a:pt x="4810652" y="6514707"/>
                  </a:lnTo>
                  <a:lnTo>
                    <a:pt x="4551077" y="6514707"/>
                  </a:lnTo>
                  <a:lnTo>
                    <a:pt x="4542768" y="6523037"/>
                  </a:lnTo>
                  <a:lnTo>
                    <a:pt x="4531598" y="6523037"/>
                  </a:lnTo>
                  <a:lnTo>
                    <a:pt x="4544090" y="6510514"/>
                  </a:lnTo>
                  <a:lnTo>
                    <a:pt x="4539199" y="6505623"/>
                  </a:lnTo>
                  <a:lnTo>
                    <a:pt x="4273677" y="6240102"/>
                  </a:lnTo>
                  <a:lnTo>
                    <a:pt x="4009554" y="6240102"/>
                  </a:lnTo>
                  <a:lnTo>
                    <a:pt x="4010952" y="6241499"/>
                  </a:lnTo>
                  <a:lnTo>
                    <a:pt x="4279967" y="6510514"/>
                  </a:lnTo>
                  <a:lnTo>
                    <a:pt x="4267475" y="6523037"/>
                  </a:lnTo>
                  <a:lnTo>
                    <a:pt x="4259077" y="6523037"/>
                  </a:lnTo>
                  <a:lnTo>
                    <a:pt x="4266690" y="6515405"/>
                  </a:lnTo>
                  <a:lnTo>
                    <a:pt x="4002566" y="6515405"/>
                  </a:lnTo>
                  <a:lnTo>
                    <a:pt x="3994954" y="6523037"/>
                  </a:lnTo>
                  <a:lnTo>
                    <a:pt x="3983089" y="6523037"/>
                  </a:lnTo>
                  <a:lnTo>
                    <a:pt x="3996278" y="6509815"/>
                  </a:lnTo>
                  <a:lnTo>
                    <a:pt x="3862819" y="6377052"/>
                  </a:lnTo>
                  <a:lnTo>
                    <a:pt x="3865614" y="6371464"/>
                  </a:lnTo>
                  <a:lnTo>
                    <a:pt x="3864915" y="6370766"/>
                  </a:lnTo>
                  <a:lnTo>
                    <a:pt x="3865614" y="6369369"/>
                  </a:lnTo>
                  <a:lnTo>
                    <a:pt x="4002566" y="6506322"/>
                  </a:lnTo>
                  <a:lnTo>
                    <a:pt x="4266690" y="6506322"/>
                  </a:lnTo>
                  <a:lnTo>
                    <a:pt x="3995579" y="6235910"/>
                  </a:lnTo>
                  <a:lnTo>
                    <a:pt x="3996977" y="6234512"/>
                  </a:lnTo>
                  <a:lnTo>
                    <a:pt x="4265292" y="5965498"/>
                  </a:lnTo>
                  <a:lnTo>
                    <a:pt x="4066851" y="5965498"/>
                  </a:lnTo>
                  <a:lnTo>
                    <a:pt x="4070344" y="5958510"/>
                  </a:lnTo>
                  <a:lnTo>
                    <a:pt x="4265292" y="5958510"/>
                  </a:lnTo>
                  <a:lnTo>
                    <a:pt x="4135327" y="5828545"/>
                  </a:lnTo>
                  <a:lnTo>
                    <a:pt x="4138820" y="5821557"/>
                  </a:lnTo>
                  <a:lnTo>
                    <a:pt x="4279267" y="5962003"/>
                  </a:lnTo>
                  <a:lnTo>
                    <a:pt x="4008855" y="6233114"/>
                  </a:lnTo>
                  <a:lnTo>
                    <a:pt x="4272979" y="6233114"/>
                  </a:lnTo>
                  <a:lnTo>
                    <a:pt x="4543392" y="5962003"/>
                  </a:lnTo>
                  <a:lnTo>
                    <a:pt x="4272281" y="5692290"/>
                  </a:lnTo>
                  <a:lnTo>
                    <a:pt x="4203803" y="5692290"/>
                  </a:lnTo>
                  <a:lnTo>
                    <a:pt x="4008855" y="5692290"/>
                  </a:lnTo>
                  <a:lnTo>
                    <a:pt x="4138121" y="5822256"/>
                  </a:lnTo>
                  <a:lnTo>
                    <a:pt x="4134628" y="5829243"/>
                  </a:lnTo>
                  <a:lnTo>
                    <a:pt x="3994181" y="5688797"/>
                  </a:lnTo>
                  <a:lnTo>
                    <a:pt x="4264593" y="5417686"/>
                  </a:lnTo>
                  <a:lnTo>
                    <a:pt x="4000470" y="5417686"/>
                  </a:lnTo>
                  <a:lnTo>
                    <a:pt x="3730058" y="5688797"/>
                  </a:lnTo>
                  <a:lnTo>
                    <a:pt x="4001169" y="5959209"/>
                  </a:lnTo>
                  <a:lnTo>
                    <a:pt x="4069645" y="5959209"/>
                  </a:lnTo>
                  <a:lnTo>
                    <a:pt x="4066152" y="5966196"/>
                  </a:lnTo>
                  <a:lnTo>
                    <a:pt x="4001169" y="5966196"/>
                  </a:lnTo>
                  <a:lnTo>
                    <a:pt x="3820894" y="6147170"/>
                  </a:lnTo>
                  <a:lnTo>
                    <a:pt x="3731456" y="6237307"/>
                  </a:lnTo>
                  <a:lnTo>
                    <a:pt x="3864915" y="6370766"/>
                  </a:lnTo>
                  <a:lnTo>
                    <a:pt x="3862120" y="6376355"/>
                  </a:lnTo>
                  <a:lnTo>
                    <a:pt x="3862819" y="6377052"/>
                  </a:lnTo>
                  <a:lnTo>
                    <a:pt x="3862120" y="6378452"/>
                  </a:lnTo>
                  <a:lnTo>
                    <a:pt x="3725167" y="6241499"/>
                  </a:lnTo>
                  <a:lnTo>
                    <a:pt x="3461044" y="6241499"/>
                  </a:lnTo>
                  <a:lnTo>
                    <a:pt x="3732154" y="6511911"/>
                  </a:lnTo>
                  <a:lnTo>
                    <a:pt x="3721057" y="6523037"/>
                  </a:lnTo>
                  <a:lnTo>
                    <a:pt x="3710566" y="6523037"/>
                  </a:lnTo>
                  <a:lnTo>
                    <a:pt x="3718179" y="6515405"/>
                  </a:lnTo>
                  <a:lnTo>
                    <a:pt x="3454056" y="6515405"/>
                  </a:lnTo>
                  <a:lnTo>
                    <a:pt x="3446443" y="6523037"/>
                  </a:lnTo>
                  <a:lnTo>
                    <a:pt x="3437367" y="6523037"/>
                  </a:lnTo>
                  <a:lnTo>
                    <a:pt x="3447767" y="6512610"/>
                  </a:lnTo>
                  <a:lnTo>
                    <a:pt x="3176657" y="6242198"/>
                  </a:lnTo>
                  <a:lnTo>
                    <a:pt x="2912533" y="6242198"/>
                  </a:lnTo>
                  <a:lnTo>
                    <a:pt x="3183644" y="6512610"/>
                  </a:lnTo>
                  <a:lnTo>
                    <a:pt x="3173244" y="6523037"/>
                  </a:lnTo>
                  <a:lnTo>
                    <a:pt x="3163450" y="6523037"/>
                  </a:lnTo>
                  <a:lnTo>
                    <a:pt x="3169669" y="6516802"/>
                  </a:lnTo>
                  <a:lnTo>
                    <a:pt x="2905546" y="6516802"/>
                  </a:lnTo>
                  <a:lnTo>
                    <a:pt x="2899327" y="6523037"/>
                  </a:lnTo>
                  <a:lnTo>
                    <a:pt x="2889554" y="6523037"/>
                  </a:lnTo>
                  <a:lnTo>
                    <a:pt x="2899257" y="6513309"/>
                  </a:lnTo>
                  <a:lnTo>
                    <a:pt x="2628146" y="6242897"/>
                  </a:lnTo>
                  <a:lnTo>
                    <a:pt x="2364722" y="6242897"/>
                  </a:lnTo>
                  <a:lnTo>
                    <a:pt x="2494687" y="6372862"/>
                  </a:lnTo>
                  <a:lnTo>
                    <a:pt x="2635134" y="6513309"/>
                  </a:lnTo>
                  <a:lnTo>
                    <a:pt x="2625431" y="6523037"/>
                  </a:lnTo>
                  <a:lnTo>
                    <a:pt x="2614938" y="6523037"/>
                  </a:lnTo>
                  <a:lnTo>
                    <a:pt x="2620460" y="6517501"/>
                  </a:lnTo>
                  <a:lnTo>
                    <a:pt x="2357035" y="6517501"/>
                  </a:lnTo>
                  <a:lnTo>
                    <a:pt x="2351521" y="6523037"/>
                  </a:lnTo>
                  <a:lnTo>
                    <a:pt x="2341019" y="6523037"/>
                  </a:lnTo>
                  <a:lnTo>
                    <a:pt x="2350747" y="6513309"/>
                  </a:lnTo>
                  <a:lnTo>
                    <a:pt x="2079636" y="6242897"/>
                  </a:lnTo>
                  <a:lnTo>
                    <a:pt x="1815513" y="6242897"/>
                  </a:lnTo>
                  <a:lnTo>
                    <a:pt x="2086623" y="6513309"/>
                  </a:lnTo>
                  <a:lnTo>
                    <a:pt x="2083829" y="6516103"/>
                  </a:lnTo>
                  <a:lnTo>
                    <a:pt x="2076948" y="6523037"/>
                  </a:lnTo>
                  <a:lnTo>
                    <a:pt x="2067112" y="6523037"/>
                  </a:lnTo>
                  <a:lnTo>
                    <a:pt x="2072648" y="6517501"/>
                  </a:lnTo>
                  <a:lnTo>
                    <a:pt x="1808526" y="6517501"/>
                  </a:lnTo>
                  <a:lnTo>
                    <a:pt x="1803004" y="6523037"/>
                  </a:lnTo>
                  <a:lnTo>
                    <a:pt x="1792532" y="6523037"/>
                  </a:lnTo>
                  <a:lnTo>
                    <a:pt x="1801539" y="6514008"/>
                  </a:lnTo>
                  <a:lnTo>
                    <a:pt x="1796647" y="6509116"/>
                  </a:lnTo>
                  <a:lnTo>
                    <a:pt x="1531127" y="6244295"/>
                  </a:lnTo>
                  <a:lnTo>
                    <a:pt x="1267002" y="6244295"/>
                  </a:lnTo>
                  <a:lnTo>
                    <a:pt x="1267701" y="6244993"/>
                  </a:lnTo>
                  <a:lnTo>
                    <a:pt x="1268400" y="6244993"/>
                  </a:lnTo>
                  <a:lnTo>
                    <a:pt x="1537414" y="6514008"/>
                  </a:lnTo>
                  <a:lnTo>
                    <a:pt x="1528408" y="6523037"/>
                  </a:lnTo>
                  <a:lnTo>
                    <a:pt x="1520000" y="6523037"/>
                  </a:lnTo>
                  <a:lnTo>
                    <a:pt x="1524838" y="6518200"/>
                  </a:lnTo>
                  <a:lnTo>
                    <a:pt x="1260714" y="6518200"/>
                  </a:lnTo>
                  <a:lnTo>
                    <a:pt x="1255889" y="6523037"/>
                  </a:lnTo>
                  <a:lnTo>
                    <a:pt x="1243300" y="6523037"/>
                  </a:lnTo>
                  <a:lnTo>
                    <a:pt x="1252329" y="6514008"/>
                  </a:lnTo>
                  <a:lnTo>
                    <a:pt x="1119569" y="6381946"/>
                  </a:lnTo>
                  <a:lnTo>
                    <a:pt x="981219" y="6243596"/>
                  </a:lnTo>
                  <a:lnTo>
                    <a:pt x="717095" y="6243596"/>
                  </a:lnTo>
                  <a:lnTo>
                    <a:pt x="988206" y="6513309"/>
                  </a:lnTo>
                  <a:lnTo>
                    <a:pt x="985411" y="6516103"/>
                  </a:lnTo>
                  <a:lnTo>
                    <a:pt x="978530" y="6523037"/>
                  </a:lnTo>
                  <a:lnTo>
                    <a:pt x="969394" y="6523037"/>
                  </a:lnTo>
                  <a:lnTo>
                    <a:pt x="974930" y="6517501"/>
                  </a:lnTo>
                  <a:lnTo>
                    <a:pt x="716396" y="6517501"/>
                  </a:lnTo>
                  <a:lnTo>
                    <a:pt x="714941" y="6516802"/>
                  </a:lnTo>
                  <a:lnTo>
                    <a:pt x="716396" y="6516802"/>
                  </a:lnTo>
                  <a:lnTo>
                    <a:pt x="698928" y="6508417"/>
                  </a:lnTo>
                  <a:lnTo>
                    <a:pt x="700271" y="6509761"/>
                  </a:lnTo>
                  <a:lnTo>
                    <a:pt x="698928" y="6509116"/>
                  </a:lnTo>
                  <a:lnTo>
                    <a:pt x="433407" y="6244295"/>
                  </a:lnTo>
                  <a:lnTo>
                    <a:pt x="169284" y="6244295"/>
                  </a:lnTo>
                  <a:lnTo>
                    <a:pt x="170681" y="6245691"/>
                  </a:lnTo>
                  <a:lnTo>
                    <a:pt x="439696" y="6514707"/>
                  </a:lnTo>
                  <a:lnTo>
                    <a:pt x="431344" y="6523037"/>
                  </a:lnTo>
                  <a:lnTo>
                    <a:pt x="420908" y="6523037"/>
                  </a:lnTo>
                  <a:lnTo>
                    <a:pt x="425721" y="6518200"/>
                  </a:lnTo>
                  <a:lnTo>
                    <a:pt x="161597" y="6518200"/>
                  </a:lnTo>
                  <a:lnTo>
                    <a:pt x="156781" y="6523037"/>
                  </a:lnTo>
                  <a:lnTo>
                    <a:pt x="146978" y="6523037"/>
                  </a:lnTo>
                  <a:lnTo>
                    <a:pt x="155309" y="6514707"/>
                  </a:lnTo>
                  <a:lnTo>
                    <a:pt x="21150" y="6381247"/>
                  </a:lnTo>
                  <a:lnTo>
                    <a:pt x="5080" y="6365176"/>
                  </a:lnTo>
                  <a:lnTo>
                    <a:pt x="5080" y="6355394"/>
                  </a:lnTo>
                  <a:lnTo>
                    <a:pt x="24645" y="6374959"/>
                  </a:lnTo>
                  <a:lnTo>
                    <a:pt x="161597" y="6511212"/>
                  </a:lnTo>
                  <a:lnTo>
                    <a:pt x="425721" y="6511212"/>
                  </a:lnTo>
                  <a:lnTo>
                    <a:pt x="154610" y="6240800"/>
                  </a:lnTo>
                  <a:lnTo>
                    <a:pt x="156008" y="6239403"/>
                  </a:lnTo>
                  <a:lnTo>
                    <a:pt x="156706" y="6239403"/>
                  </a:lnTo>
                  <a:lnTo>
                    <a:pt x="425022" y="5970389"/>
                  </a:lnTo>
                  <a:lnTo>
                    <a:pt x="161597" y="5970389"/>
                  </a:lnTo>
                  <a:lnTo>
                    <a:pt x="5080" y="6126906"/>
                  </a:lnTo>
                  <a:lnTo>
                    <a:pt x="5080" y="6116425"/>
                  </a:lnTo>
                  <a:lnTo>
                    <a:pt x="154610" y="5966894"/>
                  </a:lnTo>
                  <a:lnTo>
                    <a:pt x="5080" y="5817364"/>
                  </a:lnTo>
                  <a:lnTo>
                    <a:pt x="5080" y="5806884"/>
                  </a:lnTo>
                  <a:lnTo>
                    <a:pt x="161597" y="5962702"/>
                  </a:lnTo>
                  <a:lnTo>
                    <a:pt x="425022" y="5962702"/>
                  </a:lnTo>
                  <a:lnTo>
                    <a:pt x="295057" y="5832737"/>
                  </a:lnTo>
                  <a:lnTo>
                    <a:pt x="154610" y="5692290"/>
                  </a:lnTo>
                  <a:lnTo>
                    <a:pt x="425022" y="5421878"/>
                  </a:lnTo>
                  <a:lnTo>
                    <a:pt x="160898" y="5421878"/>
                  </a:lnTo>
                  <a:lnTo>
                    <a:pt x="5080" y="5577697"/>
                  </a:lnTo>
                  <a:lnTo>
                    <a:pt x="5080" y="5567216"/>
                  </a:lnTo>
                  <a:lnTo>
                    <a:pt x="153911" y="5418385"/>
                  </a:lnTo>
                  <a:lnTo>
                    <a:pt x="5080" y="5269553"/>
                  </a:lnTo>
                  <a:lnTo>
                    <a:pt x="5080" y="5259072"/>
                  </a:lnTo>
                  <a:lnTo>
                    <a:pt x="160898" y="5414192"/>
                  </a:lnTo>
                  <a:lnTo>
                    <a:pt x="425022" y="5414192"/>
                  </a:lnTo>
                  <a:lnTo>
                    <a:pt x="153911" y="5143780"/>
                  </a:lnTo>
                  <a:lnTo>
                    <a:pt x="338378" y="4959313"/>
                  </a:lnTo>
                  <a:lnTo>
                    <a:pt x="424323" y="4873368"/>
                  </a:lnTo>
                  <a:lnTo>
                    <a:pt x="160200" y="4873368"/>
                  </a:lnTo>
                  <a:lnTo>
                    <a:pt x="5080" y="5028489"/>
                  </a:lnTo>
                  <a:lnTo>
                    <a:pt x="5080" y="5018007"/>
                  </a:lnTo>
                  <a:lnTo>
                    <a:pt x="153212" y="4869176"/>
                  </a:lnTo>
                  <a:lnTo>
                    <a:pt x="148321" y="4864285"/>
                  </a:lnTo>
                  <a:lnTo>
                    <a:pt x="5080" y="4721741"/>
                  </a:lnTo>
                  <a:lnTo>
                    <a:pt x="5080" y="4711960"/>
                  </a:lnTo>
                  <a:lnTo>
                    <a:pt x="160200" y="4866380"/>
                  </a:lnTo>
                  <a:lnTo>
                    <a:pt x="424323" y="4865683"/>
                  </a:lnTo>
                  <a:lnTo>
                    <a:pt x="153212" y="4595271"/>
                  </a:lnTo>
                  <a:lnTo>
                    <a:pt x="423624" y="4324859"/>
                  </a:lnTo>
                  <a:lnTo>
                    <a:pt x="159501" y="4324859"/>
                  </a:lnTo>
                  <a:lnTo>
                    <a:pt x="5080" y="4479279"/>
                  </a:lnTo>
                  <a:lnTo>
                    <a:pt x="5080" y="4468799"/>
                  </a:lnTo>
                  <a:lnTo>
                    <a:pt x="152513" y="4320665"/>
                  </a:lnTo>
                  <a:lnTo>
                    <a:pt x="5080" y="4173930"/>
                  </a:lnTo>
                  <a:lnTo>
                    <a:pt x="5080" y="4163449"/>
                  </a:lnTo>
                  <a:lnTo>
                    <a:pt x="159501" y="4317172"/>
                  </a:lnTo>
                  <a:lnTo>
                    <a:pt x="423624" y="4317172"/>
                  </a:lnTo>
                  <a:lnTo>
                    <a:pt x="152513" y="4047459"/>
                  </a:lnTo>
                  <a:lnTo>
                    <a:pt x="331391" y="3868581"/>
                  </a:lnTo>
                  <a:lnTo>
                    <a:pt x="331489" y="3868581"/>
                  </a:lnTo>
                  <a:lnTo>
                    <a:pt x="422038" y="3777797"/>
                  </a:lnTo>
                  <a:lnTo>
                    <a:pt x="225692" y="3777797"/>
                  </a:lnTo>
                  <a:lnTo>
                    <a:pt x="226391" y="3776401"/>
                  </a:lnTo>
                  <a:lnTo>
                    <a:pt x="158613" y="3776401"/>
                  </a:lnTo>
                  <a:lnTo>
                    <a:pt x="0" y="3935012"/>
                  </a:lnTo>
                  <a:lnTo>
                    <a:pt x="0" y="3925231"/>
                  </a:lnTo>
                  <a:lnTo>
                    <a:pt x="152324" y="3772906"/>
                  </a:lnTo>
                  <a:lnTo>
                    <a:pt x="0" y="3621281"/>
                  </a:lnTo>
                  <a:lnTo>
                    <a:pt x="0" y="3610800"/>
                  </a:lnTo>
                  <a:lnTo>
                    <a:pt x="159312" y="3768713"/>
                  </a:lnTo>
                  <a:lnTo>
                    <a:pt x="423435" y="3768713"/>
                  </a:lnTo>
                  <a:lnTo>
                    <a:pt x="294168" y="3640146"/>
                  </a:lnTo>
                  <a:lnTo>
                    <a:pt x="152324" y="3499001"/>
                  </a:lnTo>
                  <a:lnTo>
                    <a:pt x="336093" y="3313835"/>
                  </a:lnTo>
                  <a:lnTo>
                    <a:pt x="422038" y="3227890"/>
                  </a:lnTo>
                  <a:lnTo>
                    <a:pt x="157914" y="3227890"/>
                  </a:lnTo>
                  <a:lnTo>
                    <a:pt x="0" y="3386503"/>
                  </a:lnTo>
                  <a:lnTo>
                    <a:pt x="0" y="3376021"/>
                  </a:lnTo>
                  <a:lnTo>
                    <a:pt x="152324" y="3224396"/>
                  </a:lnTo>
                  <a:lnTo>
                    <a:pt x="146735" y="3219505"/>
                  </a:lnTo>
                  <a:lnTo>
                    <a:pt x="0" y="3073469"/>
                  </a:lnTo>
                  <a:lnTo>
                    <a:pt x="0" y="3062989"/>
                  </a:lnTo>
                  <a:lnTo>
                    <a:pt x="157914" y="3220903"/>
                  </a:lnTo>
                  <a:lnTo>
                    <a:pt x="422038" y="3220903"/>
                  </a:lnTo>
                  <a:lnTo>
                    <a:pt x="150927" y="2950491"/>
                  </a:lnTo>
                  <a:lnTo>
                    <a:pt x="421339" y="2679380"/>
                  </a:lnTo>
                  <a:lnTo>
                    <a:pt x="157215" y="2679380"/>
                  </a:lnTo>
                  <a:lnTo>
                    <a:pt x="0" y="2837294"/>
                  </a:lnTo>
                  <a:lnTo>
                    <a:pt x="0" y="2826812"/>
                  </a:lnTo>
                  <a:lnTo>
                    <a:pt x="150927" y="2675886"/>
                  </a:lnTo>
                  <a:lnTo>
                    <a:pt x="0" y="2525658"/>
                  </a:lnTo>
                  <a:lnTo>
                    <a:pt x="0" y="2515876"/>
                  </a:lnTo>
                  <a:lnTo>
                    <a:pt x="157914" y="2672393"/>
                  </a:lnTo>
                  <a:lnTo>
                    <a:pt x="422038" y="2672393"/>
                  </a:lnTo>
                  <a:lnTo>
                    <a:pt x="150927" y="2401981"/>
                  </a:lnTo>
                  <a:lnTo>
                    <a:pt x="420640" y="2130870"/>
                  </a:lnTo>
                  <a:lnTo>
                    <a:pt x="156517" y="2130870"/>
                  </a:lnTo>
                  <a:lnTo>
                    <a:pt x="0" y="2288085"/>
                  </a:lnTo>
                  <a:lnTo>
                    <a:pt x="0" y="2277604"/>
                  </a:lnTo>
                  <a:lnTo>
                    <a:pt x="150228" y="2127376"/>
                  </a:lnTo>
                  <a:lnTo>
                    <a:pt x="16070" y="1993917"/>
                  </a:lnTo>
                  <a:lnTo>
                    <a:pt x="0" y="1977846"/>
                  </a:lnTo>
                  <a:lnTo>
                    <a:pt x="0" y="1968064"/>
                  </a:lnTo>
                  <a:lnTo>
                    <a:pt x="19564" y="1987628"/>
                  </a:lnTo>
                  <a:lnTo>
                    <a:pt x="156517" y="2123882"/>
                  </a:lnTo>
                  <a:lnTo>
                    <a:pt x="420640" y="2123882"/>
                  </a:lnTo>
                  <a:lnTo>
                    <a:pt x="149529" y="1853470"/>
                  </a:lnTo>
                  <a:lnTo>
                    <a:pt x="150927" y="1852072"/>
                  </a:lnTo>
                  <a:lnTo>
                    <a:pt x="151626" y="1852072"/>
                  </a:lnTo>
                  <a:lnTo>
                    <a:pt x="419941" y="1583058"/>
                  </a:lnTo>
                  <a:lnTo>
                    <a:pt x="156517" y="1583058"/>
                  </a:lnTo>
                  <a:lnTo>
                    <a:pt x="0" y="1739574"/>
                  </a:lnTo>
                  <a:lnTo>
                    <a:pt x="0" y="1729094"/>
                  </a:lnTo>
                  <a:lnTo>
                    <a:pt x="149529" y="1579564"/>
                  </a:lnTo>
                  <a:lnTo>
                    <a:pt x="0" y="1430035"/>
                  </a:lnTo>
                  <a:lnTo>
                    <a:pt x="0" y="1419554"/>
                  </a:lnTo>
                  <a:lnTo>
                    <a:pt x="156517" y="1575372"/>
                  </a:lnTo>
                  <a:lnTo>
                    <a:pt x="419941" y="1575372"/>
                  </a:lnTo>
                  <a:lnTo>
                    <a:pt x="289976" y="1445407"/>
                  </a:lnTo>
                  <a:lnTo>
                    <a:pt x="149529" y="1304960"/>
                  </a:lnTo>
                  <a:lnTo>
                    <a:pt x="419941" y="1034548"/>
                  </a:lnTo>
                  <a:lnTo>
                    <a:pt x="155818" y="1034548"/>
                  </a:lnTo>
                  <a:lnTo>
                    <a:pt x="0" y="1190365"/>
                  </a:lnTo>
                  <a:lnTo>
                    <a:pt x="0" y="1179885"/>
                  </a:lnTo>
                  <a:lnTo>
                    <a:pt x="148830" y="1031055"/>
                  </a:lnTo>
                  <a:lnTo>
                    <a:pt x="0" y="882223"/>
                  </a:lnTo>
                  <a:lnTo>
                    <a:pt x="0" y="871743"/>
                  </a:lnTo>
                  <a:lnTo>
                    <a:pt x="155818" y="1026861"/>
                  </a:lnTo>
                  <a:lnTo>
                    <a:pt x="419941" y="1026861"/>
                  </a:lnTo>
                  <a:lnTo>
                    <a:pt x="148830" y="756449"/>
                  </a:lnTo>
                  <a:lnTo>
                    <a:pt x="333298" y="571983"/>
                  </a:lnTo>
                  <a:lnTo>
                    <a:pt x="419242" y="486037"/>
                  </a:lnTo>
                  <a:lnTo>
                    <a:pt x="155119" y="486037"/>
                  </a:lnTo>
                  <a:lnTo>
                    <a:pt x="0" y="641157"/>
                  </a:lnTo>
                  <a:lnTo>
                    <a:pt x="0" y="630675"/>
                  </a:lnTo>
                  <a:lnTo>
                    <a:pt x="148131" y="481845"/>
                  </a:lnTo>
                  <a:lnTo>
                    <a:pt x="143240" y="476954"/>
                  </a:lnTo>
                  <a:lnTo>
                    <a:pt x="0" y="334412"/>
                  </a:lnTo>
                  <a:lnTo>
                    <a:pt x="0" y="324630"/>
                  </a:lnTo>
                  <a:lnTo>
                    <a:pt x="155119" y="479050"/>
                  </a:lnTo>
                  <a:lnTo>
                    <a:pt x="419242" y="478352"/>
                  </a:lnTo>
                  <a:lnTo>
                    <a:pt x="148131" y="207940"/>
                  </a:lnTo>
                  <a:lnTo>
                    <a:pt x="348134" y="7937"/>
                  </a:lnTo>
                  <a:lnTo>
                    <a:pt x="358615" y="7937"/>
                  </a:lnTo>
                  <a:lnTo>
                    <a:pt x="162106" y="204446"/>
                  </a:lnTo>
                  <a:lnTo>
                    <a:pt x="426230" y="204446"/>
                  </a:lnTo>
                  <a:lnTo>
                    <a:pt x="622232" y="7937"/>
                  </a:lnTo>
                  <a:lnTo>
                    <a:pt x="632006" y="7937"/>
                  </a:lnTo>
                  <a:lnTo>
                    <a:pt x="432518" y="207940"/>
                  </a:lnTo>
                  <a:lnTo>
                    <a:pt x="704328" y="478352"/>
                  </a:lnTo>
                  <a:lnTo>
                    <a:pt x="967752" y="478352"/>
                  </a:lnTo>
                  <a:lnTo>
                    <a:pt x="837089" y="348386"/>
                  </a:lnTo>
                  <a:lnTo>
                    <a:pt x="696642" y="207940"/>
                  </a:lnTo>
                  <a:lnTo>
                    <a:pt x="896129" y="7937"/>
                  </a:lnTo>
                  <a:lnTo>
                    <a:pt x="907318" y="7937"/>
                  </a:lnTo>
                  <a:lnTo>
                    <a:pt x="711316" y="204446"/>
                  </a:lnTo>
                  <a:lnTo>
                    <a:pt x="974740" y="204446"/>
                  </a:lnTo>
                  <a:lnTo>
                    <a:pt x="1170742" y="7937"/>
                  </a:lnTo>
                  <a:lnTo>
                    <a:pt x="1179819" y="7937"/>
                  </a:lnTo>
                  <a:lnTo>
                    <a:pt x="981029" y="207241"/>
                  </a:lnTo>
                  <a:lnTo>
                    <a:pt x="1252140" y="477653"/>
                  </a:lnTo>
                  <a:lnTo>
                    <a:pt x="1516263" y="477653"/>
                  </a:lnTo>
                  <a:lnTo>
                    <a:pt x="1245152" y="207241"/>
                  </a:lnTo>
                  <a:lnTo>
                    <a:pt x="1443942" y="7937"/>
                  </a:lnTo>
                  <a:lnTo>
                    <a:pt x="1453410" y="7937"/>
                  </a:lnTo>
                  <a:lnTo>
                    <a:pt x="1436607" y="24870"/>
                  </a:lnTo>
                  <a:lnTo>
                    <a:pt x="1435908" y="24870"/>
                  </a:lnTo>
                  <a:lnTo>
                    <a:pt x="1258428" y="203048"/>
                  </a:lnTo>
                  <a:lnTo>
                    <a:pt x="1522551" y="203048"/>
                  </a:lnTo>
                  <a:lnTo>
                    <a:pt x="1717663" y="7937"/>
                  </a:lnTo>
                  <a:lnTo>
                    <a:pt x="1728424" y="7937"/>
                  </a:lnTo>
                  <a:lnTo>
                    <a:pt x="1620376" y="116405"/>
                  </a:lnTo>
                  <a:lnTo>
                    <a:pt x="1619677" y="116405"/>
                  </a:lnTo>
                  <a:lnTo>
                    <a:pt x="1529539" y="206542"/>
                  </a:lnTo>
                  <a:lnTo>
                    <a:pt x="1799951" y="477653"/>
                  </a:lnTo>
                  <a:lnTo>
                    <a:pt x="2064074" y="477653"/>
                  </a:lnTo>
                  <a:lnTo>
                    <a:pt x="1792964" y="207241"/>
                  </a:lnTo>
                  <a:lnTo>
                    <a:pt x="1977431" y="22774"/>
                  </a:lnTo>
                  <a:lnTo>
                    <a:pt x="1978130" y="22774"/>
                  </a:lnTo>
                  <a:lnTo>
                    <a:pt x="1992847" y="7937"/>
                  </a:lnTo>
                  <a:lnTo>
                    <a:pt x="2002247" y="7937"/>
                  </a:lnTo>
                  <a:lnTo>
                    <a:pt x="1808336" y="202349"/>
                  </a:lnTo>
                  <a:lnTo>
                    <a:pt x="2071761" y="202349"/>
                  </a:lnTo>
                  <a:lnTo>
                    <a:pt x="2266173" y="7937"/>
                  </a:lnTo>
                  <a:lnTo>
                    <a:pt x="2277539" y="7937"/>
                  </a:lnTo>
                  <a:lnTo>
                    <a:pt x="2078748" y="207241"/>
                  </a:lnTo>
                  <a:lnTo>
                    <a:pt x="2348461" y="476256"/>
                  </a:lnTo>
                  <a:lnTo>
                    <a:pt x="2611886" y="476256"/>
                  </a:lnTo>
                  <a:lnTo>
                    <a:pt x="2342872" y="207241"/>
                  </a:lnTo>
                  <a:lnTo>
                    <a:pt x="2343570" y="206542"/>
                  </a:lnTo>
                  <a:lnTo>
                    <a:pt x="2342173" y="205145"/>
                  </a:lnTo>
                  <a:lnTo>
                    <a:pt x="2538868" y="7937"/>
                  </a:lnTo>
                  <a:lnTo>
                    <a:pt x="2552152" y="7937"/>
                  </a:lnTo>
                  <a:lnTo>
                    <a:pt x="2358243" y="202349"/>
                  </a:lnTo>
                  <a:lnTo>
                    <a:pt x="2620271" y="202349"/>
                  </a:lnTo>
                  <a:lnTo>
                    <a:pt x="2814181" y="7937"/>
                  </a:lnTo>
                  <a:lnTo>
                    <a:pt x="2825540" y="7937"/>
                  </a:lnTo>
                  <a:lnTo>
                    <a:pt x="2628655" y="205843"/>
                  </a:lnTo>
                  <a:lnTo>
                    <a:pt x="2898368" y="474858"/>
                  </a:lnTo>
                  <a:lnTo>
                    <a:pt x="3163191" y="476256"/>
                  </a:lnTo>
                  <a:lnTo>
                    <a:pt x="2892081" y="205843"/>
                  </a:lnTo>
                  <a:lnTo>
                    <a:pt x="2890683" y="204446"/>
                  </a:lnTo>
                  <a:lnTo>
                    <a:pt x="3086683" y="7937"/>
                  </a:lnTo>
                  <a:lnTo>
                    <a:pt x="3097556" y="7937"/>
                  </a:lnTo>
                  <a:lnTo>
                    <a:pt x="3082137" y="23473"/>
                  </a:lnTo>
                  <a:lnTo>
                    <a:pt x="3082836" y="24172"/>
                  </a:lnTo>
                  <a:lnTo>
                    <a:pt x="2906754" y="200254"/>
                  </a:lnTo>
                  <a:lnTo>
                    <a:pt x="3103099" y="200254"/>
                  </a:lnTo>
                  <a:lnTo>
                    <a:pt x="3102401" y="201651"/>
                  </a:lnTo>
                  <a:lnTo>
                    <a:pt x="3168083" y="201651"/>
                  </a:lnTo>
                  <a:lnTo>
                    <a:pt x="3361298" y="7937"/>
                  </a:lnTo>
                  <a:lnTo>
                    <a:pt x="3371863" y="7937"/>
                  </a:lnTo>
                  <a:lnTo>
                    <a:pt x="3264508" y="115706"/>
                  </a:lnTo>
                  <a:lnTo>
                    <a:pt x="3265906" y="116405"/>
                  </a:lnTo>
                  <a:lnTo>
                    <a:pt x="3176467" y="205843"/>
                  </a:lnTo>
                  <a:lnTo>
                    <a:pt x="3446879" y="475557"/>
                  </a:lnTo>
                  <a:lnTo>
                    <a:pt x="3710303" y="475557"/>
                  </a:lnTo>
                  <a:lnTo>
                    <a:pt x="3439891" y="205843"/>
                  </a:lnTo>
                  <a:lnTo>
                    <a:pt x="3439193" y="205145"/>
                  </a:lnTo>
                  <a:lnTo>
                    <a:pt x="3635893" y="7937"/>
                  </a:lnTo>
                  <a:lnTo>
                    <a:pt x="3646183" y="7937"/>
                  </a:lnTo>
                  <a:lnTo>
                    <a:pt x="3453167" y="200953"/>
                  </a:lnTo>
                  <a:lnTo>
                    <a:pt x="3717291" y="200953"/>
                  </a:lnTo>
                  <a:lnTo>
                    <a:pt x="3910306" y="7937"/>
                  </a:lnTo>
                  <a:lnTo>
                    <a:pt x="3919582" y="7937"/>
                  </a:lnTo>
                  <a:lnTo>
                    <a:pt x="3723579" y="204446"/>
                  </a:lnTo>
                  <a:lnTo>
                    <a:pt x="3994690" y="474858"/>
                  </a:lnTo>
                  <a:lnTo>
                    <a:pt x="4258116" y="474858"/>
                  </a:lnTo>
                  <a:lnTo>
                    <a:pt x="4128150" y="344893"/>
                  </a:lnTo>
                  <a:lnTo>
                    <a:pt x="3987703" y="204446"/>
                  </a:lnTo>
                  <a:lnTo>
                    <a:pt x="4183705" y="7937"/>
                  </a:lnTo>
                  <a:lnTo>
                    <a:pt x="4194197" y="7937"/>
                  </a:lnTo>
                  <a:lnTo>
                    <a:pt x="4002377" y="200254"/>
                  </a:lnTo>
                  <a:lnTo>
                    <a:pt x="4265801" y="200254"/>
                  </a:lnTo>
                  <a:lnTo>
                    <a:pt x="4457622" y="7937"/>
                  </a:lnTo>
                  <a:lnTo>
                    <a:pt x="4467396" y="7937"/>
                  </a:lnTo>
                  <a:lnTo>
                    <a:pt x="4272090" y="203747"/>
                  </a:lnTo>
                  <a:lnTo>
                    <a:pt x="4543201" y="474159"/>
                  </a:lnTo>
                  <a:lnTo>
                    <a:pt x="4805314" y="474159"/>
                  </a:lnTo>
                  <a:lnTo>
                    <a:pt x="4803346" y="472192"/>
                  </a:lnTo>
                  <a:lnTo>
                    <a:pt x="4660106" y="329650"/>
                  </a:lnTo>
                  <a:lnTo>
                    <a:pt x="4660106" y="327321"/>
                  </a:lnTo>
                  <a:lnTo>
                    <a:pt x="4536213" y="203747"/>
                  </a:lnTo>
                  <a:lnTo>
                    <a:pt x="4660106" y="79534"/>
                  </a:lnTo>
                  <a:lnTo>
                    <a:pt x="4660106" y="76705"/>
                  </a:lnTo>
                  <a:lnTo>
                    <a:pt x="4733289" y="3175"/>
                  </a:lnTo>
                  <a:lnTo>
                    <a:pt x="4744118" y="3175"/>
                  </a:lnTo>
                  <a:lnTo>
                    <a:pt x="4739355" y="7937"/>
                  </a:lnTo>
                  <a:lnTo>
                    <a:pt x="4741807" y="7937"/>
                  </a:lnTo>
                  <a:lnTo>
                    <a:pt x="4549490" y="200254"/>
                  </a:lnTo>
                  <a:lnTo>
                    <a:pt x="4811162" y="200254"/>
                  </a:lnTo>
                  <a:lnTo>
                    <a:pt x="5008241" y="3175"/>
                  </a:lnTo>
                  <a:lnTo>
                    <a:pt x="5018721" y="3175"/>
                  </a:lnTo>
                  <a:lnTo>
                    <a:pt x="4823396" y="198500"/>
                  </a:lnTo>
                  <a:lnTo>
                    <a:pt x="4823396" y="199684"/>
                  </a:lnTo>
                  <a:lnTo>
                    <a:pt x="5086337" y="199684"/>
                  </a:lnTo>
                  <a:lnTo>
                    <a:pt x="5282338" y="3175"/>
                  </a:lnTo>
                  <a:lnTo>
                    <a:pt x="5292112" y="3175"/>
                  </a:lnTo>
                  <a:lnTo>
                    <a:pt x="5092624" y="203178"/>
                  </a:lnTo>
                  <a:lnTo>
                    <a:pt x="5364435" y="473590"/>
                  </a:lnTo>
                  <a:lnTo>
                    <a:pt x="5627858" y="473590"/>
                  </a:lnTo>
                  <a:lnTo>
                    <a:pt x="5497196" y="343624"/>
                  </a:lnTo>
                  <a:lnTo>
                    <a:pt x="5356748" y="203178"/>
                  </a:lnTo>
                  <a:lnTo>
                    <a:pt x="5556235" y="3175"/>
                  </a:lnTo>
                  <a:lnTo>
                    <a:pt x="5567425" y="3175"/>
                  </a:lnTo>
                  <a:lnTo>
                    <a:pt x="5371422" y="199684"/>
                  </a:lnTo>
                  <a:lnTo>
                    <a:pt x="5634846" y="199684"/>
                  </a:lnTo>
                  <a:lnTo>
                    <a:pt x="5830848" y="3175"/>
                  </a:lnTo>
                  <a:lnTo>
                    <a:pt x="5839925" y="3175"/>
                  </a:lnTo>
                  <a:lnTo>
                    <a:pt x="5641135" y="202479"/>
                  </a:lnTo>
                  <a:lnTo>
                    <a:pt x="5912246" y="472891"/>
                  </a:lnTo>
                  <a:lnTo>
                    <a:pt x="6176369" y="472891"/>
                  </a:lnTo>
                  <a:lnTo>
                    <a:pt x="5905258" y="202479"/>
                  </a:lnTo>
                  <a:lnTo>
                    <a:pt x="6104048" y="3175"/>
                  </a:lnTo>
                  <a:lnTo>
                    <a:pt x="6113517" y="3175"/>
                  </a:lnTo>
                  <a:lnTo>
                    <a:pt x="6096713" y="20108"/>
                  </a:lnTo>
                  <a:lnTo>
                    <a:pt x="6096014" y="20108"/>
                  </a:lnTo>
                  <a:lnTo>
                    <a:pt x="5918534" y="198286"/>
                  </a:lnTo>
                  <a:lnTo>
                    <a:pt x="6182657" y="198286"/>
                  </a:lnTo>
                  <a:lnTo>
                    <a:pt x="6377769" y="3175"/>
                  </a:lnTo>
                  <a:lnTo>
                    <a:pt x="6388531" y="3175"/>
                  </a:lnTo>
                  <a:lnTo>
                    <a:pt x="6280482" y="111643"/>
                  </a:lnTo>
                  <a:lnTo>
                    <a:pt x="6279783" y="111643"/>
                  </a:lnTo>
                  <a:lnTo>
                    <a:pt x="6189645" y="201780"/>
                  </a:lnTo>
                  <a:lnTo>
                    <a:pt x="6460057" y="472891"/>
                  </a:lnTo>
                  <a:lnTo>
                    <a:pt x="6724180" y="472891"/>
                  </a:lnTo>
                  <a:lnTo>
                    <a:pt x="6453070" y="202479"/>
                  </a:lnTo>
                  <a:lnTo>
                    <a:pt x="6637537" y="18012"/>
                  </a:lnTo>
                  <a:lnTo>
                    <a:pt x="6638236" y="18012"/>
                  </a:lnTo>
                  <a:lnTo>
                    <a:pt x="6652953" y="3175"/>
                  </a:lnTo>
                  <a:lnTo>
                    <a:pt x="6662353" y="3175"/>
                  </a:lnTo>
                  <a:lnTo>
                    <a:pt x="6468443" y="197587"/>
                  </a:lnTo>
                  <a:lnTo>
                    <a:pt x="6731868" y="197587"/>
                  </a:lnTo>
                  <a:lnTo>
                    <a:pt x="6926279" y="3175"/>
                  </a:lnTo>
                  <a:lnTo>
                    <a:pt x="6937645" y="3175"/>
                  </a:lnTo>
                  <a:lnTo>
                    <a:pt x="6738854" y="202479"/>
                  </a:lnTo>
                  <a:lnTo>
                    <a:pt x="7008567" y="471494"/>
                  </a:lnTo>
                  <a:lnTo>
                    <a:pt x="7271992" y="471494"/>
                  </a:lnTo>
                  <a:lnTo>
                    <a:pt x="7002979" y="202479"/>
                  </a:lnTo>
                  <a:lnTo>
                    <a:pt x="7003677" y="201780"/>
                  </a:lnTo>
                  <a:lnTo>
                    <a:pt x="7002279" y="200383"/>
                  </a:lnTo>
                  <a:lnTo>
                    <a:pt x="7198974" y="3175"/>
                  </a:lnTo>
                  <a:lnTo>
                    <a:pt x="7212258" y="3175"/>
                  </a:lnTo>
                  <a:lnTo>
                    <a:pt x="7018349" y="197587"/>
                  </a:lnTo>
                  <a:lnTo>
                    <a:pt x="7280377" y="197587"/>
                  </a:lnTo>
                  <a:lnTo>
                    <a:pt x="7474287" y="3175"/>
                  </a:lnTo>
                  <a:lnTo>
                    <a:pt x="7485646" y="3175"/>
                  </a:lnTo>
                  <a:lnTo>
                    <a:pt x="7288761" y="201081"/>
                  </a:lnTo>
                  <a:lnTo>
                    <a:pt x="7558474" y="470096"/>
                  </a:lnTo>
                  <a:lnTo>
                    <a:pt x="7823297" y="471494"/>
                  </a:lnTo>
                  <a:lnTo>
                    <a:pt x="7552187" y="201081"/>
                  </a:lnTo>
                  <a:lnTo>
                    <a:pt x="7550789" y="199684"/>
                  </a:lnTo>
                  <a:lnTo>
                    <a:pt x="7746789" y="3175"/>
                  </a:lnTo>
                  <a:lnTo>
                    <a:pt x="7757662" y="3175"/>
                  </a:lnTo>
                  <a:lnTo>
                    <a:pt x="7742243" y="18711"/>
                  </a:lnTo>
                  <a:lnTo>
                    <a:pt x="7742942" y="19410"/>
                  </a:lnTo>
                  <a:lnTo>
                    <a:pt x="7566860" y="195492"/>
                  </a:lnTo>
                  <a:lnTo>
                    <a:pt x="7763205" y="195492"/>
                  </a:lnTo>
                  <a:lnTo>
                    <a:pt x="7762507" y="196889"/>
                  </a:lnTo>
                  <a:lnTo>
                    <a:pt x="7828189" y="196889"/>
                  </a:lnTo>
                  <a:lnTo>
                    <a:pt x="8021404" y="3175"/>
                  </a:lnTo>
                  <a:lnTo>
                    <a:pt x="8031969" y="3175"/>
                  </a:lnTo>
                  <a:lnTo>
                    <a:pt x="7924614" y="110944"/>
                  </a:lnTo>
                  <a:lnTo>
                    <a:pt x="7926012" y="111643"/>
                  </a:lnTo>
                  <a:lnTo>
                    <a:pt x="7836573" y="201081"/>
                  </a:lnTo>
                  <a:lnTo>
                    <a:pt x="8106985" y="470795"/>
                  </a:lnTo>
                  <a:lnTo>
                    <a:pt x="8370409" y="470795"/>
                  </a:lnTo>
                  <a:lnTo>
                    <a:pt x="8099997" y="201081"/>
                  </a:lnTo>
                  <a:lnTo>
                    <a:pt x="8099299" y="200383"/>
                  </a:lnTo>
                  <a:lnTo>
                    <a:pt x="8295999" y="3175"/>
                  </a:lnTo>
                  <a:lnTo>
                    <a:pt x="8306289" y="3175"/>
                  </a:lnTo>
                  <a:lnTo>
                    <a:pt x="8113273" y="196191"/>
                  </a:lnTo>
                  <a:lnTo>
                    <a:pt x="8377397" y="196191"/>
                  </a:lnTo>
                  <a:lnTo>
                    <a:pt x="8570412" y="3175"/>
                  </a:lnTo>
                  <a:lnTo>
                    <a:pt x="8579688" y="3175"/>
                  </a:lnTo>
                  <a:lnTo>
                    <a:pt x="8383685" y="199684"/>
                  </a:lnTo>
                  <a:lnTo>
                    <a:pt x="8654796" y="470096"/>
                  </a:lnTo>
                  <a:lnTo>
                    <a:pt x="8918222" y="470096"/>
                  </a:lnTo>
                  <a:lnTo>
                    <a:pt x="8788256" y="340131"/>
                  </a:lnTo>
                  <a:lnTo>
                    <a:pt x="8647809" y="199684"/>
                  </a:lnTo>
                  <a:lnTo>
                    <a:pt x="8843811" y="3175"/>
                  </a:lnTo>
                  <a:lnTo>
                    <a:pt x="8854303" y="3175"/>
                  </a:lnTo>
                  <a:lnTo>
                    <a:pt x="8662483" y="195492"/>
                  </a:lnTo>
                  <a:lnTo>
                    <a:pt x="8925907" y="195492"/>
                  </a:lnTo>
                  <a:lnTo>
                    <a:pt x="9117728" y="3175"/>
                  </a:lnTo>
                  <a:lnTo>
                    <a:pt x="9127502" y="3175"/>
                  </a:lnTo>
                  <a:lnTo>
                    <a:pt x="8932196" y="198985"/>
                  </a:lnTo>
                  <a:lnTo>
                    <a:pt x="9203307" y="469397"/>
                  </a:lnTo>
                  <a:lnTo>
                    <a:pt x="9464143" y="469397"/>
                  </a:lnTo>
                  <a:lnTo>
                    <a:pt x="9463763" y="469017"/>
                  </a:lnTo>
                  <a:lnTo>
                    <a:pt x="9320523" y="326475"/>
                  </a:lnTo>
                  <a:lnTo>
                    <a:pt x="9320523" y="322869"/>
                  </a:lnTo>
                  <a:lnTo>
                    <a:pt x="9196319" y="198985"/>
                  </a:lnTo>
                  <a:lnTo>
                    <a:pt x="9320523" y="74460"/>
                  </a:lnTo>
                  <a:lnTo>
                    <a:pt x="9320523" y="7353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sp>
          <p:nvSpPr>
            <p:cNvPr id="7" name="Rectangle 6">
              <a:extLst>
                <a:ext uri="{FF2B5EF4-FFF2-40B4-BE49-F238E27FC236}">
                  <a16:creationId xmlns:a16="http://schemas.microsoft.com/office/drawing/2014/main" id="{8D653CCC-578F-40F7-A242-2D5A97A37580}"/>
                </a:ext>
              </a:extLst>
            </p:cNvPr>
            <p:cNvSpPr/>
            <p:nvPr userDrawn="1"/>
          </p:nvSpPr>
          <p:spPr>
            <a:xfrm rot="16200000">
              <a:off x="3248888" y="-3342392"/>
              <a:ext cx="5684747" cy="12201256"/>
            </a:xfrm>
            <a:prstGeom prst="rect">
              <a:avLst/>
            </a:prstGeom>
            <a:gradFill flip="none" rotWithShape="1">
              <a:gsLst>
                <a:gs pos="7000">
                  <a:schemeClr val="bg1"/>
                </a:gs>
                <a:gs pos="100000">
                  <a:schemeClr val="bg1">
                    <a:shade val="100000"/>
                    <a:satMod val="115000"/>
                    <a:alpha val="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rgbClr val="FF0000"/>
                  </a:solidFill>
                </a:rPr>
                <a:t> </a:t>
              </a:r>
            </a:p>
          </p:txBody>
        </p:sp>
      </p:grpSp>
      <p:sp>
        <p:nvSpPr>
          <p:cNvPr id="4" name="Rectangle 3">
            <a:extLst>
              <a:ext uri="{FF2B5EF4-FFF2-40B4-BE49-F238E27FC236}">
                <a16:creationId xmlns:a16="http://schemas.microsoft.com/office/drawing/2014/main" id="{8DACBDAA-15A3-4977-B139-56812E79E0C0}"/>
              </a:ext>
            </a:extLst>
          </p:cNvPr>
          <p:cNvSpPr/>
          <p:nvPr userDrawn="1"/>
        </p:nvSpPr>
        <p:spPr>
          <a:xfrm>
            <a:off x="-9366" y="-99378"/>
            <a:ext cx="12201367" cy="13815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Segoe UI" panose="020B0502040204020203" pitchFamily="34" charset="0"/>
            </a:endParaRPr>
          </a:p>
        </p:txBody>
      </p:sp>
    </p:spTree>
    <p:extLst>
      <p:ext uri="{BB962C8B-B14F-4D97-AF65-F5344CB8AC3E}">
        <p14:creationId xmlns:p14="http://schemas.microsoft.com/office/powerpoint/2010/main" val="1259103722"/>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43_Full Image without Header &amp; Foo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2DFF0D-FC81-4463-AAAE-13D9A1E97A5E}"/>
              </a:ext>
            </a:extLst>
          </p:cNvPr>
          <p:cNvGraphicFramePr>
            <a:graphicFrameLocks noChangeAspect="1"/>
          </p:cNvGraphicFramePr>
          <p:nvPr userDrawn="1">
            <p:custDataLst>
              <p:tags r:id="rId1"/>
            </p:custDataLst>
            <p:extLst>
              <p:ext uri="{D42A27DB-BD31-4B8C-83A1-F6EECF244321}">
                <p14:modId xmlns:p14="http://schemas.microsoft.com/office/powerpoint/2010/main" val="296007214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id="{D92DFF0D-FC81-4463-AAAE-13D9A1E97A5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AEF00E6-CA91-4E40-B6B1-3C0D935EA45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13" name="Picture Placeholder 6">
            <a:extLst>
              <a:ext uri="{FF2B5EF4-FFF2-40B4-BE49-F238E27FC236}">
                <a16:creationId xmlns:a16="http://schemas.microsoft.com/office/drawing/2014/main" id="{298511AF-1176-4912-B5A2-C55D39AB80CB}"/>
              </a:ext>
            </a:extLst>
          </p:cNvPr>
          <p:cNvSpPr>
            <a:spLocks noGrp="1"/>
          </p:cNvSpPr>
          <p:nvPr>
            <p:ph type="pic" sz="quarter" idx="21" hasCustomPrompt="1"/>
          </p:nvPr>
        </p:nvSpPr>
        <p:spPr>
          <a:xfrm>
            <a:off x="5837474" y="1873429"/>
            <a:ext cx="5386445" cy="2482951"/>
          </a:xfrm>
          <a:custGeom>
            <a:avLst/>
            <a:gdLst>
              <a:gd name="connsiteX0" fmla="*/ 0 w 4362450"/>
              <a:gd name="connsiteY0" fmla="*/ 0 h 2472571"/>
              <a:gd name="connsiteX1" fmla="*/ 4362450 w 4362450"/>
              <a:gd name="connsiteY1" fmla="*/ 0 h 2472571"/>
              <a:gd name="connsiteX2" fmla="*/ 4362450 w 4362450"/>
              <a:gd name="connsiteY2" fmla="*/ 2472571 h 2472571"/>
              <a:gd name="connsiteX3" fmla="*/ 0 w 4362450"/>
              <a:gd name="connsiteY3" fmla="*/ 2472571 h 2472571"/>
            </a:gdLst>
            <a:ahLst/>
            <a:cxnLst>
              <a:cxn ang="0">
                <a:pos x="connsiteX0" y="connsiteY0"/>
              </a:cxn>
              <a:cxn ang="0">
                <a:pos x="connsiteX1" y="connsiteY1"/>
              </a:cxn>
              <a:cxn ang="0">
                <a:pos x="connsiteX2" y="connsiteY2"/>
              </a:cxn>
              <a:cxn ang="0">
                <a:pos x="connsiteX3" y="connsiteY3"/>
              </a:cxn>
            </a:cxnLst>
            <a:rect l="l" t="t" r="r" b="b"/>
            <a:pathLst>
              <a:path w="4362450" h="2472571">
                <a:moveTo>
                  <a:pt x="0" y="0"/>
                </a:moveTo>
                <a:lnTo>
                  <a:pt x="4362450" y="0"/>
                </a:lnTo>
                <a:lnTo>
                  <a:pt x="4362450" y="2472571"/>
                </a:lnTo>
                <a:lnTo>
                  <a:pt x="0" y="2472571"/>
                </a:lnTo>
                <a:close/>
              </a:path>
            </a:pathLst>
          </a:custGeom>
          <a:solidFill>
            <a:schemeClr val="bg1"/>
          </a:solidFill>
        </p:spPr>
        <p:txBody>
          <a:bodyPr wrap="square" anchor="ctr">
            <a:noAutofit/>
          </a:bodyPr>
          <a:lstStyle>
            <a:lvl1pPr marL="0" indent="0" algn="ctr">
              <a:buFontTx/>
              <a:buNone/>
              <a:defRPr sz="1200">
                <a:latin typeface="+mj-lt"/>
                <a:cs typeface="Poppins" panose="00000500000000000000" pitchFamily="2" charset="0"/>
              </a:defRPr>
            </a:lvl1pPr>
          </a:lstStyle>
          <a:p>
            <a:r>
              <a:rPr lang="en-US" dirty="0"/>
              <a:t>Picture</a:t>
            </a:r>
          </a:p>
        </p:txBody>
      </p:sp>
      <p:sp>
        <p:nvSpPr>
          <p:cNvPr id="16" name="Picture Placeholder 12">
            <a:extLst>
              <a:ext uri="{FF2B5EF4-FFF2-40B4-BE49-F238E27FC236}">
                <a16:creationId xmlns:a16="http://schemas.microsoft.com/office/drawing/2014/main" id="{B1E24573-CCF3-4082-8EB6-9FC6D2593147}"/>
              </a:ext>
            </a:extLst>
          </p:cNvPr>
          <p:cNvSpPr>
            <a:spLocks noGrp="1"/>
          </p:cNvSpPr>
          <p:nvPr>
            <p:ph type="pic" sz="quarter" idx="24" hasCustomPrompt="1"/>
          </p:nvPr>
        </p:nvSpPr>
        <p:spPr>
          <a:xfrm>
            <a:off x="4805111" y="3723818"/>
            <a:ext cx="1846360" cy="1963119"/>
          </a:xfrm>
          <a:custGeom>
            <a:avLst/>
            <a:gdLst>
              <a:gd name="connsiteX0" fmla="*/ 0 w 1479368"/>
              <a:gd name="connsiteY0" fmla="*/ 0 h 1963119"/>
              <a:gd name="connsiteX1" fmla="*/ 1479368 w 1479368"/>
              <a:gd name="connsiteY1" fmla="*/ 0 h 1963119"/>
              <a:gd name="connsiteX2" fmla="*/ 1479368 w 1479368"/>
              <a:gd name="connsiteY2" fmla="*/ 1963119 h 1963119"/>
              <a:gd name="connsiteX3" fmla="*/ 0 w 1479368"/>
              <a:gd name="connsiteY3" fmla="*/ 1963119 h 1963119"/>
            </a:gdLst>
            <a:ahLst/>
            <a:cxnLst>
              <a:cxn ang="0">
                <a:pos x="connsiteX0" y="connsiteY0"/>
              </a:cxn>
              <a:cxn ang="0">
                <a:pos x="connsiteX1" y="connsiteY1"/>
              </a:cxn>
              <a:cxn ang="0">
                <a:pos x="connsiteX2" y="connsiteY2"/>
              </a:cxn>
              <a:cxn ang="0">
                <a:pos x="connsiteX3" y="connsiteY3"/>
              </a:cxn>
            </a:cxnLst>
            <a:rect l="l" t="t" r="r" b="b"/>
            <a:pathLst>
              <a:path w="1479368" h="1963119">
                <a:moveTo>
                  <a:pt x="0" y="0"/>
                </a:moveTo>
                <a:lnTo>
                  <a:pt x="1479368" y="0"/>
                </a:lnTo>
                <a:lnTo>
                  <a:pt x="1479368" y="1963119"/>
                </a:lnTo>
                <a:lnTo>
                  <a:pt x="0" y="1963119"/>
                </a:lnTo>
                <a:close/>
              </a:path>
            </a:pathLst>
          </a:custGeom>
          <a:solidFill>
            <a:schemeClr val="bg1"/>
          </a:solidFill>
        </p:spPr>
        <p:txBody>
          <a:bodyPr wrap="square" anchor="ctr">
            <a:noAutofit/>
          </a:bodyPr>
          <a:lstStyle>
            <a:lvl1pPr marL="0" indent="0" algn="ctr">
              <a:buFontTx/>
              <a:buNone/>
              <a:defRPr sz="1200">
                <a:latin typeface="+mj-lt"/>
                <a:cs typeface="Poppins" panose="00000500000000000000" pitchFamily="2" charset="0"/>
              </a:defRPr>
            </a:lvl1pPr>
          </a:lstStyle>
          <a:p>
            <a:r>
              <a:rPr lang="en-US" dirty="0"/>
              <a:t>Picture</a:t>
            </a:r>
          </a:p>
        </p:txBody>
      </p:sp>
      <p:sp>
        <p:nvSpPr>
          <p:cNvPr id="44" name="Title 6">
            <a:extLst>
              <a:ext uri="{FF2B5EF4-FFF2-40B4-BE49-F238E27FC236}">
                <a16:creationId xmlns:a16="http://schemas.microsoft.com/office/drawing/2014/main" id="{67A404EB-B058-4F1D-AE38-8A63F97D8533}"/>
              </a:ext>
            </a:extLst>
          </p:cNvPr>
          <p:cNvSpPr>
            <a:spLocks noGrp="1"/>
          </p:cNvSpPr>
          <p:nvPr>
            <p:ph type="title"/>
          </p:nvPr>
        </p:nvSpPr>
        <p:spPr>
          <a:xfrm>
            <a:off x="609600" y="0"/>
            <a:ext cx="9753600" cy="1143000"/>
          </a:xfrm>
        </p:spPr>
        <p:txBody>
          <a:bodyPr/>
          <a:lstStyle>
            <a:lvl1pPr algn="l">
              <a:defRPr sz="2400">
                <a:latin typeface="+mj-lt"/>
              </a:defRPr>
            </a:lvl1pPr>
          </a:lstStyle>
          <a:p>
            <a:r>
              <a:rPr lang="en-US" dirty="0"/>
              <a:t>Click to edit Master title style</a:t>
            </a:r>
          </a:p>
        </p:txBody>
      </p:sp>
      <p:sp>
        <p:nvSpPr>
          <p:cNvPr id="15" name="Picture Placeholder 10">
            <a:extLst>
              <a:ext uri="{FF2B5EF4-FFF2-40B4-BE49-F238E27FC236}">
                <a16:creationId xmlns:a16="http://schemas.microsoft.com/office/drawing/2014/main" id="{B2F2F68A-1775-4FDF-8463-3031D6325B3F}"/>
              </a:ext>
            </a:extLst>
          </p:cNvPr>
          <p:cNvSpPr>
            <a:spLocks noGrp="1"/>
          </p:cNvSpPr>
          <p:nvPr>
            <p:ph type="pic" sz="quarter" idx="23" hasCustomPrompt="1"/>
          </p:nvPr>
        </p:nvSpPr>
        <p:spPr>
          <a:xfrm>
            <a:off x="6461229" y="5273073"/>
            <a:ext cx="728672" cy="958658"/>
          </a:xfrm>
          <a:custGeom>
            <a:avLst/>
            <a:gdLst>
              <a:gd name="connsiteX0" fmla="*/ 0 w 588168"/>
              <a:gd name="connsiteY0" fmla="*/ 0 h 1027670"/>
              <a:gd name="connsiteX1" fmla="*/ 588168 w 588168"/>
              <a:gd name="connsiteY1" fmla="*/ 0 h 1027670"/>
              <a:gd name="connsiteX2" fmla="*/ 588168 w 588168"/>
              <a:gd name="connsiteY2" fmla="*/ 1027670 h 1027670"/>
              <a:gd name="connsiteX3" fmla="*/ 0 w 588168"/>
              <a:gd name="connsiteY3" fmla="*/ 1027670 h 1027670"/>
            </a:gdLst>
            <a:ahLst/>
            <a:cxnLst>
              <a:cxn ang="0">
                <a:pos x="connsiteX0" y="connsiteY0"/>
              </a:cxn>
              <a:cxn ang="0">
                <a:pos x="connsiteX1" y="connsiteY1"/>
              </a:cxn>
              <a:cxn ang="0">
                <a:pos x="connsiteX2" y="connsiteY2"/>
              </a:cxn>
              <a:cxn ang="0">
                <a:pos x="connsiteX3" y="connsiteY3"/>
              </a:cxn>
            </a:cxnLst>
            <a:rect l="l" t="t" r="r" b="b"/>
            <a:pathLst>
              <a:path w="588168" h="1027670">
                <a:moveTo>
                  <a:pt x="0" y="0"/>
                </a:moveTo>
                <a:lnTo>
                  <a:pt x="588168" y="0"/>
                </a:lnTo>
                <a:lnTo>
                  <a:pt x="588168" y="1027670"/>
                </a:lnTo>
                <a:lnTo>
                  <a:pt x="0" y="1027670"/>
                </a:lnTo>
                <a:close/>
              </a:path>
            </a:pathLst>
          </a:custGeom>
          <a:solidFill>
            <a:schemeClr val="bg1"/>
          </a:solidFill>
        </p:spPr>
        <p:txBody>
          <a:bodyPr wrap="square" anchor="ctr">
            <a:noAutofit/>
          </a:bodyPr>
          <a:lstStyle>
            <a:lvl1pPr marL="0" indent="0" algn="ctr">
              <a:buFontTx/>
              <a:buNone/>
              <a:defRPr sz="1200">
                <a:latin typeface="+mj-lt"/>
                <a:cs typeface="Poppins" panose="00000500000000000000" pitchFamily="2" charset="0"/>
              </a:defRPr>
            </a:lvl1pPr>
          </a:lstStyle>
          <a:p>
            <a:r>
              <a:rPr lang="en-US" dirty="0"/>
              <a:t>Picture</a:t>
            </a:r>
          </a:p>
        </p:txBody>
      </p:sp>
      <p:sp>
        <p:nvSpPr>
          <p:cNvPr id="93" name="Picture Placeholder 6">
            <a:extLst>
              <a:ext uri="{FF2B5EF4-FFF2-40B4-BE49-F238E27FC236}">
                <a16:creationId xmlns:a16="http://schemas.microsoft.com/office/drawing/2014/main" id="{E5BCB224-EEC3-4A8F-959A-99E6133BD37B}"/>
              </a:ext>
            </a:extLst>
          </p:cNvPr>
          <p:cNvSpPr>
            <a:spLocks noGrp="1"/>
          </p:cNvSpPr>
          <p:nvPr>
            <p:ph type="pic" sz="quarter" idx="25" hasCustomPrompt="1"/>
          </p:nvPr>
        </p:nvSpPr>
        <p:spPr>
          <a:xfrm>
            <a:off x="9317990" y="3712794"/>
            <a:ext cx="4668057" cy="2380502"/>
          </a:xfrm>
          <a:custGeom>
            <a:avLst/>
            <a:gdLst>
              <a:gd name="connsiteX0" fmla="*/ 0 w 4362450"/>
              <a:gd name="connsiteY0" fmla="*/ 0 h 2472571"/>
              <a:gd name="connsiteX1" fmla="*/ 4362450 w 4362450"/>
              <a:gd name="connsiteY1" fmla="*/ 0 h 2472571"/>
              <a:gd name="connsiteX2" fmla="*/ 4362450 w 4362450"/>
              <a:gd name="connsiteY2" fmla="*/ 2472571 h 2472571"/>
              <a:gd name="connsiteX3" fmla="*/ 0 w 4362450"/>
              <a:gd name="connsiteY3" fmla="*/ 2472571 h 2472571"/>
            </a:gdLst>
            <a:ahLst/>
            <a:cxnLst>
              <a:cxn ang="0">
                <a:pos x="connsiteX0" y="connsiteY0"/>
              </a:cxn>
              <a:cxn ang="0">
                <a:pos x="connsiteX1" y="connsiteY1"/>
              </a:cxn>
              <a:cxn ang="0">
                <a:pos x="connsiteX2" y="connsiteY2"/>
              </a:cxn>
              <a:cxn ang="0">
                <a:pos x="connsiteX3" y="connsiteY3"/>
              </a:cxn>
            </a:cxnLst>
            <a:rect l="l" t="t" r="r" b="b"/>
            <a:pathLst>
              <a:path w="4362450" h="2472571">
                <a:moveTo>
                  <a:pt x="0" y="0"/>
                </a:moveTo>
                <a:lnTo>
                  <a:pt x="4362450" y="0"/>
                </a:lnTo>
                <a:lnTo>
                  <a:pt x="4362450" y="2472571"/>
                </a:lnTo>
                <a:lnTo>
                  <a:pt x="0" y="2472571"/>
                </a:lnTo>
                <a:close/>
              </a:path>
            </a:pathLst>
          </a:custGeom>
          <a:solidFill>
            <a:schemeClr val="bg1"/>
          </a:solidFill>
        </p:spPr>
        <p:txBody>
          <a:bodyPr wrap="square" anchor="ctr">
            <a:noAutofit/>
          </a:bodyPr>
          <a:lstStyle>
            <a:lvl1pPr marL="0" indent="0" algn="ctr">
              <a:buFontTx/>
              <a:buNone/>
              <a:defRPr sz="1200">
                <a:latin typeface="+mj-lt"/>
                <a:cs typeface="Poppins" panose="00000500000000000000" pitchFamily="2" charset="0"/>
              </a:defRPr>
            </a:lvl1pPr>
          </a:lstStyle>
          <a:p>
            <a:r>
              <a:rPr lang="en-US" dirty="0"/>
              <a:t>Picture</a:t>
            </a:r>
          </a:p>
        </p:txBody>
      </p:sp>
    </p:spTree>
    <p:extLst>
      <p:ext uri="{BB962C8B-B14F-4D97-AF65-F5344CB8AC3E}">
        <p14:creationId xmlns:p14="http://schemas.microsoft.com/office/powerpoint/2010/main" val="1437475377"/>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Subtitle, No Bullet">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C7D5B472-F62B-4E17-8713-A5DF41239CA3}"/>
              </a:ext>
            </a:extLst>
          </p:cNvPr>
          <p:cNvSpPr>
            <a:spLocks noGrp="1"/>
          </p:cNvSpPr>
          <p:nvPr>
            <p:ph idx="1"/>
          </p:nvPr>
        </p:nvSpPr>
        <p:spPr>
          <a:xfrm>
            <a:off x="621101" y="1739900"/>
            <a:ext cx="11024659" cy="4617868"/>
          </a:xfrm>
        </p:spPr>
        <p:txBody>
          <a:bodyPr/>
          <a:lstStyle>
            <a:lvl1pPr marL="0" indent="0">
              <a:buNone/>
              <a:defRPr>
                <a:solidFill>
                  <a:schemeClr val="accent1"/>
                </a:solidFill>
                <a:latin typeface="+mj-lt"/>
              </a:defRPr>
            </a:lvl1pPr>
            <a:lvl2pPr marL="6350" indent="0">
              <a:lnSpc>
                <a:spcPct val="100000"/>
              </a:lnSpc>
              <a:spcBef>
                <a:spcPts val="0"/>
              </a:spcBef>
              <a:buNone/>
              <a:defRPr/>
            </a:lvl2pPr>
            <a:lvl3pPr marL="231775" indent="0">
              <a:buNone/>
              <a:defRPr/>
            </a:lvl3pPr>
            <a:lvl4pPr marL="457200" indent="0">
              <a:buNone/>
              <a:defRPr/>
            </a:lvl4pPr>
          </a:lstStyle>
          <a:p>
            <a:pPr lvl="0"/>
            <a:r>
              <a:rPr lang="en-US" dirty="0"/>
              <a:t>Edit Master text styles</a:t>
            </a:r>
          </a:p>
          <a:p>
            <a:pPr lvl="1"/>
            <a:r>
              <a:rPr lang="en-US" dirty="0"/>
              <a:t>Second level</a:t>
            </a:r>
          </a:p>
        </p:txBody>
      </p:sp>
      <p:sp>
        <p:nvSpPr>
          <p:cNvPr id="11" name="Title 1">
            <a:extLst>
              <a:ext uri="{FF2B5EF4-FFF2-40B4-BE49-F238E27FC236}">
                <a16:creationId xmlns:a16="http://schemas.microsoft.com/office/drawing/2014/main" id="{E4AC2A50-746A-4177-9725-738F31B73B41}"/>
              </a:ext>
            </a:extLst>
          </p:cNvPr>
          <p:cNvSpPr>
            <a:spLocks noGrp="1"/>
          </p:cNvSpPr>
          <p:nvPr>
            <p:ph type="title"/>
          </p:nvPr>
        </p:nvSpPr>
        <p:spPr>
          <a:xfrm>
            <a:off x="609604" y="0"/>
            <a:ext cx="8946033" cy="1143000"/>
          </a:xfrm>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89473645"/>
      </p:ext>
    </p:extLst>
  </p:cSld>
  <p:clrMapOvr>
    <a:masterClrMapping/>
  </p:clrMapOvr>
  <p:extLst>
    <p:ext uri="{DCECCB84-F9BA-43D5-87BE-67443E8EF086}">
      <p15:sldGuideLst xmlns:p15="http://schemas.microsoft.com/office/powerpoint/2012/main">
        <p15:guide id="3" orient="horz" pos="2160">
          <p15:clr>
            <a:srgbClr val="FBAE40"/>
          </p15:clr>
        </p15:guide>
        <p15:guide id="4" pos="5496">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Title, Lead-in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67DEAD-9C26-4B78-A31B-714D2F432B38}"/>
              </a:ext>
            </a:extLst>
          </p:cNvPr>
          <p:cNvGraphicFramePr>
            <a:graphicFrameLocks noChangeAspect="1"/>
          </p:cNvGraphicFramePr>
          <p:nvPr userDrawn="1">
            <p:custDataLst>
              <p:tags r:id="rId1"/>
            </p:custDataLst>
            <p:extLst>
              <p:ext uri="{D42A27DB-BD31-4B8C-83A1-F6EECF244321}">
                <p14:modId xmlns:p14="http://schemas.microsoft.com/office/powerpoint/2010/main" val="131528388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A767DEAD-9C26-4B78-A31B-714D2F432B38}"/>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F27A1F-5966-4BC6-9E83-9216F72350A9}"/>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0" y="1250830"/>
            <a:ext cx="12192000" cy="577970"/>
          </a:xfrm>
          <a:solidFill>
            <a:srgbClr val="00294C"/>
          </a:solidFill>
        </p:spPr>
        <p:txBody>
          <a:bodyPr lIns="457200" rIns="457200" anchor="ctr" anchorCtr="0">
            <a:noAutofit/>
          </a:bodyPr>
          <a:lstStyle>
            <a:lvl1pPr marL="0" indent="0">
              <a:buNone/>
              <a:defRPr sz="1400" b="0">
                <a:solidFill>
                  <a:schemeClr val="bg1"/>
                </a:solidFill>
                <a:latin typeface="+mj-lt"/>
                <a:ea typeface="Verdana" panose="020B0604030504040204" pitchFamily="34" charset="0"/>
                <a:cs typeface="Verdana" panose="020B0604030504040204" pitchFamily="34" charset="0"/>
              </a:defRPr>
            </a:lvl1pPr>
          </a:lstStyle>
          <a:p>
            <a:pPr lvl="0"/>
            <a:r>
              <a:rPr lang="en-US" dirty="0"/>
              <a:t>Edit Master text styles</a:t>
            </a:r>
          </a:p>
        </p:txBody>
      </p:sp>
    </p:spTree>
    <p:extLst>
      <p:ext uri="{BB962C8B-B14F-4D97-AF65-F5344CB8AC3E}">
        <p14:creationId xmlns:p14="http://schemas.microsoft.com/office/powerpoint/2010/main" val="2648453896"/>
      </p:ext>
    </p:extLst>
  </p:cSld>
  <p:clrMapOvr>
    <a:masterClrMapping/>
  </p:clrMapOvr>
  <p:extLst>
    <p:ext uri="{DCECCB84-F9BA-43D5-87BE-67443E8EF086}">
      <p15:sldGuideLst xmlns:p15="http://schemas.microsoft.com/office/powerpoint/2012/main">
        <p15:guide id="1" orient="horz" pos="2160">
          <p15:clr>
            <a:srgbClr val="FBAE40"/>
          </p15:clr>
        </p15:guide>
        <p15:guide id="2" pos="5496">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Device Mockup-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6DD9B4-ECCE-400B-B8BA-74651CF20982}"/>
              </a:ext>
            </a:extLst>
          </p:cNvPr>
          <p:cNvGraphicFramePr>
            <a:graphicFrameLocks noChangeAspect="1"/>
          </p:cNvGraphicFramePr>
          <p:nvPr userDrawn="1">
            <p:custDataLst>
              <p:tags r:id="rId1"/>
            </p:custDataLst>
            <p:extLst>
              <p:ext uri="{D42A27DB-BD31-4B8C-83A1-F6EECF244321}">
                <p14:modId xmlns:p14="http://schemas.microsoft.com/office/powerpoint/2010/main" val="385295317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D66DD9B4-ECCE-400B-B8BA-74651CF20982}"/>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2EDB674-D5AC-4709-80EA-B6C1DBB97F8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3" name="Picture Placeholder 2">
            <a:extLst>
              <a:ext uri="{FF2B5EF4-FFF2-40B4-BE49-F238E27FC236}">
                <a16:creationId xmlns:a16="http://schemas.microsoft.com/office/drawing/2014/main" id="{6FBC4E8F-52E7-47FC-A05D-1B21C3072148}"/>
              </a:ext>
            </a:extLst>
          </p:cNvPr>
          <p:cNvSpPr>
            <a:spLocks noGrp="1"/>
          </p:cNvSpPr>
          <p:nvPr>
            <p:ph type="pic" sz="quarter" idx="19"/>
          </p:nvPr>
        </p:nvSpPr>
        <p:spPr>
          <a:xfrm>
            <a:off x="5483759" y="2616325"/>
            <a:ext cx="5262835" cy="2474630"/>
          </a:xfrm>
          <a:prstGeom prst="rect">
            <a:avLst/>
          </a:prstGeom>
        </p:spPr>
        <p:txBody>
          <a:bodyPr anchor="ctr"/>
          <a:lstStyle>
            <a:lvl1pPr marL="0" indent="0" algn="ctr">
              <a:buNone/>
              <a:defRPr sz="1600"/>
            </a:lvl1pPr>
          </a:lstStyle>
          <a:p>
            <a:endParaRPr lang="en-US" dirty="0"/>
          </a:p>
        </p:txBody>
      </p:sp>
      <p:sp>
        <p:nvSpPr>
          <p:cNvPr id="44" name="Title 6">
            <a:extLst>
              <a:ext uri="{FF2B5EF4-FFF2-40B4-BE49-F238E27FC236}">
                <a16:creationId xmlns:a16="http://schemas.microsoft.com/office/drawing/2014/main" id="{67A404EB-B058-4F1D-AE38-8A63F97D8533}"/>
              </a:ext>
            </a:extLst>
          </p:cNvPr>
          <p:cNvSpPr>
            <a:spLocks noGrp="1"/>
          </p:cNvSpPr>
          <p:nvPr>
            <p:ph type="title"/>
          </p:nvPr>
        </p:nvSpPr>
        <p:spPr>
          <a:xfrm>
            <a:off x="609600" y="0"/>
            <a:ext cx="9753600" cy="1143000"/>
          </a:xfrm>
        </p:spPr>
        <p:txBody>
          <a:bodyPr/>
          <a:lstStyle>
            <a:lvl1pPr algn="l">
              <a:defRPr sz="2400">
                <a:latin typeface="+mj-lt"/>
              </a:defRPr>
            </a:lvl1pPr>
          </a:lstStyle>
          <a:p>
            <a:r>
              <a:rPr lang="en-US" dirty="0"/>
              <a:t>Click to edit Master title style</a:t>
            </a:r>
          </a:p>
        </p:txBody>
      </p:sp>
      <p:sp>
        <p:nvSpPr>
          <p:cNvPr id="6" name="Rectangle 5">
            <a:extLst>
              <a:ext uri="{FF2B5EF4-FFF2-40B4-BE49-F238E27FC236}">
                <a16:creationId xmlns:a16="http://schemas.microsoft.com/office/drawing/2014/main" id="{EA4015DB-6A33-46BD-A219-33CB41ED8372}"/>
              </a:ext>
            </a:extLst>
          </p:cNvPr>
          <p:cNvSpPr/>
          <p:nvPr userDrawn="1"/>
        </p:nvSpPr>
        <p:spPr>
          <a:xfrm>
            <a:off x="0" y="1182203"/>
            <a:ext cx="12192000" cy="128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96951741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Quote Ligh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C9AC73-1E4C-446C-8A8B-BAC04AE36F07}"/>
              </a:ext>
            </a:extLst>
          </p:cNvPr>
          <p:cNvGraphicFramePr>
            <a:graphicFrameLocks noChangeAspect="1"/>
          </p:cNvGraphicFramePr>
          <p:nvPr userDrawn="1">
            <p:custDataLst>
              <p:tags r:id="rId1"/>
            </p:custDataLst>
            <p:extLst>
              <p:ext uri="{D42A27DB-BD31-4B8C-83A1-F6EECF244321}">
                <p14:modId xmlns:p14="http://schemas.microsoft.com/office/powerpoint/2010/main" val="156483672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70C9AC73-1E4C-446C-8A8B-BAC04AE36F07}"/>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CD8301F-98AA-47A3-B4AD-50C97E6D35E7}"/>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200" b="1" i="0" baseline="0" dirty="0">
              <a:latin typeface="Segoe UI Semibold" panose="020B0702040204020203" pitchFamily="34" charset="0"/>
              <a:ea typeface="Verdana" panose="020B0604030504040204" pitchFamily="34" charset="0"/>
              <a:sym typeface="Segoe UI Semibold" panose="020B0702040204020203" pitchFamily="34" charset="0"/>
            </a:endParaRPr>
          </a:p>
        </p:txBody>
      </p:sp>
      <p:sp>
        <p:nvSpPr>
          <p:cNvPr id="2" name="Title 1"/>
          <p:cNvSpPr>
            <a:spLocks noGrp="1"/>
          </p:cNvSpPr>
          <p:nvPr>
            <p:ph type="title"/>
          </p:nvPr>
        </p:nvSpPr>
        <p:spPr>
          <a:xfrm>
            <a:off x="911508" y="1905001"/>
            <a:ext cx="10366800" cy="2225262"/>
          </a:xfrm>
        </p:spPr>
        <p:txBody>
          <a:bodyPr anchor="ctr"/>
          <a:lstStyle>
            <a:lvl1pPr algn="l">
              <a:lnSpc>
                <a:spcPct val="95000"/>
              </a:lnSpc>
              <a:defRPr sz="4200">
                <a:solidFill>
                  <a:schemeClr val="accent1"/>
                </a:solidFill>
                <a:latin typeface="+mn-lt"/>
              </a:defRPr>
            </a:lvl1pPr>
          </a:lstStyle>
          <a:p>
            <a:r>
              <a:rPr lang="en-US" dirty="0"/>
              <a:t>Click to edit Master title style</a:t>
            </a:r>
          </a:p>
        </p:txBody>
      </p:sp>
      <p:sp>
        <p:nvSpPr>
          <p:cNvPr id="10" name="Text Placeholder 9"/>
          <p:cNvSpPr>
            <a:spLocks noGrp="1"/>
          </p:cNvSpPr>
          <p:nvPr>
            <p:ph type="body" sz="quarter" idx="14" hasCustomPrompt="1"/>
          </p:nvPr>
        </p:nvSpPr>
        <p:spPr>
          <a:xfrm>
            <a:off x="6958641" y="4620890"/>
            <a:ext cx="4321851" cy="1415772"/>
          </a:xfrm>
        </p:spPr>
        <p:txBody>
          <a:bodyPr>
            <a:noAutofit/>
          </a:bodyPr>
          <a:lstStyle>
            <a:lvl1pPr marL="0" indent="0" algn="r">
              <a:lnSpc>
                <a:spcPct val="95000"/>
              </a:lnSpc>
              <a:spcAft>
                <a:spcPts val="0"/>
              </a:spcAft>
              <a:buFont typeface="Arial" panose="020B0604020202020204" pitchFamily="34" charset="0"/>
              <a:buChar char="​"/>
              <a:defRPr sz="1600">
                <a:solidFill>
                  <a:schemeClr val="accent1"/>
                </a:solidFill>
                <a:latin typeface="Segoe UI Semibold" panose="020B0702040204020203" pitchFamily="34" charset="0"/>
                <a:cs typeface="Segoe UI Semibold" panose="020B0702040204020203" pitchFamily="34" charset="0"/>
              </a:defRPr>
            </a:lvl1pPr>
            <a:lvl2pPr marL="0" indent="0" algn="r">
              <a:lnSpc>
                <a:spcPct val="95000"/>
              </a:lnSpc>
              <a:spcBef>
                <a:spcPts val="0"/>
              </a:spcBef>
              <a:spcAft>
                <a:spcPts val="200"/>
              </a:spcAft>
              <a:buFont typeface="Arial" panose="020B0604020202020204" pitchFamily="34" charset="0"/>
              <a:buChar char="​"/>
              <a:defRPr sz="1500">
                <a:solidFill>
                  <a:srgbClr val="5B5857"/>
                </a:solidFill>
                <a:latin typeface="+mn-lt"/>
              </a:defRPr>
            </a:lvl2pPr>
            <a:lvl3pPr marL="0" indent="0" algn="r">
              <a:lnSpc>
                <a:spcPct val="95000"/>
              </a:lnSpc>
              <a:spcBef>
                <a:spcPts val="0"/>
              </a:spcBef>
              <a:spcAft>
                <a:spcPts val="200"/>
              </a:spcAft>
              <a:buFont typeface="Arial" panose="020B0604020202020204" pitchFamily="34" charset="0"/>
              <a:buChar char="​"/>
              <a:defRPr sz="1500">
                <a:solidFill>
                  <a:srgbClr val="5B5857"/>
                </a:solidFill>
                <a:latin typeface="+mn-lt"/>
              </a:defRPr>
            </a:lvl3pPr>
            <a:lvl4pPr marL="0" indent="0" algn="r">
              <a:lnSpc>
                <a:spcPct val="95000"/>
              </a:lnSpc>
              <a:spcBef>
                <a:spcPts val="0"/>
              </a:spcBef>
              <a:spcAft>
                <a:spcPts val="200"/>
              </a:spcAft>
              <a:buFont typeface="Arial" panose="020B0604020202020204" pitchFamily="34" charset="0"/>
              <a:buChar char="​"/>
              <a:defRPr sz="1500">
                <a:solidFill>
                  <a:srgbClr val="5B5857"/>
                </a:solidFill>
                <a:latin typeface="+mn-lt"/>
              </a:defRPr>
            </a:lvl4pPr>
            <a:lvl5pPr marL="0" indent="0" algn="r">
              <a:lnSpc>
                <a:spcPct val="95000"/>
              </a:lnSpc>
              <a:spcBef>
                <a:spcPts val="0"/>
              </a:spcBef>
              <a:spcAft>
                <a:spcPts val="200"/>
              </a:spcAft>
              <a:buFont typeface="Arial" panose="020B0604020202020204" pitchFamily="34" charset="0"/>
              <a:buChar char="​"/>
              <a:defRPr sz="1500">
                <a:solidFill>
                  <a:srgbClr val="5B5857"/>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Freeform: Shape 13">
            <a:extLst>
              <a:ext uri="{FF2B5EF4-FFF2-40B4-BE49-F238E27FC236}">
                <a16:creationId xmlns:a16="http://schemas.microsoft.com/office/drawing/2014/main" id="{5CD1A213-4D08-47E2-8501-F04492BF7CFA}"/>
              </a:ext>
            </a:extLst>
          </p:cNvPr>
          <p:cNvSpPr/>
          <p:nvPr/>
        </p:nvSpPr>
        <p:spPr>
          <a:xfrm>
            <a:off x="-1" y="4280690"/>
            <a:ext cx="12192000" cy="189775"/>
          </a:xfrm>
          <a:custGeom>
            <a:avLst/>
            <a:gdLst>
              <a:gd name="connsiteX0" fmla="*/ 0 w 9144000"/>
              <a:gd name="connsiteY0" fmla="*/ 0 h 189775"/>
              <a:gd name="connsiteX1" fmla="*/ 7877264 w 9144000"/>
              <a:gd name="connsiteY1" fmla="*/ 0 h 189775"/>
              <a:gd name="connsiteX2" fmla="*/ 7980594 w 9144000"/>
              <a:gd name="connsiteY2" fmla="*/ 101723 h 189775"/>
              <a:gd name="connsiteX3" fmla="*/ 8082317 w 9144000"/>
              <a:gd name="connsiteY3" fmla="*/ 0 h 189775"/>
              <a:gd name="connsiteX4" fmla="*/ 8458200 w 9144000"/>
              <a:gd name="connsiteY4" fmla="*/ 0 h 189775"/>
              <a:gd name="connsiteX5" fmla="*/ 8508908 w 9144000"/>
              <a:gd name="connsiteY5" fmla="*/ 0 h 189775"/>
              <a:gd name="connsiteX6" fmla="*/ 9144000 w 9144000"/>
              <a:gd name="connsiteY6" fmla="*/ 0 h 189775"/>
              <a:gd name="connsiteX7" fmla="*/ 9144000 w 9144000"/>
              <a:gd name="connsiteY7" fmla="*/ 61912 h 189775"/>
              <a:gd name="connsiteX8" fmla="*/ 8508908 w 9144000"/>
              <a:gd name="connsiteY8" fmla="*/ 61912 h 189775"/>
              <a:gd name="connsiteX9" fmla="*/ 8508908 w 9144000"/>
              <a:gd name="connsiteY9" fmla="*/ 62454 h 189775"/>
              <a:gd name="connsiteX10" fmla="*/ 8108183 w 9144000"/>
              <a:gd name="connsiteY10" fmla="*/ 62454 h 189775"/>
              <a:gd name="connsiteX11" fmla="*/ 7980996 w 9144000"/>
              <a:gd name="connsiteY11" fmla="*/ 189775 h 189775"/>
              <a:gd name="connsiteX12" fmla="*/ 7851665 w 9144000"/>
              <a:gd name="connsiteY12" fmla="*/ 62454 h 189775"/>
              <a:gd name="connsiteX13" fmla="*/ 0 w 9144000"/>
              <a:gd name="connsiteY13" fmla="*/ 62454 h 18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4000" h="189775">
                <a:moveTo>
                  <a:pt x="0" y="0"/>
                </a:moveTo>
                <a:lnTo>
                  <a:pt x="7877264" y="0"/>
                </a:lnTo>
                <a:lnTo>
                  <a:pt x="7980594" y="101723"/>
                </a:lnTo>
                <a:lnTo>
                  <a:pt x="8082317" y="0"/>
                </a:lnTo>
                <a:lnTo>
                  <a:pt x="8458200" y="0"/>
                </a:lnTo>
                <a:lnTo>
                  <a:pt x="8508908" y="0"/>
                </a:lnTo>
                <a:lnTo>
                  <a:pt x="9144000" y="0"/>
                </a:lnTo>
                <a:lnTo>
                  <a:pt x="9144000" y="61912"/>
                </a:lnTo>
                <a:lnTo>
                  <a:pt x="8508908" y="61912"/>
                </a:lnTo>
                <a:lnTo>
                  <a:pt x="8508908" y="62454"/>
                </a:lnTo>
                <a:lnTo>
                  <a:pt x="8108183" y="62454"/>
                </a:lnTo>
                <a:lnTo>
                  <a:pt x="7980996" y="189775"/>
                </a:lnTo>
                <a:lnTo>
                  <a:pt x="7851665" y="62454"/>
                </a:lnTo>
                <a:lnTo>
                  <a:pt x="0" y="62454"/>
                </a:lnTo>
                <a:close/>
              </a:path>
            </a:pathLst>
          </a:custGeom>
          <a:solidFill>
            <a:schemeClr val="accent2"/>
          </a:solidFill>
          <a:ln w="13395" cap="flat">
            <a:noFill/>
            <a:prstDash val="solid"/>
            <a:miter/>
          </a:ln>
        </p:spPr>
        <p:txBody>
          <a:bodyPr rtlCol="0" anchor="ctr"/>
          <a:lstStyle/>
          <a:p>
            <a:endParaRPr lang="en-US" sz="1800" dirty="0"/>
          </a:p>
        </p:txBody>
      </p:sp>
      <p:sp>
        <p:nvSpPr>
          <p:cNvPr id="7" name="Rectangle 6">
            <a:extLst>
              <a:ext uri="{FF2B5EF4-FFF2-40B4-BE49-F238E27FC236}">
                <a16:creationId xmlns:a16="http://schemas.microsoft.com/office/drawing/2014/main" id="{D09FE89D-848E-449F-9BB3-4790A42BF108}"/>
              </a:ext>
            </a:extLst>
          </p:cNvPr>
          <p:cNvSpPr/>
          <p:nvPr userDrawn="1"/>
        </p:nvSpPr>
        <p:spPr>
          <a:xfrm>
            <a:off x="0" y="1213755"/>
            <a:ext cx="12192000" cy="1099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6385430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10A51-2E61-4750-B286-238FC1E3D48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3DEE57-A353-4FDF-B930-37385AEE9E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918815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Device Mockup-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2DFF0D-FC81-4463-AAAE-13D9A1E97A5E}"/>
              </a:ext>
            </a:extLst>
          </p:cNvPr>
          <p:cNvGraphicFramePr>
            <a:graphicFrameLocks noChangeAspect="1"/>
          </p:cNvGraphicFramePr>
          <p:nvPr userDrawn="1">
            <p:custDataLst>
              <p:tags r:id="rId1"/>
            </p:custDataLst>
            <p:extLst>
              <p:ext uri="{D42A27DB-BD31-4B8C-83A1-F6EECF244321}">
                <p14:modId xmlns:p14="http://schemas.microsoft.com/office/powerpoint/2010/main" val="113929281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3" name="Object 2" hidden="1">
                        <a:extLst>
                          <a:ext uri="{FF2B5EF4-FFF2-40B4-BE49-F238E27FC236}">
                            <a16:creationId xmlns:a16="http://schemas.microsoft.com/office/drawing/2014/main" id="{D92DFF0D-FC81-4463-AAAE-13D9A1E97A5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AEF00E6-CA91-4E40-B6B1-3C0D935EA458}"/>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13" name="Picture Placeholder 6">
            <a:extLst>
              <a:ext uri="{FF2B5EF4-FFF2-40B4-BE49-F238E27FC236}">
                <a16:creationId xmlns:a16="http://schemas.microsoft.com/office/drawing/2014/main" id="{298511AF-1176-4912-B5A2-C55D39AB80CB}"/>
              </a:ext>
            </a:extLst>
          </p:cNvPr>
          <p:cNvSpPr>
            <a:spLocks noGrp="1"/>
          </p:cNvSpPr>
          <p:nvPr>
            <p:ph type="pic" sz="quarter" idx="21" hasCustomPrompt="1"/>
          </p:nvPr>
        </p:nvSpPr>
        <p:spPr>
          <a:xfrm>
            <a:off x="5837474" y="1873429"/>
            <a:ext cx="5386445" cy="2482951"/>
          </a:xfrm>
          <a:custGeom>
            <a:avLst/>
            <a:gdLst>
              <a:gd name="connsiteX0" fmla="*/ 0 w 4362450"/>
              <a:gd name="connsiteY0" fmla="*/ 0 h 2472571"/>
              <a:gd name="connsiteX1" fmla="*/ 4362450 w 4362450"/>
              <a:gd name="connsiteY1" fmla="*/ 0 h 2472571"/>
              <a:gd name="connsiteX2" fmla="*/ 4362450 w 4362450"/>
              <a:gd name="connsiteY2" fmla="*/ 2472571 h 2472571"/>
              <a:gd name="connsiteX3" fmla="*/ 0 w 4362450"/>
              <a:gd name="connsiteY3" fmla="*/ 2472571 h 2472571"/>
            </a:gdLst>
            <a:ahLst/>
            <a:cxnLst>
              <a:cxn ang="0">
                <a:pos x="connsiteX0" y="connsiteY0"/>
              </a:cxn>
              <a:cxn ang="0">
                <a:pos x="connsiteX1" y="connsiteY1"/>
              </a:cxn>
              <a:cxn ang="0">
                <a:pos x="connsiteX2" y="connsiteY2"/>
              </a:cxn>
              <a:cxn ang="0">
                <a:pos x="connsiteX3" y="connsiteY3"/>
              </a:cxn>
            </a:cxnLst>
            <a:rect l="l" t="t" r="r" b="b"/>
            <a:pathLst>
              <a:path w="4362450" h="2472571">
                <a:moveTo>
                  <a:pt x="0" y="0"/>
                </a:moveTo>
                <a:lnTo>
                  <a:pt x="4362450" y="0"/>
                </a:lnTo>
                <a:lnTo>
                  <a:pt x="4362450" y="2472571"/>
                </a:lnTo>
                <a:lnTo>
                  <a:pt x="0" y="2472571"/>
                </a:lnTo>
                <a:close/>
              </a:path>
            </a:pathLst>
          </a:custGeom>
          <a:solidFill>
            <a:schemeClr val="bg1"/>
          </a:solidFill>
        </p:spPr>
        <p:txBody>
          <a:bodyPr wrap="square" anchor="ctr">
            <a:noAutofit/>
          </a:bodyPr>
          <a:lstStyle>
            <a:lvl1pPr marL="0" indent="0" algn="ctr">
              <a:buFontTx/>
              <a:buNone/>
              <a:defRPr sz="1200">
                <a:latin typeface="+mj-lt"/>
                <a:cs typeface="Poppins" panose="00000500000000000000" pitchFamily="2" charset="0"/>
              </a:defRPr>
            </a:lvl1pPr>
          </a:lstStyle>
          <a:p>
            <a:r>
              <a:rPr lang="en-US" dirty="0"/>
              <a:t>Picture</a:t>
            </a:r>
          </a:p>
        </p:txBody>
      </p:sp>
      <p:sp>
        <p:nvSpPr>
          <p:cNvPr id="16" name="Picture Placeholder 12">
            <a:extLst>
              <a:ext uri="{FF2B5EF4-FFF2-40B4-BE49-F238E27FC236}">
                <a16:creationId xmlns:a16="http://schemas.microsoft.com/office/drawing/2014/main" id="{B1E24573-CCF3-4082-8EB6-9FC6D2593147}"/>
              </a:ext>
            </a:extLst>
          </p:cNvPr>
          <p:cNvSpPr>
            <a:spLocks noGrp="1"/>
          </p:cNvSpPr>
          <p:nvPr>
            <p:ph type="pic" sz="quarter" idx="24" hasCustomPrompt="1"/>
          </p:nvPr>
        </p:nvSpPr>
        <p:spPr>
          <a:xfrm>
            <a:off x="4805111" y="3723818"/>
            <a:ext cx="1846360" cy="1963119"/>
          </a:xfrm>
          <a:custGeom>
            <a:avLst/>
            <a:gdLst>
              <a:gd name="connsiteX0" fmla="*/ 0 w 1479368"/>
              <a:gd name="connsiteY0" fmla="*/ 0 h 1963119"/>
              <a:gd name="connsiteX1" fmla="*/ 1479368 w 1479368"/>
              <a:gd name="connsiteY1" fmla="*/ 0 h 1963119"/>
              <a:gd name="connsiteX2" fmla="*/ 1479368 w 1479368"/>
              <a:gd name="connsiteY2" fmla="*/ 1963119 h 1963119"/>
              <a:gd name="connsiteX3" fmla="*/ 0 w 1479368"/>
              <a:gd name="connsiteY3" fmla="*/ 1963119 h 1963119"/>
            </a:gdLst>
            <a:ahLst/>
            <a:cxnLst>
              <a:cxn ang="0">
                <a:pos x="connsiteX0" y="connsiteY0"/>
              </a:cxn>
              <a:cxn ang="0">
                <a:pos x="connsiteX1" y="connsiteY1"/>
              </a:cxn>
              <a:cxn ang="0">
                <a:pos x="connsiteX2" y="connsiteY2"/>
              </a:cxn>
              <a:cxn ang="0">
                <a:pos x="connsiteX3" y="connsiteY3"/>
              </a:cxn>
            </a:cxnLst>
            <a:rect l="l" t="t" r="r" b="b"/>
            <a:pathLst>
              <a:path w="1479368" h="1963119">
                <a:moveTo>
                  <a:pt x="0" y="0"/>
                </a:moveTo>
                <a:lnTo>
                  <a:pt x="1479368" y="0"/>
                </a:lnTo>
                <a:lnTo>
                  <a:pt x="1479368" y="1963119"/>
                </a:lnTo>
                <a:lnTo>
                  <a:pt x="0" y="1963119"/>
                </a:lnTo>
                <a:close/>
              </a:path>
            </a:pathLst>
          </a:custGeom>
          <a:solidFill>
            <a:schemeClr val="bg1"/>
          </a:solidFill>
        </p:spPr>
        <p:txBody>
          <a:bodyPr wrap="square" anchor="ctr">
            <a:noAutofit/>
          </a:bodyPr>
          <a:lstStyle>
            <a:lvl1pPr marL="0" indent="0" algn="ctr">
              <a:buFontTx/>
              <a:buNone/>
              <a:defRPr sz="1200">
                <a:latin typeface="+mj-lt"/>
                <a:cs typeface="Poppins" panose="00000500000000000000" pitchFamily="2" charset="0"/>
              </a:defRPr>
            </a:lvl1pPr>
          </a:lstStyle>
          <a:p>
            <a:r>
              <a:rPr lang="en-US" dirty="0"/>
              <a:t>Picture</a:t>
            </a:r>
          </a:p>
        </p:txBody>
      </p:sp>
      <p:sp>
        <p:nvSpPr>
          <p:cNvPr id="44" name="Title 6">
            <a:extLst>
              <a:ext uri="{FF2B5EF4-FFF2-40B4-BE49-F238E27FC236}">
                <a16:creationId xmlns:a16="http://schemas.microsoft.com/office/drawing/2014/main" id="{67A404EB-B058-4F1D-AE38-8A63F97D8533}"/>
              </a:ext>
            </a:extLst>
          </p:cNvPr>
          <p:cNvSpPr>
            <a:spLocks noGrp="1"/>
          </p:cNvSpPr>
          <p:nvPr>
            <p:ph type="title"/>
          </p:nvPr>
        </p:nvSpPr>
        <p:spPr>
          <a:xfrm>
            <a:off x="609600" y="0"/>
            <a:ext cx="9753600" cy="1143000"/>
          </a:xfrm>
        </p:spPr>
        <p:txBody>
          <a:bodyPr/>
          <a:lstStyle>
            <a:lvl1pPr algn="l">
              <a:defRPr sz="2400">
                <a:latin typeface="+mj-lt"/>
              </a:defRPr>
            </a:lvl1pPr>
          </a:lstStyle>
          <a:p>
            <a:r>
              <a:rPr lang="en-US" dirty="0"/>
              <a:t>Click to edit Master title style</a:t>
            </a:r>
          </a:p>
        </p:txBody>
      </p:sp>
      <p:sp>
        <p:nvSpPr>
          <p:cNvPr id="15" name="Picture Placeholder 10">
            <a:extLst>
              <a:ext uri="{FF2B5EF4-FFF2-40B4-BE49-F238E27FC236}">
                <a16:creationId xmlns:a16="http://schemas.microsoft.com/office/drawing/2014/main" id="{B2F2F68A-1775-4FDF-8463-3031D6325B3F}"/>
              </a:ext>
            </a:extLst>
          </p:cNvPr>
          <p:cNvSpPr>
            <a:spLocks noGrp="1"/>
          </p:cNvSpPr>
          <p:nvPr>
            <p:ph type="pic" sz="quarter" idx="23" hasCustomPrompt="1"/>
          </p:nvPr>
        </p:nvSpPr>
        <p:spPr>
          <a:xfrm>
            <a:off x="6461229" y="5273073"/>
            <a:ext cx="728672" cy="958658"/>
          </a:xfrm>
          <a:custGeom>
            <a:avLst/>
            <a:gdLst>
              <a:gd name="connsiteX0" fmla="*/ 0 w 588168"/>
              <a:gd name="connsiteY0" fmla="*/ 0 h 1027670"/>
              <a:gd name="connsiteX1" fmla="*/ 588168 w 588168"/>
              <a:gd name="connsiteY1" fmla="*/ 0 h 1027670"/>
              <a:gd name="connsiteX2" fmla="*/ 588168 w 588168"/>
              <a:gd name="connsiteY2" fmla="*/ 1027670 h 1027670"/>
              <a:gd name="connsiteX3" fmla="*/ 0 w 588168"/>
              <a:gd name="connsiteY3" fmla="*/ 1027670 h 1027670"/>
            </a:gdLst>
            <a:ahLst/>
            <a:cxnLst>
              <a:cxn ang="0">
                <a:pos x="connsiteX0" y="connsiteY0"/>
              </a:cxn>
              <a:cxn ang="0">
                <a:pos x="connsiteX1" y="connsiteY1"/>
              </a:cxn>
              <a:cxn ang="0">
                <a:pos x="connsiteX2" y="connsiteY2"/>
              </a:cxn>
              <a:cxn ang="0">
                <a:pos x="connsiteX3" y="connsiteY3"/>
              </a:cxn>
            </a:cxnLst>
            <a:rect l="l" t="t" r="r" b="b"/>
            <a:pathLst>
              <a:path w="588168" h="1027670">
                <a:moveTo>
                  <a:pt x="0" y="0"/>
                </a:moveTo>
                <a:lnTo>
                  <a:pt x="588168" y="0"/>
                </a:lnTo>
                <a:lnTo>
                  <a:pt x="588168" y="1027670"/>
                </a:lnTo>
                <a:lnTo>
                  <a:pt x="0" y="1027670"/>
                </a:lnTo>
                <a:close/>
              </a:path>
            </a:pathLst>
          </a:custGeom>
          <a:solidFill>
            <a:schemeClr val="bg1"/>
          </a:solidFill>
        </p:spPr>
        <p:txBody>
          <a:bodyPr wrap="square" anchor="ctr">
            <a:noAutofit/>
          </a:bodyPr>
          <a:lstStyle>
            <a:lvl1pPr marL="0" indent="0" algn="ctr">
              <a:buFontTx/>
              <a:buNone/>
              <a:defRPr sz="1200">
                <a:latin typeface="+mj-lt"/>
                <a:cs typeface="Poppins" panose="00000500000000000000" pitchFamily="2" charset="0"/>
              </a:defRPr>
            </a:lvl1pPr>
          </a:lstStyle>
          <a:p>
            <a:r>
              <a:rPr lang="en-US" dirty="0"/>
              <a:t>Picture</a:t>
            </a:r>
          </a:p>
        </p:txBody>
      </p:sp>
      <p:sp>
        <p:nvSpPr>
          <p:cNvPr id="93" name="Picture Placeholder 6">
            <a:extLst>
              <a:ext uri="{FF2B5EF4-FFF2-40B4-BE49-F238E27FC236}">
                <a16:creationId xmlns:a16="http://schemas.microsoft.com/office/drawing/2014/main" id="{E5BCB224-EEC3-4A8F-959A-99E6133BD37B}"/>
              </a:ext>
            </a:extLst>
          </p:cNvPr>
          <p:cNvSpPr>
            <a:spLocks noGrp="1"/>
          </p:cNvSpPr>
          <p:nvPr>
            <p:ph type="pic" sz="quarter" idx="25" hasCustomPrompt="1"/>
          </p:nvPr>
        </p:nvSpPr>
        <p:spPr>
          <a:xfrm>
            <a:off x="9317990" y="3712794"/>
            <a:ext cx="4668057" cy="2380502"/>
          </a:xfrm>
          <a:custGeom>
            <a:avLst/>
            <a:gdLst>
              <a:gd name="connsiteX0" fmla="*/ 0 w 4362450"/>
              <a:gd name="connsiteY0" fmla="*/ 0 h 2472571"/>
              <a:gd name="connsiteX1" fmla="*/ 4362450 w 4362450"/>
              <a:gd name="connsiteY1" fmla="*/ 0 h 2472571"/>
              <a:gd name="connsiteX2" fmla="*/ 4362450 w 4362450"/>
              <a:gd name="connsiteY2" fmla="*/ 2472571 h 2472571"/>
              <a:gd name="connsiteX3" fmla="*/ 0 w 4362450"/>
              <a:gd name="connsiteY3" fmla="*/ 2472571 h 2472571"/>
            </a:gdLst>
            <a:ahLst/>
            <a:cxnLst>
              <a:cxn ang="0">
                <a:pos x="connsiteX0" y="connsiteY0"/>
              </a:cxn>
              <a:cxn ang="0">
                <a:pos x="connsiteX1" y="connsiteY1"/>
              </a:cxn>
              <a:cxn ang="0">
                <a:pos x="connsiteX2" y="connsiteY2"/>
              </a:cxn>
              <a:cxn ang="0">
                <a:pos x="connsiteX3" y="connsiteY3"/>
              </a:cxn>
            </a:cxnLst>
            <a:rect l="l" t="t" r="r" b="b"/>
            <a:pathLst>
              <a:path w="4362450" h="2472571">
                <a:moveTo>
                  <a:pt x="0" y="0"/>
                </a:moveTo>
                <a:lnTo>
                  <a:pt x="4362450" y="0"/>
                </a:lnTo>
                <a:lnTo>
                  <a:pt x="4362450" y="2472571"/>
                </a:lnTo>
                <a:lnTo>
                  <a:pt x="0" y="2472571"/>
                </a:lnTo>
                <a:close/>
              </a:path>
            </a:pathLst>
          </a:custGeom>
          <a:solidFill>
            <a:schemeClr val="bg1"/>
          </a:solidFill>
        </p:spPr>
        <p:txBody>
          <a:bodyPr wrap="square" anchor="ctr">
            <a:noAutofit/>
          </a:bodyPr>
          <a:lstStyle>
            <a:lvl1pPr marL="0" indent="0" algn="ctr">
              <a:buFontTx/>
              <a:buNone/>
              <a:defRPr sz="1200">
                <a:latin typeface="+mj-lt"/>
                <a:cs typeface="Poppins" panose="00000500000000000000" pitchFamily="2" charset="0"/>
              </a:defRPr>
            </a:lvl1pPr>
          </a:lstStyle>
          <a:p>
            <a:r>
              <a:rPr lang="en-US" dirty="0"/>
              <a:t>Picture</a:t>
            </a:r>
          </a:p>
        </p:txBody>
      </p:sp>
      <p:sp>
        <p:nvSpPr>
          <p:cNvPr id="9" name="Rectangle 8">
            <a:extLst>
              <a:ext uri="{FF2B5EF4-FFF2-40B4-BE49-F238E27FC236}">
                <a16:creationId xmlns:a16="http://schemas.microsoft.com/office/drawing/2014/main" id="{CA39585C-7E7D-4F01-93A3-9E9FDCB14682}"/>
              </a:ext>
            </a:extLst>
          </p:cNvPr>
          <p:cNvSpPr/>
          <p:nvPr userDrawn="1"/>
        </p:nvSpPr>
        <p:spPr>
          <a:xfrm>
            <a:off x="0" y="1182203"/>
            <a:ext cx="12192000" cy="128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72936296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BA749E8-EEA4-4586-8DF1-CF7E715E9876}"/>
              </a:ext>
            </a:extLst>
          </p:cNvPr>
          <p:cNvSpPr>
            <a:spLocks noGrp="1"/>
          </p:cNvSpPr>
          <p:nvPr>
            <p:ph sz="half" idx="1"/>
          </p:nvPr>
        </p:nvSpPr>
        <p:spPr>
          <a:xfrm>
            <a:off x="838200" y="4688091"/>
            <a:ext cx="5181600" cy="1603375"/>
          </a:xfrm>
          <a:prstGeom prst="rect">
            <a:avLst/>
          </a:prstGeom>
        </p:spPr>
        <p:txBody>
          <a:bodyPr/>
          <a:lstStyle>
            <a:lvl1pPr marL="0" indent="0">
              <a:buNone/>
              <a:defRPr>
                <a:solidFill>
                  <a:srgbClr val="3A4972"/>
                </a:solidFill>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86A23232-9295-4A96-BB3F-908A040D937B}"/>
              </a:ext>
            </a:extLst>
          </p:cNvPr>
          <p:cNvSpPr>
            <a:spLocks noGrp="1"/>
          </p:cNvSpPr>
          <p:nvPr>
            <p:ph sz="half" idx="2"/>
          </p:nvPr>
        </p:nvSpPr>
        <p:spPr>
          <a:xfrm>
            <a:off x="6172200" y="4688091"/>
            <a:ext cx="5181600" cy="1603375"/>
          </a:xfrm>
          <a:prstGeom prst="rect">
            <a:avLst/>
          </a:prstGeom>
        </p:spPr>
        <p:txBody>
          <a:bodyPr/>
          <a:lstStyle>
            <a:lvl1pPr marL="0" indent="0">
              <a:buNone/>
              <a:defRPr>
                <a:solidFill>
                  <a:srgbClr val="3A4972"/>
                </a:solidFill>
              </a:defRPr>
            </a:lvl1pPr>
          </a:lstStyle>
          <a:p>
            <a:pPr lvl="0"/>
            <a:r>
              <a:rPr lang="en-US"/>
              <a:t>Click to edit Master text styles</a:t>
            </a:r>
          </a:p>
        </p:txBody>
      </p:sp>
    </p:spTree>
    <p:extLst>
      <p:ext uri="{BB962C8B-B14F-4D97-AF65-F5344CB8AC3E}">
        <p14:creationId xmlns:p14="http://schemas.microsoft.com/office/powerpoint/2010/main" val="24299130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Only -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4119741763"/>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5" name="Rectangle 4">
            <a:extLst>
              <a:ext uri="{FF2B5EF4-FFF2-40B4-BE49-F238E27FC236}">
                <a16:creationId xmlns:a16="http://schemas.microsoft.com/office/drawing/2014/main" id="{B48BD9A1-8F1F-41E5-9C00-C6E15BEE1ABC}"/>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1658971823"/>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78D1-F37F-4B98-A34C-C594518B1B4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21AB33-831A-47EB-9476-3517B980A4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749204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08480-12D6-4DFC-A874-EE0594B81DE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0223D86-6992-4546-A61D-9809B94E41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04282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6B5D3-71FF-4298-955C-8C948981CBE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3867CCA-79E3-470A-8332-3517F0A7D9BF}"/>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8584926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1478C-A500-461C-B974-1BDC777472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4EAF129-469C-4B59-8493-0556EDD9B59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D70E52-D9E0-4E6A-9E75-30CE608A341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42438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5EC91-E067-46AD-9F34-D1ED4C1E50C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AE5E4F9-AF96-4C8D-85D5-85E09CAE90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09D5F35-7465-4103-B9A7-144BA350C8D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18DDD7D-984E-4E9F-8E7D-A57FCCE743F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E02F870-21FB-41C1-9E74-437C30D2251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07099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01D2A-D0D1-4306-9091-BB08E030BF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70066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52402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B73E4-026A-4B9F-96E1-DB643B90A8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D83E301-80C0-4953-8704-734648EA105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C3B7B46-BD1E-44BD-BFFF-998FB41EFB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9982540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56B13-FF59-40D2-BCE0-910C36A776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4418767-BA96-4244-BFA6-FAE1091F8A5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693BC37-8FBA-42C7-85C3-39FD09D95D8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4858509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BD647-E08B-4FA4-B2EE-A2AE233BA8AD}"/>
              </a:ext>
            </a:extLst>
          </p:cNvPr>
          <p:cNvSpPr>
            <a:spLocks noGrp="1"/>
          </p:cNvSpPr>
          <p:nvPr>
            <p:ph type="title"/>
          </p:nvPr>
        </p:nvSpPr>
        <p:spPr>
          <a:xfrm>
            <a:off x="838200" y="315431"/>
            <a:ext cx="10515600" cy="718240"/>
          </a:xfrm>
          <a:prstGeom prst="rect">
            <a:avLst/>
          </a:prstGeom>
        </p:spPr>
        <p:txBody>
          <a:bodyPr/>
          <a:lstStyle>
            <a:lvl1pPr algn="ctr">
              <a:defRPr>
                <a:solidFill>
                  <a:srgbClr val="3A4972"/>
                </a:solidFill>
              </a:defRPr>
            </a:lvl1pPr>
          </a:lstStyle>
          <a:p>
            <a:r>
              <a:rPr lang="en-US"/>
              <a:t>Click to edit Master title style</a:t>
            </a:r>
          </a:p>
        </p:txBody>
      </p:sp>
    </p:spTree>
    <p:extLst>
      <p:ext uri="{BB962C8B-B14F-4D97-AF65-F5344CB8AC3E}">
        <p14:creationId xmlns:p14="http://schemas.microsoft.com/office/powerpoint/2010/main" val="2809003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6FACA-56CD-43C9-B159-14CF0DC9300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F5DEC60-0807-4EAC-8D7D-0E834AD3F26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68067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C040E8E-A515-43C3-AFAC-BEC57142E54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72B431B-58C6-416D-A840-5D4CDFCFE00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1799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Title Only -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4119741763"/>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5" name="Rectangle 4">
            <a:extLst>
              <a:ext uri="{FF2B5EF4-FFF2-40B4-BE49-F238E27FC236}">
                <a16:creationId xmlns:a16="http://schemas.microsoft.com/office/drawing/2014/main" id="{B48BD9A1-8F1F-41E5-9C00-C6E15BEE1ABC}"/>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3047187818"/>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0A7B0-614A-4D76-BD40-E0FAF2F3CB4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59D55E6-7F68-4EB9-B931-15A0BFB4C2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714142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8E24B-6935-4A29-AC5A-D1EFE1B9F57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647F4B-8553-4BBC-A769-75530B58816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3648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40FA1-D5AE-4C4A-A1F7-A4E35B202A0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2B7A454-EA73-4C82-A78A-8A8B2EB3FD62}"/>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630621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82FA-3C82-4E59-B6A3-142C6B04E7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A001C9D-C511-42B2-9A80-24D0A390D45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265E1D9-A2F2-4463-AA64-55E14EDAC3D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69145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05797-342C-402A-8AF5-E314794BE04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A9D01BD-0BA4-4953-97DC-DC738B430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D7FD82E-3AF2-40D8-9A75-C1792A6DEA9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87500A0-8120-467B-8755-5191E7FBAFD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0540B2B-5E14-48EB-903E-2B9F3E96BA9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8407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870E3-B453-497C-A3D9-3B9315D3EF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8879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96316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4755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DF2FB-AD99-46F5-A613-484F486EC5C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F9A5B1C-9D8A-450D-8477-877A687599B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F00488-BFCA-4A75-918A-7123C4274E7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63962046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5F041-FC43-4E28-8289-D8EF7E2241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73CF7A5-E6EF-490A-8EE4-449F28E55E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B10ACFE-4BC9-45EA-B3A7-8B995906E3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1351599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A6CEA-1A33-484E-917B-F28BD044AAC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369644D-6FC4-4DF8-9B45-DA5A9A41F3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7783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8FA9CA-83E3-4064-B246-0B0387FD72D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198CCFB-D256-4A14-AAE2-52DD81C2B5D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74236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68733-0826-4844-BE84-AAFAFA233FF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D77F220-7331-43F6-9A36-11A96AEC565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008520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E413F-FBF0-4A2A-8B0F-B329B9D076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14EFC8-83C4-4420-B447-5F3B40EF695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36386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D9498-4474-4A11-BE95-6CAC6DD9CA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C5C319A-8126-4482-8FF0-E092913F8AF9}"/>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197070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1EA849-4477-432D-B81A-37E807E3B1A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F49D8BF-7FC7-411A-B340-41C328AE410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9D6DEF-F16D-4D34-88A4-4306768C849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11548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2DEE4-4469-4021-8E58-AA5FDB9F714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BD3BB1D-E978-4F54-8FCC-320B221AE13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C85B564-55FA-4F07-A3D3-8A4D188469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8753F20-60A0-4E8E-A129-3570039717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2D592C-FFBE-4112-8AC1-FE99723733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4203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DCA5F-314A-4AB3-8C74-E694D3EC12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14375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Title Only -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4119741763"/>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5" name="Rectangle 4">
            <a:extLst>
              <a:ext uri="{FF2B5EF4-FFF2-40B4-BE49-F238E27FC236}">
                <a16:creationId xmlns:a16="http://schemas.microsoft.com/office/drawing/2014/main" id="{B48BD9A1-8F1F-41E5-9C00-C6E15BEE1ABC}"/>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3117348438"/>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81922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BB0E6-CABA-4331-AA42-97E545D8C9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8011261-A363-4722-95E9-30C12FC9FA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5CB843-6F5E-477A-B73B-7C2745217C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6108413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C3C38-D10A-40FF-A8F3-0AD28877841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53933C2-5C85-4296-B262-8E33277BCD1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16BF003-7AEC-4C20-B715-BD6F2B31842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9535819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9F1E8-40D1-46FE-B097-FF380881D5A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24C27A0-5A01-4666-A7D9-E323715270E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44019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2DFDF2C-4576-458F-AC52-F33CE7EAB7D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D1ACF48-7BB6-4C86-B051-EC98A6067AE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19113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Title Only - No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4119741763"/>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5" name="Rectangle 4">
            <a:extLst>
              <a:ext uri="{FF2B5EF4-FFF2-40B4-BE49-F238E27FC236}">
                <a16:creationId xmlns:a16="http://schemas.microsoft.com/office/drawing/2014/main" id="{B48BD9A1-8F1F-41E5-9C00-C6E15BEE1ABC}"/>
              </a:ext>
            </a:extLst>
          </p:cNvPr>
          <p:cNvSpPr/>
          <p:nvPr userDrawn="1"/>
        </p:nvSpPr>
        <p:spPr bwMode="white">
          <a:xfrm>
            <a:off x="0" y="3"/>
            <a:ext cx="12192000" cy="65129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vert="horz"/>
          <a:lstStyle/>
          <a:p>
            <a:r>
              <a:rPr lang="en-US" dirty="0"/>
              <a:t>Click to edit Master title style</a:t>
            </a:r>
          </a:p>
        </p:txBody>
      </p:sp>
    </p:spTree>
    <p:extLst>
      <p:ext uri="{BB962C8B-B14F-4D97-AF65-F5344CB8AC3E}">
        <p14:creationId xmlns:p14="http://schemas.microsoft.com/office/powerpoint/2010/main" val="1496017220"/>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CCDF4-4FB1-4EE0-AF1F-FB48DE1BA5E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C7FF3A1-A3CC-4AAE-8D04-47B0937DB5F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229008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772B81-06B8-4CCA-A3F9-DE668022FE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A64E0F7-C3A2-463F-8625-FFC14AA9A34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31751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1E4F2-DE38-4FC7-90C3-5DCA47C6C57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4E9E538-8B51-46DD-BE1B-BBC31E04C7AB}"/>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8467496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41710-0DC4-4A20-A6EF-DD09676A95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C3FA23F-7E74-4734-8732-A8BE05D15EA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F2E31C-9B15-45B5-B9AC-C30A469899C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8439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155B3-7B59-4CB7-A651-BE05A8B8E07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3CA5724-3503-4B06-855F-C30EEA22F5C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EC23266-28B1-4853-BFC4-F60E5A59143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905F75-FEC6-455E-A42D-5DE8B1AA319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BC775AC-C2D9-4D14-90FD-ED8E5C8E14B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78410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F0F91-DFEB-4966-9DE5-E85C24CF520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F433A1A-FC2B-407C-A202-2505376F22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4DC9A5C-7EF9-4EBF-A333-5C379731004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9F651F2-3F51-4C9D-8961-BA6EC9292FD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B2A0B7B-E870-4AEC-802C-56E9602E0F4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197293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759D5-D40D-4813-85E1-975320A0BF4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55988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31844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6CD6E-5204-47D3-929C-4C91E242CFC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3D74FC5-C8B1-4326-9E84-DE7D01E67F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E38415F-D466-4FDD-80F3-E9C98DD09C5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9926975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5C33C-2A97-4395-8E35-A8CA23C34F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F9B5DB4-0A4D-4AC6-9AAC-8D814C558E7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E8A2C10-63F8-4C75-A17A-B8768C5076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9640873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A28EF-D710-4879-9FAF-069A7BD0C7F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230BCCC-E691-4DF7-9360-77D86FB734E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72783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DD25821-94FA-43C7-9F0B-3E0F9A9B2BC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D1A55C0-1852-4BDB-9D1B-199FCDDCBE3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71926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0D77E-DF3D-48DE-8E49-7E28AC5D740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595C0C1-CCFA-4AD4-B5C9-0314A691D8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015787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5447D-B7EB-49EB-9AE2-912F02C191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FE4474-8103-4F6A-97D5-17A02FA913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40907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35394F-3D64-4293-AD8B-9D4A54151B2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4A98300-747F-4E7E-A58E-15ED8AADC0AE}"/>
              </a:ext>
            </a:extLst>
          </p:cNvPr>
          <p:cNvSpPr>
            <a:spLocks noGrp="1"/>
          </p:cNvSpPr>
          <p:nvPr>
            <p:ph type="body" idx="1"/>
          </p:nvPr>
        </p:nvSpPr>
        <p:spPr>
          <a:xfrm>
            <a:off x="831850" y="4589463"/>
            <a:ext cx="10515600" cy="112553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593190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889E9-AE12-4CD1-A35B-371FC946A9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2D8782-0112-47CB-AC83-565990928FA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43225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42E37-CB7F-47E1-AC08-40570999131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2C0EDF-AF46-456E-9498-4D8AEAECC228}"/>
              </a:ext>
            </a:extLst>
          </p:cNvPr>
          <p:cNvSpPr>
            <a:spLocks noGrp="1"/>
          </p:cNvSpPr>
          <p:nvPr>
            <p:ph sz="half" idx="1"/>
          </p:nvPr>
        </p:nvSpPr>
        <p:spPr>
          <a:xfrm>
            <a:off x="838200" y="1825625"/>
            <a:ext cx="5181600" cy="3859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58221D7-7F5D-468E-AC8C-1F8C2C4EF73A}"/>
              </a:ext>
            </a:extLst>
          </p:cNvPr>
          <p:cNvSpPr>
            <a:spLocks noGrp="1"/>
          </p:cNvSpPr>
          <p:nvPr>
            <p:ph sz="half" idx="2"/>
          </p:nvPr>
        </p:nvSpPr>
        <p:spPr>
          <a:xfrm>
            <a:off x="6172200" y="1825625"/>
            <a:ext cx="5181600" cy="3859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13725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A03EF-3C6D-41BA-BB9D-660E0CCDC33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3C66ACE-9618-4210-B40A-A3254FAE640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5624CD2-B123-4575-B40A-36227E704538}"/>
              </a:ext>
            </a:extLst>
          </p:cNvPr>
          <p:cNvSpPr>
            <a:spLocks noGrp="1"/>
          </p:cNvSpPr>
          <p:nvPr>
            <p:ph sz="half" idx="2"/>
          </p:nvPr>
        </p:nvSpPr>
        <p:spPr>
          <a:xfrm>
            <a:off x="839788" y="2505075"/>
            <a:ext cx="5157787" cy="31999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BFD208-5BE7-482E-A005-CE20C9F709A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3C5ED79-94AA-41D3-A928-41A3BF25F406}"/>
              </a:ext>
            </a:extLst>
          </p:cNvPr>
          <p:cNvSpPr>
            <a:spLocks noGrp="1"/>
          </p:cNvSpPr>
          <p:nvPr>
            <p:ph sz="quarter" idx="4"/>
          </p:nvPr>
        </p:nvSpPr>
        <p:spPr>
          <a:xfrm>
            <a:off x="6172200" y="2505075"/>
            <a:ext cx="5183188" cy="31999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628423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197C4-B695-42C3-AA8D-960FA4B7861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379547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30536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1E99CA-C240-4C5F-8F30-D24A6BD7680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CA6268A-EDD8-40A7-91C7-7BF3C23AA282}"/>
              </a:ext>
            </a:extLst>
          </p:cNvPr>
          <p:cNvSpPr>
            <a:spLocks noGrp="1"/>
          </p:cNvSpPr>
          <p:nvPr>
            <p:ph idx="1"/>
          </p:nvPr>
        </p:nvSpPr>
        <p:spPr>
          <a:xfrm>
            <a:off x="5183188" y="987426"/>
            <a:ext cx="6172200" cy="465131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6C12332-57E4-42BE-A610-62A0ECCE96BF}"/>
              </a:ext>
            </a:extLst>
          </p:cNvPr>
          <p:cNvSpPr>
            <a:spLocks noGrp="1"/>
          </p:cNvSpPr>
          <p:nvPr>
            <p:ph type="body" sz="half" idx="2"/>
          </p:nvPr>
        </p:nvSpPr>
        <p:spPr>
          <a:xfrm>
            <a:off x="839788" y="2057400"/>
            <a:ext cx="3932237" cy="363772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4401846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2C492-EED2-4AAC-8A2E-C439C44072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EFC18E1-3A62-4C15-93B0-E735274F0AFA}"/>
              </a:ext>
            </a:extLst>
          </p:cNvPr>
          <p:cNvSpPr>
            <a:spLocks noGrp="1"/>
          </p:cNvSpPr>
          <p:nvPr>
            <p:ph type="pic" idx="1"/>
          </p:nvPr>
        </p:nvSpPr>
        <p:spPr>
          <a:xfrm>
            <a:off x="5183188" y="987425"/>
            <a:ext cx="6172200" cy="467673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2B8E20B-0001-4E24-A83A-5CD8ED38AB69}"/>
              </a:ext>
            </a:extLst>
          </p:cNvPr>
          <p:cNvSpPr>
            <a:spLocks noGrp="1"/>
          </p:cNvSpPr>
          <p:nvPr>
            <p:ph type="body" sz="half" idx="2"/>
          </p:nvPr>
        </p:nvSpPr>
        <p:spPr>
          <a:xfrm>
            <a:off x="839788" y="2057400"/>
            <a:ext cx="3932237" cy="36576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4821360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4F112-0466-4CAC-A5B1-61DC1FEB51B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61910ED-EB94-4F47-A76D-8D7025F09C5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040372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C6A2C8-111E-4B8B-AFFA-BF9E963FEDDC}"/>
              </a:ext>
            </a:extLst>
          </p:cNvPr>
          <p:cNvSpPr>
            <a:spLocks noGrp="1"/>
          </p:cNvSpPr>
          <p:nvPr>
            <p:ph type="title" orient="vert"/>
          </p:nvPr>
        </p:nvSpPr>
        <p:spPr>
          <a:xfrm>
            <a:off x="8724900" y="365125"/>
            <a:ext cx="2628900" cy="5339936"/>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95CF7A8-680D-4755-BF62-36DCBE9313D8}"/>
              </a:ext>
            </a:extLst>
          </p:cNvPr>
          <p:cNvSpPr>
            <a:spLocks noGrp="1"/>
          </p:cNvSpPr>
          <p:nvPr>
            <p:ph type="body" orient="vert" idx="1"/>
          </p:nvPr>
        </p:nvSpPr>
        <p:spPr>
          <a:xfrm>
            <a:off x="838200" y="365125"/>
            <a:ext cx="7734300" cy="533993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90789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4EAE4-5B4E-43D7-ADDD-B5D0B9DC0DE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878493D-8251-4585-81A2-A652CB7F327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5664649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95D9C-313A-42F0-A132-781E3AFEBF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261336-42EC-41ED-A90D-224F84DA096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77055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26A8D-47C9-4A19-AA88-6647AD5C3A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D4F8BC-0397-457D-8DA7-36D0B038196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43BCE7-CEAB-4EC7-8A6F-86D2C18F81D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41843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C0508-4B62-4CE6-A3FB-4F63F836A5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20EFD1-DC55-4E2E-BC9D-B90DA0305E49}"/>
              </a:ext>
            </a:extLst>
          </p:cNvPr>
          <p:cNvSpPr>
            <a:spLocks noGrp="1"/>
          </p:cNvSpPr>
          <p:nvPr>
            <p:ph type="body" idx="1"/>
          </p:nvPr>
        </p:nvSpPr>
        <p:spPr>
          <a:xfrm>
            <a:off x="831850" y="4589464"/>
            <a:ext cx="10515600" cy="1135476"/>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416595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17E2C-D3A0-4BDC-BFD6-0640ACCF86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5096A0-7E95-48BA-9179-D44E1F7F9581}"/>
              </a:ext>
            </a:extLst>
          </p:cNvPr>
          <p:cNvSpPr>
            <a:spLocks noGrp="1"/>
          </p:cNvSpPr>
          <p:nvPr>
            <p:ph sz="half" idx="1"/>
          </p:nvPr>
        </p:nvSpPr>
        <p:spPr>
          <a:xfrm>
            <a:off x="838200" y="1825625"/>
            <a:ext cx="5181600" cy="3869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6544CD1-B89D-4E99-8C65-7661B16C5F49}"/>
              </a:ext>
            </a:extLst>
          </p:cNvPr>
          <p:cNvSpPr>
            <a:spLocks noGrp="1"/>
          </p:cNvSpPr>
          <p:nvPr>
            <p:ph sz="half" idx="2"/>
          </p:nvPr>
        </p:nvSpPr>
        <p:spPr>
          <a:xfrm>
            <a:off x="6172200" y="1825625"/>
            <a:ext cx="5181600" cy="3869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454906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846B1-2B54-453C-B8F4-376C74531F1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395D655-258D-4C3A-82DA-64BE04E7843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AB1FFC5-0EC8-4633-AF69-3851E2F4D182}"/>
              </a:ext>
            </a:extLst>
          </p:cNvPr>
          <p:cNvSpPr>
            <a:spLocks noGrp="1"/>
          </p:cNvSpPr>
          <p:nvPr>
            <p:ph sz="half" idx="2"/>
          </p:nvPr>
        </p:nvSpPr>
        <p:spPr>
          <a:xfrm>
            <a:off x="839788" y="2505075"/>
            <a:ext cx="5157787" cy="32198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93B6773-96A5-45DF-B01A-C29D15D367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9FBA4BD-77A4-4049-8C09-16BA2AB39254}"/>
              </a:ext>
            </a:extLst>
          </p:cNvPr>
          <p:cNvSpPr>
            <a:spLocks noGrp="1"/>
          </p:cNvSpPr>
          <p:nvPr>
            <p:ph sz="quarter" idx="4"/>
          </p:nvPr>
        </p:nvSpPr>
        <p:spPr>
          <a:xfrm>
            <a:off x="6172200" y="2505075"/>
            <a:ext cx="5183188" cy="32198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227382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1B9FA-B671-441F-A8E5-E0E86FD4628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911355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643520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66C7E-F4D9-4176-B41A-6CEECA0A63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1B147D8-4228-406D-8817-67CF86D13D6C}"/>
              </a:ext>
            </a:extLst>
          </p:cNvPr>
          <p:cNvSpPr>
            <a:spLocks noGrp="1"/>
          </p:cNvSpPr>
          <p:nvPr>
            <p:ph idx="1"/>
          </p:nvPr>
        </p:nvSpPr>
        <p:spPr>
          <a:xfrm>
            <a:off x="5183188" y="987425"/>
            <a:ext cx="6172200" cy="467673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2501804-B092-49EA-AC2B-7D0412E0760A}"/>
              </a:ext>
            </a:extLst>
          </p:cNvPr>
          <p:cNvSpPr>
            <a:spLocks noGrp="1"/>
          </p:cNvSpPr>
          <p:nvPr>
            <p:ph type="body" sz="half" idx="2"/>
          </p:nvPr>
        </p:nvSpPr>
        <p:spPr>
          <a:xfrm>
            <a:off x="839788" y="2057400"/>
            <a:ext cx="3932237" cy="36576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8621940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E81D3-8E64-4780-B071-5D721D1C92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4C0A1DF-6BCF-4F00-B43C-5538D49D7190}"/>
              </a:ext>
            </a:extLst>
          </p:cNvPr>
          <p:cNvSpPr>
            <a:spLocks noGrp="1"/>
          </p:cNvSpPr>
          <p:nvPr>
            <p:ph type="pic" idx="1"/>
          </p:nvPr>
        </p:nvSpPr>
        <p:spPr>
          <a:xfrm>
            <a:off x="5183188" y="987426"/>
            <a:ext cx="6172200" cy="466402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6B6A0C9-88B0-442A-B24C-F63D529850C4}"/>
              </a:ext>
            </a:extLst>
          </p:cNvPr>
          <p:cNvSpPr>
            <a:spLocks noGrp="1"/>
          </p:cNvSpPr>
          <p:nvPr>
            <p:ph type="body" sz="half" idx="2"/>
          </p:nvPr>
        </p:nvSpPr>
        <p:spPr>
          <a:xfrm>
            <a:off x="839788" y="2057400"/>
            <a:ext cx="3932237" cy="364766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4618599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7E7580-C56F-45B2-9D87-3BD6E91C6DE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7B6D301-1839-4B9F-9049-13D93CAC9D7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283129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3202AF7-D32F-420A-9B4E-3340066942B9}"/>
              </a:ext>
            </a:extLst>
          </p:cNvPr>
          <p:cNvSpPr>
            <a:spLocks noGrp="1"/>
          </p:cNvSpPr>
          <p:nvPr>
            <p:ph type="title" orient="vert"/>
          </p:nvPr>
        </p:nvSpPr>
        <p:spPr>
          <a:xfrm>
            <a:off x="8724900" y="365125"/>
            <a:ext cx="2628900" cy="532999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05BE658-9EA1-4CC8-AB43-FF6AE28ACE83}"/>
              </a:ext>
            </a:extLst>
          </p:cNvPr>
          <p:cNvSpPr>
            <a:spLocks noGrp="1"/>
          </p:cNvSpPr>
          <p:nvPr>
            <p:ph type="body" orient="vert" idx="1"/>
          </p:nvPr>
        </p:nvSpPr>
        <p:spPr>
          <a:xfrm>
            <a:off x="838200" y="365125"/>
            <a:ext cx="7734300" cy="532999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83639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1"/>
            </p:custDataLst>
            <p:extLst>
              <p:ext uri="{D42A27DB-BD31-4B8C-83A1-F6EECF244321}">
                <p14:modId xmlns:p14="http://schemas.microsoft.com/office/powerpoint/2010/main" val="402451686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621101" y="1595888"/>
            <a:ext cx="11024659"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23132830"/>
      </p:ext>
    </p:extLst>
  </p:cSld>
  <p:clrMapOvr>
    <a:masterClrMapping/>
  </p:clrMapOvr>
  <p:extLst>
    <p:ext uri="{DCECCB84-F9BA-43D5-87BE-67443E8EF086}">
      <p15:sldGuideLst xmlns:p15="http://schemas.microsoft.com/office/powerpoint/2012/main">
        <p15:guide id="3" orient="horz" pos="2160">
          <p15:clr>
            <a:srgbClr val="FBAE40"/>
          </p15:clr>
        </p15:guide>
        <p15:guide id="4" pos="549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E716F-A05F-4E66-A3C2-27ED92B4857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BD900B1-7629-4E1B-BE2F-EB794902BF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0999261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84499-1B2D-4AA0-B86A-515F682628E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D304869-08FA-46EF-B391-329BE6FBF7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399980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6D122-7B8C-4495-8329-FC04D09048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8EF267-1F28-4231-B2F7-E648398F0BC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365832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F71347-7DD9-4643-AF2A-CD890E6D37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9AD1A1D-0D3C-4B1D-99F8-A20FFA1E133D}"/>
              </a:ext>
            </a:extLst>
          </p:cNvPr>
          <p:cNvSpPr>
            <a:spLocks noGrp="1"/>
          </p:cNvSpPr>
          <p:nvPr>
            <p:ph type="body" idx="1"/>
          </p:nvPr>
        </p:nvSpPr>
        <p:spPr>
          <a:xfrm>
            <a:off x="831850" y="4589464"/>
            <a:ext cx="10515600" cy="1115598"/>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27351307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AEB42-D269-412A-8927-C263D32DDA1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ED2ABA-22E5-4CC7-9A18-5D679FBB8AB0}"/>
              </a:ext>
            </a:extLst>
          </p:cNvPr>
          <p:cNvSpPr>
            <a:spLocks noGrp="1"/>
          </p:cNvSpPr>
          <p:nvPr>
            <p:ph sz="half" idx="1"/>
          </p:nvPr>
        </p:nvSpPr>
        <p:spPr>
          <a:xfrm>
            <a:off x="838200" y="1825625"/>
            <a:ext cx="5181600" cy="3869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B538AE-879D-4168-9789-899CFDE50022}"/>
              </a:ext>
            </a:extLst>
          </p:cNvPr>
          <p:cNvSpPr>
            <a:spLocks noGrp="1"/>
          </p:cNvSpPr>
          <p:nvPr>
            <p:ph sz="half" idx="2"/>
          </p:nvPr>
        </p:nvSpPr>
        <p:spPr>
          <a:xfrm>
            <a:off x="6172200" y="1825625"/>
            <a:ext cx="5181600" cy="3869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197707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1CC5E-075E-44D0-AA8C-7BC83F31FF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B8D20EC-2310-4D8F-A264-FCB7DD99C38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A57A5A-0F0C-4C80-88E0-73E7403AD2D2}"/>
              </a:ext>
            </a:extLst>
          </p:cNvPr>
          <p:cNvSpPr>
            <a:spLocks noGrp="1"/>
          </p:cNvSpPr>
          <p:nvPr>
            <p:ph sz="half" idx="2"/>
          </p:nvPr>
        </p:nvSpPr>
        <p:spPr>
          <a:xfrm>
            <a:off x="839788" y="2505075"/>
            <a:ext cx="5157787" cy="31900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704AF7E-4197-426A-A476-8746DA5E32A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78D86CD-3274-4BA9-9F71-0B2A028D1562}"/>
              </a:ext>
            </a:extLst>
          </p:cNvPr>
          <p:cNvSpPr>
            <a:spLocks noGrp="1"/>
          </p:cNvSpPr>
          <p:nvPr>
            <p:ph sz="quarter" idx="4"/>
          </p:nvPr>
        </p:nvSpPr>
        <p:spPr>
          <a:xfrm>
            <a:off x="6172200" y="2505075"/>
            <a:ext cx="5183188" cy="31900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035384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132AE-A21A-4BB8-B92D-A4FA5A08349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16344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2333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AEBB7-2CAA-432E-A70F-9C6006C974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F154CB9-60BD-4553-8006-2472653908DA}"/>
              </a:ext>
            </a:extLst>
          </p:cNvPr>
          <p:cNvSpPr>
            <a:spLocks noGrp="1"/>
          </p:cNvSpPr>
          <p:nvPr>
            <p:ph idx="1"/>
          </p:nvPr>
        </p:nvSpPr>
        <p:spPr>
          <a:xfrm>
            <a:off x="5183188" y="987426"/>
            <a:ext cx="6172200" cy="463860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42C5EAA-5B47-4809-A57D-4F2B75E6A6B6}"/>
              </a:ext>
            </a:extLst>
          </p:cNvPr>
          <p:cNvSpPr>
            <a:spLocks noGrp="1"/>
          </p:cNvSpPr>
          <p:nvPr>
            <p:ph type="body" sz="half" idx="2"/>
          </p:nvPr>
        </p:nvSpPr>
        <p:spPr>
          <a:xfrm>
            <a:off x="839788" y="2057400"/>
            <a:ext cx="3932237" cy="362778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4456553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451DF-479A-40E6-BCB2-4A8D17E507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1EFDA1B-8A32-49BD-8BBA-17C93979CB2A}"/>
              </a:ext>
            </a:extLst>
          </p:cNvPr>
          <p:cNvSpPr>
            <a:spLocks noGrp="1"/>
          </p:cNvSpPr>
          <p:nvPr>
            <p:ph type="pic" idx="1"/>
          </p:nvPr>
        </p:nvSpPr>
        <p:spPr>
          <a:xfrm>
            <a:off x="5183188" y="987426"/>
            <a:ext cx="6172200" cy="466402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09EBC95-29E9-430C-9CF8-B6CE73B475F1}"/>
              </a:ext>
            </a:extLst>
          </p:cNvPr>
          <p:cNvSpPr>
            <a:spLocks noGrp="1"/>
          </p:cNvSpPr>
          <p:nvPr>
            <p:ph type="body" sz="half" idx="2"/>
          </p:nvPr>
        </p:nvSpPr>
        <p:spPr>
          <a:xfrm>
            <a:off x="839788" y="2057400"/>
            <a:ext cx="3932237" cy="364766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63499021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9AFC7-2614-4446-9436-D6768E712BD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1352E21-7EDE-426B-B5CB-10EF98497A1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28385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5" Type="http://schemas.openxmlformats.org/officeDocument/2006/relationships/slideLayout" Target="../slideLayouts/slideLayout105.xml"/><Relationship Id="rId4" Type="http://schemas.openxmlformats.org/officeDocument/2006/relationships/slideLayout" Target="../slideLayouts/slideLayout104.xml"/><Relationship Id="rId9" Type="http://schemas.openxmlformats.org/officeDocument/2006/relationships/image" Target="../media/image11.png"/></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9" Type="http://schemas.openxmlformats.org/officeDocument/2006/relationships/tags" Target="../tags/tag11.xml"/><Relationship Id="rId21" Type="http://schemas.openxmlformats.org/officeDocument/2006/relationships/slideLayout" Target="../slideLayouts/slideLayout128.xml"/><Relationship Id="rId34" Type="http://schemas.openxmlformats.org/officeDocument/2006/relationships/slideLayout" Target="../slideLayouts/slideLayout141.xml"/><Relationship Id="rId42" Type="http://schemas.openxmlformats.org/officeDocument/2006/relationships/image" Target="../media/image2.emf"/><Relationship Id="rId7" Type="http://schemas.openxmlformats.org/officeDocument/2006/relationships/slideLayout" Target="../slideLayouts/slideLayout11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29" Type="http://schemas.openxmlformats.org/officeDocument/2006/relationships/slideLayout" Target="../slideLayouts/slideLayout136.xml"/><Relationship Id="rId41" Type="http://schemas.openxmlformats.org/officeDocument/2006/relationships/oleObject" Target="../embeddings/oleObject3.bin"/><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32" Type="http://schemas.openxmlformats.org/officeDocument/2006/relationships/slideLayout" Target="../slideLayouts/slideLayout139.xml"/><Relationship Id="rId37" Type="http://schemas.openxmlformats.org/officeDocument/2006/relationships/slideLayout" Target="../slideLayouts/slideLayout144.xml"/><Relationship Id="rId40" Type="http://schemas.openxmlformats.org/officeDocument/2006/relationships/tags" Target="../tags/tag12.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36" Type="http://schemas.openxmlformats.org/officeDocument/2006/relationships/slideLayout" Target="../slideLayouts/slideLayout143.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31" Type="http://schemas.openxmlformats.org/officeDocument/2006/relationships/slideLayout" Target="../slideLayouts/slideLayout138.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30" Type="http://schemas.openxmlformats.org/officeDocument/2006/relationships/slideLayout" Target="../slideLayouts/slideLayout137.xml"/><Relationship Id="rId35" Type="http://schemas.openxmlformats.org/officeDocument/2006/relationships/slideLayout" Target="../slideLayouts/slideLayout142.xml"/><Relationship Id="rId8" Type="http://schemas.openxmlformats.org/officeDocument/2006/relationships/slideLayout" Target="../slideLayouts/slideLayout115.xml"/><Relationship Id="rId3" Type="http://schemas.openxmlformats.org/officeDocument/2006/relationships/slideLayout" Target="../slideLayouts/slideLayout110.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33" Type="http://schemas.openxmlformats.org/officeDocument/2006/relationships/slideLayout" Target="../slideLayouts/slideLayout140.xml"/><Relationship Id="rId38"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11.png"/><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theme" Target="../theme/theme12.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slideLayout" Target="../slideLayouts/slideLayout181.xml"/><Relationship Id="rId39" Type="http://schemas.openxmlformats.org/officeDocument/2006/relationships/oleObject" Target="../embeddings/oleObject37.bin"/><Relationship Id="rId21" Type="http://schemas.openxmlformats.org/officeDocument/2006/relationships/slideLayout" Target="../slideLayouts/slideLayout176.xml"/><Relationship Id="rId34" Type="http://schemas.openxmlformats.org/officeDocument/2006/relationships/slideLayout" Target="../slideLayouts/slideLayout189.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33" Type="http://schemas.openxmlformats.org/officeDocument/2006/relationships/slideLayout" Target="../slideLayouts/slideLayout188.xml"/><Relationship Id="rId38" Type="http://schemas.openxmlformats.org/officeDocument/2006/relationships/tags" Target="../tags/tag8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29" Type="http://schemas.openxmlformats.org/officeDocument/2006/relationships/slideLayout" Target="../slideLayouts/slideLayout184.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32" Type="http://schemas.openxmlformats.org/officeDocument/2006/relationships/slideLayout" Target="../slideLayouts/slideLayout187.xml"/><Relationship Id="rId37" Type="http://schemas.openxmlformats.org/officeDocument/2006/relationships/tags" Target="../tags/tag81.xml"/><Relationship Id="rId40" Type="http://schemas.openxmlformats.org/officeDocument/2006/relationships/image" Target="../media/image2.emf"/><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36" Type="http://schemas.openxmlformats.org/officeDocument/2006/relationships/theme" Target="../theme/theme13.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31" Type="http://schemas.openxmlformats.org/officeDocument/2006/relationships/slideLayout" Target="../slideLayouts/slideLayout186.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slideLayout" Target="../slideLayouts/slideLayout185.xml"/><Relationship Id="rId35" Type="http://schemas.openxmlformats.org/officeDocument/2006/relationships/slideLayout" Target="../slideLayouts/slideLayout190.xml"/><Relationship Id="rId8" Type="http://schemas.openxmlformats.org/officeDocument/2006/relationships/slideLayout" Target="../slideLayouts/slideLayout163.xml"/><Relationship Id="rId3" Type="http://schemas.openxmlformats.org/officeDocument/2006/relationships/slideLayout" Target="../slideLayouts/slideLayout15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5.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theme" Target="../theme/theme5.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image" Target="../media/image6.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7.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image" Target="../media/image8.png"/><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7.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theme" Target="../theme/theme8.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image" Target="../media/image9.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image" Target="../media/image10.png"/><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9.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Logo&#10;&#10;Description automatically generated">
            <a:extLst>
              <a:ext uri="{FF2B5EF4-FFF2-40B4-BE49-F238E27FC236}">
                <a16:creationId xmlns:a16="http://schemas.microsoft.com/office/drawing/2014/main" id="{C551F72B-251B-4958-AD13-FE899E6844B2}"/>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3554632" y="1341070"/>
            <a:ext cx="5063847" cy="2646185"/>
          </a:xfrm>
          <a:prstGeom prst="rect">
            <a:avLst/>
          </a:prstGeom>
        </p:spPr>
      </p:pic>
    </p:spTree>
    <p:extLst>
      <p:ext uri="{BB962C8B-B14F-4D97-AF65-F5344CB8AC3E}">
        <p14:creationId xmlns:p14="http://schemas.microsoft.com/office/powerpoint/2010/main" val="12860651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6" r:id="rId3"/>
    <p:sldLayoutId id="2147483667" r:id="rId4"/>
    <p:sldLayoutId id="2147483822" r:id="rId5"/>
    <p:sldLayoutId id="2147483823" r:id="rId6"/>
    <p:sldLayoutId id="2147483824" r:id="rId7"/>
    <p:sldLayoutId id="2147483825"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graphical user interface&#10;&#10;Description automatically generated">
            <a:extLst>
              <a:ext uri="{FF2B5EF4-FFF2-40B4-BE49-F238E27FC236}">
                <a16:creationId xmlns:a16="http://schemas.microsoft.com/office/drawing/2014/main" id="{38411277-D3D0-484B-97AF-D5001982541F}"/>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FAFF4948-2D84-4F16-9D12-18ABD81B6D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8FF07E9-6657-4463-8C07-1776D14FC2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34E9F1D0-E709-4A34-BAEE-7CD5871F11CF}"/>
              </a:ext>
            </a:extLst>
          </p:cNvPr>
          <p:cNvCxnSpPr/>
          <p:nvPr userDrawn="1"/>
        </p:nvCxnSpPr>
        <p:spPr>
          <a:xfrm>
            <a:off x="838200" y="1690688"/>
            <a:ext cx="10515600" cy="0"/>
          </a:xfrm>
          <a:prstGeom prst="line">
            <a:avLst/>
          </a:prstGeom>
          <a:ln w="28575">
            <a:solidFill>
              <a:srgbClr val="3A49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5850701"/>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8" r:id="rId7"/>
  </p:sldLayoutIdLst>
  <p:txStyles>
    <p:titleStyle>
      <a:lvl1pPr algn="l" defTabSz="914400" rtl="0" eaLnBrk="1" latinLnBrk="0" hangingPunct="1">
        <a:lnSpc>
          <a:spcPct val="90000"/>
        </a:lnSpc>
        <a:spcBef>
          <a:spcPct val="0"/>
        </a:spcBef>
        <a:buNone/>
        <a:defRPr sz="4400" kern="1200">
          <a:solidFill>
            <a:srgbClr val="3A497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D41741-3C55-4FF2-B935-2BF17D5A8672}"/>
              </a:ext>
            </a:extLst>
          </p:cNvPr>
          <p:cNvGraphicFramePr>
            <a:graphicFrameLocks noChangeAspect="1"/>
          </p:cNvGraphicFramePr>
          <p:nvPr userDrawn="1">
            <p:custDataLst>
              <p:tags r:id="rId39"/>
            </p:custDataLst>
            <p:extLst>
              <p:ext uri="{D42A27DB-BD31-4B8C-83A1-F6EECF244321}">
                <p14:modId xmlns:p14="http://schemas.microsoft.com/office/powerpoint/2010/main" val="4120964110"/>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1" imgW="344" imgH="344" progId="TCLayout.ActiveDocument.1">
                  <p:embed/>
                </p:oleObj>
              </mc:Choice>
              <mc:Fallback>
                <p:oleObj name="think-cell Slide" r:id="rId41" imgW="344" imgH="344" progId="TCLayout.ActiveDocument.1">
                  <p:embed/>
                  <p:pic>
                    <p:nvPicPr>
                      <p:cNvPr id="6" name="Object 5" hidden="1">
                        <a:extLst>
                          <a:ext uri="{FF2B5EF4-FFF2-40B4-BE49-F238E27FC236}">
                            <a16:creationId xmlns:a16="http://schemas.microsoft.com/office/drawing/2014/main" id="{20D41741-3C55-4FF2-B935-2BF17D5A8672}"/>
                          </a:ext>
                        </a:extLst>
                      </p:cNvPr>
                      <p:cNvPicPr/>
                      <p:nvPr/>
                    </p:nvPicPr>
                    <p:blipFill>
                      <a:blip r:embed="rId42"/>
                      <a:stretch>
                        <a:fillRect/>
                      </a:stretch>
                    </p:blipFill>
                    <p:spPr>
                      <a:xfrm>
                        <a:off x="2119"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6922DEA-D390-4719-9146-4F935001CF26}"/>
              </a:ext>
            </a:extLst>
          </p:cNvPr>
          <p:cNvSpPr/>
          <p:nvPr userDrawn="1">
            <p:custDataLst>
              <p:tags r:id="rId40"/>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9" name="Rectangle 8">
            <a:extLst>
              <a:ext uri="{FF2B5EF4-FFF2-40B4-BE49-F238E27FC236}">
                <a16:creationId xmlns:a16="http://schemas.microsoft.com/office/drawing/2014/main" id="{76B50372-B98E-4E9D-A9E0-E7BA1B31D3E0}"/>
              </a:ext>
            </a:extLst>
          </p:cNvPr>
          <p:cNvSpPr/>
          <p:nvPr userDrawn="1"/>
        </p:nvSpPr>
        <p:spPr bwMode="invGray">
          <a:xfrm>
            <a:off x="0" y="6500825"/>
            <a:ext cx="12192000" cy="3651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713" indent="0" algn="l">
              <a:tabLst>
                <a:tab pos="4227513" algn="ctr"/>
                <a:tab pos="8859838" algn="dec"/>
              </a:tabLst>
            </a:pPr>
            <a:endParaRPr lang="en-US" sz="800" dirty="0"/>
          </a:p>
        </p:txBody>
      </p:sp>
      <p:sp>
        <p:nvSpPr>
          <p:cNvPr id="2" name="Title Placeholder 1"/>
          <p:cNvSpPr>
            <a:spLocks noGrp="1"/>
          </p:cNvSpPr>
          <p:nvPr>
            <p:ph type="title"/>
          </p:nvPr>
        </p:nvSpPr>
        <p:spPr>
          <a:xfrm>
            <a:off x="609602" y="0"/>
            <a:ext cx="8946033" cy="1143000"/>
          </a:xfrm>
          <a:prstGeom prst="rect">
            <a:avLst/>
          </a:prstGeom>
        </p:spPr>
        <p:txBody>
          <a:bodyPr vert="horz" lIns="0" tIns="0" rIns="0" bIns="0" rtlCol="0" anchor="b" anchorCtr="0">
            <a:noAutofit/>
          </a:bodyPr>
          <a:lstStyle/>
          <a:p>
            <a:r>
              <a:rPr lang="en-US" dirty="0"/>
              <a:t>Click to edit Master title style</a:t>
            </a:r>
          </a:p>
        </p:txBody>
      </p:sp>
      <p:sp>
        <p:nvSpPr>
          <p:cNvPr id="3" name="Text Placeholder 2"/>
          <p:cNvSpPr>
            <a:spLocks noGrp="1"/>
          </p:cNvSpPr>
          <p:nvPr>
            <p:ph type="body" idx="1"/>
          </p:nvPr>
        </p:nvSpPr>
        <p:spPr>
          <a:xfrm>
            <a:off x="621101" y="1595890"/>
            <a:ext cx="11024659" cy="476188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p:txBody>
      </p:sp>
      <p:sp>
        <p:nvSpPr>
          <p:cNvPr id="11" name="TextBox 10">
            <a:extLst>
              <a:ext uri="{FF2B5EF4-FFF2-40B4-BE49-F238E27FC236}">
                <a16:creationId xmlns:a16="http://schemas.microsoft.com/office/drawing/2014/main" id="{44A9172F-E0DB-442C-B75E-6FAC862482A2}"/>
              </a:ext>
            </a:extLst>
          </p:cNvPr>
          <p:cNvSpPr txBox="1"/>
          <p:nvPr userDrawn="1"/>
        </p:nvSpPr>
        <p:spPr bwMode="invGray">
          <a:xfrm>
            <a:off x="272960" y="6564128"/>
            <a:ext cx="4100632"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mj-lt"/>
              </a:rPr>
              <a:t>© 2024 The Chartis Group, LLC. All Rights Reserved.</a:t>
            </a:r>
          </a:p>
        </p:txBody>
      </p:sp>
      <p:sp>
        <p:nvSpPr>
          <p:cNvPr id="23" name="TextBox 22">
            <a:extLst>
              <a:ext uri="{FF2B5EF4-FFF2-40B4-BE49-F238E27FC236}">
                <a16:creationId xmlns:a16="http://schemas.microsoft.com/office/drawing/2014/main" id="{0A03B2EF-5985-4828-B191-32F0EBA7CD2B}"/>
              </a:ext>
            </a:extLst>
          </p:cNvPr>
          <p:cNvSpPr txBox="1"/>
          <p:nvPr userDrawn="1"/>
        </p:nvSpPr>
        <p:spPr bwMode="invGray">
          <a:xfrm>
            <a:off x="11173187" y="6564128"/>
            <a:ext cx="960389"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mj-lt"/>
              </a:rPr>
              <a:t>Page </a:t>
            </a:r>
            <a:fld id="{7B71ACC0-F869-49CE-AD63-26A4A0FC4B00}" type="slidenum">
              <a:rPr lang="en-US" sz="900" smtClean="0">
                <a:solidFill>
                  <a:schemeClr val="bg1"/>
                </a:solidFill>
                <a:latin typeface="+mj-lt"/>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latin typeface="+mj-lt"/>
            </a:endParaRPr>
          </a:p>
        </p:txBody>
      </p:sp>
    </p:spTree>
    <p:extLst>
      <p:ext uri="{BB962C8B-B14F-4D97-AF65-F5344CB8AC3E}">
        <p14:creationId xmlns:p14="http://schemas.microsoft.com/office/powerpoint/2010/main" val="2809213186"/>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 id="2147483811" r:id="rId29"/>
    <p:sldLayoutId id="2147483812" r:id="rId30"/>
    <p:sldLayoutId id="2147483813" r:id="rId31"/>
    <p:sldLayoutId id="2147483814" r:id="rId32"/>
    <p:sldLayoutId id="2147483815" r:id="rId33"/>
    <p:sldLayoutId id="2147483816" r:id="rId34"/>
    <p:sldLayoutId id="2147483817" r:id="rId35"/>
    <p:sldLayoutId id="2147483818" r:id="rId36"/>
    <p:sldLayoutId id="2147483819" r:id="rId37"/>
  </p:sldLayoutIdLst>
  <p:hf hdr="0"/>
  <p:txStyles>
    <p:titleStyle>
      <a:lvl1pPr marL="0" algn="l" defTabSz="914400" rtl="0" eaLnBrk="1" latinLnBrk="0" hangingPunct="1">
        <a:lnSpc>
          <a:spcPct val="108000"/>
        </a:lnSpc>
        <a:spcBef>
          <a:spcPct val="0"/>
        </a:spcBef>
        <a:buNone/>
        <a:defRPr lang="en-US" sz="3200" b="0" kern="1200" dirty="0">
          <a:solidFill>
            <a:schemeClr val="accent1"/>
          </a:solidFill>
          <a:latin typeface="+mj-lt"/>
          <a:ea typeface="Verdana" panose="020B0604030504040204" pitchFamily="34" charset="0"/>
          <a:cs typeface="Verdana" panose="020B0604030504040204" pitchFamily="34" charset="0"/>
        </a:defRPr>
      </a:lvl1pPr>
    </p:titleStyle>
    <p:bodyStyle>
      <a:lvl1pPr marL="284163" indent="-284163" algn="l" defTabSz="914400" rtl="0" eaLnBrk="1" latinLnBrk="0" hangingPunct="1">
        <a:lnSpc>
          <a:spcPct val="100000"/>
        </a:lnSpc>
        <a:spcBef>
          <a:spcPts val="600"/>
        </a:spcBef>
        <a:spcAft>
          <a:spcPts val="600"/>
        </a:spcAft>
        <a:buClr>
          <a:schemeClr val="accent1"/>
        </a:buClr>
        <a:buSzPct val="70000"/>
        <a:buFont typeface="Wingdings" panose="05000000000000000000" pitchFamily="2" charset="2"/>
        <a:buChar char="l"/>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517525" indent="-233363" algn="l" defTabSz="914400" rtl="0" eaLnBrk="1" latinLnBrk="0" hangingPunct="1">
        <a:lnSpc>
          <a:spcPct val="100000"/>
        </a:lnSpc>
        <a:spcBef>
          <a:spcPts val="600"/>
        </a:spcBef>
        <a:spcAft>
          <a:spcPts val="600"/>
        </a:spcAft>
        <a:buClr>
          <a:schemeClr val="accent1"/>
        </a:buClr>
        <a:buSzPct val="100000"/>
        <a:buFont typeface="Courier New" panose="02070309020205020404" pitchFamily="49" charset="0"/>
        <a:buChar char="o"/>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chemeClr val="accent1"/>
        </a:buClr>
        <a:buFont typeface="Calibri" panose="020F0502020204030204" pitchFamily="34" charset="0"/>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chemeClr val="accent5"/>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graphical user interface&#10;&#10;Description automatically generated">
            <a:extLst>
              <a:ext uri="{FF2B5EF4-FFF2-40B4-BE49-F238E27FC236}">
                <a16:creationId xmlns:a16="http://schemas.microsoft.com/office/drawing/2014/main" id="{38411277-D3D0-484B-97AF-D5001982541F}"/>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FAFF4948-2D84-4F16-9D12-18ABD81B6D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88FF07E9-6657-4463-8C07-1776D14FC2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3010455"/>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Lst>
  <p:txStyles>
    <p:titleStyle>
      <a:lvl1pPr algn="l" defTabSz="914400" rtl="0" eaLnBrk="1" latinLnBrk="0" hangingPunct="1">
        <a:lnSpc>
          <a:spcPct val="90000"/>
        </a:lnSpc>
        <a:spcBef>
          <a:spcPct val="0"/>
        </a:spcBef>
        <a:buNone/>
        <a:defRPr sz="4400" kern="1200">
          <a:solidFill>
            <a:srgbClr val="3A497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D41741-3C55-4FF2-B935-2BF17D5A8672}"/>
              </a:ext>
            </a:extLst>
          </p:cNvPr>
          <p:cNvGraphicFramePr>
            <a:graphicFrameLocks noChangeAspect="1"/>
          </p:cNvGraphicFramePr>
          <p:nvPr userDrawn="1">
            <p:custDataLst>
              <p:tags r:id="rId37"/>
            </p:custDataLst>
            <p:extLst>
              <p:ext uri="{D42A27DB-BD31-4B8C-83A1-F6EECF244321}">
                <p14:modId xmlns:p14="http://schemas.microsoft.com/office/powerpoint/2010/main" val="4120964110"/>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39" imgW="344" imgH="344" progId="TCLayout.ActiveDocument.1">
                  <p:embed/>
                </p:oleObj>
              </mc:Choice>
              <mc:Fallback>
                <p:oleObj name="think-cell Slide" r:id="rId39" imgW="344" imgH="344" progId="TCLayout.ActiveDocument.1">
                  <p:embed/>
                  <p:pic>
                    <p:nvPicPr>
                      <p:cNvPr id="6" name="Object 5" hidden="1">
                        <a:extLst>
                          <a:ext uri="{FF2B5EF4-FFF2-40B4-BE49-F238E27FC236}">
                            <a16:creationId xmlns:a16="http://schemas.microsoft.com/office/drawing/2014/main" id="{20D41741-3C55-4FF2-B935-2BF17D5A8672}"/>
                          </a:ext>
                        </a:extLst>
                      </p:cNvPr>
                      <p:cNvPicPr/>
                      <p:nvPr/>
                    </p:nvPicPr>
                    <p:blipFill>
                      <a:blip r:embed="rId40"/>
                      <a:stretch>
                        <a:fillRect/>
                      </a:stretch>
                    </p:blipFill>
                    <p:spPr>
                      <a:xfrm>
                        <a:off x="2119"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6922DEA-D390-4719-9146-4F935001CF26}"/>
              </a:ext>
            </a:extLst>
          </p:cNvPr>
          <p:cNvSpPr/>
          <p:nvPr userDrawn="1">
            <p:custDataLst>
              <p:tags r:id="rId38"/>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cs typeface="Verdana" panose="020B0604030504040204" pitchFamily="34" charset="0"/>
              <a:sym typeface="Segoe UI" panose="020B0502040204020203" pitchFamily="34" charset="0"/>
            </a:endParaRPr>
          </a:p>
        </p:txBody>
      </p:sp>
      <p:sp>
        <p:nvSpPr>
          <p:cNvPr id="9" name="Rectangle 8">
            <a:extLst>
              <a:ext uri="{FF2B5EF4-FFF2-40B4-BE49-F238E27FC236}">
                <a16:creationId xmlns:a16="http://schemas.microsoft.com/office/drawing/2014/main" id="{76B50372-B98E-4E9D-A9E0-E7BA1B31D3E0}"/>
              </a:ext>
            </a:extLst>
          </p:cNvPr>
          <p:cNvSpPr/>
          <p:nvPr userDrawn="1"/>
        </p:nvSpPr>
        <p:spPr bwMode="invGray">
          <a:xfrm>
            <a:off x="0" y="6500825"/>
            <a:ext cx="12192000" cy="3651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2713" indent="0" algn="l">
              <a:tabLst>
                <a:tab pos="4227513" algn="ctr"/>
                <a:tab pos="8859838" algn="dec"/>
              </a:tabLst>
            </a:pPr>
            <a:endParaRPr lang="en-US" sz="800" dirty="0"/>
          </a:p>
        </p:txBody>
      </p:sp>
      <p:sp>
        <p:nvSpPr>
          <p:cNvPr id="2" name="Title Placeholder 1"/>
          <p:cNvSpPr>
            <a:spLocks noGrp="1"/>
          </p:cNvSpPr>
          <p:nvPr>
            <p:ph type="title"/>
          </p:nvPr>
        </p:nvSpPr>
        <p:spPr>
          <a:xfrm>
            <a:off x="609602" y="0"/>
            <a:ext cx="8946033" cy="1143000"/>
          </a:xfrm>
          <a:prstGeom prst="rect">
            <a:avLst/>
          </a:prstGeom>
        </p:spPr>
        <p:txBody>
          <a:bodyPr vert="horz" lIns="0" tIns="0" rIns="0" bIns="0" rtlCol="0" anchor="b" anchorCtr="0">
            <a:noAutofit/>
          </a:bodyPr>
          <a:lstStyle/>
          <a:p>
            <a:r>
              <a:rPr lang="en-US" dirty="0"/>
              <a:t>Click to edit Master title style</a:t>
            </a:r>
          </a:p>
        </p:txBody>
      </p:sp>
      <p:sp>
        <p:nvSpPr>
          <p:cNvPr id="3" name="Text Placeholder 2"/>
          <p:cNvSpPr>
            <a:spLocks noGrp="1"/>
          </p:cNvSpPr>
          <p:nvPr>
            <p:ph type="body" idx="1"/>
          </p:nvPr>
        </p:nvSpPr>
        <p:spPr>
          <a:xfrm>
            <a:off x="621101" y="1595890"/>
            <a:ext cx="11024659" cy="476188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p:txBody>
      </p:sp>
      <p:sp>
        <p:nvSpPr>
          <p:cNvPr id="11" name="TextBox 10">
            <a:extLst>
              <a:ext uri="{FF2B5EF4-FFF2-40B4-BE49-F238E27FC236}">
                <a16:creationId xmlns:a16="http://schemas.microsoft.com/office/drawing/2014/main" id="{44A9172F-E0DB-442C-B75E-6FAC862482A2}"/>
              </a:ext>
            </a:extLst>
          </p:cNvPr>
          <p:cNvSpPr txBox="1"/>
          <p:nvPr userDrawn="1"/>
        </p:nvSpPr>
        <p:spPr bwMode="invGray">
          <a:xfrm>
            <a:off x="272960" y="6564128"/>
            <a:ext cx="4100632"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mj-lt"/>
              </a:rPr>
              <a:t>© 2023 The Chartis Group, LLC. All Rights Reserved.</a:t>
            </a:r>
          </a:p>
        </p:txBody>
      </p:sp>
      <p:sp>
        <p:nvSpPr>
          <p:cNvPr id="23" name="TextBox 22">
            <a:extLst>
              <a:ext uri="{FF2B5EF4-FFF2-40B4-BE49-F238E27FC236}">
                <a16:creationId xmlns:a16="http://schemas.microsoft.com/office/drawing/2014/main" id="{0A03B2EF-5985-4828-B191-32F0EBA7CD2B}"/>
              </a:ext>
            </a:extLst>
          </p:cNvPr>
          <p:cNvSpPr txBox="1"/>
          <p:nvPr userDrawn="1"/>
        </p:nvSpPr>
        <p:spPr bwMode="invGray">
          <a:xfrm>
            <a:off x="11173187" y="6564128"/>
            <a:ext cx="960389" cy="23852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mj-lt"/>
              </a:rPr>
              <a:t>Page </a:t>
            </a:r>
            <a:fld id="{7B71ACC0-F869-49CE-AD63-26A4A0FC4B00}" type="slidenum">
              <a:rPr lang="en-US" sz="900" smtClean="0">
                <a:solidFill>
                  <a:schemeClr val="bg1"/>
                </a:solidFill>
                <a:latin typeface="+mj-lt"/>
              </a:rPr>
              <a:pPr marL="0" marR="0" lvl="0" indent="0" algn="l"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latin typeface="+mj-lt"/>
            </a:endParaRPr>
          </a:p>
        </p:txBody>
      </p:sp>
    </p:spTree>
    <p:extLst>
      <p:ext uri="{BB962C8B-B14F-4D97-AF65-F5344CB8AC3E}">
        <p14:creationId xmlns:p14="http://schemas.microsoft.com/office/powerpoint/2010/main" val="391892074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 id="2147483861" r:id="rId22"/>
    <p:sldLayoutId id="2147483862" r:id="rId23"/>
    <p:sldLayoutId id="2147483863" r:id="rId24"/>
    <p:sldLayoutId id="2147483864" r:id="rId25"/>
    <p:sldLayoutId id="2147483865" r:id="rId26"/>
    <p:sldLayoutId id="2147483866" r:id="rId27"/>
    <p:sldLayoutId id="2147483867" r:id="rId28"/>
    <p:sldLayoutId id="2147483868" r:id="rId29"/>
    <p:sldLayoutId id="2147483869" r:id="rId30"/>
    <p:sldLayoutId id="2147483870" r:id="rId31"/>
    <p:sldLayoutId id="2147483871" r:id="rId32"/>
    <p:sldLayoutId id="2147483872" r:id="rId33"/>
    <p:sldLayoutId id="2147483873" r:id="rId34"/>
    <p:sldLayoutId id="2147483874" r:id="rId35"/>
  </p:sldLayoutIdLst>
  <p:hf hdr="0"/>
  <p:txStyles>
    <p:titleStyle>
      <a:lvl1pPr marL="0" algn="l" defTabSz="914400" rtl="0" eaLnBrk="1" latinLnBrk="0" hangingPunct="1">
        <a:lnSpc>
          <a:spcPct val="108000"/>
        </a:lnSpc>
        <a:spcBef>
          <a:spcPct val="0"/>
        </a:spcBef>
        <a:buNone/>
        <a:defRPr lang="en-US" sz="3200" b="0" kern="1200" dirty="0">
          <a:solidFill>
            <a:schemeClr val="accent1"/>
          </a:solidFill>
          <a:latin typeface="+mj-lt"/>
          <a:ea typeface="Verdana" panose="020B0604030504040204" pitchFamily="34" charset="0"/>
          <a:cs typeface="Verdana" panose="020B0604030504040204" pitchFamily="34" charset="0"/>
        </a:defRPr>
      </a:lvl1pPr>
    </p:titleStyle>
    <p:bodyStyle>
      <a:lvl1pPr marL="284163" indent="-284163" algn="l" defTabSz="914400" rtl="0" eaLnBrk="1" latinLnBrk="0" hangingPunct="1">
        <a:lnSpc>
          <a:spcPct val="100000"/>
        </a:lnSpc>
        <a:spcBef>
          <a:spcPts val="600"/>
        </a:spcBef>
        <a:spcAft>
          <a:spcPts val="600"/>
        </a:spcAft>
        <a:buClr>
          <a:schemeClr val="accent1"/>
        </a:buClr>
        <a:buSzPct val="70000"/>
        <a:buFont typeface="Wingdings" panose="05000000000000000000" pitchFamily="2" charset="2"/>
        <a:buChar char="l"/>
        <a:defRPr lang="en-US" sz="2000" kern="1200" dirty="0" smtClean="0">
          <a:solidFill>
            <a:schemeClr val="tx1"/>
          </a:solidFill>
          <a:latin typeface="+mj-lt"/>
          <a:ea typeface="Verdana" panose="020B0604030504040204" pitchFamily="34" charset="0"/>
          <a:cs typeface="Verdana" panose="020B0604030504040204" pitchFamily="34" charset="0"/>
        </a:defRPr>
      </a:lvl1pPr>
      <a:lvl2pPr marL="517525" indent="-233363" algn="l" defTabSz="914400" rtl="0" eaLnBrk="1" latinLnBrk="0" hangingPunct="1">
        <a:lnSpc>
          <a:spcPct val="100000"/>
        </a:lnSpc>
        <a:spcBef>
          <a:spcPts val="600"/>
        </a:spcBef>
        <a:spcAft>
          <a:spcPts val="600"/>
        </a:spcAft>
        <a:buClr>
          <a:schemeClr val="accent1"/>
        </a:buClr>
        <a:buSzPct val="100000"/>
        <a:buFont typeface="Courier New" panose="02070309020205020404" pitchFamily="49" charset="0"/>
        <a:buChar char="o"/>
        <a:defRPr lang="en-US" sz="1600" kern="1200" dirty="0" smtClean="0">
          <a:solidFill>
            <a:schemeClr val="tx1"/>
          </a:solidFill>
          <a:latin typeface="+mj-lt"/>
          <a:ea typeface="Verdana" panose="020B0604030504040204" pitchFamily="34" charset="0"/>
          <a:cs typeface="Verdana" panose="020B0604030504040204" pitchFamily="34" charset="0"/>
        </a:defRPr>
      </a:lvl2pPr>
      <a:lvl3pPr marL="685800" indent="-231775" algn="l" defTabSz="914400" rtl="0" eaLnBrk="1" latinLnBrk="0" hangingPunct="1">
        <a:lnSpc>
          <a:spcPct val="100000"/>
        </a:lnSpc>
        <a:spcBef>
          <a:spcPts val="600"/>
        </a:spcBef>
        <a:spcAft>
          <a:spcPts val="600"/>
        </a:spcAft>
        <a:buClr>
          <a:schemeClr val="accent1"/>
        </a:buClr>
        <a:buFont typeface="Calibri" panose="020F0502020204030204" pitchFamily="34" charset="0"/>
        <a:buChar char="̶"/>
        <a:defRPr lang="en-US" sz="1400" kern="1200" dirty="0" smtClean="0">
          <a:solidFill>
            <a:schemeClr val="tx1"/>
          </a:solidFill>
          <a:latin typeface="+mj-lt"/>
          <a:ea typeface="Verdana" panose="020B0604030504040204" pitchFamily="34" charset="0"/>
          <a:cs typeface="Verdana" panose="020B0604030504040204" pitchFamily="34" charset="0"/>
        </a:defRPr>
      </a:lvl3pPr>
      <a:lvl4pPr marL="914400" indent="-228600" algn="l" defTabSz="914400" rtl="0" eaLnBrk="1" latinLnBrk="0" hangingPunct="1">
        <a:lnSpc>
          <a:spcPct val="100000"/>
        </a:lnSpc>
        <a:spcBef>
          <a:spcPts val="600"/>
        </a:spcBef>
        <a:spcAft>
          <a:spcPts val="600"/>
        </a:spcAft>
        <a:buClr>
          <a:schemeClr val="accent5"/>
        </a:buClr>
        <a:buFont typeface="Calibri" panose="020F0502020204030204" pitchFamily="34" charset="0"/>
        <a:buChar char="—"/>
        <a:defRPr lang="en-US" sz="1200" kern="1200" dirty="0" smtClean="0">
          <a:solidFill>
            <a:schemeClr val="tx1"/>
          </a:solidFill>
          <a:latin typeface="+mj-lt"/>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graphical user interface&#10;&#10;Description automatically generated">
            <a:extLst>
              <a:ext uri="{FF2B5EF4-FFF2-40B4-BE49-F238E27FC236}">
                <a16:creationId xmlns:a16="http://schemas.microsoft.com/office/drawing/2014/main" id="{FB9C7E05-821C-407A-A517-2B0701CF850F}"/>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415FF27F-B87C-4BE3-8468-9773DBB7A6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F3057B-CDDA-45AE-A98D-616E8E980A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009809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820" r:id="rId12"/>
  </p:sldLayoutIdLst>
  <p:txStyles>
    <p:titleStyle>
      <a:lvl1pPr algn="l" defTabSz="914400" rtl="0" eaLnBrk="1" latinLnBrk="0" hangingPunct="1">
        <a:lnSpc>
          <a:spcPct val="90000"/>
        </a:lnSpc>
        <a:spcBef>
          <a:spcPct val="0"/>
        </a:spcBef>
        <a:buNone/>
        <a:defRPr sz="4400" kern="1200">
          <a:solidFill>
            <a:srgbClr val="3A497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A49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A49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A49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graphical user interface&#10;&#10;Description automatically generated">
            <a:extLst>
              <a:ext uri="{FF2B5EF4-FFF2-40B4-BE49-F238E27FC236}">
                <a16:creationId xmlns:a16="http://schemas.microsoft.com/office/drawing/2014/main" id="{D3A44570-5796-4C82-A6B1-641C5CF8D5A2}"/>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7156439E-19E4-4E14-B197-F7C680A862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08F8FB7-779D-4212-B320-3A60F6AA7B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296555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82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Shape&#10;&#10;Description automatically generated">
            <a:extLst>
              <a:ext uri="{FF2B5EF4-FFF2-40B4-BE49-F238E27FC236}">
                <a16:creationId xmlns:a16="http://schemas.microsoft.com/office/drawing/2014/main" id="{12731ACB-E142-4255-AE61-D69F1B320571}"/>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B674BA36-1C52-495D-8D55-BCFAF954B76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34C6B62-FF87-45AF-8696-379293BAD3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602527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graphical user interface&#10;&#10;Description automatically generated">
            <a:extLst>
              <a:ext uri="{FF2B5EF4-FFF2-40B4-BE49-F238E27FC236}">
                <a16:creationId xmlns:a16="http://schemas.microsoft.com/office/drawing/2014/main" id="{CFB638A8-2462-48AE-A2DB-97DC27F05487}"/>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5F914D39-9C43-4B27-B882-2FD5F118E2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B3A0E53-6308-428E-ABF2-74889B1C25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5729745"/>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82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Shape&#10;&#10;Description automatically generated with medium confidence">
            <a:extLst>
              <a:ext uri="{FF2B5EF4-FFF2-40B4-BE49-F238E27FC236}">
                <a16:creationId xmlns:a16="http://schemas.microsoft.com/office/drawing/2014/main" id="{2A780CD2-4786-4DC3-A7C3-F9172171510D}"/>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8131DD85-7F73-4942-838D-640FB6BEB08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54CB334-78D8-477B-8981-411D891D481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20666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Logo&#10;&#10;Description automatically generated">
            <a:extLst>
              <a:ext uri="{FF2B5EF4-FFF2-40B4-BE49-F238E27FC236}">
                <a16:creationId xmlns:a16="http://schemas.microsoft.com/office/drawing/2014/main" id="{067FEBD6-33B1-4A97-8C00-965A23FF1295}"/>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9181DC8C-2EC1-4363-8832-83952A36868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43BFB24-F104-4A62-A6E4-D0B9E08D789F}"/>
              </a:ext>
            </a:extLst>
          </p:cNvPr>
          <p:cNvSpPr>
            <a:spLocks noGrp="1"/>
          </p:cNvSpPr>
          <p:nvPr>
            <p:ph type="body" idx="1"/>
          </p:nvPr>
        </p:nvSpPr>
        <p:spPr>
          <a:xfrm>
            <a:off x="838200" y="1825625"/>
            <a:ext cx="10515600" cy="385955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8066843"/>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Icon&#10;&#10;Description automatically generated">
            <a:extLst>
              <a:ext uri="{FF2B5EF4-FFF2-40B4-BE49-F238E27FC236}">
                <a16:creationId xmlns:a16="http://schemas.microsoft.com/office/drawing/2014/main" id="{7E3D632E-61F8-480E-9929-3B4F79920DE5}"/>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DEDD7226-53D1-4AAF-A73E-748C4783CAE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89F0CAB-E6ED-4FD3-ACCC-466664CC6C1F}"/>
              </a:ext>
            </a:extLst>
          </p:cNvPr>
          <p:cNvSpPr>
            <a:spLocks noGrp="1"/>
          </p:cNvSpPr>
          <p:nvPr>
            <p:ph type="body" idx="1"/>
          </p:nvPr>
        </p:nvSpPr>
        <p:spPr>
          <a:xfrm>
            <a:off x="838200" y="1825625"/>
            <a:ext cx="10515600" cy="38694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4345480"/>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81" r:id="rId12"/>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logo&#10;&#10;Description automatically generated">
            <a:extLst>
              <a:ext uri="{FF2B5EF4-FFF2-40B4-BE49-F238E27FC236}">
                <a16:creationId xmlns:a16="http://schemas.microsoft.com/office/drawing/2014/main" id="{3F307ACA-286D-4675-A5CB-5C9EA622694A}"/>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5781E26D-76B4-4F18-BC3C-496E118223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E0AA08F-0924-45EB-A631-93FF193310D0}"/>
              </a:ext>
            </a:extLst>
          </p:cNvPr>
          <p:cNvSpPr>
            <a:spLocks noGrp="1"/>
          </p:cNvSpPr>
          <p:nvPr>
            <p:ph type="body" idx="1"/>
          </p:nvPr>
        </p:nvSpPr>
        <p:spPr>
          <a:xfrm>
            <a:off x="838200" y="1825625"/>
            <a:ext cx="10515600" cy="38993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6018295"/>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hyperlink" Target="https://flexmonitoring.us8.list-manage.com/track/click?u=cb09edc20d550e3cb621eaf9b&amp;id=4cb7c56a99&amp;e=0286148411" TargetMode="External"/><Relationship Id="rId2" Type="http://schemas.openxmlformats.org/officeDocument/2006/relationships/hyperlink" Target="https://www.flexmonitoring.org/sites/flexmonitoring.umn.edu/files/media/national_cah_quality_assessment_report_2023.pdf" TargetMode="External"/><Relationship Id="rId1" Type="http://schemas.openxmlformats.org/officeDocument/2006/relationships/slideLayout" Target="../slideLayouts/slideLayout148.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124.xml"/><Relationship Id="rId1" Type="http://schemas.openxmlformats.org/officeDocument/2006/relationships/tags" Target="../tags/tag151.xml"/><Relationship Id="rId4" Type="http://schemas.openxmlformats.org/officeDocument/2006/relationships/image" Target="../media/image31.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4.xml"/><Relationship Id="rId1" Type="http://schemas.openxmlformats.org/officeDocument/2006/relationships/tags" Target="../tags/tag152.xml"/><Relationship Id="rId5" Type="http://schemas.openxmlformats.org/officeDocument/2006/relationships/image" Target="../media/image31.emf"/><Relationship Id="rId4" Type="http://schemas.openxmlformats.org/officeDocument/2006/relationships/oleObject" Target="../embeddings/oleObject73.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176.xml"/><Relationship Id="rId1" Type="http://schemas.openxmlformats.org/officeDocument/2006/relationships/tags" Target="../tags/tag153.xml"/><Relationship Id="rId4" Type="http://schemas.openxmlformats.org/officeDocument/2006/relationships/image" Target="../media/image31.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0.xml"/><Relationship Id="rId1" Type="http://schemas.openxmlformats.org/officeDocument/2006/relationships/tags" Target="../tags/tag154.xml"/><Relationship Id="rId5" Type="http://schemas.openxmlformats.org/officeDocument/2006/relationships/image" Target="../media/image31.emf"/><Relationship Id="rId4" Type="http://schemas.openxmlformats.org/officeDocument/2006/relationships/oleObject" Target="../embeddings/oleObject75.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2.emf"/><Relationship Id="rId5" Type="http://schemas.openxmlformats.org/officeDocument/2006/relationships/oleObject" Target="../embeddings/oleObject76.bin"/><Relationship Id="rId4" Type="http://schemas.openxmlformats.org/officeDocument/2006/relationships/notesSlide" Target="../notesSlides/notesSlide7.xml"/></Relationships>
</file>

<file path=ppt/slides/_rels/slide1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8.png"/><Relationship Id="rId1" Type="http://schemas.openxmlformats.org/officeDocument/2006/relationships/slideLayout" Target="../slideLayouts/slideLayout2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4.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2.xml"/><Relationship Id="rId1" Type="http://schemas.openxmlformats.org/officeDocument/2006/relationships/slideLayout" Target="../slideLayouts/slideLayout146.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14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hyperlink" Target="https://www.ruralhealth.us/getmedia/96abab7d-6cce-45c8-ab3c-90a5faf2b590/Farm,-Food,-and-Natl-Sec-Act-summary-5-17-24.pdf" TargetMode="External"/><Relationship Id="rId2" Type="http://schemas.openxmlformats.org/officeDocument/2006/relationships/hyperlink" Target="https://agriculture.house.gov/uploadedfiles/discussion_draft_ffns.pdf" TargetMode="External"/><Relationship Id="rId1" Type="http://schemas.openxmlformats.org/officeDocument/2006/relationships/slideLayout" Target="../slideLayouts/slideLayout146.xml"/></Relationships>
</file>

<file path=ppt/slides/_rels/slide28.xml.rels><?xml version="1.0" encoding="UTF-8" standalone="yes"?>
<Relationships xmlns="http://schemas.openxmlformats.org/package/2006/relationships"><Relationship Id="rId3" Type="http://schemas.openxmlformats.org/officeDocument/2006/relationships/hyperlink" Target="https://nrha-prod-eastus-be.azure.silvertech.net/NationalRuralHealth/media/Documents/Advocacy/2024/Rural-Prosperity-and-Food-Security-Act-summary.pdf" TargetMode="External"/><Relationship Id="rId2" Type="http://schemas.openxmlformats.org/officeDocument/2006/relationships/hyperlink" Target="https://www.agriculture.senate.gov/imo/media/doc/rural_prosperity_and_food_security_section-by-section.pdf" TargetMode="External"/><Relationship Id="rId1" Type="http://schemas.openxmlformats.org/officeDocument/2006/relationships/slideLayout" Target="../slideLayouts/slideLayout146.xml"/></Relationships>
</file>

<file path=ppt/slides/_rels/slide29.xml.rels><?xml version="1.0" encoding="UTF-8" standalone="yes"?>
<Relationships xmlns="http://schemas.openxmlformats.org/package/2006/relationships"><Relationship Id="rId3" Type="http://schemas.openxmlformats.org/officeDocument/2006/relationships/hyperlink" Target="https://www.ruralhealth.us/NRHA/media/Emerge_NRHA/Advocacy/Government%20affairs/2023/NRHA-340B-Principles.pdf" TargetMode="External"/><Relationship Id="rId2" Type="http://schemas.openxmlformats.org/officeDocument/2006/relationships/notesSlide" Target="../notesSlides/notesSlide16.xml"/><Relationship Id="rId1" Type="http://schemas.openxmlformats.org/officeDocument/2006/relationships/slideLayout" Target="../slideLayouts/slideLayout146.xml"/><Relationship Id="rId5" Type="http://schemas.openxmlformats.org/officeDocument/2006/relationships/hyperlink" Target="https://www.ruralhealth.us/NRHA/media/Emerge_NRHA/Advocacy/Government%20affairs/2023/NRHA-340B-Extender-Letter-10-30-23.pdf" TargetMode="External"/><Relationship Id="rId4" Type="http://schemas.openxmlformats.org/officeDocument/2006/relationships/hyperlink" Target="https://www.ruralhealth.us/NRHA/media/Emerge_NRHA/Advocacy/Government%20affairs/2023/NRHA-340B-Extender-Letter-final.pdf"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hyperlink" Target="https://www.hassan.senate.gov/news/press-releases/senators-hassan-collins-britt-smith-introduce-bipartisan-legislation-to-expand-access-to-maternal-health-care" TargetMode="Externa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33.xml.rels><?xml version="1.0" encoding="UTF-8" standalone="yes"?>
<Relationships xmlns="http://schemas.openxmlformats.org/package/2006/relationships"><Relationship Id="rId3" Type="http://schemas.openxmlformats.org/officeDocument/2006/relationships/hyperlink" Target="https://www.congress.gov/bill/118th-congress/house-bill/5246" TargetMode="External"/><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8.xml"/></Relationships>
</file>

<file path=ppt/slides/_rels/slide35.xml.rels><?xml version="1.0" encoding="UTF-8" standalone="yes"?>
<Relationships xmlns="http://schemas.openxmlformats.org/package/2006/relationships"><Relationship Id="rId3" Type="http://schemas.openxmlformats.org/officeDocument/2006/relationships/hyperlink" Target="https://r20.rs6.net/tn.jsp?f=001xN7W4lD9HHFdaLLuOeTVnFt_sMNoKllq5jxtq9QZ5LKykALh8bRIZFSUI6hscgsDeirRCqEla9xcd4mgvll_HdCqqVUIsqs-xXOpM113vrLI7vQZ8LxcAU7cq-0D1LLB3dkN3wqiSY1GEfQLS_pIUjOXTnUERRlokIFZqXIuDEMwcFffwRqVdwjygUMEe8WQ30Oo01Ci3002MHnbeaDmiBn8GjppGADinliShDP88GM10Qt71njy7h_peCsFOsJBMA3ZVBS4GBV-UaK7RH9X7PK28PUS8CqUXUZmBtqp5EY=&amp;c=9G96eTPODehWZJuMbiJcu5y975TyfUxTRR5qX1ZRso5HbdfK7aSuQw==&amp;ch=Z3J-seqLjA07y1I0-yPF53BVvJ4oDSaZy64q-FVrifX5kI3YJjNYhw==" TargetMode="External"/><Relationship Id="rId2" Type="http://schemas.openxmlformats.org/officeDocument/2006/relationships/notesSlide" Target="../notesSlides/notesSlide20.xml"/><Relationship Id="rId1" Type="http://schemas.openxmlformats.org/officeDocument/2006/relationships/slideLayout" Target="../slideLayouts/slideLayout146.xml"/><Relationship Id="rId4" Type="http://schemas.openxmlformats.org/officeDocument/2006/relationships/hyperlink" Target="https://r20.rs6.net/tn.jsp?f=001xN7W4lD9HHFdaLLuOeTVnFt_sMNoKllq5jxtq9QZ5LKykALh8bRIZFSUI6hscgsDij2IIhcKsF7kaE4N0C0cTPsCL7MxboKuK5CJSG5lCaKNG2MRwFo3jMJFsoD6ZsXrISTNMP1tGp_HgVt2fhGk1UFr92hyQt9po3YgOjNYnxwaamo0qFPTsiX3Q7I8xcJODBRXZLmQxpBRNaBZlnh19MqxcUy2ASY-iLTojvjbiwLQX_1-5XSpXnUJ218fdyHYmsHmujha0vlUNLuC154s3tmZMp-imDX114gbzJhbP40=&amp;c=9G96eTPODehWZJuMbiJcu5y975TyfUxTRR5qX1ZRso5HbdfK7aSuQw==&amp;ch=Z3J-seqLjA07y1I0-yPF53BVvJ4oDSaZy64q-FVrifX5kI3YJjNYhw=="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ruralhealth-us.zoom.us/meeting/register/tZMkce2uqzwvG9RjGHeKzFHDxW4UTF7Dtl5N" TargetMode="External"/><Relationship Id="rId2" Type="http://schemas.openxmlformats.org/officeDocument/2006/relationships/hyperlink" Target="https://www.cms.gov/priorities/innovation/innovation-models/transforming-maternal-health-tmah-model" TargetMode="External"/><Relationship Id="rId1" Type="http://schemas.openxmlformats.org/officeDocument/2006/relationships/slideLayout" Target="../slideLayouts/slideLayout146.xml"/></Relationships>
</file>

<file path=ppt/slides/_rels/slide37.xml.rels><?xml version="1.0" encoding="UTF-8" standalone="yes"?>
<Relationships xmlns="http://schemas.openxmlformats.org/package/2006/relationships"><Relationship Id="rId3" Type="http://schemas.openxmlformats.org/officeDocument/2006/relationships/hyperlink" Target="https://lnks.gd/l/eyJhbGciOiJIUzI1NiJ9.eyJidWxsZXRpbl9saW5rX2lkIjoxMDAsInVyaSI6ImJwMjpjbGljayIsInVybCI6Imh0dHBzOi8vYXBwLmlubm92YXRpb24uY21zLmdvdi9QQ0ZsZXgiLCJidWxsZXRpbl9pZCI6IjIwMjQwNTMwLjk1NTIwNTAxIn0.iUpap7xULIZn2Cb4ZAxwgJ4225TB9JzMSyRwnhULtFE/s/77646705/br/243315793589-l" TargetMode="External"/><Relationship Id="rId2" Type="http://schemas.openxmlformats.org/officeDocument/2006/relationships/hyperlink" Target="https://www.cms.gov/files/document/aco-pc-flex-fs.pdf" TargetMode="External"/><Relationship Id="rId1" Type="http://schemas.openxmlformats.org/officeDocument/2006/relationships/slideLayout" Target="../slideLayouts/slideLayout146.xml"/><Relationship Id="rId5" Type="http://schemas.openxmlformats.org/officeDocument/2006/relationships/hyperlink" Target="https://deloitte.zoom.us/webinar/register/WN_0-RfYgJBSjGuf2OwOrtKiw" TargetMode="External"/><Relationship Id="rId4" Type="http://schemas.openxmlformats.org/officeDocument/2006/relationships/hyperlink" Target="https://lnks.gd/l/eyJhbGciOiJIUzI1NiJ9.eyJidWxsZXRpbl9saW5rX2lkIjoxMDEsInVyaSI6ImJwMjpjbGljayIsInVybCI6Imh0dHBzOi8vd3d3LmNtcy5nb3YvbWVkaWNhcmUvcGF5bWVudC9mZWUtZm9yLXNlcnZpY2UtcHJvdmlkZXJzL3NoYXJlZC1zYXZpbmdzLXByb2dyYW0tc3NwLWFjb3MvYXBwbGljYXRpb24tdHlwZXMtdGltZWxpbmUiLCJidWxsZXRpbl9pZCI6IjIwMjQwNTMwLjk1NTIwNTAxIn0.l6WACqV59G01BXB_CmIJ78LcXyrfLxm-yq7vTn5eYYM/s/77646705/br/243315793589-l"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0.xml"/></Relationships>
</file>

<file path=ppt/slides/_rels/slide39.xml.rels><?xml version="1.0" encoding="UTF-8" standalone="yes"?>
<Relationships xmlns="http://schemas.openxmlformats.org/package/2006/relationships"><Relationship Id="rId3" Type="http://schemas.openxmlformats.org/officeDocument/2006/relationships/hyperlink" Target="https://www.ruralhealth.us/getmedia/cde1bb01-817b-403b-8786-262fd3a4bb47/NRHA-FORHP-Rural-Definition-Comment-5-28-24.pdf" TargetMode="External"/><Relationship Id="rId2" Type="http://schemas.openxmlformats.org/officeDocument/2006/relationships/hyperlink" Target="https://www.federalregister.gov/documents/2024/01/30/2024-01832/medicare-program-request-for-information-on-medicare-advantage-data" TargetMode="External"/><Relationship Id="rId1" Type="http://schemas.openxmlformats.org/officeDocument/2006/relationships/slideLayout" Target="../slideLayouts/slideLayout22.xml"/><Relationship Id="rId5" Type="http://schemas.openxmlformats.org/officeDocument/2006/relationships/hyperlink" Target="https://www.federalregister.gov/documents/2024/04/03/2024-06812/medicare-program-prospective-payment-system-and-consolidated-billing-for-skilled-nursing-facilities" TargetMode="External"/><Relationship Id="rId4" Type="http://schemas.openxmlformats.org/officeDocument/2006/relationships/hyperlink" Target="https://www.federalregister.gov/documents/2024/04/26/2024-08931/proposed-inclusion-of-terrain-factors-in-the-definition-of-rural-area-for-federal-office-of-rural?utm_campaign=subscription+mailing+list&amp;utm_medium=email&amp;utm_source=federalregister.gov#addresse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3" Type="http://schemas.openxmlformats.org/officeDocument/2006/relationships/hyperlink" Target="https://www.federalregister.gov/public-inspection/2024-07567/medicare-and-medicaid-programs-and-the-childrens-health-insurance-program-hospital-inpatient" TargetMode="External"/><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3" Type="http://schemas.openxmlformats.org/officeDocument/2006/relationships/hyperlink" Target="https://www.federalregister.gov/public-inspection/2024-08273/medicare-and-medicaid-programs-minimum-staffing-standards-for-long-term-care-facilities-and-medicaid" TargetMode="External"/><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hyperlink" Target="https://www.ahcancal.org/News-and-Communications/Press-Releases/Pages/AHCA-Files-Lawsuit-Against-Federal-Staffing-Mandate.aspx" TargetMode="External"/><Relationship Id="rId2" Type="http://schemas.openxmlformats.org/officeDocument/2006/relationships/hyperlink" Target="https://www.congress.gov/bill/118th-congress/house-joint-resolution/139?q=%7B%22search%22%3A%22%5C%22h+j+res+139%5C%22%22%7D&amp;s=8&amp;r=1" TargetMode="External"/><Relationship Id="rId1" Type="http://schemas.openxmlformats.org/officeDocument/2006/relationships/slideLayout" Target="../slideLayouts/slideLayout14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45.xml.rels><?xml version="1.0" encoding="UTF-8" standalone="yes"?>
<Relationships xmlns="http://schemas.openxmlformats.org/package/2006/relationships"><Relationship Id="rId3" Type="http://schemas.openxmlformats.org/officeDocument/2006/relationships/hyperlink" Target="https://tokuda.house.gov/RuralHealthCaucus#:~:text=The%20Congressional%20Bipartisan%20Rural%20Health,health%20services%20in%20rural%20areas." TargetMode="External"/><Relationship Id="rId2" Type="http://schemas.openxmlformats.org/officeDocument/2006/relationships/notesSlide" Target="../notesSlides/notesSlide25.xml"/><Relationship Id="rId1" Type="http://schemas.openxmlformats.org/officeDocument/2006/relationships/slideLayout" Target="../slideLayouts/slideLayout148.xml"/><Relationship Id="rId5" Type="http://schemas.openxmlformats.org/officeDocument/2006/relationships/image" Target="../media/image42.png"/><Relationship Id="rId4" Type="http://schemas.openxmlformats.org/officeDocument/2006/relationships/image" Target="../media/image41.png"/></Relationships>
</file>

<file path=ppt/slides/_rels/slide4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4.xml"/><Relationship Id="rId4" Type="http://schemas.openxmlformats.org/officeDocument/2006/relationships/image" Target="../media/image45.png"/></Relationships>
</file>

<file path=ppt/slides/_rels/slide47.xml.rels><?xml version="1.0" encoding="UTF-8" standalone="yes"?>
<Relationships xmlns="http://schemas.openxmlformats.org/package/2006/relationships"><Relationship Id="rId8" Type="http://schemas.openxmlformats.org/officeDocument/2006/relationships/hyperlink" Target="https://www.ruralhealth.us/NRHA/media/Emerge_NRHA/Advocacy/Government%20affairs/2023/Farm-Bill-Priorities_2.pdf" TargetMode="External"/><Relationship Id="rId13" Type="http://schemas.openxmlformats.org/officeDocument/2006/relationships/image" Target="../media/image48.png"/><Relationship Id="rId3" Type="http://schemas.openxmlformats.org/officeDocument/2006/relationships/hyperlink" Target="https://www.ruralhealth.us/NRHA/media/Emerge_NRHA/Advocacy/Government%20affairs/2024/Core-Advocacy-Materials-NRHA-2024-Legislative-Agenda-NRHA-2024-Appropriation-Priorities-NRHA-Rural-Hospital-Legislative-Priorities-2024-Rural-Medicare-Extende.pdf" TargetMode="External"/><Relationship Id="rId7" Type="http://schemas.openxmlformats.org/officeDocument/2006/relationships/hyperlink" Target="https://www.ruralhealth.us/NRHA/media/Emerge_NRHA/Advocacy/Government%20affairs/2023/Rural-Health-Extenders-Priorities.pdf" TargetMode="External"/><Relationship Id="rId12" Type="http://schemas.openxmlformats.org/officeDocument/2006/relationships/image" Target="../media/image47.pn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hyperlink" Target="https://www.ruralhealth.us/NRHA/media/Emerge_NRHA/Advocacy/Government%20affairs/2023/Rural-Hospital-Legislative-Priorities_1.pdf" TargetMode="External"/><Relationship Id="rId11" Type="http://schemas.openxmlformats.org/officeDocument/2006/relationships/image" Target="../media/image46.png"/><Relationship Id="rId5" Type="http://schemas.openxmlformats.org/officeDocument/2006/relationships/hyperlink" Target="https://www.ruralhealth.us/NRHA/media/Emerge_NRHA/Advocacy/Government%20affairs/2023/FY-2025-Approps-Table.pdf" TargetMode="External"/><Relationship Id="rId10" Type="http://schemas.openxmlformats.org/officeDocument/2006/relationships/hyperlink" Target="https://www.ruralhealth.us/NRHA/media/Emerge_NRHA/PDFs/Advocacy-Guide-FINAL.pdf" TargetMode="External"/><Relationship Id="rId4" Type="http://schemas.openxmlformats.org/officeDocument/2006/relationships/hyperlink" Target="https://www.ruralhealth.us/NationalRuralHealth/media/Documents/NRHA-2024-Legislative-Agenda_2.pdf" TargetMode="External"/><Relationship Id="rId9" Type="http://schemas.openxmlformats.org/officeDocument/2006/relationships/hyperlink" Target="https://www.ruralhealth.us/NRHA/media/Emerge_NRHA/Advocacy/Government%20affairs/2024/Rural-Health-Background-101.pdf" TargetMode="External"/><Relationship Id="rId14" Type="http://schemas.openxmlformats.org/officeDocument/2006/relationships/image" Target="../media/image49.png"/></Relationships>
</file>

<file path=ppt/slides/_rels/slide48.xml.rels><?xml version="1.0" encoding="UTF-8" standalone="yes"?>
<Relationships xmlns="http://schemas.openxmlformats.org/package/2006/relationships"><Relationship Id="rId8" Type="http://schemas.openxmlformats.org/officeDocument/2006/relationships/hyperlink" Target="https://www.ruralhealth.us/NationalRuralHealth/media/Documents/Rural-Maternal-Health-Priorities.pdf" TargetMode="External"/><Relationship Id="rId13" Type="http://schemas.openxmlformats.org/officeDocument/2006/relationships/hyperlink" Target="https://www.ruralhealth.us/NRHA/media/Emerge_NRHA/Advocacy/Government%20affairs/2023/Rural-Veteran%e2%80%99s-Health-Priorities.pdf" TargetMode="External"/><Relationship Id="rId3" Type="http://schemas.openxmlformats.org/officeDocument/2006/relationships/hyperlink" Target="https://www.ruralhealth.us/NRHA/media/Emerge_NRHA/Advocacy/Government%20affairs/2023/340B-Priorities_1.pdf" TargetMode="External"/><Relationship Id="rId7" Type="http://schemas.openxmlformats.org/officeDocument/2006/relationships/hyperlink" Target="https://www.ruralhealth.us/NRHA/media/Emerge_NRHA/Advocacy/Government%20affairs/2023/Rural-FQHC-Priorities.pdf" TargetMode="External"/><Relationship Id="rId12" Type="http://schemas.openxmlformats.org/officeDocument/2006/relationships/hyperlink" Target="https://www.ruralhealth.us/NRHA/media/Emerge_NRHA/Advocacy/Government%20affairs/2023/Rural-EMS-Priorities.pdf" TargetMode="External"/><Relationship Id="rId2" Type="http://schemas.openxmlformats.org/officeDocument/2006/relationships/hyperlink" Target="https://www.ruralhealth.us/NRHA/media/Emerge_NRHA/Advocacy/Government%20affairs/2024/Core-Advocacy-Materials-NRHA-2024-Legislative-Agenda-NRHA-2024-Appropriation-Priorities-NRHA-Rural-Hospital-Legislative-Priorities-2024-Rural-Medicare-Extende.pdf" TargetMode="External"/><Relationship Id="rId1" Type="http://schemas.openxmlformats.org/officeDocument/2006/relationships/slideLayout" Target="../slideLayouts/slideLayout12.xml"/><Relationship Id="rId6" Type="http://schemas.openxmlformats.org/officeDocument/2006/relationships/hyperlink" Target="https://www.ruralhealth.us/NRHA/media/Emerge_NRHA/Advocacy/Government%20affairs/2023/NRHA-Hospital-Bills-Summaries-12-6-23_1.pdf" TargetMode="External"/><Relationship Id="rId11" Type="http://schemas.openxmlformats.org/officeDocument/2006/relationships/hyperlink" Target="https://www.ruralhealth.us/NRHA/media/Emerge_NRHA/Advocacy/Government%20affairs/2023/Rural-Oral-Health-Priorities.pdf" TargetMode="External"/><Relationship Id="rId5" Type="http://schemas.openxmlformats.org/officeDocument/2006/relationships/hyperlink" Target="https://www.ruralhealth.us/NRHA/media/Emerge_NRHA/Advocacy/Government%20affairs/2023/Rural-Health-Clinics-Priorities.pdf" TargetMode="External"/><Relationship Id="rId15" Type="http://schemas.openxmlformats.org/officeDocument/2006/relationships/image" Target="../media/image50.png"/><Relationship Id="rId10" Type="http://schemas.openxmlformats.org/officeDocument/2006/relationships/hyperlink" Target="https://www.ruralhealth.us/NRHA/media/Emerge_NRHA/Advocacy/Government%20affairs/2023/Rural-Behavioral-Health-Priorities.pdf" TargetMode="External"/><Relationship Id="rId4" Type="http://schemas.openxmlformats.org/officeDocument/2006/relationships/hyperlink" Target="https://www.ruralhealth.us/NRHA/media/Emerge_NRHA/Advocacy/Government%20affairs/2023/Rural-Emergency-Hospital-Priorities_1.pdf" TargetMode="External"/><Relationship Id="rId9" Type="http://schemas.openxmlformats.org/officeDocument/2006/relationships/hyperlink" Target="https://www.ruralhealth.us/NationalRuralHealth/media/Documents/Rural-Telehealth-Priorities.pdf" TargetMode="External"/><Relationship Id="rId14" Type="http://schemas.openxmlformats.org/officeDocument/2006/relationships/hyperlink" Target="https://www.ruralhealth.us/NRHA/media/Emerge_NRHA/Advocacy/Government%20affairs/2023/Rural-Public-Health-Priorities.pdf"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mailto:bslabach@nrharural.org" TargetMode="External"/><Relationship Id="rId2" Type="http://schemas.openxmlformats.org/officeDocument/2006/relationships/notesSlide" Target="../notesSlides/notesSlide27.xml"/><Relationship Id="rId1" Type="http://schemas.openxmlformats.org/officeDocument/2006/relationships/slideLayout" Target="../slideLayouts/slideLayout146.xml"/><Relationship Id="rId4" Type="http://schemas.openxmlformats.org/officeDocument/2006/relationships/image" Target="../media/image51.png"/></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hyperlink" Target="https://www.politico.com/news/magazine/2024/04/05/white-rural-rage-myth-00150395" TargetMode="External"/><Relationship Id="rId2" Type="http://schemas.openxmlformats.org/officeDocument/2006/relationships/image" Target="../media/image24.png"/><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4">
            <a:extLst>
              <a:ext uri="{FF2B5EF4-FFF2-40B4-BE49-F238E27FC236}">
                <a16:creationId xmlns:a16="http://schemas.microsoft.com/office/drawing/2014/main" id="{A84C6B9C-2C97-4E1B-BD3E-73836A57B200}"/>
              </a:ext>
            </a:extLst>
          </p:cNvPr>
          <p:cNvSpPr txBox="1">
            <a:spLocks noChangeArrowheads="1"/>
          </p:cNvSpPr>
          <p:nvPr/>
        </p:nvSpPr>
        <p:spPr bwMode="auto">
          <a:xfrm>
            <a:off x="6482080" y="5379025"/>
            <a:ext cx="5143183"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US" altLang="en-US" sz="2800" b="0" i="0" u="none" strike="noStrike" kern="1200" cap="none" spc="0" normalizeH="0" baseline="0" noProof="0" dirty="0">
                <a:ln>
                  <a:noFill/>
                </a:ln>
                <a:solidFill>
                  <a:srgbClr val="3A5973"/>
                </a:solidFill>
                <a:effectLst/>
                <a:uLnTx/>
                <a:uFillTx/>
                <a:latin typeface="Arial" panose="020B0604020202020204" pitchFamily="34" charset="0"/>
                <a:ea typeface="+mn-ea"/>
                <a:cs typeface="Arial" panose="020B0604020202020204" pitchFamily="34" charset="0"/>
              </a:rPr>
              <a:t>Brock Slabach</a:t>
            </a:r>
            <a:r>
              <a:rPr kumimoji="0" lang="en-US" altLang="en-US" sz="2800" b="0" i="0"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rPr>
              <a:t>, MPH, FACHE</a:t>
            </a:r>
          </a:p>
          <a:p>
            <a:pPr marL="0" marR="0" lvl="0" indent="0" algn="r" defTabSz="914400" rtl="0" eaLnBrk="1" fontAlgn="auto" latinLnBrk="0" hangingPunct="1">
              <a:lnSpc>
                <a:spcPct val="100000"/>
              </a:lnSpc>
              <a:spcBef>
                <a:spcPct val="0"/>
              </a:spcBef>
              <a:spcAft>
                <a:spcPts val="0"/>
              </a:spcAft>
              <a:buClrTx/>
              <a:buSzTx/>
              <a:buFontTx/>
              <a:buNone/>
              <a:tabLst/>
              <a:defRPr/>
            </a:pPr>
            <a:r>
              <a:rPr kumimoji="0" lang="en-US" altLang="en-US" sz="2800" b="0" i="0"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rPr>
              <a:t>Chief Operations Officer</a:t>
            </a:r>
          </a:p>
        </p:txBody>
      </p:sp>
      <p:sp>
        <p:nvSpPr>
          <p:cNvPr id="5" name="TextBox 1">
            <a:extLst>
              <a:ext uri="{FF2B5EF4-FFF2-40B4-BE49-F238E27FC236}">
                <a16:creationId xmlns:a16="http://schemas.microsoft.com/office/drawing/2014/main" id="{686BB7E3-19C4-4001-8EE0-26CEAA5E3C57}"/>
              </a:ext>
            </a:extLst>
          </p:cNvPr>
          <p:cNvSpPr txBox="1">
            <a:spLocks noChangeArrowheads="1"/>
          </p:cNvSpPr>
          <p:nvPr/>
        </p:nvSpPr>
        <p:spPr bwMode="auto">
          <a:xfrm>
            <a:off x="803776" y="5379025"/>
            <a:ext cx="2739853"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rPr>
              <a:t>bslabach@ruralhealth.us</a:t>
            </a:r>
            <a:br>
              <a:rPr kumimoji="0" lang="en-US" altLang="en-US" sz="1800" b="0" i="0"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rPr>
            </a:br>
            <a:r>
              <a:rPr kumimoji="0" lang="en-US" altLang="en-US" sz="1800" b="0" i="0"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rPr>
              <a:t>Twitter: @bslabach</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rPr>
              <a:t>#ruralhealth</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rPr>
              <a:t>June 4, 2024</a:t>
            </a:r>
          </a:p>
        </p:txBody>
      </p:sp>
      <p:pic>
        <p:nvPicPr>
          <p:cNvPr id="6" name="Picture 5" descr="A picture containing text&#10;&#10;Description automatically generated">
            <a:extLst>
              <a:ext uri="{FF2B5EF4-FFF2-40B4-BE49-F238E27FC236}">
                <a16:creationId xmlns:a16="http://schemas.microsoft.com/office/drawing/2014/main" id="{94C82F1A-B976-4C04-B991-CEDBD3FD48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31270" y="506506"/>
            <a:ext cx="7746287" cy="1616872"/>
          </a:xfrm>
          <a:prstGeom prst="rect">
            <a:avLst/>
          </a:prstGeom>
        </p:spPr>
      </p:pic>
      <p:cxnSp>
        <p:nvCxnSpPr>
          <p:cNvPr id="9" name="Straight Connector 8">
            <a:extLst>
              <a:ext uri="{FF2B5EF4-FFF2-40B4-BE49-F238E27FC236}">
                <a16:creationId xmlns:a16="http://schemas.microsoft.com/office/drawing/2014/main" id="{2DF0FE98-1680-4562-83A2-9B2EF27542FE}"/>
              </a:ext>
            </a:extLst>
          </p:cNvPr>
          <p:cNvCxnSpPr>
            <a:cxnSpLocks/>
          </p:cNvCxnSpPr>
          <p:nvPr/>
        </p:nvCxnSpPr>
        <p:spPr>
          <a:xfrm>
            <a:off x="1817560" y="2621016"/>
            <a:ext cx="864216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
        <p:nvSpPr>
          <p:cNvPr id="11" name="TextBox 13">
            <a:extLst>
              <a:ext uri="{FF2B5EF4-FFF2-40B4-BE49-F238E27FC236}">
                <a16:creationId xmlns:a16="http://schemas.microsoft.com/office/drawing/2014/main" id="{A9F41BB2-572B-4FAB-AE65-75563694BC75}"/>
              </a:ext>
            </a:extLst>
          </p:cNvPr>
          <p:cNvSpPr txBox="1">
            <a:spLocks noChangeArrowheads="1"/>
          </p:cNvSpPr>
          <p:nvPr/>
        </p:nvSpPr>
        <p:spPr bwMode="auto">
          <a:xfrm>
            <a:off x="423639" y="2621016"/>
            <a:ext cx="11430000" cy="2521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4000" b="1" i="1"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rPr>
              <a:t>The Rural Landscape</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altLang="en-US" sz="4000" b="1" i="1"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endParaRPr>
          </a:p>
          <a:p>
            <a:pPr algn="ctr">
              <a:buNone/>
            </a:pPr>
            <a:r>
              <a:rPr kumimoji="0" lang="en-US" altLang="en-US" sz="4000" b="1"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rPr>
              <a:t>Nebraska Rural Health Association</a:t>
            </a:r>
            <a:endParaRPr lang="en-US" sz="1800" dirty="0">
              <a:solidFill>
                <a:srgbClr val="000000"/>
              </a:solidFill>
              <a:latin typeface="Arial Black" panose="020B0A04020102020204" pitchFamily="34" charset="0"/>
            </a:endParaRPr>
          </a:p>
          <a:p>
            <a:pPr algn="ctr">
              <a:buNone/>
            </a:pPr>
            <a:r>
              <a:rPr lang="en-US" b="0" i="0" u="none" strike="noStrike" baseline="0" dirty="0">
                <a:solidFill>
                  <a:srgbClr val="000000"/>
                </a:solidFill>
                <a:latin typeface="Arial Black" panose="020B0A04020102020204" pitchFamily="34" charset="0"/>
              </a:rPr>
              <a:t>	</a:t>
            </a:r>
            <a:endParaRPr kumimoji="0" lang="en-US" altLang="en-US" sz="4000" b="1" i="1" u="none" strike="noStrike" kern="1200" cap="none" spc="0" normalizeH="0" baseline="0" noProof="0" dirty="0">
              <a:ln>
                <a:noFill/>
              </a:ln>
              <a:solidFill>
                <a:srgbClr val="003F72"/>
              </a:solidFill>
              <a:effectLst/>
              <a:uLnTx/>
              <a:uFillTx/>
              <a:latin typeface="Arial" panose="020B0604020202020204" pitchFamily="34" charset="0"/>
              <a:ea typeface="+mn-ea"/>
              <a:cs typeface="Arial" panose="020B0604020202020204" pitchFamily="34" charset="0"/>
            </a:endParaRPr>
          </a:p>
        </p:txBody>
      </p:sp>
      <p:cxnSp>
        <p:nvCxnSpPr>
          <p:cNvPr id="14" name="Straight Connector 13">
            <a:extLst>
              <a:ext uri="{FF2B5EF4-FFF2-40B4-BE49-F238E27FC236}">
                <a16:creationId xmlns:a16="http://schemas.microsoft.com/office/drawing/2014/main" id="{33C251D2-D8DC-4B16-931A-500E33AD2025}"/>
              </a:ext>
            </a:extLst>
          </p:cNvPr>
          <p:cNvCxnSpPr>
            <a:cxnSpLocks/>
          </p:cNvCxnSpPr>
          <p:nvPr/>
        </p:nvCxnSpPr>
        <p:spPr>
          <a:xfrm>
            <a:off x="1918144" y="5255210"/>
            <a:ext cx="864216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2281BF1C-40EF-420C-943D-CC52AD1798E2}"/>
              </a:ext>
            </a:extLst>
          </p:cNvPr>
          <p:cNvSpPr/>
          <p:nvPr/>
        </p:nvSpPr>
        <p:spPr>
          <a:xfrm>
            <a:off x="10139680" y="111760"/>
            <a:ext cx="1950720" cy="50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6307849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49C8C-80B1-FB5E-A38F-53C55942C3BC}"/>
              </a:ext>
            </a:extLst>
          </p:cNvPr>
          <p:cNvSpPr>
            <a:spLocks noGrp="1"/>
          </p:cNvSpPr>
          <p:nvPr>
            <p:ph type="title"/>
          </p:nvPr>
        </p:nvSpPr>
        <p:spPr>
          <a:xfrm>
            <a:off x="838200" y="0"/>
            <a:ext cx="10515600" cy="570689"/>
          </a:xfrm>
        </p:spPr>
        <p:txBody>
          <a:bodyPr>
            <a:normAutofit fontScale="90000"/>
          </a:bodyPr>
          <a:lstStyle/>
          <a:p>
            <a:pPr algn="ctr"/>
            <a:r>
              <a:rPr lang="en-US" b="1" dirty="0"/>
              <a:t>Rural Hospital Closures</a:t>
            </a:r>
          </a:p>
        </p:txBody>
      </p:sp>
      <p:sp>
        <p:nvSpPr>
          <p:cNvPr id="8" name="TextBox 7">
            <a:extLst>
              <a:ext uri="{FF2B5EF4-FFF2-40B4-BE49-F238E27FC236}">
                <a16:creationId xmlns:a16="http://schemas.microsoft.com/office/drawing/2014/main" id="{068A2E1A-A851-5441-46AA-658A4A4FE884}"/>
              </a:ext>
            </a:extLst>
          </p:cNvPr>
          <p:cNvSpPr txBox="1"/>
          <p:nvPr/>
        </p:nvSpPr>
        <p:spPr>
          <a:xfrm>
            <a:off x="152756" y="100678"/>
            <a:ext cx="137088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A4972"/>
                </a:solidFill>
                <a:effectLst/>
                <a:uLnTx/>
                <a:uFillTx/>
                <a:latin typeface="Arial" panose="020B0604020202020204"/>
                <a:ea typeface="+mn-ea"/>
                <a:cs typeface="+mn-cs"/>
              </a:rPr>
              <a:t>Source: </a:t>
            </a:r>
            <a:r>
              <a:rPr kumimoji="0" lang="en-US" sz="900" b="0" i="0" u="none" strike="noStrike" kern="1200" cap="none" spc="0" normalizeH="0" baseline="0" noProof="0" dirty="0">
                <a:ln>
                  <a:noFill/>
                </a:ln>
                <a:solidFill>
                  <a:srgbClr val="3A4972"/>
                </a:solidFill>
                <a:effectLst/>
                <a:uLnTx/>
                <a:uFillTx/>
                <a:latin typeface="Arial" panose="020B0604020202020204"/>
                <a:ea typeface="+mn-ea"/>
                <a:cs typeface="+mn-cs"/>
                <a:hlinkClick r:id="" action="ppaction://noaction"/>
              </a:rPr>
              <a:t>UNC Shep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A4972"/>
                </a:solidFill>
                <a:effectLst/>
                <a:uLnTx/>
                <a:uFillTx/>
                <a:latin typeface="Arial" panose="020B0604020202020204"/>
                <a:ea typeface="+mn-ea"/>
                <a:cs typeface="+mn-cs"/>
                <a:hlinkClick r:id="" action="ppaction://noaction"/>
              </a:rPr>
              <a:t>Center for Rural Health</a:t>
            </a:r>
            <a:endParaRPr kumimoji="0" lang="en-US" sz="900" b="0" i="0" u="none" strike="noStrike" kern="1200" cap="none" spc="0" normalizeH="0" baseline="0" noProof="0" dirty="0">
              <a:ln>
                <a:noFill/>
              </a:ln>
              <a:solidFill>
                <a:srgbClr val="3A4972"/>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A5A6AAE0-1520-6F9E-5878-3FC96D94055D}"/>
              </a:ext>
            </a:extLst>
          </p:cNvPr>
          <p:cNvSpPr txBox="1"/>
          <p:nvPr/>
        </p:nvSpPr>
        <p:spPr>
          <a:xfrm>
            <a:off x="4139573" y="548739"/>
            <a:ext cx="28520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A4972"/>
                </a:solidFill>
                <a:effectLst/>
                <a:uLnTx/>
                <a:uFillTx/>
                <a:latin typeface="Arial" panose="020B0604020202020204"/>
                <a:ea typeface="+mn-ea"/>
                <a:cs typeface="+mn-cs"/>
              </a:rPr>
              <a:t>149 Closures since 2010</a:t>
            </a:r>
          </a:p>
        </p:txBody>
      </p:sp>
      <p:pic>
        <p:nvPicPr>
          <p:cNvPr id="9" name="Content Placeholder 8">
            <a:extLst>
              <a:ext uri="{FF2B5EF4-FFF2-40B4-BE49-F238E27FC236}">
                <a16:creationId xmlns:a16="http://schemas.microsoft.com/office/drawing/2014/main" id="{A4397773-2F94-CADD-D984-26D80927BD5C}"/>
              </a:ext>
            </a:extLst>
          </p:cNvPr>
          <p:cNvPicPr>
            <a:picLocks noGrp="1" noChangeAspect="1"/>
          </p:cNvPicPr>
          <p:nvPr>
            <p:ph idx="1"/>
          </p:nvPr>
        </p:nvPicPr>
        <p:blipFill>
          <a:blip r:embed="rId2"/>
          <a:stretch>
            <a:fillRect/>
          </a:stretch>
        </p:blipFill>
        <p:spPr>
          <a:xfrm>
            <a:off x="1060978" y="918071"/>
            <a:ext cx="9842809" cy="5667996"/>
          </a:xfrm>
        </p:spPr>
      </p:pic>
    </p:spTree>
    <p:extLst>
      <p:ext uri="{BB962C8B-B14F-4D97-AF65-F5344CB8AC3E}">
        <p14:creationId xmlns:p14="http://schemas.microsoft.com/office/powerpoint/2010/main" val="25617747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6AF46-1B4C-5EA2-357B-A5682019B82B}"/>
              </a:ext>
            </a:extLst>
          </p:cNvPr>
          <p:cNvSpPr>
            <a:spLocks noGrp="1"/>
          </p:cNvSpPr>
          <p:nvPr>
            <p:ph type="title"/>
          </p:nvPr>
        </p:nvSpPr>
        <p:spPr>
          <a:xfrm>
            <a:off x="740229" y="-113847"/>
            <a:ext cx="10515600" cy="1325563"/>
          </a:xfrm>
        </p:spPr>
        <p:txBody>
          <a:bodyPr/>
          <a:lstStyle/>
          <a:p>
            <a:pPr algn="ctr"/>
            <a:r>
              <a:rPr lang="en-US" b="1" dirty="0"/>
              <a:t>REH Conversion Map</a:t>
            </a:r>
          </a:p>
        </p:txBody>
      </p:sp>
      <p:sp>
        <p:nvSpPr>
          <p:cNvPr id="6" name="TextBox 5">
            <a:extLst>
              <a:ext uri="{FF2B5EF4-FFF2-40B4-BE49-F238E27FC236}">
                <a16:creationId xmlns:a16="http://schemas.microsoft.com/office/drawing/2014/main" id="{675D66D6-9B5E-9294-F597-BC2F04858302}"/>
              </a:ext>
            </a:extLst>
          </p:cNvPr>
          <p:cNvSpPr txBox="1"/>
          <p:nvPr/>
        </p:nvSpPr>
        <p:spPr>
          <a:xfrm>
            <a:off x="3155931" y="750051"/>
            <a:ext cx="588013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A4972"/>
                </a:solidFill>
                <a:effectLst/>
                <a:uLnTx/>
                <a:uFillTx/>
                <a:latin typeface="Arial" panose="020B0604020202020204"/>
                <a:ea typeface="+mn-ea"/>
                <a:cs typeface="+mn-cs"/>
              </a:rPr>
              <a:t>27 Conversions Since Program Started</a:t>
            </a:r>
          </a:p>
        </p:txBody>
      </p:sp>
      <p:sp>
        <p:nvSpPr>
          <p:cNvPr id="9" name="TextBox 8">
            <a:extLst>
              <a:ext uri="{FF2B5EF4-FFF2-40B4-BE49-F238E27FC236}">
                <a16:creationId xmlns:a16="http://schemas.microsoft.com/office/drawing/2014/main" id="{B88A43B7-0A4B-48C3-C1C8-E126E4B118B3}"/>
              </a:ext>
            </a:extLst>
          </p:cNvPr>
          <p:cNvSpPr txBox="1"/>
          <p:nvPr/>
        </p:nvSpPr>
        <p:spPr>
          <a:xfrm>
            <a:off x="-36161" y="6330737"/>
            <a:ext cx="63841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A4972"/>
                </a:solidFill>
                <a:effectLst/>
                <a:uLnTx/>
                <a:uFillTx/>
                <a:latin typeface="Arial" panose="020B0604020202020204"/>
                <a:ea typeface="+mn-ea"/>
                <a:cs typeface="+mn-cs"/>
              </a:rPr>
              <a:t>https://www.shepscenter.unc.edu/programs-projects/rural-health/rural-emergency-hospitals/</a:t>
            </a:r>
          </a:p>
        </p:txBody>
      </p:sp>
      <p:pic>
        <p:nvPicPr>
          <p:cNvPr id="7" name="Content Placeholder 6">
            <a:extLst>
              <a:ext uri="{FF2B5EF4-FFF2-40B4-BE49-F238E27FC236}">
                <a16:creationId xmlns:a16="http://schemas.microsoft.com/office/drawing/2014/main" id="{F733765D-60AF-7E4B-1FE3-E6F56CE7BD0F}"/>
              </a:ext>
            </a:extLst>
          </p:cNvPr>
          <p:cNvPicPr>
            <a:picLocks noGrp="1" noChangeAspect="1"/>
          </p:cNvPicPr>
          <p:nvPr>
            <p:ph idx="1"/>
          </p:nvPr>
        </p:nvPicPr>
        <p:blipFill>
          <a:blip r:embed="rId2"/>
          <a:stretch>
            <a:fillRect/>
          </a:stretch>
        </p:blipFill>
        <p:spPr>
          <a:xfrm>
            <a:off x="1147313" y="1134116"/>
            <a:ext cx="9049110" cy="5242887"/>
          </a:xfrm>
        </p:spPr>
      </p:pic>
    </p:spTree>
    <p:extLst>
      <p:ext uri="{BB962C8B-B14F-4D97-AF65-F5344CB8AC3E}">
        <p14:creationId xmlns:p14="http://schemas.microsoft.com/office/powerpoint/2010/main" val="39057824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79C39-B7CC-3657-AAA8-F16230511740}"/>
              </a:ext>
            </a:extLst>
          </p:cNvPr>
          <p:cNvSpPr>
            <a:spLocks noGrp="1"/>
          </p:cNvSpPr>
          <p:nvPr>
            <p:ph type="title"/>
          </p:nvPr>
        </p:nvSpPr>
        <p:spPr>
          <a:xfrm>
            <a:off x="762000" y="18255"/>
            <a:ext cx="10515600" cy="1055171"/>
          </a:xfrm>
        </p:spPr>
        <p:txBody>
          <a:bodyPr>
            <a:normAutofit fontScale="90000"/>
          </a:bodyPr>
          <a:lstStyle/>
          <a:p>
            <a:r>
              <a:rPr lang="en-US" b="1" dirty="0"/>
              <a:t>National CAH Quality Inventory &amp; Assessment </a:t>
            </a:r>
            <a:r>
              <a:rPr lang="en-US" b="1" dirty="0">
                <a:hlinkClick r:id="rId2"/>
              </a:rPr>
              <a:t>National Report</a:t>
            </a:r>
            <a:endParaRPr lang="en-US" b="1" dirty="0"/>
          </a:p>
        </p:txBody>
      </p:sp>
      <p:sp>
        <p:nvSpPr>
          <p:cNvPr id="3" name="Content Placeholder 2">
            <a:extLst>
              <a:ext uri="{FF2B5EF4-FFF2-40B4-BE49-F238E27FC236}">
                <a16:creationId xmlns:a16="http://schemas.microsoft.com/office/drawing/2014/main" id="{A810F64E-374A-649B-19BA-24D738C9D1A1}"/>
              </a:ext>
            </a:extLst>
          </p:cNvPr>
          <p:cNvSpPr>
            <a:spLocks noGrp="1"/>
          </p:cNvSpPr>
          <p:nvPr>
            <p:ph sz="half" idx="1"/>
          </p:nvPr>
        </p:nvSpPr>
        <p:spPr>
          <a:xfrm>
            <a:off x="838200" y="1401417"/>
            <a:ext cx="5181600" cy="5091458"/>
          </a:xfrm>
        </p:spPr>
        <p:txBody>
          <a:bodyPr/>
          <a:lstStyle/>
          <a:p>
            <a:r>
              <a:rPr lang="en-US" dirty="0"/>
              <a:t>Quality Payment Model Participation</a:t>
            </a:r>
          </a:p>
          <a:p>
            <a:pPr marL="0" indent="0">
              <a:buNone/>
            </a:pPr>
            <a:endParaRPr lang="en-US" dirty="0"/>
          </a:p>
          <a:p>
            <a:pPr marL="0" indent="0">
              <a:buNone/>
            </a:pPr>
            <a:endParaRPr lang="en-US" dirty="0"/>
          </a:p>
          <a:p>
            <a:pPr marL="0" indent="0">
              <a:buNone/>
            </a:pPr>
            <a:endParaRPr lang="en-US" dirty="0"/>
          </a:p>
          <a:p>
            <a:r>
              <a:rPr lang="en-US" dirty="0"/>
              <a:t>CAH System Affiliation</a:t>
            </a:r>
          </a:p>
          <a:p>
            <a:pPr marL="0" indent="0">
              <a:buNone/>
            </a:pPr>
            <a:endParaRPr lang="en-US" dirty="0"/>
          </a:p>
          <a:p>
            <a:pPr marL="0" indent="0">
              <a:buNone/>
            </a:pPr>
            <a:endParaRPr lang="en-US" dirty="0"/>
          </a:p>
        </p:txBody>
      </p:sp>
      <p:sp>
        <p:nvSpPr>
          <p:cNvPr id="8" name="Content Placeholder 7">
            <a:extLst>
              <a:ext uri="{FF2B5EF4-FFF2-40B4-BE49-F238E27FC236}">
                <a16:creationId xmlns:a16="http://schemas.microsoft.com/office/drawing/2014/main" id="{97043472-8672-5C1E-439E-E9AE28529558}"/>
              </a:ext>
            </a:extLst>
          </p:cNvPr>
          <p:cNvSpPr>
            <a:spLocks noGrp="1"/>
          </p:cNvSpPr>
          <p:nvPr>
            <p:ph sz="half" idx="2"/>
          </p:nvPr>
        </p:nvSpPr>
        <p:spPr/>
        <p:txBody>
          <a:bodyPr/>
          <a:lstStyle/>
          <a:p>
            <a:r>
              <a:rPr lang="en-US" dirty="0"/>
              <a:t>CAH Volume Measures</a:t>
            </a:r>
          </a:p>
          <a:p>
            <a:pPr marL="0" indent="0">
              <a:buNone/>
            </a:pPr>
            <a:endParaRPr lang="en-US" dirty="0"/>
          </a:p>
          <a:p>
            <a:pPr marL="0" indent="0">
              <a:buNone/>
            </a:pPr>
            <a:endParaRPr lang="en-US" dirty="0"/>
          </a:p>
          <a:p>
            <a:pPr marL="0" indent="0">
              <a:buNone/>
            </a:pPr>
            <a:endParaRPr lang="en-US" dirty="0"/>
          </a:p>
          <a:p>
            <a:r>
              <a:rPr lang="en-US" dirty="0"/>
              <a:t>CAH Inpatient Services</a:t>
            </a:r>
          </a:p>
          <a:p>
            <a:pPr marL="0" indent="0">
              <a:buNone/>
            </a:pPr>
            <a:endParaRPr lang="en-US" dirty="0"/>
          </a:p>
        </p:txBody>
      </p:sp>
      <p:pic>
        <p:nvPicPr>
          <p:cNvPr id="5" name="Picture 4">
            <a:extLst>
              <a:ext uri="{FF2B5EF4-FFF2-40B4-BE49-F238E27FC236}">
                <a16:creationId xmlns:a16="http://schemas.microsoft.com/office/drawing/2014/main" id="{3978FD2A-D2C2-C685-7249-89DA4D5A18E3}"/>
              </a:ext>
            </a:extLst>
          </p:cNvPr>
          <p:cNvPicPr>
            <a:picLocks noChangeAspect="1"/>
          </p:cNvPicPr>
          <p:nvPr/>
        </p:nvPicPr>
        <p:blipFill>
          <a:blip r:embed="rId3"/>
          <a:stretch>
            <a:fillRect/>
          </a:stretch>
        </p:blipFill>
        <p:spPr>
          <a:xfrm>
            <a:off x="1206298" y="2240577"/>
            <a:ext cx="4150894" cy="1595721"/>
          </a:xfrm>
          <a:prstGeom prst="rect">
            <a:avLst/>
          </a:prstGeom>
        </p:spPr>
      </p:pic>
      <p:pic>
        <p:nvPicPr>
          <p:cNvPr id="7" name="Picture 6">
            <a:extLst>
              <a:ext uri="{FF2B5EF4-FFF2-40B4-BE49-F238E27FC236}">
                <a16:creationId xmlns:a16="http://schemas.microsoft.com/office/drawing/2014/main" id="{3FAF23EC-4C9E-A824-CC4C-C2455341EF8C}"/>
              </a:ext>
            </a:extLst>
          </p:cNvPr>
          <p:cNvPicPr>
            <a:picLocks noChangeAspect="1"/>
          </p:cNvPicPr>
          <p:nvPr/>
        </p:nvPicPr>
        <p:blipFill>
          <a:blip r:embed="rId4"/>
          <a:stretch>
            <a:fillRect/>
          </a:stretch>
        </p:blipFill>
        <p:spPr>
          <a:xfrm>
            <a:off x="1206298" y="4470056"/>
            <a:ext cx="4299980" cy="1706907"/>
          </a:xfrm>
          <a:prstGeom prst="rect">
            <a:avLst/>
          </a:prstGeom>
        </p:spPr>
      </p:pic>
      <p:pic>
        <p:nvPicPr>
          <p:cNvPr id="10" name="Picture 9">
            <a:extLst>
              <a:ext uri="{FF2B5EF4-FFF2-40B4-BE49-F238E27FC236}">
                <a16:creationId xmlns:a16="http://schemas.microsoft.com/office/drawing/2014/main" id="{7C691A66-15D5-4F74-C6D2-1D4C52A4E2A0}"/>
              </a:ext>
            </a:extLst>
          </p:cNvPr>
          <p:cNvPicPr>
            <a:picLocks noChangeAspect="1"/>
          </p:cNvPicPr>
          <p:nvPr/>
        </p:nvPicPr>
        <p:blipFill>
          <a:blip r:embed="rId5"/>
          <a:stretch>
            <a:fillRect/>
          </a:stretch>
        </p:blipFill>
        <p:spPr>
          <a:xfrm>
            <a:off x="6499344" y="2304909"/>
            <a:ext cx="3248478" cy="1467055"/>
          </a:xfrm>
          <a:prstGeom prst="rect">
            <a:avLst/>
          </a:prstGeom>
        </p:spPr>
      </p:pic>
      <p:pic>
        <p:nvPicPr>
          <p:cNvPr id="12" name="Picture 11">
            <a:extLst>
              <a:ext uri="{FF2B5EF4-FFF2-40B4-BE49-F238E27FC236}">
                <a16:creationId xmlns:a16="http://schemas.microsoft.com/office/drawing/2014/main" id="{2400B1D9-046B-E9FF-2792-67F2E857C1DB}"/>
              </a:ext>
            </a:extLst>
          </p:cNvPr>
          <p:cNvPicPr>
            <a:picLocks noChangeAspect="1"/>
          </p:cNvPicPr>
          <p:nvPr/>
        </p:nvPicPr>
        <p:blipFill>
          <a:blip r:embed="rId6"/>
          <a:stretch>
            <a:fillRect/>
          </a:stretch>
        </p:blipFill>
        <p:spPr>
          <a:xfrm>
            <a:off x="6569764" y="4268426"/>
            <a:ext cx="2885663" cy="2312060"/>
          </a:xfrm>
          <a:prstGeom prst="rect">
            <a:avLst/>
          </a:prstGeom>
        </p:spPr>
      </p:pic>
      <p:sp>
        <p:nvSpPr>
          <p:cNvPr id="13" name="TextBox 12">
            <a:extLst>
              <a:ext uri="{FF2B5EF4-FFF2-40B4-BE49-F238E27FC236}">
                <a16:creationId xmlns:a16="http://schemas.microsoft.com/office/drawing/2014/main" id="{B0238024-7AB6-981A-3AB3-B31CE2A7DD1D}"/>
              </a:ext>
            </a:extLst>
          </p:cNvPr>
          <p:cNvSpPr txBox="1"/>
          <p:nvPr/>
        </p:nvSpPr>
        <p:spPr>
          <a:xfrm>
            <a:off x="238538" y="6351104"/>
            <a:ext cx="609268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02020"/>
                </a:solidFill>
                <a:effectLst/>
                <a:uLnTx/>
                <a:uFillTx/>
                <a:latin typeface="Helvetica" panose="020B0604020202020204" pitchFamily="34" charset="0"/>
                <a:ea typeface="Aptos" panose="020B0004020202020204" pitchFamily="34" charset="0"/>
                <a:cs typeface="+mn-cs"/>
              </a:rPr>
              <a:t>Flex Monitoring Team (FMT) </a:t>
            </a:r>
            <a:r>
              <a:rPr kumimoji="0" lang="en-US" sz="1100" b="0" i="0" u="sng" strike="noStrike" kern="1200" cap="none" spc="0" normalizeH="0" baseline="0" noProof="0" dirty="0">
                <a:ln>
                  <a:noFill/>
                </a:ln>
                <a:solidFill>
                  <a:srgbClr val="007C89"/>
                </a:solidFill>
                <a:effectLst/>
                <a:uLnTx/>
                <a:uFillTx/>
                <a:latin typeface="Helvetica" panose="020B0604020202020204" pitchFamily="34" charset="0"/>
                <a:ea typeface="Aptos" panose="020B0004020202020204" pitchFamily="34" charset="0"/>
                <a:cs typeface="+mn-cs"/>
                <a:hlinkClick r:id="rId7"/>
              </a:rPr>
              <a:t>National Report</a:t>
            </a:r>
            <a:r>
              <a:rPr kumimoji="0" lang="en-US" sz="1100" b="0" i="0" u="none" strike="noStrike" kern="1200" cap="none" spc="0" normalizeH="0" baseline="0" noProof="0" dirty="0">
                <a:ln>
                  <a:noFill/>
                </a:ln>
                <a:solidFill>
                  <a:srgbClr val="007C89"/>
                </a:solidFill>
                <a:effectLst/>
                <a:uLnTx/>
                <a:uFillTx/>
                <a:latin typeface="Helvetica" panose="020B0604020202020204" pitchFamily="34" charset="0"/>
                <a:ea typeface="Aptos" panose="020B0004020202020204" pitchFamily="34" charset="0"/>
                <a:cs typeface="+mn-cs"/>
              </a:rPr>
              <a:t> </a:t>
            </a:r>
            <a:r>
              <a:rPr kumimoji="0" lang="en-US" sz="1100" b="0" i="0" u="none" strike="noStrike" kern="1200" cap="none" spc="0" normalizeH="0" baseline="0" noProof="0" dirty="0">
                <a:ln>
                  <a:noFill/>
                </a:ln>
                <a:solidFill>
                  <a:srgbClr val="3A4972"/>
                </a:solidFill>
                <a:effectLst/>
                <a:uLnTx/>
                <a:uFillTx/>
                <a:latin typeface="Helvetica" panose="020B0604020202020204" pitchFamily="34" charset="0"/>
                <a:ea typeface="Aptos" panose="020B0004020202020204" pitchFamily="34" charset="0"/>
                <a:cs typeface="+mn-cs"/>
              </a:rPr>
              <a:t>on CAH Quality Inventory, Released April 8, 2024</a:t>
            </a:r>
            <a:endParaRPr kumimoji="0" lang="en-US" sz="1100" b="0" i="0" u="none" strike="noStrike" kern="1200" cap="none" spc="0" normalizeH="0" baseline="0" noProof="0" dirty="0">
              <a:ln>
                <a:noFill/>
              </a:ln>
              <a:solidFill>
                <a:srgbClr val="3A4972"/>
              </a:solidFill>
              <a:effectLst/>
              <a:uLnTx/>
              <a:uFillTx/>
              <a:latin typeface="Arial" panose="020B0604020202020204"/>
              <a:ea typeface="+mn-ea"/>
              <a:cs typeface="+mn-cs"/>
            </a:endParaRPr>
          </a:p>
        </p:txBody>
      </p:sp>
    </p:spTree>
    <p:extLst>
      <p:ext uri="{BB962C8B-B14F-4D97-AF65-F5344CB8AC3E}">
        <p14:creationId xmlns:p14="http://schemas.microsoft.com/office/powerpoint/2010/main" val="9819307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 name="Object 153" hidden="1">
            <a:extLst>
              <a:ext uri="{FF2B5EF4-FFF2-40B4-BE49-F238E27FC236}">
                <a16:creationId xmlns:a16="http://schemas.microsoft.com/office/drawing/2014/main" id="{787FCFAC-C695-423D-B579-568E067AF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54" name="Object 153" hidden="1">
                        <a:extLst>
                          <a:ext uri="{FF2B5EF4-FFF2-40B4-BE49-F238E27FC236}">
                            <a16:creationId xmlns:a16="http://schemas.microsoft.com/office/drawing/2014/main" id="{787FCFAC-C695-423D-B579-568E067AF9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AA7FD5-0EF7-4A66-ACE1-DF2D35F5A918}"/>
              </a:ext>
            </a:extLst>
          </p:cNvPr>
          <p:cNvSpPr>
            <a:spLocks noGrp="1"/>
          </p:cNvSpPr>
          <p:nvPr>
            <p:ph type="title"/>
          </p:nvPr>
        </p:nvSpPr>
        <p:spPr/>
        <p:txBody>
          <a:bodyPr vert="horz"/>
          <a:lstStyle/>
          <a:p>
            <a:r>
              <a:rPr lang="en-US" sz="3600" dirty="0">
                <a:solidFill>
                  <a:srgbClr val="3A4972"/>
                </a:solidFill>
                <a:latin typeface="Georgia" panose="02040502050405020303" pitchFamily="18" charset="0"/>
              </a:rPr>
              <a:t>Half of all Rural Hospitals Now in the Red</a:t>
            </a:r>
          </a:p>
        </p:txBody>
      </p:sp>
      <p:sp>
        <p:nvSpPr>
          <p:cNvPr id="161" name="TextBox 160">
            <a:extLst>
              <a:ext uri="{FF2B5EF4-FFF2-40B4-BE49-F238E27FC236}">
                <a16:creationId xmlns:a16="http://schemas.microsoft.com/office/drawing/2014/main" id="{B87EECB4-EAB9-430A-93CC-E58663F64CA9}"/>
              </a:ext>
            </a:extLst>
          </p:cNvPr>
          <p:cNvSpPr txBox="1"/>
          <p:nvPr/>
        </p:nvSpPr>
        <p:spPr>
          <a:xfrm>
            <a:off x="482716" y="1959722"/>
            <a:ext cx="3561336" cy="621452"/>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Overall, </a:t>
            </a:r>
            <a:r>
              <a:rPr kumimoji="0" lang="en-US" sz="1600" b="1" i="0" u="none" strike="noStrike" kern="1200" cap="none" spc="0" normalizeH="0" baseline="0" noProof="0" dirty="0">
                <a:ln>
                  <a:noFill/>
                </a:ln>
                <a:solidFill>
                  <a:srgbClr val="C00000"/>
                </a:solidFill>
                <a:effectLst/>
                <a:uLnTx/>
                <a:uFillTx/>
                <a:latin typeface="Segoe UI"/>
                <a:ea typeface="Verdana" panose="020B0604030504040204" pitchFamily="34" charset="0"/>
                <a:cs typeface="Segoe UI" panose="020B0502040204020203" pitchFamily="34" charset="0"/>
              </a:rPr>
              <a:t>50% of America’s rural hospitals</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 are operating </a:t>
            </a:r>
            <a:r>
              <a:rPr kumimoji="0" lang="en-US" sz="1600" b="1" i="0" u="none" strike="noStrike" kern="1200" cap="none" spc="0" normalizeH="0" baseline="0" noProof="0" dirty="0">
                <a:ln>
                  <a:noFill/>
                </a:ln>
                <a:solidFill>
                  <a:srgbClr val="C00000"/>
                </a:solidFill>
                <a:effectLst/>
                <a:uLnTx/>
                <a:uFillTx/>
                <a:latin typeface="Segoe UI"/>
                <a:ea typeface="Verdana" panose="020B0604030504040204" pitchFamily="34" charset="0"/>
                <a:cs typeface="Segoe UI" panose="020B0502040204020203" pitchFamily="34" charset="0"/>
              </a:rPr>
              <a:t>in the red</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a:t>
            </a:r>
          </a:p>
        </p:txBody>
      </p:sp>
      <p:sp>
        <p:nvSpPr>
          <p:cNvPr id="169" name="TextBox 168">
            <a:extLst>
              <a:ext uri="{FF2B5EF4-FFF2-40B4-BE49-F238E27FC236}">
                <a16:creationId xmlns:a16="http://schemas.microsoft.com/office/drawing/2014/main" id="{8A2E8FA8-A7E3-48A2-811F-17CD0DCDC568}"/>
              </a:ext>
            </a:extLst>
          </p:cNvPr>
          <p:cNvSpPr txBox="1"/>
          <p:nvPr/>
        </p:nvSpPr>
        <p:spPr>
          <a:xfrm>
            <a:off x="477587" y="4257036"/>
            <a:ext cx="3558742" cy="621452"/>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In </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non-expansion states</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 </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55% </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of rural hospitals are </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in the red</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a:t>
            </a:r>
          </a:p>
        </p:txBody>
      </p:sp>
      <p:sp>
        <p:nvSpPr>
          <p:cNvPr id="170" name="TextBox 169">
            <a:extLst>
              <a:ext uri="{FF2B5EF4-FFF2-40B4-BE49-F238E27FC236}">
                <a16:creationId xmlns:a16="http://schemas.microsoft.com/office/drawing/2014/main" id="{E7B58E1F-2975-4DB9-A5B4-5ED1515C322D}"/>
              </a:ext>
            </a:extLst>
          </p:cNvPr>
          <p:cNvSpPr txBox="1"/>
          <p:nvPr/>
        </p:nvSpPr>
        <p:spPr>
          <a:xfrm>
            <a:off x="477587" y="3128191"/>
            <a:ext cx="3566508" cy="621452"/>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Highest</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 percentage </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ever calculated </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in </a:t>
            </a:r>
            <a:r>
              <a:rPr lang="en-US" sz="1600" dirty="0">
                <a:solidFill>
                  <a:srgbClr val="00294C"/>
                </a:solidFill>
                <a:latin typeface="Segoe UI"/>
                <a:ea typeface="Verdana" panose="020B0604030504040204" pitchFamily="34" charset="0"/>
                <a:cs typeface="Segoe UI" panose="020B0502040204020203" pitchFamily="34" charset="0"/>
              </a:rPr>
              <a:t>Chartis’</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 annual analysis.  </a:t>
            </a:r>
          </a:p>
        </p:txBody>
      </p:sp>
      <p:cxnSp>
        <p:nvCxnSpPr>
          <p:cNvPr id="167" name="Straight Connector 166">
            <a:extLst>
              <a:ext uri="{FF2B5EF4-FFF2-40B4-BE49-F238E27FC236}">
                <a16:creationId xmlns:a16="http://schemas.microsoft.com/office/drawing/2014/main" id="{C394CECA-62E6-4693-86B7-B01AF4DEBAF4}"/>
              </a:ext>
            </a:extLst>
          </p:cNvPr>
          <p:cNvCxnSpPr/>
          <p:nvPr/>
        </p:nvCxnSpPr>
        <p:spPr>
          <a:xfrm>
            <a:off x="841487" y="2790819"/>
            <a:ext cx="2605548" cy="0"/>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168" name="Straight Connector 167">
            <a:extLst>
              <a:ext uri="{FF2B5EF4-FFF2-40B4-BE49-F238E27FC236}">
                <a16:creationId xmlns:a16="http://schemas.microsoft.com/office/drawing/2014/main" id="{468B8B37-48E4-4001-B2D9-C4C1F14DBA8F}"/>
              </a:ext>
            </a:extLst>
          </p:cNvPr>
          <p:cNvCxnSpPr/>
          <p:nvPr/>
        </p:nvCxnSpPr>
        <p:spPr>
          <a:xfrm>
            <a:off x="841487" y="4024098"/>
            <a:ext cx="2605548" cy="0"/>
          </a:xfrm>
          <a:prstGeom prst="line">
            <a:avLst/>
          </a:prstGeom>
          <a:ln/>
        </p:spPr>
        <p:style>
          <a:lnRef idx="1">
            <a:schemeClr val="accent3"/>
          </a:lnRef>
          <a:fillRef idx="0">
            <a:schemeClr val="accent3"/>
          </a:fillRef>
          <a:effectRef idx="0">
            <a:schemeClr val="accent3"/>
          </a:effectRef>
          <a:fontRef idx="minor">
            <a:schemeClr val="tx1"/>
          </a:fontRef>
        </p:style>
      </p:cxnSp>
      <p:sp>
        <p:nvSpPr>
          <p:cNvPr id="445" name="TextBox 444">
            <a:extLst>
              <a:ext uri="{FF2B5EF4-FFF2-40B4-BE49-F238E27FC236}">
                <a16:creationId xmlns:a16="http://schemas.microsoft.com/office/drawing/2014/main" id="{99BEBB59-71C6-4E3C-9FAA-C638B48C44AC}"/>
              </a:ext>
            </a:extLst>
          </p:cNvPr>
          <p:cNvSpPr txBox="1"/>
          <p:nvPr/>
        </p:nvSpPr>
        <p:spPr>
          <a:xfrm>
            <a:off x="6360287" y="5735377"/>
            <a:ext cx="491508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tate-level percentage of rural hospitals with negative operating margin.</a:t>
            </a:r>
          </a:p>
        </p:txBody>
      </p:sp>
      <p:grpSp>
        <p:nvGrpSpPr>
          <p:cNvPr id="446" name="Group 445">
            <a:extLst>
              <a:ext uri="{FF2B5EF4-FFF2-40B4-BE49-F238E27FC236}">
                <a16:creationId xmlns:a16="http://schemas.microsoft.com/office/drawing/2014/main" id="{98865C16-A07B-410A-A144-A0F529E7EA55}"/>
              </a:ext>
            </a:extLst>
          </p:cNvPr>
          <p:cNvGrpSpPr/>
          <p:nvPr/>
        </p:nvGrpSpPr>
        <p:grpSpPr>
          <a:xfrm>
            <a:off x="7257989" y="5924574"/>
            <a:ext cx="3651000" cy="322422"/>
            <a:chOff x="1938972" y="5893560"/>
            <a:chExt cx="3651000" cy="322422"/>
          </a:xfrm>
        </p:grpSpPr>
        <p:grpSp>
          <p:nvGrpSpPr>
            <p:cNvPr id="447" name="Group 446">
              <a:extLst>
                <a:ext uri="{FF2B5EF4-FFF2-40B4-BE49-F238E27FC236}">
                  <a16:creationId xmlns:a16="http://schemas.microsoft.com/office/drawing/2014/main" id="{C4231E56-E41C-4C41-9987-E37D8C3F5D96}"/>
                </a:ext>
              </a:extLst>
            </p:cNvPr>
            <p:cNvGrpSpPr/>
            <p:nvPr/>
          </p:nvGrpSpPr>
          <p:grpSpPr>
            <a:xfrm>
              <a:off x="1938972" y="6141972"/>
              <a:ext cx="3564598" cy="74010"/>
              <a:chOff x="1320684" y="6239165"/>
              <a:chExt cx="3564598" cy="74010"/>
            </a:xfrm>
          </p:grpSpPr>
          <p:sp>
            <p:nvSpPr>
              <p:cNvPr id="453" name="Rectangle 452">
                <a:extLst>
                  <a:ext uri="{FF2B5EF4-FFF2-40B4-BE49-F238E27FC236}">
                    <a16:creationId xmlns:a16="http://schemas.microsoft.com/office/drawing/2014/main" id="{366517E9-2DB5-459B-8787-609417D9AA09}"/>
                  </a:ext>
                </a:extLst>
              </p:cNvPr>
              <p:cNvSpPr/>
              <p:nvPr/>
            </p:nvSpPr>
            <p:spPr>
              <a:xfrm>
                <a:off x="1320684" y="6239285"/>
                <a:ext cx="485368" cy="7389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454" name="Rectangle 453">
                <a:extLst>
                  <a:ext uri="{FF2B5EF4-FFF2-40B4-BE49-F238E27FC236}">
                    <a16:creationId xmlns:a16="http://schemas.microsoft.com/office/drawing/2014/main" id="{4879FA85-51CE-45D5-8B9C-D92F3ACA4C9C}"/>
                  </a:ext>
                </a:extLst>
              </p:cNvPr>
              <p:cNvSpPr/>
              <p:nvPr/>
            </p:nvSpPr>
            <p:spPr>
              <a:xfrm>
                <a:off x="2122867" y="6239165"/>
                <a:ext cx="485368" cy="7389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455" name="Rectangle 454">
                <a:extLst>
                  <a:ext uri="{FF2B5EF4-FFF2-40B4-BE49-F238E27FC236}">
                    <a16:creationId xmlns:a16="http://schemas.microsoft.com/office/drawing/2014/main" id="{38DAE3A0-78F2-4A68-B7F1-6DDA4693EF87}"/>
                  </a:ext>
                </a:extLst>
              </p:cNvPr>
              <p:cNvSpPr/>
              <p:nvPr/>
            </p:nvSpPr>
            <p:spPr>
              <a:xfrm>
                <a:off x="2885470" y="6239165"/>
                <a:ext cx="485368" cy="7389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456" name="Rectangle 455">
                <a:extLst>
                  <a:ext uri="{FF2B5EF4-FFF2-40B4-BE49-F238E27FC236}">
                    <a16:creationId xmlns:a16="http://schemas.microsoft.com/office/drawing/2014/main" id="{527053B2-1B14-48B2-8C98-04A927780FD0}"/>
                  </a:ext>
                </a:extLst>
              </p:cNvPr>
              <p:cNvSpPr/>
              <p:nvPr/>
            </p:nvSpPr>
            <p:spPr>
              <a:xfrm>
                <a:off x="3642692" y="6239165"/>
                <a:ext cx="485368" cy="73890"/>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457" name="Rectangle 456">
                <a:extLst>
                  <a:ext uri="{FF2B5EF4-FFF2-40B4-BE49-F238E27FC236}">
                    <a16:creationId xmlns:a16="http://schemas.microsoft.com/office/drawing/2014/main" id="{5A4A3AF9-92B1-4EE5-B5ED-0B846BCBBED6}"/>
                  </a:ext>
                </a:extLst>
              </p:cNvPr>
              <p:cNvSpPr/>
              <p:nvPr/>
            </p:nvSpPr>
            <p:spPr>
              <a:xfrm>
                <a:off x="4399914" y="6239165"/>
                <a:ext cx="485368" cy="73890"/>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sp>
          <p:nvSpPr>
            <p:cNvPr id="448" name="TextBox 447">
              <a:extLst>
                <a:ext uri="{FF2B5EF4-FFF2-40B4-BE49-F238E27FC236}">
                  <a16:creationId xmlns:a16="http://schemas.microsoft.com/office/drawing/2014/main" id="{BC7EF83F-76D1-40B2-B52D-B8EED645F593}"/>
                </a:ext>
              </a:extLst>
            </p:cNvPr>
            <p:cNvSpPr txBox="1"/>
            <p:nvPr/>
          </p:nvSpPr>
          <p:spPr>
            <a:xfrm>
              <a:off x="1998697" y="5897309"/>
              <a:ext cx="48536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0-20</a:t>
              </a:r>
            </a:p>
          </p:txBody>
        </p:sp>
        <p:sp>
          <p:nvSpPr>
            <p:cNvPr id="449" name="TextBox 448">
              <a:extLst>
                <a:ext uri="{FF2B5EF4-FFF2-40B4-BE49-F238E27FC236}">
                  <a16:creationId xmlns:a16="http://schemas.microsoft.com/office/drawing/2014/main" id="{EDAFDC7C-E2C5-47DC-A7CD-211A394911EA}"/>
                </a:ext>
              </a:extLst>
            </p:cNvPr>
            <p:cNvSpPr txBox="1"/>
            <p:nvPr/>
          </p:nvSpPr>
          <p:spPr>
            <a:xfrm>
              <a:off x="2692353" y="5893560"/>
              <a:ext cx="62977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21-40</a:t>
              </a:r>
            </a:p>
          </p:txBody>
        </p:sp>
        <p:sp>
          <p:nvSpPr>
            <p:cNvPr id="450" name="TextBox 449">
              <a:extLst>
                <a:ext uri="{FF2B5EF4-FFF2-40B4-BE49-F238E27FC236}">
                  <a16:creationId xmlns:a16="http://schemas.microsoft.com/office/drawing/2014/main" id="{499C5B88-0284-4253-AA69-F919772ACAAB}"/>
                </a:ext>
              </a:extLst>
            </p:cNvPr>
            <p:cNvSpPr txBox="1"/>
            <p:nvPr/>
          </p:nvSpPr>
          <p:spPr>
            <a:xfrm>
              <a:off x="3412226" y="5898777"/>
              <a:ext cx="67886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41-60</a:t>
              </a:r>
            </a:p>
          </p:txBody>
        </p:sp>
        <p:sp>
          <p:nvSpPr>
            <p:cNvPr id="451" name="TextBox 450">
              <a:extLst>
                <a:ext uri="{FF2B5EF4-FFF2-40B4-BE49-F238E27FC236}">
                  <a16:creationId xmlns:a16="http://schemas.microsoft.com/office/drawing/2014/main" id="{05B7553E-E3B5-4178-BAA0-0EC2294ADFC2}"/>
                </a:ext>
              </a:extLst>
            </p:cNvPr>
            <p:cNvSpPr txBox="1"/>
            <p:nvPr/>
          </p:nvSpPr>
          <p:spPr>
            <a:xfrm>
              <a:off x="4220013" y="5899972"/>
              <a:ext cx="56662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61-80</a:t>
              </a:r>
            </a:p>
          </p:txBody>
        </p:sp>
        <p:sp>
          <p:nvSpPr>
            <p:cNvPr id="452" name="TextBox 451">
              <a:extLst>
                <a:ext uri="{FF2B5EF4-FFF2-40B4-BE49-F238E27FC236}">
                  <a16:creationId xmlns:a16="http://schemas.microsoft.com/office/drawing/2014/main" id="{DD742422-8165-48DB-947F-2A222B4A88B4}"/>
                </a:ext>
              </a:extLst>
            </p:cNvPr>
            <p:cNvSpPr txBox="1"/>
            <p:nvPr/>
          </p:nvSpPr>
          <p:spPr>
            <a:xfrm>
              <a:off x="4931800" y="5898777"/>
              <a:ext cx="65817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81-100</a:t>
              </a:r>
            </a:p>
          </p:txBody>
        </p:sp>
      </p:grpSp>
      <p:sp>
        <p:nvSpPr>
          <p:cNvPr id="458" name="Rectangle 457">
            <a:extLst>
              <a:ext uri="{FF2B5EF4-FFF2-40B4-BE49-F238E27FC236}">
                <a16:creationId xmlns:a16="http://schemas.microsoft.com/office/drawing/2014/main" id="{04D8D9EC-D8E4-49B0-9D10-B2B4BD7DE9B3}"/>
              </a:ext>
            </a:extLst>
          </p:cNvPr>
          <p:cNvSpPr/>
          <p:nvPr/>
        </p:nvSpPr>
        <p:spPr>
          <a:xfrm>
            <a:off x="6624058" y="6171128"/>
            <a:ext cx="485368" cy="7389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459" name="TextBox 458">
            <a:extLst>
              <a:ext uri="{FF2B5EF4-FFF2-40B4-BE49-F238E27FC236}">
                <a16:creationId xmlns:a16="http://schemas.microsoft.com/office/drawing/2014/main" id="{1AE8729D-849A-4164-A0F6-E9ABF2F9BD78}"/>
              </a:ext>
            </a:extLst>
          </p:cNvPr>
          <p:cNvSpPr txBox="1"/>
          <p:nvPr/>
        </p:nvSpPr>
        <p:spPr>
          <a:xfrm>
            <a:off x="6692681" y="5930986"/>
            <a:ext cx="48536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NA</a:t>
            </a:r>
          </a:p>
        </p:txBody>
      </p:sp>
      <p:sp>
        <p:nvSpPr>
          <p:cNvPr id="138" name="TextBox 137">
            <a:extLst>
              <a:ext uri="{FF2B5EF4-FFF2-40B4-BE49-F238E27FC236}">
                <a16:creationId xmlns:a16="http://schemas.microsoft.com/office/drawing/2014/main" id="{F9D4FB67-D9E4-4E1F-A861-98D73FB18346}"/>
              </a:ext>
            </a:extLst>
          </p:cNvPr>
          <p:cNvSpPr txBox="1"/>
          <p:nvPr/>
        </p:nvSpPr>
        <p:spPr>
          <a:xfrm>
            <a:off x="348099" y="5923598"/>
            <a:ext cx="421823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ource: The Chartis Center for Rural Health,</a:t>
            </a:r>
          </a:p>
        </p:txBody>
      </p:sp>
      <p:sp>
        <p:nvSpPr>
          <p:cNvPr id="141" name="TextBox 140">
            <a:extLst>
              <a:ext uri="{FF2B5EF4-FFF2-40B4-BE49-F238E27FC236}">
                <a16:creationId xmlns:a16="http://schemas.microsoft.com/office/drawing/2014/main" id="{00E8AFA4-10E7-44EE-B955-FCE45BCB9098}"/>
              </a:ext>
            </a:extLst>
          </p:cNvPr>
          <p:cNvSpPr txBox="1"/>
          <p:nvPr/>
        </p:nvSpPr>
        <p:spPr>
          <a:xfrm>
            <a:off x="348099" y="6085843"/>
            <a:ext cx="5522753"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CMS Healthcare Cost Report Information System (HCRIS) Q3 2023. Operating margin is computed in accordance with Flex Monitoring Team guidance. Outliers are excluded. Hospitals for which data are unavailable are excluded. Reported Covid-19 PHE Funds (Worksheet G-3 line 24,50) excluded from operating margin. Adjustments made to operating margin to reflect full 2% sequester.</a:t>
            </a:r>
          </a:p>
        </p:txBody>
      </p:sp>
      <p:grpSp>
        <p:nvGrpSpPr>
          <p:cNvPr id="3" name="State Shapes">
            <a:extLst>
              <a:ext uri="{FF2B5EF4-FFF2-40B4-BE49-F238E27FC236}">
                <a16:creationId xmlns:a16="http://schemas.microsoft.com/office/drawing/2014/main" id="{30351439-5CE8-692B-5679-AAA07D10BFFD}"/>
              </a:ext>
            </a:extLst>
          </p:cNvPr>
          <p:cNvGrpSpPr/>
          <p:nvPr/>
        </p:nvGrpSpPr>
        <p:grpSpPr>
          <a:xfrm>
            <a:off x="4094548" y="1454100"/>
            <a:ext cx="7460222" cy="4266691"/>
            <a:chOff x="609598" y="1367242"/>
            <a:chExt cx="7460222" cy="4266691"/>
          </a:xfrm>
        </p:grpSpPr>
        <p:sp>
          <p:nvSpPr>
            <p:cNvPr id="4" name="Freeform 43">
              <a:extLst>
                <a:ext uri="{FF2B5EF4-FFF2-40B4-BE49-F238E27FC236}">
                  <a16:creationId xmlns:a16="http://schemas.microsoft.com/office/drawing/2014/main" id="{9AF93531-5FB7-8A7F-740D-A4331CFDC3CD}"/>
                </a:ext>
              </a:extLst>
            </p:cNvPr>
            <p:cNvSpPr>
              <a:spLocks/>
            </p:cNvSpPr>
            <p:nvPr/>
          </p:nvSpPr>
          <p:spPr bwMode="auto">
            <a:xfrm>
              <a:off x="7584483" y="2390146"/>
              <a:ext cx="191537" cy="160488"/>
            </a:xfrm>
            <a:custGeom>
              <a:avLst/>
              <a:gdLst>
                <a:gd name="T0" fmla="*/ 11 w 622"/>
                <a:gd name="T1" fmla="*/ 61 h 519"/>
                <a:gd name="T2" fmla="*/ 28 w 622"/>
                <a:gd name="T3" fmla="*/ 46 h 519"/>
                <a:gd name="T4" fmla="*/ 53 w 622"/>
                <a:gd name="T5" fmla="*/ 36 h 519"/>
                <a:gd name="T6" fmla="*/ 83 w 622"/>
                <a:gd name="T7" fmla="*/ 19 h 519"/>
                <a:gd name="T8" fmla="*/ 101 w 622"/>
                <a:gd name="T9" fmla="*/ 6 h 519"/>
                <a:gd name="T10" fmla="*/ 115 w 622"/>
                <a:gd name="T11" fmla="*/ 0 h 519"/>
                <a:gd name="T12" fmla="*/ 118 w 622"/>
                <a:gd name="T13" fmla="*/ 6 h 519"/>
                <a:gd name="T14" fmla="*/ 111 w 622"/>
                <a:gd name="T15" fmla="*/ 16 h 519"/>
                <a:gd name="T16" fmla="*/ 85 w 622"/>
                <a:gd name="T17" fmla="*/ 39 h 519"/>
                <a:gd name="T18" fmla="*/ 50 w 622"/>
                <a:gd name="T19" fmla="*/ 68 h 519"/>
                <a:gd name="T20" fmla="*/ 27 w 622"/>
                <a:gd name="T21" fmla="*/ 84 h 519"/>
                <a:gd name="T22" fmla="*/ 17 w 622"/>
                <a:gd name="T23" fmla="*/ 94 h 519"/>
                <a:gd name="T24" fmla="*/ 2 w 622"/>
                <a:gd name="T25" fmla="*/ 99 h 519"/>
                <a:gd name="T26" fmla="*/ 0 w 622"/>
                <a:gd name="T27" fmla="*/ 84 h 519"/>
                <a:gd name="T28" fmla="*/ 11 w 622"/>
                <a:gd name="T29" fmla="*/ 61 h 5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2" h="519">
                  <a:moveTo>
                    <a:pt x="60" y="322"/>
                  </a:moveTo>
                  <a:lnTo>
                    <a:pt x="147" y="240"/>
                  </a:lnTo>
                  <a:lnTo>
                    <a:pt x="281" y="187"/>
                  </a:lnTo>
                  <a:lnTo>
                    <a:pt x="435" y="101"/>
                  </a:lnTo>
                  <a:lnTo>
                    <a:pt x="531" y="34"/>
                  </a:lnTo>
                  <a:lnTo>
                    <a:pt x="608" y="0"/>
                  </a:lnTo>
                  <a:lnTo>
                    <a:pt x="622" y="34"/>
                  </a:lnTo>
                  <a:lnTo>
                    <a:pt x="584" y="82"/>
                  </a:lnTo>
                  <a:lnTo>
                    <a:pt x="450" y="202"/>
                  </a:lnTo>
                  <a:lnTo>
                    <a:pt x="262" y="355"/>
                  </a:lnTo>
                  <a:lnTo>
                    <a:pt x="142" y="442"/>
                  </a:lnTo>
                  <a:lnTo>
                    <a:pt x="89" y="495"/>
                  </a:lnTo>
                  <a:lnTo>
                    <a:pt x="8" y="519"/>
                  </a:lnTo>
                  <a:lnTo>
                    <a:pt x="0" y="442"/>
                  </a:lnTo>
                  <a:lnTo>
                    <a:pt x="60" y="322"/>
                  </a:lnTo>
                  <a:close/>
                </a:path>
              </a:pathLst>
            </a:custGeom>
            <a:solidFill>
              <a:schemeClr val="accent3">
                <a:lumMod val="50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5" name="Freeform 45">
              <a:extLst>
                <a:ext uri="{FF2B5EF4-FFF2-40B4-BE49-F238E27FC236}">
                  <a16:creationId xmlns:a16="http://schemas.microsoft.com/office/drawing/2014/main" id="{F844D8CB-D16C-55D0-565C-F13176786005}"/>
                </a:ext>
              </a:extLst>
            </p:cNvPr>
            <p:cNvSpPr>
              <a:spLocks/>
            </p:cNvSpPr>
            <p:nvPr/>
          </p:nvSpPr>
          <p:spPr bwMode="auto">
            <a:xfrm>
              <a:off x="5581456" y="1965422"/>
              <a:ext cx="672004" cy="311248"/>
            </a:xfrm>
            <a:custGeom>
              <a:avLst/>
              <a:gdLst>
                <a:gd name="T0" fmla="*/ 0 w 2182"/>
                <a:gd name="T1" fmla="*/ 106 h 1010"/>
                <a:gd name="T2" fmla="*/ 28 w 2182"/>
                <a:gd name="T3" fmla="*/ 92 h 1010"/>
                <a:gd name="T4" fmla="*/ 59 w 2182"/>
                <a:gd name="T5" fmla="*/ 67 h 1010"/>
                <a:gd name="T6" fmla="*/ 77 w 2182"/>
                <a:gd name="T7" fmla="*/ 47 h 1010"/>
                <a:gd name="T8" fmla="*/ 104 w 2182"/>
                <a:gd name="T9" fmla="*/ 17 h 1010"/>
                <a:gd name="T10" fmla="*/ 147 w 2182"/>
                <a:gd name="T11" fmla="*/ 0 h 1010"/>
                <a:gd name="T12" fmla="*/ 148 w 2182"/>
                <a:gd name="T13" fmla="*/ 20 h 1010"/>
                <a:gd name="T14" fmla="*/ 132 w 2182"/>
                <a:gd name="T15" fmla="*/ 30 h 1010"/>
                <a:gd name="T16" fmla="*/ 113 w 2182"/>
                <a:gd name="T17" fmla="*/ 39 h 1010"/>
                <a:gd name="T18" fmla="*/ 120 w 2182"/>
                <a:gd name="T19" fmla="*/ 52 h 1010"/>
                <a:gd name="T20" fmla="*/ 117 w 2182"/>
                <a:gd name="T21" fmla="*/ 55 h 1010"/>
                <a:gd name="T22" fmla="*/ 121 w 2182"/>
                <a:gd name="T23" fmla="*/ 69 h 1010"/>
                <a:gd name="T24" fmla="*/ 141 w 2182"/>
                <a:gd name="T25" fmla="*/ 57 h 1010"/>
                <a:gd name="T26" fmla="*/ 160 w 2182"/>
                <a:gd name="T27" fmla="*/ 56 h 1010"/>
                <a:gd name="T28" fmla="*/ 190 w 2182"/>
                <a:gd name="T29" fmla="*/ 78 h 1010"/>
                <a:gd name="T30" fmla="*/ 213 w 2182"/>
                <a:gd name="T31" fmla="*/ 77 h 1010"/>
                <a:gd name="T32" fmla="*/ 233 w 2182"/>
                <a:gd name="T33" fmla="*/ 86 h 1010"/>
                <a:gd name="T34" fmla="*/ 249 w 2182"/>
                <a:gd name="T35" fmla="*/ 78 h 1010"/>
                <a:gd name="T36" fmla="*/ 259 w 2182"/>
                <a:gd name="T37" fmla="*/ 69 h 1010"/>
                <a:gd name="T38" fmla="*/ 282 w 2182"/>
                <a:gd name="T39" fmla="*/ 53 h 1010"/>
                <a:gd name="T40" fmla="*/ 311 w 2182"/>
                <a:gd name="T41" fmla="*/ 43 h 1010"/>
                <a:gd name="T42" fmla="*/ 327 w 2182"/>
                <a:gd name="T43" fmla="*/ 36 h 1010"/>
                <a:gd name="T44" fmla="*/ 335 w 2182"/>
                <a:gd name="T45" fmla="*/ 53 h 1010"/>
                <a:gd name="T46" fmla="*/ 345 w 2182"/>
                <a:gd name="T47" fmla="*/ 69 h 1010"/>
                <a:gd name="T48" fmla="*/ 366 w 2182"/>
                <a:gd name="T49" fmla="*/ 68 h 1010"/>
                <a:gd name="T50" fmla="*/ 382 w 2182"/>
                <a:gd name="T51" fmla="*/ 59 h 1010"/>
                <a:gd name="T52" fmla="*/ 406 w 2182"/>
                <a:gd name="T53" fmla="*/ 62 h 1010"/>
                <a:gd name="T54" fmla="*/ 414 w 2182"/>
                <a:gd name="T55" fmla="*/ 78 h 1010"/>
                <a:gd name="T56" fmla="*/ 414 w 2182"/>
                <a:gd name="T57" fmla="*/ 95 h 1010"/>
                <a:gd name="T58" fmla="*/ 404 w 2182"/>
                <a:gd name="T59" fmla="*/ 88 h 1010"/>
                <a:gd name="T60" fmla="*/ 388 w 2182"/>
                <a:gd name="T61" fmla="*/ 86 h 1010"/>
                <a:gd name="T62" fmla="*/ 371 w 2182"/>
                <a:gd name="T63" fmla="*/ 103 h 1010"/>
                <a:gd name="T64" fmla="*/ 354 w 2182"/>
                <a:gd name="T65" fmla="*/ 95 h 1010"/>
                <a:gd name="T66" fmla="*/ 338 w 2182"/>
                <a:gd name="T67" fmla="*/ 92 h 1010"/>
                <a:gd name="T68" fmla="*/ 319 w 2182"/>
                <a:gd name="T69" fmla="*/ 95 h 1010"/>
                <a:gd name="T70" fmla="*/ 302 w 2182"/>
                <a:gd name="T71" fmla="*/ 112 h 1010"/>
                <a:gd name="T72" fmla="*/ 268 w 2182"/>
                <a:gd name="T73" fmla="*/ 138 h 1010"/>
                <a:gd name="T74" fmla="*/ 259 w 2182"/>
                <a:gd name="T75" fmla="*/ 155 h 1010"/>
                <a:gd name="T76" fmla="*/ 250 w 2182"/>
                <a:gd name="T77" fmla="*/ 155 h 1010"/>
                <a:gd name="T78" fmla="*/ 250 w 2182"/>
                <a:gd name="T79" fmla="*/ 138 h 1010"/>
                <a:gd name="T80" fmla="*/ 234 w 2182"/>
                <a:gd name="T81" fmla="*/ 133 h 1010"/>
                <a:gd name="T82" fmla="*/ 224 w 2182"/>
                <a:gd name="T83" fmla="*/ 135 h 1010"/>
                <a:gd name="T84" fmla="*/ 220 w 2182"/>
                <a:gd name="T85" fmla="*/ 145 h 1010"/>
                <a:gd name="T86" fmla="*/ 213 w 2182"/>
                <a:gd name="T87" fmla="*/ 174 h 1010"/>
                <a:gd name="T88" fmla="*/ 194 w 2182"/>
                <a:gd name="T89" fmla="*/ 192 h 1010"/>
                <a:gd name="T90" fmla="*/ 176 w 2182"/>
                <a:gd name="T91" fmla="*/ 174 h 1010"/>
                <a:gd name="T92" fmla="*/ 175 w 2182"/>
                <a:gd name="T93" fmla="*/ 162 h 1010"/>
                <a:gd name="T94" fmla="*/ 147 w 2182"/>
                <a:gd name="T95" fmla="*/ 140 h 1010"/>
                <a:gd name="T96" fmla="*/ 113 w 2182"/>
                <a:gd name="T97" fmla="*/ 146 h 1010"/>
                <a:gd name="T98" fmla="*/ 108 w 2182"/>
                <a:gd name="T99" fmla="*/ 134 h 1010"/>
                <a:gd name="T100" fmla="*/ 84 w 2182"/>
                <a:gd name="T101" fmla="*/ 135 h 1010"/>
                <a:gd name="T102" fmla="*/ 61 w 2182"/>
                <a:gd name="T103" fmla="*/ 134 h 1010"/>
                <a:gd name="T104" fmla="*/ 28 w 2182"/>
                <a:gd name="T105" fmla="*/ 134 h 1010"/>
                <a:gd name="T106" fmla="*/ 11 w 2182"/>
                <a:gd name="T107" fmla="*/ 121 h 1010"/>
                <a:gd name="T108" fmla="*/ 0 w 2182"/>
                <a:gd name="T109" fmla="*/ 106 h 10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2" h="1010">
                  <a:moveTo>
                    <a:pt x="0" y="557"/>
                  </a:moveTo>
                  <a:lnTo>
                    <a:pt x="148" y="482"/>
                  </a:lnTo>
                  <a:lnTo>
                    <a:pt x="310" y="350"/>
                  </a:lnTo>
                  <a:lnTo>
                    <a:pt x="406" y="248"/>
                  </a:lnTo>
                  <a:lnTo>
                    <a:pt x="549" y="90"/>
                  </a:lnTo>
                  <a:lnTo>
                    <a:pt x="776" y="0"/>
                  </a:lnTo>
                  <a:lnTo>
                    <a:pt x="778" y="104"/>
                  </a:lnTo>
                  <a:lnTo>
                    <a:pt x="694" y="158"/>
                  </a:lnTo>
                  <a:lnTo>
                    <a:pt x="598" y="206"/>
                  </a:lnTo>
                  <a:lnTo>
                    <a:pt x="634" y="272"/>
                  </a:lnTo>
                  <a:lnTo>
                    <a:pt x="616" y="290"/>
                  </a:lnTo>
                  <a:lnTo>
                    <a:pt x="640" y="363"/>
                  </a:lnTo>
                  <a:lnTo>
                    <a:pt x="742" y="302"/>
                  </a:lnTo>
                  <a:lnTo>
                    <a:pt x="844" y="297"/>
                  </a:lnTo>
                  <a:lnTo>
                    <a:pt x="1003" y="408"/>
                  </a:lnTo>
                  <a:lnTo>
                    <a:pt x="1120" y="404"/>
                  </a:lnTo>
                  <a:lnTo>
                    <a:pt x="1229" y="453"/>
                  </a:lnTo>
                  <a:lnTo>
                    <a:pt x="1312" y="410"/>
                  </a:lnTo>
                  <a:lnTo>
                    <a:pt x="1366" y="362"/>
                  </a:lnTo>
                  <a:lnTo>
                    <a:pt x="1486" y="278"/>
                  </a:lnTo>
                  <a:lnTo>
                    <a:pt x="1638" y="227"/>
                  </a:lnTo>
                  <a:lnTo>
                    <a:pt x="1726" y="188"/>
                  </a:lnTo>
                  <a:lnTo>
                    <a:pt x="1768" y="278"/>
                  </a:lnTo>
                  <a:lnTo>
                    <a:pt x="1819" y="363"/>
                  </a:lnTo>
                  <a:lnTo>
                    <a:pt x="1930" y="356"/>
                  </a:lnTo>
                  <a:lnTo>
                    <a:pt x="2014" y="308"/>
                  </a:lnTo>
                  <a:lnTo>
                    <a:pt x="2140" y="326"/>
                  </a:lnTo>
                  <a:lnTo>
                    <a:pt x="2182" y="408"/>
                  </a:lnTo>
                  <a:lnTo>
                    <a:pt x="2182" y="499"/>
                  </a:lnTo>
                  <a:lnTo>
                    <a:pt x="2128" y="464"/>
                  </a:lnTo>
                  <a:lnTo>
                    <a:pt x="2046" y="453"/>
                  </a:lnTo>
                  <a:lnTo>
                    <a:pt x="1955" y="544"/>
                  </a:lnTo>
                  <a:lnTo>
                    <a:pt x="1865" y="499"/>
                  </a:lnTo>
                  <a:lnTo>
                    <a:pt x="1780" y="482"/>
                  </a:lnTo>
                  <a:lnTo>
                    <a:pt x="1683" y="499"/>
                  </a:lnTo>
                  <a:lnTo>
                    <a:pt x="1592" y="589"/>
                  </a:lnTo>
                  <a:lnTo>
                    <a:pt x="1411" y="725"/>
                  </a:lnTo>
                  <a:lnTo>
                    <a:pt x="1366" y="816"/>
                  </a:lnTo>
                  <a:lnTo>
                    <a:pt x="1320" y="816"/>
                  </a:lnTo>
                  <a:lnTo>
                    <a:pt x="1320" y="725"/>
                  </a:lnTo>
                  <a:lnTo>
                    <a:pt x="1234" y="698"/>
                  </a:lnTo>
                  <a:lnTo>
                    <a:pt x="1180" y="710"/>
                  </a:lnTo>
                  <a:lnTo>
                    <a:pt x="1162" y="764"/>
                  </a:lnTo>
                  <a:lnTo>
                    <a:pt x="1120" y="914"/>
                  </a:lnTo>
                  <a:lnTo>
                    <a:pt x="1020" y="1010"/>
                  </a:lnTo>
                  <a:lnTo>
                    <a:pt x="928" y="914"/>
                  </a:lnTo>
                  <a:lnTo>
                    <a:pt x="924" y="853"/>
                  </a:lnTo>
                  <a:lnTo>
                    <a:pt x="777" y="736"/>
                  </a:lnTo>
                  <a:lnTo>
                    <a:pt x="598" y="767"/>
                  </a:lnTo>
                  <a:lnTo>
                    <a:pt x="568" y="707"/>
                  </a:lnTo>
                  <a:lnTo>
                    <a:pt x="442" y="710"/>
                  </a:lnTo>
                  <a:lnTo>
                    <a:pt x="321" y="703"/>
                  </a:lnTo>
                  <a:lnTo>
                    <a:pt x="147" y="706"/>
                  </a:lnTo>
                  <a:lnTo>
                    <a:pt x="58" y="637"/>
                  </a:lnTo>
                  <a:lnTo>
                    <a:pt x="0" y="557"/>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6" name="Freeform 56">
              <a:extLst>
                <a:ext uri="{FF2B5EF4-FFF2-40B4-BE49-F238E27FC236}">
                  <a16:creationId xmlns:a16="http://schemas.microsoft.com/office/drawing/2014/main" id="{C3DF3B41-C549-5DD9-F1DA-6B3AFA09E2B9}"/>
                </a:ext>
              </a:extLst>
            </p:cNvPr>
            <p:cNvSpPr>
              <a:spLocks/>
            </p:cNvSpPr>
            <p:nvPr/>
          </p:nvSpPr>
          <p:spPr bwMode="auto">
            <a:xfrm>
              <a:off x="7480598" y="2970494"/>
              <a:ext cx="61682" cy="116719"/>
            </a:xfrm>
            <a:custGeom>
              <a:avLst/>
              <a:gdLst>
                <a:gd name="T0" fmla="*/ 1 w 198"/>
                <a:gd name="T1" fmla="*/ 4 h 384"/>
                <a:gd name="T2" fmla="*/ 16 w 198"/>
                <a:gd name="T3" fmla="*/ 3 h 384"/>
                <a:gd name="T4" fmla="*/ 32 w 198"/>
                <a:gd name="T5" fmla="*/ 0 h 384"/>
                <a:gd name="T6" fmla="*/ 38 w 198"/>
                <a:gd name="T7" fmla="*/ 24 h 384"/>
                <a:gd name="T8" fmla="*/ 37 w 198"/>
                <a:gd name="T9" fmla="*/ 45 h 384"/>
                <a:gd name="T10" fmla="*/ 30 w 198"/>
                <a:gd name="T11" fmla="*/ 61 h 384"/>
                <a:gd name="T12" fmla="*/ 24 w 198"/>
                <a:gd name="T13" fmla="*/ 70 h 384"/>
                <a:gd name="T14" fmla="*/ 18 w 198"/>
                <a:gd name="T15" fmla="*/ 72 h 384"/>
                <a:gd name="T16" fmla="*/ 10 w 198"/>
                <a:gd name="T17" fmla="*/ 59 h 384"/>
                <a:gd name="T18" fmla="*/ 6 w 198"/>
                <a:gd name="T19" fmla="*/ 41 h 384"/>
                <a:gd name="T20" fmla="*/ 0 w 198"/>
                <a:gd name="T21" fmla="*/ 27 h 384"/>
                <a:gd name="T22" fmla="*/ 1 w 198"/>
                <a:gd name="T23" fmla="*/ 4 h 3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8" h="384">
                  <a:moveTo>
                    <a:pt x="3" y="20"/>
                  </a:moveTo>
                  <a:lnTo>
                    <a:pt x="84" y="18"/>
                  </a:lnTo>
                  <a:lnTo>
                    <a:pt x="168" y="0"/>
                  </a:lnTo>
                  <a:lnTo>
                    <a:pt x="198" y="126"/>
                  </a:lnTo>
                  <a:lnTo>
                    <a:pt x="192" y="240"/>
                  </a:lnTo>
                  <a:lnTo>
                    <a:pt x="156" y="324"/>
                  </a:lnTo>
                  <a:lnTo>
                    <a:pt x="125" y="372"/>
                  </a:lnTo>
                  <a:lnTo>
                    <a:pt x="96" y="384"/>
                  </a:lnTo>
                  <a:lnTo>
                    <a:pt x="54" y="312"/>
                  </a:lnTo>
                  <a:lnTo>
                    <a:pt x="30" y="216"/>
                  </a:lnTo>
                  <a:lnTo>
                    <a:pt x="0" y="144"/>
                  </a:lnTo>
                  <a:lnTo>
                    <a:pt x="3" y="20"/>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7" name="Rectangle 62">
              <a:extLst>
                <a:ext uri="{FF2B5EF4-FFF2-40B4-BE49-F238E27FC236}">
                  <a16:creationId xmlns:a16="http://schemas.microsoft.com/office/drawing/2014/main" id="{05D5EBDD-4000-3355-AB4A-B160CC1062DA}"/>
                </a:ext>
              </a:extLst>
            </p:cNvPr>
            <p:cNvSpPr>
              <a:spLocks noChangeArrowheads="1"/>
            </p:cNvSpPr>
            <p:nvPr/>
          </p:nvSpPr>
          <p:spPr bwMode="auto">
            <a:xfrm>
              <a:off x="609598" y="4072830"/>
              <a:ext cx="1641055" cy="1561103"/>
            </a:xfrm>
            <a:prstGeom prst="rect">
              <a:avLst/>
            </a:prstGeom>
            <a:noFill/>
            <a:ln w="3175" cmpd="sng">
              <a:solidFill>
                <a:schemeClr val="bg1"/>
              </a:solidFill>
              <a:prstDash val="solid"/>
              <a:round/>
              <a:headEnd/>
              <a:tailEnd/>
            </a:ln>
            <a:effectLst/>
            <a:extLst>
              <a:ext uri="{909E8E84-426E-40DD-AFC4-6F175D3DCCD1}">
                <a14:hiddenFill xmlns:a14="http://schemas.microsoft.com/office/drawing/2010/main">
                  <a:solidFill>
                    <a:schemeClr val="accent1"/>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8" name="Wyoming">
              <a:extLst>
                <a:ext uri="{FF2B5EF4-FFF2-40B4-BE49-F238E27FC236}">
                  <a16:creationId xmlns:a16="http://schemas.microsoft.com/office/drawing/2014/main" id="{B0E6D1E9-13F9-568C-92B3-5D91D79998B0}"/>
                </a:ext>
              </a:extLst>
            </p:cNvPr>
            <p:cNvSpPr>
              <a:spLocks/>
            </p:cNvSpPr>
            <p:nvPr/>
          </p:nvSpPr>
          <p:spPr bwMode="auto">
            <a:xfrm>
              <a:off x="3240803" y="2390146"/>
              <a:ext cx="847310" cy="687339"/>
            </a:xfrm>
            <a:custGeom>
              <a:avLst/>
              <a:gdLst>
                <a:gd name="T0" fmla="*/ 0 w 2757"/>
                <a:gd name="T1" fmla="*/ 382 h 2235"/>
                <a:gd name="T2" fmla="*/ 96 w 2757"/>
                <a:gd name="T3" fmla="*/ 388 h 2235"/>
                <a:gd name="T4" fmla="*/ 157 w 2757"/>
                <a:gd name="T5" fmla="*/ 394 h 2235"/>
                <a:gd name="T6" fmla="*/ 510 w 2757"/>
                <a:gd name="T7" fmla="*/ 424 h 2235"/>
                <a:gd name="T8" fmla="*/ 522 w 2757"/>
                <a:gd name="T9" fmla="*/ 39 h 2235"/>
                <a:gd name="T10" fmla="*/ 156 w 2757"/>
                <a:gd name="T11" fmla="*/ 11 h 2235"/>
                <a:gd name="T12" fmla="*/ 45 w 2757"/>
                <a:gd name="T13" fmla="*/ 0 h 2235"/>
                <a:gd name="T14" fmla="*/ 35 w 2757"/>
                <a:gd name="T15" fmla="*/ 35 h 2235"/>
                <a:gd name="T16" fmla="*/ 8 w 2757"/>
                <a:gd name="T17" fmla="*/ 291 h 2235"/>
                <a:gd name="T18" fmla="*/ 3 w 2757"/>
                <a:gd name="T19" fmla="*/ 334 h 2235"/>
                <a:gd name="T20" fmla="*/ 0 w 2757"/>
                <a:gd name="T21" fmla="*/ 382 h 22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57" h="2235">
                  <a:moveTo>
                    <a:pt x="0" y="2014"/>
                  </a:moveTo>
                  <a:lnTo>
                    <a:pt x="508" y="2044"/>
                  </a:lnTo>
                  <a:lnTo>
                    <a:pt x="828" y="2078"/>
                  </a:lnTo>
                  <a:lnTo>
                    <a:pt x="2696" y="2235"/>
                  </a:lnTo>
                  <a:lnTo>
                    <a:pt x="2757" y="208"/>
                  </a:lnTo>
                  <a:lnTo>
                    <a:pt x="824" y="60"/>
                  </a:lnTo>
                  <a:lnTo>
                    <a:pt x="238" y="0"/>
                  </a:lnTo>
                  <a:lnTo>
                    <a:pt x="185" y="184"/>
                  </a:lnTo>
                  <a:lnTo>
                    <a:pt x="44" y="1536"/>
                  </a:lnTo>
                  <a:lnTo>
                    <a:pt x="16" y="1760"/>
                  </a:lnTo>
                  <a:lnTo>
                    <a:pt x="0" y="2014"/>
                  </a:lnTo>
                  <a:close/>
                </a:path>
              </a:pathLst>
            </a:custGeom>
            <a:solidFill>
              <a:schemeClr val="accent3">
                <a:lumMod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9" name="Wisconsin">
              <a:extLst>
                <a:ext uri="{FF2B5EF4-FFF2-40B4-BE49-F238E27FC236}">
                  <a16:creationId xmlns:a16="http://schemas.microsoft.com/office/drawing/2014/main" id="{25578AE3-412C-174D-C079-1DC023B862F8}"/>
                </a:ext>
              </a:extLst>
            </p:cNvPr>
            <p:cNvSpPr>
              <a:spLocks/>
            </p:cNvSpPr>
            <p:nvPr/>
          </p:nvSpPr>
          <p:spPr bwMode="auto">
            <a:xfrm>
              <a:off x="5300642" y="2101593"/>
              <a:ext cx="676874" cy="666266"/>
            </a:xfrm>
            <a:custGeom>
              <a:avLst/>
              <a:gdLst>
                <a:gd name="T0" fmla="*/ 51 w 2202"/>
                <a:gd name="T1" fmla="*/ 13 h 2170"/>
                <a:gd name="T2" fmla="*/ 28 w 2202"/>
                <a:gd name="T3" fmla="*/ 41 h 2170"/>
                <a:gd name="T4" fmla="*/ 40 w 2202"/>
                <a:gd name="T5" fmla="*/ 76 h 2170"/>
                <a:gd name="T6" fmla="*/ 19 w 2202"/>
                <a:gd name="T7" fmla="*/ 103 h 2170"/>
                <a:gd name="T8" fmla="*/ 0 w 2202"/>
                <a:gd name="T9" fmla="*/ 126 h 2170"/>
                <a:gd name="T10" fmla="*/ 23 w 2202"/>
                <a:gd name="T11" fmla="*/ 155 h 2170"/>
                <a:gd name="T12" fmla="*/ 19 w 2202"/>
                <a:gd name="T13" fmla="*/ 196 h 2170"/>
                <a:gd name="T14" fmla="*/ 11 w 2202"/>
                <a:gd name="T15" fmla="*/ 217 h 2170"/>
                <a:gd name="T16" fmla="*/ 30 w 2202"/>
                <a:gd name="T17" fmla="*/ 226 h 2170"/>
                <a:gd name="T18" fmla="*/ 56 w 2202"/>
                <a:gd name="T19" fmla="*/ 223 h 2170"/>
                <a:gd name="T20" fmla="*/ 95 w 2202"/>
                <a:gd name="T21" fmla="*/ 257 h 2170"/>
                <a:gd name="T22" fmla="*/ 153 w 2202"/>
                <a:gd name="T23" fmla="*/ 297 h 2170"/>
                <a:gd name="T24" fmla="*/ 142 w 2202"/>
                <a:gd name="T25" fmla="*/ 326 h 2170"/>
                <a:gd name="T26" fmla="*/ 154 w 2202"/>
                <a:gd name="T27" fmla="*/ 341 h 2170"/>
                <a:gd name="T28" fmla="*/ 154 w 2202"/>
                <a:gd name="T29" fmla="*/ 367 h 2170"/>
                <a:gd name="T30" fmla="*/ 162 w 2202"/>
                <a:gd name="T31" fmla="*/ 391 h 2170"/>
                <a:gd name="T32" fmla="*/ 186 w 2202"/>
                <a:gd name="T33" fmla="*/ 402 h 2170"/>
                <a:gd name="T34" fmla="*/ 204 w 2202"/>
                <a:gd name="T35" fmla="*/ 411 h 2170"/>
                <a:gd name="T36" fmla="*/ 400 w 2202"/>
                <a:gd name="T37" fmla="*/ 381 h 2170"/>
                <a:gd name="T38" fmla="*/ 400 w 2202"/>
                <a:gd name="T39" fmla="*/ 341 h 2170"/>
                <a:gd name="T40" fmla="*/ 383 w 2202"/>
                <a:gd name="T41" fmla="*/ 324 h 2170"/>
                <a:gd name="T42" fmla="*/ 380 w 2202"/>
                <a:gd name="T43" fmla="*/ 294 h 2170"/>
                <a:gd name="T44" fmla="*/ 383 w 2202"/>
                <a:gd name="T45" fmla="*/ 267 h 2170"/>
                <a:gd name="T46" fmla="*/ 389 w 2202"/>
                <a:gd name="T47" fmla="*/ 256 h 2170"/>
                <a:gd name="T48" fmla="*/ 383 w 2202"/>
                <a:gd name="T49" fmla="*/ 227 h 2170"/>
                <a:gd name="T50" fmla="*/ 389 w 2202"/>
                <a:gd name="T51" fmla="*/ 205 h 2170"/>
                <a:gd name="T52" fmla="*/ 389 w 2202"/>
                <a:gd name="T53" fmla="*/ 188 h 2170"/>
                <a:gd name="T54" fmla="*/ 417 w 2202"/>
                <a:gd name="T55" fmla="*/ 125 h 2170"/>
                <a:gd name="T56" fmla="*/ 411 w 2202"/>
                <a:gd name="T57" fmla="*/ 108 h 2170"/>
                <a:gd name="T58" fmla="*/ 400 w 2202"/>
                <a:gd name="T59" fmla="*/ 125 h 2170"/>
                <a:gd name="T60" fmla="*/ 389 w 2202"/>
                <a:gd name="T61" fmla="*/ 142 h 2170"/>
                <a:gd name="T62" fmla="*/ 383 w 2202"/>
                <a:gd name="T63" fmla="*/ 159 h 2170"/>
                <a:gd name="T64" fmla="*/ 355 w 2202"/>
                <a:gd name="T65" fmla="*/ 199 h 2170"/>
                <a:gd name="T66" fmla="*/ 355 w 2202"/>
                <a:gd name="T67" fmla="*/ 176 h 2170"/>
                <a:gd name="T68" fmla="*/ 356 w 2202"/>
                <a:gd name="T69" fmla="*/ 155 h 2170"/>
                <a:gd name="T70" fmla="*/ 368 w 2202"/>
                <a:gd name="T71" fmla="*/ 135 h 2170"/>
                <a:gd name="T72" fmla="*/ 366 w 2202"/>
                <a:gd name="T73" fmla="*/ 108 h 2170"/>
                <a:gd name="T74" fmla="*/ 349 w 2202"/>
                <a:gd name="T75" fmla="*/ 91 h 2170"/>
                <a:gd name="T76" fmla="*/ 348 w 2202"/>
                <a:gd name="T77" fmla="*/ 79 h 2170"/>
                <a:gd name="T78" fmla="*/ 320 w 2202"/>
                <a:gd name="T79" fmla="*/ 57 h 2170"/>
                <a:gd name="T80" fmla="*/ 286 w 2202"/>
                <a:gd name="T81" fmla="*/ 63 h 2170"/>
                <a:gd name="T82" fmla="*/ 281 w 2202"/>
                <a:gd name="T83" fmla="*/ 51 h 2170"/>
                <a:gd name="T84" fmla="*/ 260 w 2202"/>
                <a:gd name="T85" fmla="*/ 52 h 2170"/>
                <a:gd name="T86" fmla="*/ 233 w 2202"/>
                <a:gd name="T87" fmla="*/ 50 h 2170"/>
                <a:gd name="T88" fmla="*/ 201 w 2202"/>
                <a:gd name="T89" fmla="*/ 51 h 2170"/>
                <a:gd name="T90" fmla="*/ 184 w 2202"/>
                <a:gd name="T91" fmla="*/ 38 h 2170"/>
                <a:gd name="T92" fmla="*/ 173 w 2202"/>
                <a:gd name="T93" fmla="*/ 23 h 2170"/>
                <a:gd name="T94" fmla="*/ 127 w 2202"/>
                <a:gd name="T95" fmla="*/ 23 h 2170"/>
                <a:gd name="T96" fmla="*/ 122 w 2202"/>
                <a:gd name="T97" fmla="*/ 0 h 2170"/>
                <a:gd name="T98" fmla="*/ 70 w 2202"/>
                <a:gd name="T99" fmla="*/ 23 h 2170"/>
                <a:gd name="T100" fmla="*/ 51 w 2202"/>
                <a:gd name="T101" fmla="*/ 13 h 21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2" h="2170">
                  <a:moveTo>
                    <a:pt x="267" y="70"/>
                  </a:moveTo>
                  <a:lnTo>
                    <a:pt x="150" y="216"/>
                  </a:lnTo>
                  <a:lnTo>
                    <a:pt x="209" y="400"/>
                  </a:lnTo>
                  <a:lnTo>
                    <a:pt x="102" y="544"/>
                  </a:lnTo>
                  <a:lnTo>
                    <a:pt x="0" y="667"/>
                  </a:lnTo>
                  <a:lnTo>
                    <a:pt x="119" y="820"/>
                  </a:lnTo>
                  <a:lnTo>
                    <a:pt x="102" y="1035"/>
                  </a:lnTo>
                  <a:lnTo>
                    <a:pt x="59" y="1146"/>
                  </a:lnTo>
                  <a:lnTo>
                    <a:pt x="158" y="1195"/>
                  </a:lnTo>
                  <a:lnTo>
                    <a:pt x="297" y="1177"/>
                  </a:lnTo>
                  <a:lnTo>
                    <a:pt x="501" y="1359"/>
                  </a:lnTo>
                  <a:lnTo>
                    <a:pt x="809" y="1567"/>
                  </a:lnTo>
                  <a:lnTo>
                    <a:pt x="750" y="1723"/>
                  </a:lnTo>
                  <a:lnTo>
                    <a:pt x="814" y="1802"/>
                  </a:lnTo>
                  <a:lnTo>
                    <a:pt x="814" y="1938"/>
                  </a:lnTo>
                  <a:lnTo>
                    <a:pt x="854" y="2066"/>
                  </a:lnTo>
                  <a:lnTo>
                    <a:pt x="982" y="2122"/>
                  </a:lnTo>
                  <a:lnTo>
                    <a:pt x="1078" y="2170"/>
                  </a:lnTo>
                  <a:lnTo>
                    <a:pt x="2112" y="2010"/>
                  </a:lnTo>
                  <a:lnTo>
                    <a:pt x="2112" y="1800"/>
                  </a:lnTo>
                  <a:lnTo>
                    <a:pt x="2022" y="1710"/>
                  </a:lnTo>
                  <a:lnTo>
                    <a:pt x="2006" y="1554"/>
                  </a:lnTo>
                  <a:lnTo>
                    <a:pt x="2022" y="1410"/>
                  </a:lnTo>
                  <a:lnTo>
                    <a:pt x="2052" y="1350"/>
                  </a:lnTo>
                  <a:lnTo>
                    <a:pt x="2022" y="1200"/>
                  </a:lnTo>
                  <a:lnTo>
                    <a:pt x="2052" y="1080"/>
                  </a:lnTo>
                  <a:lnTo>
                    <a:pt x="2052" y="990"/>
                  </a:lnTo>
                  <a:lnTo>
                    <a:pt x="2202" y="660"/>
                  </a:lnTo>
                  <a:lnTo>
                    <a:pt x="2172" y="570"/>
                  </a:lnTo>
                  <a:lnTo>
                    <a:pt x="2112" y="660"/>
                  </a:lnTo>
                  <a:lnTo>
                    <a:pt x="2052" y="750"/>
                  </a:lnTo>
                  <a:lnTo>
                    <a:pt x="2022" y="840"/>
                  </a:lnTo>
                  <a:lnTo>
                    <a:pt x="1872" y="1050"/>
                  </a:lnTo>
                  <a:lnTo>
                    <a:pt x="1872" y="930"/>
                  </a:lnTo>
                  <a:lnTo>
                    <a:pt x="1878" y="818"/>
                  </a:lnTo>
                  <a:lnTo>
                    <a:pt x="1942" y="714"/>
                  </a:lnTo>
                  <a:lnTo>
                    <a:pt x="1932" y="570"/>
                  </a:lnTo>
                  <a:lnTo>
                    <a:pt x="1842" y="480"/>
                  </a:lnTo>
                  <a:lnTo>
                    <a:pt x="1838" y="418"/>
                  </a:lnTo>
                  <a:lnTo>
                    <a:pt x="1692" y="300"/>
                  </a:lnTo>
                  <a:lnTo>
                    <a:pt x="1512" y="330"/>
                  </a:lnTo>
                  <a:lnTo>
                    <a:pt x="1482" y="270"/>
                  </a:lnTo>
                  <a:lnTo>
                    <a:pt x="1374" y="274"/>
                  </a:lnTo>
                  <a:lnTo>
                    <a:pt x="1230" y="266"/>
                  </a:lnTo>
                  <a:lnTo>
                    <a:pt x="1062" y="270"/>
                  </a:lnTo>
                  <a:lnTo>
                    <a:pt x="974" y="202"/>
                  </a:lnTo>
                  <a:lnTo>
                    <a:pt x="912" y="120"/>
                  </a:lnTo>
                  <a:lnTo>
                    <a:pt x="672" y="120"/>
                  </a:lnTo>
                  <a:lnTo>
                    <a:pt x="642" y="0"/>
                  </a:lnTo>
                  <a:lnTo>
                    <a:pt x="372" y="120"/>
                  </a:lnTo>
                  <a:lnTo>
                    <a:pt x="267" y="70"/>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0" name="West Virginia">
              <a:extLst>
                <a:ext uri="{FF2B5EF4-FFF2-40B4-BE49-F238E27FC236}">
                  <a16:creationId xmlns:a16="http://schemas.microsoft.com/office/drawing/2014/main" id="{A7E01B1D-35EE-4F2B-070F-DF649F2CF537}"/>
                </a:ext>
              </a:extLst>
            </p:cNvPr>
            <p:cNvSpPr>
              <a:spLocks/>
            </p:cNvSpPr>
            <p:nvPr/>
          </p:nvSpPr>
          <p:spPr bwMode="auto">
            <a:xfrm>
              <a:off x="6664130" y="2805142"/>
              <a:ext cx="550264" cy="538200"/>
            </a:xfrm>
            <a:custGeom>
              <a:avLst/>
              <a:gdLst>
                <a:gd name="T0" fmla="*/ 100 w 1790"/>
                <a:gd name="T1" fmla="*/ 5 h 1751"/>
                <a:gd name="T2" fmla="*/ 113 w 1790"/>
                <a:gd name="T3" fmla="*/ 0 h 1751"/>
                <a:gd name="T4" fmla="*/ 118 w 1790"/>
                <a:gd name="T5" fmla="*/ 52 h 1751"/>
                <a:gd name="T6" fmla="*/ 130 w 1790"/>
                <a:gd name="T7" fmla="*/ 72 h 1751"/>
                <a:gd name="T8" fmla="*/ 166 w 1790"/>
                <a:gd name="T9" fmla="*/ 65 h 1751"/>
                <a:gd name="T10" fmla="*/ 187 w 1790"/>
                <a:gd name="T11" fmla="*/ 49 h 1751"/>
                <a:gd name="T12" fmla="*/ 204 w 1790"/>
                <a:gd name="T13" fmla="*/ 49 h 1751"/>
                <a:gd name="T14" fmla="*/ 209 w 1790"/>
                <a:gd name="T15" fmla="*/ 78 h 1751"/>
                <a:gd name="T16" fmla="*/ 221 w 1790"/>
                <a:gd name="T17" fmla="*/ 78 h 1751"/>
                <a:gd name="T18" fmla="*/ 239 w 1790"/>
                <a:gd name="T19" fmla="*/ 58 h 1751"/>
                <a:gd name="T20" fmla="*/ 259 w 1790"/>
                <a:gd name="T21" fmla="*/ 46 h 1751"/>
                <a:gd name="T22" fmla="*/ 280 w 1790"/>
                <a:gd name="T23" fmla="*/ 42 h 1751"/>
                <a:gd name="T24" fmla="*/ 289 w 1790"/>
                <a:gd name="T25" fmla="*/ 27 h 1751"/>
                <a:gd name="T26" fmla="*/ 302 w 1790"/>
                <a:gd name="T27" fmla="*/ 21 h 1751"/>
                <a:gd name="T28" fmla="*/ 318 w 1790"/>
                <a:gd name="T29" fmla="*/ 32 h 1751"/>
                <a:gd name="T30" fmla="*/ 339 w 1790"/>
                <a:gd name="T31" fmla="*/ 40 h 1751"/>
                <a:gd name="T32" fmla="*/ 321 w 1790"/>
                <a:gd name="T33" fmla="*/ 61 h 1751"/>
                <a:gd name="T34" fmla="*/ 295 w 1790"/>
                <a:gd name="T35" fmla="*/ 62 h 1751"/>
                <a:gd name="T36" fmla="*/ 287 w 1790"/>
                <a:gd name="T37" fmla="*/ 74 h 1751"/>
                <a:gd name="T38" fmla="*/ 279 w 1790"/>
                <a:gd name="T39" fmla="*/ 100 h 1751"/>
                <a:gd name="T40" fmla="*/ 225 w 1790"/>
                <a:gd name="T41" fmla="*/ 188 h 1751"/>
                <a:gd name="T42" fmla="*/ 203 w 1790"/>
                <a:gd name="T43" fmla="*/ 206 h 1751"/>
                <a:gd name="T44" fmla="*/ 187 w 1790"/>
                <a:gd name="T45" fmla="*/ 245 h 1751"/>
                <a:gd name="T46" fmla="*/ 191 w 1790"/>
                <a:gd name="T47" fmla="*/ 268 h 1751"/>
                <a:gd name="T48" fmla="*/ 185 w 1790"/>
                <a:gd name="T49" fmla="*/ 286 h 1751"/>
                <a:gd name="T50" fmla="*/ 149 w 1790"/>
                <a:gd name="T51" fmla="*/ 303 h 1751"/>
                <a:gd name="T52" fmla="*/ 121 w 1790"/>
                <a:gd name="T53" fmla="*/ 317 h 1751"/>
                <a:gd name="T54" fmla="*/ 106 w 1790"/>
                <a:gd name="T55" fmla="*/ 332 h 1751"/>
                <a:gd name="T56" fmla="*/ 92 w 1790"/>
                <a:gd name="T57" fmla="*/ 327 h 1751"/>
                <a:gd name="T58" fmla="*/ 80 w 1790"/>
                <a:gd name="T59" fmla="*/ 312 h 1751"/>
                <a:gd name="T60" fmla="*/ 59 w 1790"/>
                <a:gd name="T61" fmla="*/ 314 h 1751"/>
                <a:gd name="T62" fmla="*/ 35 w 1790"/>
                <a:gd name="T63" fmla="*/ 296 h 1751"/>
                <a:gd name="T64" fmla="*/ 15 w 1790"/>
                <a:gd name="T65" fmla="*/ 279 h 1751"/>
                <a:gd name="T66" fmla="*/ 11 w 1790"/>
                <a:gd name="T67" fmla="*/ 245 h 1751"/>
                <a:gd name="T68" fmla="*/ 0 w 1790"/>
                <a:gd name="T69" fmla="*/ 233 h 1751"/>
                <a:gd name="T70" fmla="*/ 23 w 1790"/>
                <a:gd name="T71" fmla="*/ 210 h 1751"/>
                <a:gd name="T72" fmla="*/ 28 w 1790"/>
                <a:gd name="T73" fmla="*/ 191 h 1751"/>
                <a:gd name="T74" fmla="*/ 28 w 1790"/>
                <a:gd name="T75" fmla="*/ 165 h 1751"/>
                <a:gd name="T76" fmla="*/ 47 w 1790"/>
                <a:gd name="T77" fmla="*/ 168 h 1751"/>
                <a:gd name="T78" fmla="*/ 54 w 1790"/>
                <a:gd name="T79" fmla="*/ 150 h 1751"/>
                <a:gd name="T80" fmla="*/ 52 w 1790"/>
                <a:gd name="T81" fmla="*/ 131 h 1751"/>
                <a:gd name="T82" fmla="*/ 71 w 1790"/>
                <a:gd name="T83" fmla="*/ 117 h 1751"/>
                <a:gd name="T84" fmla="*/ 91 w 1790"/>
                <a:gd name="T85" fmla="*/ 90 h 1751"/>
                <a:gd name="T86" fmla="*/ 103 w 1790"/>
                <a:gd name="T87" fmla="*/ 56 h 1751"/>
                <a:gd name="T88" fmla="*/ 100 w 1790"/>
                <a:gd name="T89" fmla="*/ 5 h 17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90" h="1751">
                  <a:moveTo>
                    <a:pt x="527" y="24"/>
                  </a:moveTo>
                  <a:lnTo>
                    <a:pt x="599" y="0"/>
                  </a:lnTo>
                  <a:lnTo>
                    <a:pt x="623" y="272"/>
                  </a:lnTo>
                  <a:lnTo>
                    <a:pt x="686" y="380"/>
                  </a:lnTo>
                  <a:lnTo>
                    <a:pt x="879" y="344"/>
                  </a:lnTo>
                  <a:lnTo>
                    <a:pt x="986" y="260"/>
                  </a:lnTo>
                  <a:lnTo>
                    <a:pt x="1076" y="260"/>
                  </a:lnTo>
                  <a:lnTo>
                    <a:pt x="1106" y="410"/>
                  </a:lnTo>
                  <a:lnTo>
                    <a:pt x="1166" y="410"/>
                  </a:lnTo>
                  <a:lnTo>
                    <a:pt x="1262" y="304"/>
                  </a:lnTo>
                  <a:lnTo>
                    <a:pt x="1366" y="240"/>
                  </a:lnTo>
                  <a:lnTo>
                    <a:pt x="1478" y="224"/>
                  </a:lnTo>
                  <a:lnTo>
                    <a:pt x="1526" y="140"/>
                  </a:lnTo>
                  <a:lnTo>
                    <a:pt x="1595" y="113"/>
                  </a:lnTo>
                  <a:lnTo>
                    <a:pt x="1678" y="168"/>
                  </a:lnTo>
                  <a:lnTo>
                    <a:pt x="1790" y="213"/>
                  </a:lnTo>
                  <a:lnTo>
                    <a:pt x="1694" y="320"/>
                  </a:lnTo>
                  <a:lnTo>
                    <a:pt x="1560" y="325"/>
                  </a:lnTo>
                  <a:lnTo>
                    <a:pt x="1513" y="391"/>
                  </a:lnTo>
                  <a:lnTo>
                    <a:pt x="1471" y="525"/>
                  </a:lnTo>
                  <a:lnTo>
                    <a:pt x="1190" y="991"/>
                  </a:lnTo>
                  <a:lnTo>
                    <a:pt x="1070" y="1087"/>
                  </a:lnTo>
                  <a:lnTo>
                    <a:pt x="987" y="1291"/>
                  </a:lnTo>
                  <a:lnTo>
                    <a:pt x="1007" y="1414"/>
                  </a:lnTo>
                  <a:lnTo>
                    <a:pt x="976" y="1510"/>
                  </a:lnTo>
                  <a:lnTo>
                    <a:pt x="786" y="1597"/>
                  </a:lnTo>
                  <a:lnTo>
                    <a:pt x="639" y="1672"/>
                  </a:lnTo>
                  <a:lnTo>
                    <a:pt x="561" y="1751"/>
                  </a:lnTo>
                  <a:lnTo>
                    <a:pt x="486" y="1726"/>
                  </a:lnTo>
                  <a:lnTo>
                    <a:pt x="423" y="1648"/>
                  </a:lnTo>
                  <a:lnTo>
                    <a:pt x="309" y="1654"/>
                  </a:lnTo>
                  <a:lnTo>
                    <a:pt x="186" y="1562"/>
                  </a:lnTo>
                  <a:lnTo>
                    <a:pt x="77" y="1471"/>
                  </a:lnTo>
                  <a:lnTo>
                    <a:pt x="56" y="1292"/>
                  </a:lnTo>
                  <a:lnTo>
                    <a:pt x="0" y="1228"/>
                  </a:lnTo>
                  <a:lnTo>
                    <a:pt x="123" y="1109"/>
                  </a:lnTo>
                  <a:lnTo>
                    <a:pt x="150" y="1007"/>
                  </a:lnTo>
                  <a:lnTo>
                    <a:pt x="150" y="872"/>
                  </a:lnTo>
                  <a:lnTo>
                    <a:pt x="248" y="886"/>
                  </a:lnTo>
                  <a:lnTo>
                    <a:pt x="287" y="792"/>
                  </a:lnTo>
                  <a:lnTo>
                    <a:pt x="273" y="690"/>
                  </a:lnTo>
                  <a:lnTo>
                    <a:pt x="374" y="615"/>
                  </a:lnTo>
                  <a:lnTo>
                    <a:pt x="483" y="476"/>
                  </a:lnTo>
                  <a:lnTo>
                    <a:pt x="543" y="294"/>
                  </a:lnTo>
                  <a:lnTo>
                    <a:pt x="527" y="24"/>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1" name="Washington DC">
              <a:extLst>
                <a:ext uri="{FF2B5EF4-FFF2-40B4-BE49-F238E27FC236}">
                  <a16:creationId xmlns:a16="http://schemas.microsoft.com/office/drawing/2014/main" id="{3B3D20AC-364B-6747-699B-B739961A38C7}"/>
                </a:ext>
              </a:extLst>
            </p:cNvPr>
            <p:cNvSpPr>
              <a:spLocks/>
            </p:cNvSpPr>
            <p:nvPr/>
          </p:nvSpPr>
          <p:spPr bwMode="auto">
            <a:xfrm>
              <a:off x="7237119" y="2868365"/>
              <a:ext cx="38956" cy="35664"/>
            </a:xfrm>
            <a:custGeom>
              <a:avLst/>
              <a:gdLst>
                <a:gd name="T0" fmla="*/ 0 w 51"/>
                <a:gd name="T1" fmla="*/ 8 h 51"/>
                <a:gd name="T2" fmla="*/ 10 w 51"/>
                <a:gd name="T3" fmla="*/ 0 h 51"/>
                <a:gd name="T4" fmla="*/ 24 w 51"/>
                <a:gd name="T5" fmla="*/ 10 h 51"/>
                <a:gd name="T6" fmla="*/ 10 w 51"/>
                <a:gd name="T7" fmla="*/ 22 h 51"/>
                <a:gd name="T8" fmla="*/ 10 w 51"/>
                <a:gd name="T9" fmla="*/ 16 h 51"/>
                <a:gd name="T10" fmla="*/ 9 w 51"/>
                <a:gd name="T11" fmla="*/ 13 h 51"/>
                <a:gd name="T12" fmla="*/ 6 w 51"/>
                <a:gd name="T13" fmla="*/ 10 h 51"/>
                <a:gd name="T14" fmla="*/ 0 w 51"/>
                <a:gd name="T15" fmla="*/ 8 h 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51">
                  <a:moveTo>
                    <a:pt x="0" y="18"/>
                  </a:moveTo>
                  <a:lnTo>
                    <a:pt x="21" y="0"/>
                  </a:lnTo>
                  <a:lnTo>
                    <a:pt x="51" y="24"/>
                  </a:lnTo>
                  <a:lnTo>
                    <a:pt x="22" y="51"/>
                  </a:lnTo>
                  <a:lnTo>
                    <a:pt x="22" y="38"/>
                  </a:lnTo>
                  <a:lnTo>
                    <a:pt x="20" y="29"/>
                  </a:lnTo>
                  <a:lnTo>
                    <a:pt x="12" y="23"/>
                  </a:lnTo>
                  <a:lnTo>
                    <a:pt x="0" y="18"/>
                  </a:lnTo>
                  <a:close/>
                </a:path>
              </a:pathLst>
            </a:custGeom>
            <a:solidFill>
              <a:schemeClr val="bg1"/>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 name="Washington">
              <a:extLst>
                <a:ext uri="{FF2B5EF4-FFF2-40B4-BE49-F238E27FC236}">
                  <a16:creationId xmlns:a16="http://schemas.microsoft.com/office/drawing/2014/main" id="{184BD1E3-F5C1-EE5D-2554-06AD871AAB93}"/>
                </a:ext>
              </a:extLst>
            </p:cNvPr>
            <p:cNvSpPr>
              <a:spLocks/>
            </p:cNvSpPr>
            <p:nvPr/>
          </p:nvSpPr>
          <p:spPr bwMode="auto">
            <a:xfrm>
              <a:off x="1953607" y="1530972"/>
              <a:ext cx="827831" cy="603043"/>
            </a:xfrm>
            <a:custGeom>
              <a:avLst/>
              <a:gdLst>
                <a:gd name="T0" fmla="*/ 17 w 2687"/>
                <a:gd name="T1" fmla="*/ 25 h 1962"/>
                <a:gd name="T2" fmla="*/ 0 w 2687"/>
                <a:gd name="T3" fmla="*/ 48 h 1962"/>
                <a:gd name="T4" fmla="*/ 11 w 2687"/>
                <a:gd name="T5" fmla="*/ 93 h 1962"/>
                <a:gd name="T6" fmla="*/ 15 w 2687"/>
                <a:gd name="T7" fmla="*/ 130 h 1962"/>
                <a:gd name="T8" fmla="*/ 6 w 2687"/>
                <a:gd name="T9" fmla="*/ 150 h 1962"/>
                <a:gd name="T10" fmla="*/ 22 w 2687"/>
                <a:gd name="T11" fmla="*/ 166 h 1962"/>
                <a:gd name="T12" fmla="*/ 6 w 2687"/>
                <a:gd name="T13" fmla="*/ 173 h 1962"/>
                <a:gd name="T14" fmla="*/ 23 w 2687"/>
                <a:gd name="T15" fmla="*/ 196 h 1962"/>
                <a:gd name="T16" fmla="*/ 0 w 2687"/>
                <a:gd name="T17" fmla="*/ 213 h 1962"/>
                <a:gd name="T18" fmla="*/ 6 w 2687"/>
                <a:gd name="T19" fmla="*/ 230 h 1962"/>
                <a:gd name="T20" fmla="*/ 28 w 2687"/>
                <a:gd name="T21" fmla="*/ 236 h 1962"/>
                <a:gd name="T22" fmla="*/ 47 w 2687"/>
                <a:gd name="T23" fmla="*/ 246 h 1962"/>
                <a:gd name="T24" fmla="*/ 63 w 2687"/>
                <a:gd name="T25" fmla="*/ 264 h 1962"/>
                <a:gd name="T26" fmla="*/ 74 w 2687"/>
                <a:gd name="T27" fmla="*/ 309 h 1962"/>
                <a:gd name="T28" fmla="*/ 106 w 2687"/>
                <a:gd name="T29" fmla="*/ 310 h 1962"/>
                <a:gd name="T30" fmla="*/ 142 w 2687"/>
                <a:gd name="T31" fmla="*/ 309 h 1962"/>
                <a:gd name="T32" fmla="*/ 171 w 2687"/>
                <a:gd name="T33" fmla="*/ 338 h 1962"/>
                <a:gd name="T34" fmla="*/ 194 w 2687"/>
                <a:gd name="T35" fmla="*/ 321 h 1962"/>
                <a:gd name="T36" fmla="*/ 233 w 2687"/>
                <a:gd name="T37" fmla="*/ 344 h 1962"/>
                <a:gd name="T38" fmla="*/ 285 w 2687"/>
                <a:gd name="T39" fmla="*/ 338 h 1962"/>
                <a:gd name="T40" fmla="*/ 302 w 2687"/>
                <a:gd name="T41" fmla="*/ 349 h 1962"/>
                <a:gd name="T42" fmla="*/ 322 w 2687"/>
                <a:gd name="T43" fmla="*/ 341 h 1962"/>
                <a:gd name="T44" fmla="*/ 352 w 2687"/>
                <a:gd name="T45" fmla="*/ 341 h 1962"/>
                <a:gd name="T46" fmla="*/ 371 w 2687"/>
                <a:gd name="T47" fmla="*/ 354 h 1962"/>
                <a:gd name="T48" fmla="*/ 427 w 2687"/>
                <a:gd name="T49" fmla="*/ 372 h 1962"/>
                <a:gd name="T50" fmla="*/ 456 w 2687"/>
                <a:gd name="T51" fmla="*/ 372 h 1962"/>
                <a:gd name="T52" fmla="*/ 456 w 2687"/>
                <a:gd name="T53" fmla="*/ 338 h 1962"/>
                <a:gd name="T54" fmla="*/ 467 w 2687"/>
                <a:gd name="T55" fmla="*/ 298 h 1962"/>
                <a:gd name="T56" fmla="*/ 478 w 2687"/>
                <a:gd name="T57" fmla="*/ 258 h 1962"/>
                <a:gd name="T58" fmla="*/ 484 w 2687"/>
                <a:gd name="T59" fmla="*/ 232 h 1962"/>
                <a:gd name="T60" fmla="*/ 482 w 2687"/>
                <a:gd name="T61" fmla="*/ 196 h 1962"/>
                <a:gd name="T62" fmla="*/ 494 w 2687"/>
                <a:gd name="T63" fmla="*/ 159 h 1962"/>
                <a:gd name="T64" fmla="*/ 501 w 2687"/>
                <a:gd name="T65" fmla="*/ 120 h 1962"/>
                <a:gd name="T66" fmla="*/ 510 w 2687"/>
                <a:gd name="T67" fmla="*/ 102 h 1962"/>
                <a:gd name="T68" fmla="*/ 439 w 2687"/>
                <a:gd name="T69" fmla="*/ 78 h 1962"/>
                <a:gd name="T70" fmla="*/ 389 w 2687"/>
                <a:gd name="T71" fmla="*/ 66 h 1962"/>
                <a:gd name="T72" fmla="*/ 321 w 2687"/>
                <a:gd name="T73" fmla="*/ 54 h 1962"/>
                <a:gd name="T74" fmla="*/ 234 w 2687"/>
                <a:gd name="T75" fmla="*/ 35 h 1962"/>
                <a:gd name="T76" fmla="*/ 137 w 2687"/>
                <a:gd name="T77" fmla="*/ 0 h 1962"/>
                <a:gd name="T78" fmla="*/ 144 w 2687"/>
                <a:gd name="T79" fmla="*/ 26 h 1962"/>
                <a:gd name="T80" fmla="*/ 165 w 2687"/>
                <a:gd name="T81" fmla="*/ 42 h 1962"/>
                <a:gd name="T82" fmla="*/ 142 w 2687"/>
                <a:gd name="T83" fmla="*/ 53 h 1962"/>
                <a:gd name="T84" fmla="*/ 159 w 2687"/>
                <a:gd name="T85" fmla="*/ 71 h 1962"/>
                <a:gd name="T86" fmla="*/ 154 w 2687"/>
                <a:gd name="T87" fmla="*/ 116 h 1962"/>
                <a:gd name="T88" fmla="*/ 137 w 2687"/>
                <a:gd name="T89" fmla="*/ 162 h 1962"/>
                <a:gd name="T90" fmla="*/ 108 w 2687"/>
                <a:gd name="T91" fmla="*/ 179 h 1962"/>
                <a:gd name="T92" fmla="*/ 120 w 2687"/>
                <a:gd name="T93" fmla="*/ 156 h 1962"/>
                <a:gd name="T94" fmla="*/ 125 w 2687"/>
                <a:gd name="T95" fmla="*/ 156 h 1962"/>
                <a:gd name="T96" fmla="*/ 125 w 2687"/>
                <a:gd name="T97" fmla="*/ 110 h 1962"/>
                <a:gd name="T98" fmla="*/ 114 w 2687"/>
                <a:gd name="T99" fmla="*/ 105 h 1962"/>
                <a:gd name="T100" fmla="*/ 125 w 2687"/>
                <a:gd name="T101" fmla="*/ 93 h 1962"/>
                <a:gd name="T102" fmla="*/ 104 w 2687"/>
                <a:gd name="T103" fmla="*/ 73 h 1962"/>
                <a:gd name="T104" fmla="*/ 80 w 2687"/>
                <a:gd name="T105" fmla="*/ 62 h 1962"/>
                <a:gd name="T106" fmla="*/ 54 w 2687"/>
                <a:gd name="T107" fmla="*/ 50 h 1962"/>
                <a:gd name="T108" fmla="*/ 17 w 2687"/>
                <a:gd name="T109" fmla="*/ 25 h 19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87" h="1962">
                  <a:moveTo>
                    <a:pt x="90" y="132"/>
                  </a:moveTo>
                  <a:lnTo>
                    <a:pt x="0" y="252"/>
                  </a:lnTo>
                  <a:lnTo>
                    <a:pt x="60" y="492"/>
                  </a:lnTo>
                  <a:lnTo>
                    <a:pt x="81" y="686"/>
                  </a:lnTo>
                  <a:lnTo>
                    <a:pt x="30" y="792"/>
                  </a:lnTo>
                  <a:lnTo>
                    <a:pt x="118" y="878"/>
                  </a:lnTo>
                  <a:lnTo>
                    <a:pt x="30" y="912"/>
                  </a:lnTo>
                  <a:lnTo>
                    <a:pt x="120" y="1032"/>
                  </a:lnTo>
                  <a:lnTo>
                    <a:pt x="0" y="1122"/>
                  </a:lnTo>
                  <a:lnTo>
                    <a:pt x="30" y="1212"/>
                  </a:lnTo>
                  <a:lnTo>
                    <a:pt x="145" y="1243"/>
                  </a:lnTo>
                  <a:lnTo>
                    <a:pt x="246" y="1298"/>
                  </a:lnTo>
                  <a:lnTo>
                    <a:pt x="330" y="1392"/>
                  </a:lnTo>
                  <a:lnTo>
                    <a:pt x="390" y="1632"/>
                  </a:lnTo>
                  <a:lnTo>
                    <a:pt x="556" y="1637"/>
                  </a:lnTo>
                  <a:lnTo>
                    <a:pt x="750" y="1632"/>
                  </a:lnTo>
                  <a:lnTo>
                    <a:pt x="900" y="1782"/>
                  </a:lnTo>
                  <a:lnTo>
                    <a:pt x="1020" y="1692"/>
                  </a:lnTo>
                  <a:lnTo>
                    <a:pt x="1230" y="1812"/>
                  </a:lnTo>
                  <a:lnTo>
                    <a:pt x="1501" y="1782"/>
                  </a:lnTo>
                  <a:lnTo>
                    <a:pt x="1591" y="1842"/>
                  </a:lnTo>
                  <a:lnTo>
                    <a:pt x="1699" y="1801"/>
                  </a:lnTo>
                  <a:lnTo>
                    <a:pt x="1855" y="1801"/>
                  </a:lnTo>
                  <a:lnTo>
                    <a:pt x="1955" y="1865"/>
                  </a:lnTo>
                  <a:lnTo>
                    <a:pt x="2251" y="1962"/>
                  </a:lnTo>
                  <a:lnTo>
                    <a:pt x="2401" y="1962"/>
                  </a:lnTo>
                  <a:lnTo>
                    <a:pt x="2401" y="1782"/>
                  </a:lnTo>
                  <a:lnTo>
                    <a:pt x="2461" y="1572"/>
                  </a:lnTo>
                  <a:lnTo>
                    <a:pt x="2521" y="1362"/>
                  </a:lnTo>
                  <a:lnTo>
                    <a:pt x="2550" y="1225"/>
                  </a:lnTo>
                  <a:lnTo>
                    <a:pt x="2540" y="1033"/>
                  </a:lnTo>
                  <a:lnTo>
                    <a:pt x="2604" y="841"/>
                  </a:lnTo>
                  <a:lnTo>
                    <a:pt x="2641" y="631"/>
                  </a:lnTo>
                  <a:lnTo>
                    <a:pt x="2687" y="539"/>
                  </a:lnTo>
                  <a:lnTo>
                    <a:pt x="2312" y="411"/>
                  </a:lnTo>
                  <a:lnTo>
                    <a:pt x="2047" y="347"/>
                  </a:lnTo>
                  <a:lnTo>
                    <a:pt x="1690" y="283"/>
                  </a:lnTo>
                  <a:lnTo>
                    <a:pt x="1233" y="183"/>
                  </a:lnTo>
                  <a:lnTo>
                    <a:pt x="721" y="0"/>
                  </a:lnTo>
                  <a:lnTo>
                    <a:pt x="758" y="137"/>
                  </a:lnTo>
                  <a:lnTo>
                    <a:pt x="870" y="222"/>
                  </a:lnTo>
                  <a:lnTo>
                    <a:pt x="750" y="282"/>
                  </a:lnTo>
                  <a:lnTo>
                    <a:pt x="840" y="372"/>
                  </a:lnTo>
                  <a:lnTo>
                    <a:pt x="810" y="612"/>
                  </a:lnTo>
                  <a:lnTo>
                    <a:pt x="720" y="852"/>
                  </a:lnTo>
                  <a:lnTo>
                    <a:pt x="570" y="942"/>
                  </a:lnTo>
                  <a:lnTo>
                    <a:pt x="630" y="822"/>
                  </a:lnTo>
                  <a:lnTo>
                    <a:pt x="660" y="822"/>
                  </a:lnTo>
                  <a:lnTo>
                    <a:pt x="660" y="582"/>
                  </a:lnTo>
                  <a:lnTo>
                    <a:pt x="600" y="552"/>
                  </a:lnTo>
                  <a:lnTo>
                    <a:pt x="660" y="492"/>
                  </a:lnTo>
                  <a:lnTo>
                    <a:pt x="547" y="384"/>
                  </a:lnTo>
                  <a:lnTo>
                    <a:pt x="419" y="329"/>
                  </a:lnTo>
                  <a:lnTo>
                    <a:pt x="282" y="265"/>
                  </a:lnTo>
                  <a:lnTo>
                    <a:pt x="90" y="132"/>
                  </a:lnTo>
                  <a:close/>
                </a:path>
              </a:pathLst>
            </a:custGeom>
            <a:solidFill>
              <a:schemeClr val="accent3">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3" name="Virgina">
              <a:extLst>
                <a:ext uri="{FF2B5EF4-FFF2-40B4-BE49-F238E27FC236}">
                  <a16:creationId xmlns:a16="http://schemas.microsoft.com/office/drawing/2014/main" id="{F814206F-9AF8-DDC3-5D4B-D86196214EF5}"/>
                </a:ext>
              </a:extLst>
            </p:cNvPr>
            <p:cNvSpPr>
              <a:spLocks/>
            </p:cNvSpPr>
            <p:nvPr/>
          </p:nvSpPr>
          <p:spPr bwMode="auto">
            <a:xfrm>
              <a:off x="6703086" y="2869987"/>
              <a:ext cx="809976" cy="594938"/>
            </a:xfrm>
            <a:custGeom>
              <a:avLst/>
              <a:gdLst>
                <a:gd name="T0" fmla="*/ 10 w 2495"/>
                <a:gd name="T1" fmla="*/ 256 h 1836"/>
                <a:gd name="T2" fmla="*/ 35 w 2495"/>
                <a:gd name="T3" fmla="*/ 274 h 1836"/>
                <a:gd name="T4" fmla="*/ 55 w 2495"/>
                <a:gd name="T5" fmla="*/ 272 h 1836"/>
                <a:gd name="T6" fmla="*/ 68 w 2495"/>
                <a:gd name="T7" fmla="*/ 288 h 1836"/>
                <a:gd name="T8" fmla="*/ 82 w 2495"/>
                <a:gd name="T9" fmla="*/ 292 h 1836"/>
                <a:gd name="T10" fmla="*/ 97 w 2495"/>
                <a:gd name="T11" fmla="*/ 277 h 1836"/>
                <a:gd name="T12" fmla="*/ 127 w 2495"/>
                <a:gd name="T13" fmla="*/ 262 h 1836"/>
                <a:gd name="T14" fmla="*/ 161 w 2495"/>
                <a:gd name="T15" fmla="*/ 247 h 1836"/>
                <a:gd name="T16" fmla="*/ 167 w 2495"/>
                <a:gd name="T17" fmla="*/ 228 h 1836"/>
                <a:gd name="T18" fmla="*/ 162 w 2495"/>
                <a:gd name="T19" fmla="*/ 205 h 1836"/>
                <a:gd name="T20" fmla="*/ 179 w 2495"/>
                <a:gd name="T21" fmla="*/ 166 h 1836"/>
                <a:gd name="T22" fmla="*/ 202 w 2495"/>
                <a:gd name="T23" fmla="*/ 148 h 1836"/>
                <a:gd name="T24" fmla="*/ 229 w 2495"/>
                <a:gd name="T25" fmla="*/ 102 h 1836"/>
                <a:gd name="T26" fmla="*/ 255 w 2495"/>
                <a:gd name="T27" fmla="*/ 60 h 1836"/>
                <a:gd name="T28" fmla="*/ 262 w 2495"/>
                <a:gd name="T29" fmla="*/ 34 h 1836"/>
                <a:gd name="T30" fmla="*/ 272 w 2495"/>
                <a:gd name="T31" fmla="*/ 22 h 1836"/>
                <a:gd name="T32" fmla="*/ 297 w 2495"/>
                <a:gd name="T33" fmla="*/ 20 h 1836"/>
                <a:gd name="T34" fmla="*/ 315 w 2495"/>
                <a:gd name="T35" fmla="*/ 0 h 1836"/>
                <a:gd name="T36" fmla="*/ 339 w 2495"/>
                <a:gd name="T37" fmla="*/ 11 h 1836"/>
                <a:gd name="T38" fmla="*/ 340 w 2495"/>
                <a:gd name="T39" fmla="*/ 16 h 1836"/>
                <a:gd name="T40" fmla="*/ 340 w 2495"/>
                <a:gd name="T41" fmla="*/ 21 h 1836"/>
                <a:gd name="T42" fmla="*/ 338 w 2495"/>
                <a:gd name="T43" fmla="*/ 37 h 1836"/>
                <a:gd name="T44" fmla="*/ 350 w 2495"/>
                <a:gd name="T45" fmla="*/ 57 h 1836"/>
                <a:gd name="T46" fmla="*/ 407 w 2495"/>
                <a:gd name="T47" fmla="*/ 91 h 1836"/>
                <a:gd name="T48" fmla="*/ 431 w 2495"/>
                <a:gd name="T49" fmla="*/ 87 h 1836"/>
                <a:gd name="T50" fmla="*/ 452 w 2495"/>
                <a:gd name="T51" fmla="*/ 108 h 1836"/>
                <a:gd name="T52" fmla="*/ 447 w 2495"/>
                <a:gd name="T53" fmla="*/ 119 h 1836"/>
                <a:gd name="T54" fmla="*/ 424 w 2495"/>
                <a:gd name="T55" fmla="*/ 108 h 1836"/>
                <a:gd name="T56" fmla="*/ 418 w 2495"/>
                <a:gd name="T57" fmla="*/ 131 h 1836"/>
                <a:gd name="T58" fmla="*/ 458 w 2495"/>
                <a:gd name="T59" fmla="*/ 142 h 1836"/>
                <a:gd name="T60" fmla="*/ 464 w 2495"/>
                <a:gd name="T61" fmla="*/ 171 h 1836"/>
                <a:gd name="T62" fmla="*/ 447 w 2495"/>
                <a:gd name="T63" fmla="*/ 188 h 1836"/>
                <a:gd name="T64" fmla="*/ 482 w 2495"/>
                <a:gd name="T65" fmla="*/ 193 h 1836"/>
                <a:gd name="T66" fmla="*/ 499 w 2495"/>
                <a:gd name="T67" fmla="*/ 193 h 1836"/>
                <a:gd name="T68" fmla="*/ 493 w 2495"/>
                <a:gd name="T69" fmla="*/ 217 h 1836"/>
                <a:gd name="T70" fmla="*/ 457 w 2495"/>
                <a:gd name="T71" fmla="*/ 234 h 1836"/>
                <a:gd name="T72" fmla="*/ 414 w 2495"/>
                <a:gd name="T73" fmla="*/ 240 h 1836"/>
                <a:gd name="T74" fmla="*/ 255 w 2495"/>
                <a:gd name="T75" fmla="*/ 287 h 1836"/>
                <a:gd name="T76" fmla="*/ 181 w 2495"/>
                <a:gd name="T77" fmla="*/ 318 h 1836"/>
                <a:gd name="T78" fmla="*/ 80 w 2495"/>
                <a:gd name="T79" fmla="*/ 346 h 1836"/>
                <a:gd name="T80" fmla="*/ 54 w 2495"/>
                <a:gd name="T81" fmla="*/ 359 h 1836"/>
                <a:gd name="T82" fmla="*/ 7 w 2495"/>
                <a:gd name="T83" fmla="*/ 367 h 1836"/>
                <a:gd name="T84" fmla="*/ 11 w 2495"/>
                <a:gd name="T85" fmla="*/ 350 h 1836"/>
                <a:gd name="T86" fmla="*/ 0 w 2495"/>
                <a:gd name="T87" fmla="*/ 324 h 1836"/>
                <a:gd name="T88" fmla="*/ 12 w 2495"/>
                <a:gd name="T89" fmla="*/ 303 h 1836"/>
                <a:gd name="T90" fmla="*/ 13 w 2495"/>
                <a:gd name="T91" fmla="*/ 280 h 1836"/>
                <a:gd name="T92" fmla="*/ 10 w 2495"/>
                <a:gd name="T93" fmla="*/ 256 h 18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5" h="1836">
                  <a:moveTo>
                    <a:pt x="51" y="1279"/>
                  </a:moveTo>
                  <a:lnTo>
                    <a:pt x="175" y="1371"/>
                  </a:lnTo>
                  <a:lnTo>
                    <a:pt x="277" y="1363"/>
                  </a:lnTo>
                  <a:lnTo>
                    <a:pt x="339" y="1440"/>
                  </a:lnTo>
                  <a:lnTo>
                    <a:pt x="411" y="1462"/>
                  </a:lnTo>
                  <a:lnTo>
                    <a:pt x="486" y="1386"/>
                  </a:lnTo>
                  <a:lnTo>
                    <a:pt x="637" y="1310"/>
                  </a:lnTo>
                  <a:lnTo>
                    <a:pt x="804" y="1234"/>
                  </a:lnTo>
                  <a:lnTo>
                    <a:pt x="835" y="1143"/>
                  </a:lnTo>
                  <a:lnTo>
                    <a:pt x="811" y="1026"/>
                  </a:lnTo>
                  <a:lnTo>
                    <a:pt x="895" y="831"/>
                  </a:lnTo>
                  <a:lnTo>
                    <a:pt x="1010" y="740"/>
                  </a:lnTo>
                  <a:lnTo>
                    <a:pt x="1146" y="512"/>
                  </a:lnTo>
                  <a:lnTo>
                    <a:pt x="1275" y="299"/>
                  </a:lnTo>
                  <a:lnTo>
                    <a:pt x="1312" y="170"/>
                  </a:lnTo>
                  <a:lnTo>
                    <a:pt x="1358" y="109"/>
                  </a:lnTo>
                  <a:lnTo>
                    <a:pt x="1487" y="102"/>
                  </a:lnTo>
                  <a:lnTo>
                    <a:pt x="1574" y="0"/>
                  </a:lnTo>
                  <a:lnTo>
                    <a:pt x="1694" y="56"/>
                  </a:lnTo>
                  <a:lnTo>
                    <a:pt x="1698" y="78"/>
                  </a:lnTo>
                  <a:lnTo>
                    <a:pt x="1698" y="106"/>
                  </a:lnTo>
                  <a:lnTo>
                    <a:pt x="1692" y="185"/>
                  </a:lnTo>
                  <a:lnTo>
                    <a:pt x="1751" y="284"/>
                  </a:lnTo>
                  <a:lnTo>
                    <a:pt x="2034" y="455"/>
                  </a:lnTo>
                  <a:lnTo>
                    <a:pt x="2154" y="436"/>
                  </a:lnTo>
                  <a:lnTo>
                    <a:pt x="2262" y="540"/>
                  </a:lnTo>
                  <a:lnTo>
                    <a:pt x="2233" y="597"/>
                  </a:lnTo>
                  <a:lnTo>
                    <a:pt x="2119" y="540"/>
                  </a:lnTo>
                  <a:lnTo>
                    <a:pt x="2091" y="654"/>
                  </a:lnTo>
                  <a:lnTo>
                    <a:pt x="2290" y="711"/>
                  </a:lnTo>
                  <a:lnTo>
                    <a:pt x="2319" y="853"/>
                  </a:lnTo>
                  <a:lnTo>
                    <a:pt x="2233" y="940"/>
                  </a:lnTo>
                  <a:lnTo>
                    <a:pt x="2412" y="968"/>
                  </a:lnTo>
                  <a:lnTo>
                    <a:pt x="2495" y="968"/>
                  </a:lnTo>
                  <a:lnTo>
                    <a:pt x="2467" y="1088"/>
                  </a:lnTo>
                  <a:lnTo>
                    <a:pt x="2285" y="1173"/>
                  </a:lnTo>
                  <a:lnTo>
                    <a:pt x="2072" y="1199"/>
                  </a:lnTo>
                  <a:lnTo>
                    <a:pt x="1273" y="1436"/>
                  </a:lnTo>
                  <a:lnTo>
                    <a:pt x="904" y="1593"/>
                  </a:lnTo>
                  <a:lnTo>
                    <a:pt x="402" y="1733"/>
                  </a:lnTo>
                  <a:lnTo>
                    <a:pt x="268" y="1794"/>
                  </a:lnTo>
                  <a:lnTo>
                    <a:pt x="34" y="1836"/>
                  </a:lnTo>
                  <a:lnTo>
                    <a:pt x="54" y="1753"/>
                  </a:lnTo>
                  <a:lnTo>
                    <a:pt x="0" y="1620"/>
                  </a:lnTo>
                  <a:lnTo>
                    <a:pt x="58" y="1517"/>
                  </a:lnTo>
                  <a:lnTo>
                    <a:pt x="66" y="1400"/>
                  </a:lnTo>
                  <a:lnTo>
                    <a:pt x="51" y="1279"/>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4" name="Vermont">
              <a:extLst>
                <a:ext uri="{FF2B5EF4-FFF2-40B4-BE49-F238E27FC236}">
                  <a16:creationId xmlns:a16="http://schemas.microsoft.com/office/drawing/2014/main" id="{5176EE7D-7986-07BF-8561-57246DC4791F}"/>
                </a:ext>
              </a:extLst>
            </p:cNvPr>
            <p:cNvSpPr>
              <a:spLocks/>
            </p:cNvSpPr>
            <p:nvPr/>
          </p:nvSpPr>
          <p:spPr bwMode="auto">
            <a:xfrm>
              <a:off x="7404309" y="1798450"/>
              <a:ext cx="227248" cy="403649"/>
            </a:xfrm>
            <a:custGeom>
              <a:avLst/>
              <a:gdLst>
                <a:gd name="T0" fmla="*/ 0 w 734"/>
                <a:gd name="T1" fmla="*/ 48 h 1311"/>
                <a:gd name="T2" fmla="*/ 68 w 734"/>
                <a:gd name="T3" fmla="*/ 27 h 1311"/>
                <a:gd name="T4" fmla="*/ 106 w 734"/>
                <a:gd name="T5" fmla="*/ 4 h 1311"/>
                <a:gd name="T6" fmla="*/ 124 w 734"/>
                <a:gd name="T7" fmla="*/ 0 h 1311"/>
                <a:gd name="T8" fmla="*/ 136 w 734"/>
                <a:gd name="T9" fmla="*/ 34 h 1311"/>
                <a:gd name="T10" fmla="*/ 140 w 734"/>
                <a:gd name="T11" fmla="*/ 56 h 1311"/>
                <a:gd name="T12" fmla="*/ 124 w 734"/>
                <a:gd name="T13" fmla="*/ 80 h 1311"/>
                <a:gd name="T14" fmla="*/ 122 w 734"/>
                <a:gd name="T15" fmla="*/ 126 h 1311"/>
                <a:gd name="T16" fmla="*/ 124 w 734"/>
                <a:gd name="T17" fmla="*/ 154 h 1311"/>
                <a:gd name="T18" fmla="*/ 126 w 734"/>
                <a:gd name="T19" fmla="*/ 182 h 1311"/>
                <a:gd name="T20" fmla="*/ 134 w 734"/>
                <a:gd name="T21" fmla="*/ 217 h 1311"/>
                <a:gd name="T22" fmla="*/ 140 w 734"/>
                <a:gd name="T23" fmla="*/ 231 h 1311"/>
                <a:gd name="T24" fmla="*/ 87 w 734"/>
                <a:gd name="T25" fmla="*/ 249 h 1311"/>
                <a:gd name="T26" fmla="*/ 77 w 734"/>
                <a:gd name="T27" fmla="*/ 219 h 1311"/>
                <a:gd name="T28" fmla="*/ 71 w 734"/>
                <a:gd name="T29" fmla="*/ 181 h 1311"/>
                <a:gd name="T30" fmla="*/ 34 w 734"/>
                <a:gd name="T31" fmla="*/ 121 h 1311"/>
                <a:gd name="T32" fmla="*/ 23 w 734"/>
                <a:gd name="T33" fmla="*/ 78 h 1311"/>
                <a:gd name="T34" fmla="*/ 16 w 734"/>
                <a:gd name="T35" fmla="*/ 60 h 1311"/>
                <a:gd name="T36" fmla="*/ 0 w 734"/>
                <a:gd name="T37" fmla="*/ 48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4" h="1311">
                  <a:moveTo>
                    <a:pt x="0" y="255"/>
                  </a:moveTo>
                  <a:lnTo>
                    <a:pt x="358" y="143"/>
                  </a:lnTo>
                  <a:lnTo>
                    <a:pt x="558" y="23"/>
                  </a:lnTo>
                  <a:lnTo>
                    <a:pt x="651" y="0"/>
                  </a:lnTo>
                  <a:lnTo>
                    <a:pt x="711" y="180"/>
                  </a:lnTo>
                  <a:lnTo>
                    <a:pt x="734" y="295"/>
                  </a:lnTo>
                  <a:lnTo>
                    <a:pt x="651" y="420"/>
                  </a:lnTo>
                  <a:lnTo>
                    <a:pt x="638" y="663"/>
                  </a:lnTo>
                  <a:lnTo>
                    <a:pt x="651" y="810"/>
                  </a:lnTo>
                  <a:lnTo>
                    <a:pt x="662" y="959"/>
                  </a:lnTo>
                  <a:lnTo>
                    <a:pt x="702" y="1143"/>
                  </a:lnTo>
                  <a:lnTo>
                    <a:pt x="734" y="1215"/>
                  </a:lnTo>
                  <a:lnTo>
                    <a:pt x="454" y="1311"/>
                  </a:lnTo>
                  <a:lnTo>
                    <a:pt x="406" y="1155"/>
                  </a:lnTo>
                  <a:lnTo>
                    <a:pt x="374" y="953"/>
                  </a:lnTo>
                  <a:lnTo>
                    <a:pt x="180" y="639"/>
                  </a:lnTo>
                  <a:lnTo>
                    <a:pt x="122" y="409"/>
                  </a:lnTo>
                  <a:lnTo>
                    <a:pt x="82" y="315"/>
                  </a:lnTo>
                  <a:lnTo>
                    <a:pt x="0" y="255"/>
                  </a:lnTo>
                  <a:close/>
                </a:path>
              </a:pathLst>
            </a:custGeom>
            <a:solidFill>
              <a:schemeClr val="accent3">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5" name="Utah">
              <a:extLst>
                <a:ext uri="{FF2B5EF4-FFF2-40B4-BE49-F238E27FC236}">
                  <a16:creationId xmlns:a16="http://schemas.microsoft.com/office/drawing/2014/main" id="{106E6C6B-2EE1-3234-2C91-597A385ADCDE}"/>
                </a:ext>
              </a:extLst>
            </p:cNvPr>
            <p:cNvSpPr>
              <a:spLocks/>
            </p:cNvSpPr>
            <p:nvPr/>
          </p:nvSpPr>
          <p:spPr bwMode="auto">
            <a:xfrm>
              <a:off x="2802540" y="2792174"/>
              <a:ext cx="693106" cy="864038"/>
            </a:xfrm>
            <a:custGeom>
              <a:avLst/>
              <a:gdLst>
                <a:gd name="T0" fmla="*/ 71 w 2254"/>
                <a:gd name="T1" fmla="*/ 0 h 2808"/>
                <a:gd name="T2" fmla="*/ 181 w 2254"/>
                <a:gd name="T3" fmla="*/ 16 h 2808"/>
                <a:gd name="T4" fmla="*/ 279 w 2254"/>
                <a:gd name="T5" fmla="*/ 42 h 2808"/>
                <a:gd name="T6" fmla="*/ 273 w 2254"/>
                <a:gd name="T7" fmla="*/ 81 h 2808"/>
                <a:gd name="T8" fmla="*/ 270 w 2254"/>
                <a:gd name="T9" fmla="*/ 133 h 2808"/>
                <a:gd name="T10" fmla="*/ 365 w 2254"/>
                <a:gd name="T11" fmla="*/ 139 h 2808"/>
                <a:gd name="T12" fmla="*/ 427 w 2254"/>
                <a:gd name="T13" fmla="*/ 146 h 2808"/>
                <a:gd name="T14" fmla="*/ 405 w 2254"/>
                <a:gd name="T15" fmla="*/ 284 h 2808"/>
                <a:gd name="T16" fmla="*/ 383 w 2254"/>
                <a:gd name="T17" fmla="*/ 533 h 2808"/>
                <a:gd name="T18" fmla="*/ 0 w 2254"/>
                <a:gd name="T19" fmla="*/ 476 h 2808"/>
                <a:gd name="T20" fmla="*/ 11 w 2254"/>
                <a:gd name="T21" fmla="*/ 386 h 2808"/>
                <a:gd name="T22" fmla="*/ 36 w 2254"/>
                <a:gd name="T23" fmla="*/ 231 h 2808"/>
                <a:gd name="T24" fmla="*/ 44 w 2254"/>
                <a:gd name="T25" fmla="*/ 159 h 2808"/>
                <a:gd name="T26" fmla="*/ 50 w 2254"/>
                <a:gd name="T27" fmla="*/ 95 h 2808"/>
                <a:gd name="T28" fmla="*/ 65 w 2254"/>
                <a:gd name="T29" fmla="*/ 22 h 2808"/>
                <a:gd name="T30" fmla="*/ 71 w 2254"/>
                <a:gd name="T31" fmla="*/ 0 h 28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54" h="2808">
                  <a:moveTo>
                    <a:pt x="377" y="0"/>
                  </a:moveTo>
                  <a:lnTo>
                    <a:pt x="956" y="85"/>
                  </a:lnTo>
                  <a:lnTo>
                    <a:pt x="1472" y="220"/>
                  </a:lnTo>
                  <a:lnTo>
                    <a:pt x="1441" y="428"/>
                  </a:lnTo>
                  <a:lnTo>
                    <a:pt x="1423" y="702"/>
                  </a:lnTo>
                  <a:lnTo>
                    <a:pt x="1926" y="730"/>
                  </a:lnTo>
                  <a:lnTo>
                    <a:pt x="2254" y="767"/>
                  </a:lnTo>
                  <a:lnTo>
                    <a:pt x="2136" y="1498"/>
                  </a:lnTo>
                  <a:lnTo>
                    <a:pt x="2024" y="2808"/>
                  </a:lnTo>
                  <a:lnTo>
                    <a:pt x="0" y="2509"/>
                  </a:lnTo>
                  <a:lnTo>
                    <a:pt x="56" y="2032"/>
                  </a:lnTo>
                  <a:lnTo>
                    <a:pt x="189" y="1219"/>
                  </a:lnTo>
                  <a:lnTo>
                    <a:pt x="234" y="838"/>
                  </a:lnTo>
                  <a:lnTo>
                    <a:pt x="266" y="501"/>
                  </a:lnTo>
                  <a:lnTo>
                    <a:pt x="345" y="118"/>
                  </a:lnTo>
                  <a:lnTo>
                    <a:pt x="377" y="0"/>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16" name="Texas">
              <a:extLst>
                <a:ext uri="{FF2B5EF4-FFF2-40B4-BE49-F238E27FC236}">
                  <a16:creationId xmlns:a16="http://schemas.microsoft.com/office/drawing/2014/main" id="{F8610AD6-CC79-06FE-EF85-BA44CD3637A4}"/>
                </a:ext>
              </a:extLst>
            </p:cNvPr>
            <p:cNvSpPr>
              <a:spLocks/>
            </p:cNvSpPr>
            <p:nvPr/>
          </p:nvSpPr>
          <p:spPr bwMode="auto">
            <a:xfrm>
              <a:off x="3674198" y="3772929"/>
              <a:ext cx="1770910" cy="1655126"/>
            </a:xfrm>
            <a:custGeom>
              <a:avLst/>
              <a:gdLst>
                <a:gd name="T0" fmla="*/ 11 w 5759"/>
                <a:gd name="T1" fmla="*/ 444 h 5383"/>
                <a:gd name="T2" fmla="*/ 68 w 5759"/>
                <a:gd name="T3" fmla="*/ 494 h 5383"/>
                <a:gd name="T4" fmla="*/ 108 w 5759"/>
                <a:gd name="T5" fmla="*/ 540 h 5383"/>
                <a:gd name="T6" fmla="*/ 137 w 5759"/>
                <a:gd name="T7" fmla="*/ 574 h 5383"/>
                <a:gd name="T8" fmla="*/ 163 w 5759"/>
                <a:gd name="T9" fmla="*/ 636 h 5383"/>
                <a:gd name="T10" fmla="*/ 205 w 5759"/>
                <a:gd name="T11" fmla="*/ 693 h 5383"/>
                <a:gd name="T12" fmla="*/ 271 w 5759"/>
                <a:gd name="T13" fmla="*/ 730 h 5383"/>
                <a:gd name="T14" fmla="*/ 313 w 5759"/>
                <a:gd name="T15" fmla="*/ 710 h 5383"/>
                <a:gd name="T16" fmla="*/ 353 w 5759"/>
                <a:gd name="T17" fmla="*/ 666 h 5383"/>
                <a:gd name="T18" fmla="*/ 412 w 5759"/>
                <a:gd name="T19" fmla="*/ 661 h 5383"/>
                <a:gd name="T20" fmla="*/ 488 w 5759"/>
                <a:gd name="T21" fmla="*/ 727 h 5383"/>
                <a:gd name="T22" fmla="*/ 563 w 5759"/>
                <a:gd name="T23" fmla="*/ 841 h 5383"/>
                <a:gd name="T24" fmla="*/ 606 w 5759"/>
                <a:gd name="T25" fmla="*/ 909 h 5383"/>
                <a:gd name="T26" fmla="*/ 637 w 5759"/>
                <a:gd name="T27" fmla="*/ 983 h 5383"/>
                <a:gd name="T28" fmla="*/ 745 w 5759"/>
                <a:gd name="T29" fmla="*/ 1018 h 5383"/>
                <a:gd name="T30" fmla="*/ 811 w 5759"/>
                <a:gd name="T31" fmla="*/ 1021 h 5383"/>
                <a:gd name="T32" fmla="*/ 794 w 5759"/>
                <a:gd name="T33" fmla="*/ 979 h 5383"/>
                <a:gd name="T34" fmla="*/ 768 w 5759"/>
                <a:gd name="T35" fmla="*/ 938 h 5383"/>
                <a:gd name="T36" fmla="*/ 773 w 5759"/>
                <a:gd name="T37" fmla="*/ 892 h 5383"/>
                <a:gd name="T38" fmla="*/ 777 w 5759"/>
                <a:gd name="T39" fmla="*/ 868 h 5383"/>
                <a:gd name="T40" fmla="*/ 762 w 5759"/>
                <a:gd name="T41" fmla="*/ 830 h 5383"/>
                <a:gd name="T42" fmla="*/ 779 w 5759"/>
                <a:gd name="T43" fmla="*/ 796 h 5383"/>
                <a:gd name="T44" fmla="*/ 830 w 5759"/>
                <a:gd name="T45" fmla="*/ 762 h 5383"/>
                <a:gd name="T46" fmla="*/ 859 w 5759"/>
                <a:gd name="T47" fmla="*/ 739 h 5383"/>
                <a:gd name="T48" fmla="*/ 930 w 5759"/>
                <a:gd name="T49" fmla="*/ 725 h 5383"/>
                <a:gd name="T50" fmla="*/ 955 w 5759"/>
                <a:gd name="T51" fmla="*/ 688 h 5383"/>
                <a:gd name="T52" fmla="*/ 967 w 5759"/>
                <a:gd name="T53" fmla="*/ 636 h 5383"/>
                <a:gd name="T54" fmla="*/ 1001 w 5759"/>
                <a:gd name="T55" fmla="*/ 653 h 5383"/>
                <a:gd name="T56" fmla="*/ 1080 w 5759"/>
                <a:gd name="T57" fmla="*/ 625 h 5383"/>
                <a:gd name="T58" fmla="*/ 1075 w 5759"/>
                <a:gd name="T59" fmla="*/ 523 h 5383"/>
                <a:gd name="T60" fmla="*/ 1083 w 5759"/>
                <a:gd name="T61" fmla="*/ 469 h 5383"/>
                <a:gd name="T62" fmla="*/ 1049 w 5759"/>
                <a:gd name="T63" fmla="*/ 422 h 5383"/>
                <a:gd name="T64" fmla="*/ 1038 w 5759"/>
                <a:gd name="T65" fmla="*/ 367 h 5383"/>
                <a:gd name="T66" fmla="*/ 1038 w 5759"/>
                <a:gd name="T67" fmla="*/ 317 h 5383"/>
                <a:gd name="T68" fmla="*/ 1036 w 5759"/>
                <a:gd name="T69" fmla="*/ 277 h 5383"/>
                <a:gd name="T70" fmla="*/ 991 w 5759"/>
                <a:gd name="T71" fmla="*/ 256 h 5383"/>
                <a:gd name="T72" fmla="*/ 940 w 5759"/>
                <a:gd name="T73" fmla="*/ 233 h 5383"/>
                <a:gd name="T74" fmla="*/ 895 w 5759"/>
                <a:gd name="T75" fmla="*/ 237 h 5383"/>
                <a:gd name="T76" fmla="*/ 797 w 5759"/>
                <a:gd name="T77" fmla="*/ 248 h 5383"/>
                <a:gd name="T78" fmla="*/ 744 w 5759"/>
                <a:gd name="T79" fmla="*/ 237 h 5383"/>
                <a:gd name="T80" fmla="*/ 686 w 5759"/>
                <a:gd name="T81" fmla="*/ 217 h 5383"/>
                <a:gd name="T82" fmla="*/ 611 w 5759"/>
                <a:gd name="T83" fmla="*/ 205 h 5383"/>
                <a:gd name="T84" fmla="*/ 566 w 5759"/>
                <a:gd name="T85" fmla="*/ 191 h 5383"/>
                <a:gd name="T86" fmla="*/ 535 w 5759"/>
                <a:gd name="T87" fmla="*/ 163 h 5383"/>
                <a:gd name="T88" fmla="*/ 535 w 5759"/>
                <a:gd name="T89" fmla="*/ 118 h 5383"/>
                <a:gd name="T90" fmla="*/ 539 w 5759"/>
                <a:gd name="T91" fmla="*/ 38 h 5383"/>
                <a:gd name="T92" fmla="*/ 473 w 5759"/>
                <a:gd name="T93" fmla="*/ 0 h 5383"/>
                <a:gd name="T94" fmla="*/ 305 w 5759"/>
                <a:gd name="T95" fmla="*/ 3 h 5383"/>
                <a:gd name="T96" fmla="*/ 303 w 5759"/>
                <a:gd name="T97" fmla="*/ 433 h 53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759" h="5383">
                  <a:moveTo>
                    <a:pt x="0" y="2219"/>
                  </a:moveTo>
                  <a:lnTo>
                    <a:pt x="60" y="2339"/>
                  </a:lnTo>
                  <a:lnTo>
                    <a:pt x="199" y="2439"/>
                  </a:lnTo>
                  <a:lnTo>
                    <a:pt x="361" y="2605"/>
                  </a:lnTo>
                  <a:lnTo>
                    <a:pt x="421" y="2755"/>
                  </a:lnTo>
                  <a:lnTo>
                    <a:pt x="571" y="2845"/>
                  </a:lnTo>
                  <a:lnTo>
                    <a:pt x="661" y="2875"/>
                  </a:lnTo>
                  <a:lnTo>
                    <a:pt x="721" y="3025"/>
                  </a:lnTo>
                  <a:lnTo>
                    <a:pt x="841" y="3175"/>
                  </a:lnTo>
                  <a:lnTo>
                    <a:pt x="863" y="3351"/>
                  </a:lnTo>
                  <a:lnTo>
                    <a:pt x="951" y="3519"/>
                  </a:lnTo>
                  <a:lnTo>
                    <a:pt x="1081" y="3655"/>
                  </a:lnTo>
                  <a:lnTo>
                    <a:pt x="1261" y="3685"/>
                  </a:lnTo>
                  <a:lnTo>
                    <a:pt x="1431" y="3847"/>
                  </a:lnTo>
                  <a:lnTo>
                    <a:pt x="1535" y="3815"/>
                  </a:lnTo>
                  <a:lnTo>
                    <a:pt x="1651" y="3745"/>
                  </a:lnTo>
                  <a:lnTo>
                    <a:pt x="1681" y="3595"/>
                  </a:lnTo>
                  <a:lnTo>
                    <a:pt x="1863" y="3511"/>
                  </a:lnTo>
                  <a:lnTo>
                    <a:pt x="1981" y="3415"/>
                  </a:lnTo>
                  <a:lnTo>
                    <a:pt x="2175" y="3487"/>
                  </a:lnTo>
                  <a:lnTo>
                    <a:pt x="2319" y="3567"/>
                  </a:lnTo>
                  <a:lnTo>
                    <a:pt x="2575" y="3831"/>
                  </a:lnTo>
                  <a:lnTo>
                    <a:pt x="2735" y="4095"/>
                  </a:lnTo>
                  <a:lnTo>
                    <a:pt x="2972" y="4435"/>
                  </a:lnTo>
                  <a:lnTo>
                    <a:pt x="3122" y="4555"/>
                  </a:lnTo>
                  <a:lnTo>
                    <a:pt x="3199" y="4791"/>
                  </a:lnTo>
                  <a:lnTo>
                    <a:pt x="3327" y="5023"/>
                  </a:lnTo>
                  <a:lnTo>
                    <a:pt x="3362" y="5185"/>
                  </a:lnTo>
                  <a:lnTo>
                    <a:pt x="3631" y="5279"/>
                  </a:lnTo>
                  <a:lnTo>
                    <a:pt x="3932" y="5365"/>
                  </a:lnTo>
                  <a:lnTo>
                    <a:pt x="4119" y="5383"/>
                  </a:lnTo>
                  <a:lnTo>
                    <a:pt x="4279" y="5383"/>
                  </a:lnTo>
                  <a:lnTo>
                    <a:pt x="4207" y="5271"/>
                  </a:lnTo>
                  <a:lnTo>
                    <a:pt x="4191" y="5159"/>
                  </a:lnTo>
                  <a:lnTo>
                    <a:pt x="4119" y="5079"/>
                  </a:lnTo>
                  <a:lnTo>
                    <a:pt x="4052" y="4945"/>
                  </a:lnTo>
                  <a:lnTo>
                    <a:pt x="4079" y="4839"/>
                  </a:lnTo>
                  <a:lnTo>
                    <a:pt x="4082" y="4705"/>
                  </a:lnTo>
                  <a:lnTo>
                    <a:pt x="3975" y="4639"/>
                  </a:lnTo>
                  <a:lnTo>
                    <a:pt x="4103" y="4575"/>
                  </a:lnTo>
                  <a:lnTo>
                    <a:pt x="4112" y="4435"/>
                  </a:lnTo>
                  <a:lnTo>
                    <a:pt x="4022" y="4375"/>
                  </a:lnTo>
                  <a:lnTo>
                    <a:pt x="4202" y="4345"/>
                  </a:lnTo>
                  <a:lnTo>
                    <a:pt x="4112" y="4195"/>
                  </a:lnTo>
                  <a:lnTo>
                    <a:pt x="4322" y="4165"/>
                  </a:lnTo>
                  <a:lnTo>
                    <a:pt x="4382" y="4015"/>
                  </a:lnTo>
                  <a:lnTo>
                    <a:pt x="4472" y="4015"/>
                  </a:lnTo>
                  <a:lnTo>
                    <a:pt x="4532" y="3895"/>
                  </a:lnTo>
                  <a:lnTo>
                    <a:pt x="4772" y="3895"/>
                  </a:lnTo>
                  <a:lnTo>
                    <a:pt x="4911" y="3823"/>
                  </a:lnTo>
                  <a:lnTo>
                    <a:pt x="5042" y="3745"/>
                  </a:lnTo>
                  <a:lnTo>
                    <a:pt x="5042" y="3625"/>
                  </a:lnTo>
                  <a:lnTo>
                    <a:pt x="5192" y="3535"/>
                  </a:lnTo>
                  <a:lnTo>
                    <a:pt x="5102" y="3355"/>
                  </a:lnTo>
                  <a:lnTo>
                    <a:pt x="5252" y="3325"/>
                  </a:lnTo>
                  <a:lnTo>
                    <a:pt x="5282" y="3445"/>
                  </a:lnTo>
                  <a:lnTo>
                    <a:pt x="5463" y="3391"/>
                  </a:lnTo>
                  <a:lnTo>
                    <a:pt x="5702" y="3295"/>
                  </a:lnTo>
                  <a:lnTo>
                    <a:pt x="5695" y="3031"/>
                  </a:lnTo>
                  <a:lnTo>
                    <a:pt x="5672" y="2755"/>
                  </a:lnTo>
                  <a:lnTo>
                    <a:pt x="5759" y="2671"/>
                  </a:lnTo>
                  <a:lnTo>
                    <a:pt x="5719" y="2471"/>
                  </a:lnTo>
                  <a:lnTo>
                    <a:pt x="5612" y="2305"/>
                  </a:lnTo>
                  <a:lnTo>
                    <a:pt x="5535" y="2223"/>
                  </a:lnTo>
                  <a:lnTo>
                    <a:pt x="5462" y="2035"/>
                  </a:lnTo>
                  <a:lnTo>
                    <a:pt x="5479" y="1935"/>
                  </a:lnTo>
                  <a:lnTo>
                    <a:pt x="5463" y="1799"/>
                  </a:lnTo>
                  <a:lnTo>
                    <a:pt x="5479" y="1671"/>
                  </a:lnTo>
                  <a:lnTo>
                    <a:pt x="5439" y="1559"/>
                  </a:lnTo>
                  <a:lnTo>
                    <a:pt x="5471" y="1463"/>
                  </a:lnTo>
                  <a:lnTo>
                    <a:pt x="5432" y="1345"/>
                  </a:lnTo>
                  <a:lnTo>
                    <a:pt x="5231" y="1351"/>
                  </a:lnTo>
                  <a:lnTo>
                    <a:pt x="5075" y="1317"/>
                  </a:lnTo>
                  <a:lnTo>
                    <a:pt x="4964" y="1226"/>
                  </a:lnTo>
                  <a:lnTo>
                    <a:pt x="4865" y="1271"/>
                  </a:lnTo>
                  <a:lnTo>
                    <a:pt x="4727" y="1251"/>
                  </a:lnTo>
                  <a:lnTo>
                    <a:pt x="4479" y="1350"/>
                  </a:lnTo>
                  <a:lnTo>
                    <a:pt x="4208" y="1305"/>
                  </a:lnTo>
                  <a:lnTo>
                    <a:pt x="4055" y="1319"/>
                  </a:lnTo>
                  <a:lnTo>
                    <a:pt x="3927" y="1251"/>
                  </a:lnTo>
                  <a:lnTo>
                    <a:pt x="3786" y="1287"/>
                  </a:lnTo>
                  <a:lnTo>
                    <a:pt x="3620" y="1143"/>
                  </a:lnTo>
                  <a:lnTo>
                    <a:pt x="3392" y="1179"/>
                  </a:lnTo>
                  <a:lnTo>
                    <a:pt x="3227" y="1079"/>
                  </a:lnTo>
                  <a:lnTo>
                    <a:pt x="3084" y="1068"/>
                  </a:lnTo>
                  <a:lnTo>
                    <a:pt x="2988" y="1005"/>
                  </a:lnTo>
                  <a:lnTo>
                    <a:pt x="2828" y="989"/>
                  </a:lnTo>
                  <a:lnTo>
                    <a:pt x="2823" y="858"/>
                  </a:lnTo>
                  <a:lnTo>
                    <a:pt x="2786" y="740"/>
                  </a:lnTo>
                  <a:lnTo>
                    <a:pt x="2823" y="620"/>
                  </a:lnTo>
                  <a:lnTo>
                    <a:pt x="2852" y="458"/>
                  </a:lnTo>
                  <a:lnTo>
                    <a:pt x="2843" y="198"/>
                  </a:lnTo>
                  <a:lnTo>
                    <a:pt x="2825" y="0"/>
                  </a:lnTo>
                  <a:lnTo>
                    <a:pt x="2498" y="0"/>
                  </a:lnTo>
                  <a:lnTo>
                    <a:pt x="2156" y="9"/>
                  </a:lnTo>
                  <a:lnTo>
                    <a:pt x="1611" y="18"/>
                  </a:lnTo>
                  <a:lnTo>
                    <a:pt x="1629" y="1167"/>
                  </a:lnTo>
                  <a:lnTo>
                    <a:pt x="1598" y="2282"/>
                  </a:lnTo>
                  <a:lnTo>
                    <a:pt x="0" y="2219"/>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7" name="Tennessee">
              <a:extLst>
                <a:ext uri="{FF2B5EF4-FFF2-40B4-BE49-F238E27FC236}">
                  <a16:creationId xmlns:a16="http://schemas.microsoft.com/office/drawing/2014/main" id="{94FC7571-505E-C56B-6187-A4718B9EA640}"/>
                </a:ext>
              </a:extLst>
            </p:cNvPr>
            <p:cNvSpPr>
              <a:spLocks/>
            </p:cNvSpPr>
            <p:nvPr/>
          </p:nvSpPr>
          <p:spPr bwMode="auto">
            <a:xfrm>
              <a:off x="5820066" y="3430881"/>
              <a:ext cx="1014499" cy="465251"/>
            </a:xfrm>
            <a:custGeom>
              <a:avLst/>
              <a:gdLst>
                <a:gd name="T0" fmla="*/ 27 w 3296"/>
                <a:gd name="T1" fmla="*/ 190 h 1514"/>
                <a:gd name="T2" fmla="*/ 28 w 3296"/>
                <a:gd name="T3" fmla="*/ 207 h 1514"/>
                <a:gd name="T4" fmla="*/ 17 w 3296"/>
                <a:gd name="T5" fmla="*/ 222 h 1514"/>
                <a:gd name="T6" fmla="*/ 16 w 3296"/>
                <a:gd name="T7" fmla="*/ 238 h 1514"/>
                <a:gd name="T8" fmla="*/ 5 w 3296"/>
                <a:gd name="T9" fmla="*/ 250 h 1514"/>
                <a:gd name="T10" fmla="*/ 0 w 3296"/>
                <a:gd name="T11" fmla="*/ 287 h 1514"/>
                <a:gd name="T12" fmla="*/ 10 w 3296"/>
                <a:gd name="T13" fmla="*/ 286 h 1514"/>
                <a:gd name="T14" fmla="*/ 44 w 3296"/>
                <a:gd name="T15" fmla="*/ 280 h 1514"/>
                <a:gd name="T16" fmla="*/ 77 w 3296"/>
                <a:gd name="T17" fmla="*/ 277 h 1514"/>
                <a:gd name="T18" fmla="*/ 97 w 3296"/>
                <a:gd name="T19" fmla="*/ 273 h 1514"/>
                <a:gd name="T20" fmla="*/ 114 w 3296"/>
                <a:gd name="T21" fmla="*/ 273 h 1514"/>
                <a:gd name="T22" fmla="*/ 143 w 3296"/>
                <a:gd name="T23" fmla="*/ 272 h 1514"/>
                <a:gd name="T24" fmla="*/ 157 w 3296"/>
                <a:gd name="T25" fmla="*/ 261 h 1514"/>
                <a:gd name="T26" fmla="*/ 162 w 3296"/>
                <a:gd name="T27" fmla="*/ 250 h 1514"/>
                <a:gd name="T28" fmla="*/ 181 w 3296"/>
                <a:gd name="T29" fmla="*/ 255 h 1514"/>
                <a:gd name="T30" fmla="*/ 196 w 3296"/>
                <a:gd name="T31" fmla="*/ 244 h 1514"/>
                <a:gd name="T32" fmla="*/ 208 w 3296"/>
                <a:gd name="T33" fmla="*/ 248 h 1514"/>
                <a:gd name="T34" fmla="*/ 211 w 3296"/>
                <a:gd name="T35" fmla="*/ 260 h 1514"/>
                <a:gd name="T36" fmla="*/ 236 w 3296"/>
                <a:gd name="T37" fmla="*/ 256 h 1514"/>
                <a:gd name="T38" fmla="*/ 275 w 3296"/>
                <a:gd name="T39" fmla="*/ 244 h 1514"/>
                <a:gd name="T40" fmla="*/ 302 w 3296"/>
                <a:gd name="T41" fmla="*/ 241 h 1514"/>
                <a:gd name="T42" fmla="*/ 338 w 3296"/>
                <a:gd name="T43" fmla="*/ 228 h 1514"/>
                <a:gd name="T44" fmla="*/ 373 w 3296"/>
                <a:gd name="T45" fmla="*/ 227 h 1514"/>
                <a:gd name="T46" fmla="*/ 396 w 3296"/>
                <a:gd name="T47" fmla="*/ 216 h 1514"/>
                <a:gd name="T48" fmla="*/ 426 w 3296"/>
                <a:gd name="T49" fmla="*/ 218 h 1514"/>
                <a:gd name="T50" fmla="*/ 447 w 3296"/>
                <a:gd name="T51" fmla="*/ 204 h 1514"/>
                <a:gd name="T52" fmla="*/ 447 w 3296"/>
                <a:gd name="T53" fmla="*/ 176 h 1514"/>
                <a:gd name="T54" fmla="*/ 464 w 3296"/>
                <a:gd name="T55" fmla="*/ 171 h 1514"/>
                <a:gd name="T56" fmla="*/ 479 w 3296"/>
                <a:gd name="T57" fmla="*/ 146 h 1514"/>
                <a:gd name="T58" fmla="*/ 550 w 3296"/>
                <a:gd name="T59" fmla="*/ 92 h 1514"/>
                <a:gd name="T60" fmla="*/ 543 w 3296"/>
                <a:gd name="T61" fmla="*/ 74 h 1514"/>
                <a:gd name="T62" fmla="*/ 612 w 3296"/>
                <a:gd name="T63" fmla="*/ 39 h 1514"/>
                <a:gd name="T64" fmla="*/ 625 w 3296"/>
                <a:gd name="T65" fmla="*/ 21 h 1514"/>
                <a:gd name="T66" fmla="*/ 624 w 3296"/>
                <a:gd name="T67" fmla="*/ 0 h 1514"/>
                <a:gd name="T68" fmla="*/ 598 w 3296"/>
                <a:gd name="T69" fmla="*/ 12 h 1514"/>
                <a:gd name="T70" fmla="*/ 551 w 3296"/>
                <a:gd name="T71" fmla="*/ 20 h 1514"/>
                <a:gd name="T72" fmla="*/ 491 w 3296"/>
                <a:gd name="T73" fmla="*/ 35 h 1514"/>
                <a:gd name="T74" fmla="*/ 450 w 3296"/>
                <a:gd name="T75" fmla="*/ 46 h 1514"/>
                <a:gd name="T76" fmla="*/ 396 w 3296"/>
                <a:gd name="T77" fmla="*/ 55 h 1514"/>
                <a:gd name="T78" fmla="*/ 352 w 3296"/>
                <a:gd name="T79" fmla="*/ 61 h 1514"/>
                <a:gd name="T80" fmla="*/ 279 w 3296"/>
                <a:gd name="T81" fmla="*/ 76 h 1514"/>
                <a:gd name="T82" fmla="*/ 228 w 3296"/>
                <a:gd name="T83" fmla="*/ 92 h 1514"/>
                <a:gd name="T84" fmla="*/ 193 w 3296"/>
                <a:gd name="T85" fmla="*/ 91 h 1514"/>
                <a:gd name="T86" fmla="*/ 131 w 3296"/>
                <a:gd name="T87" fmla="*/ 116 h 1514"/>
                <a:gd name="T88" fmla="*/ 104 w 3296"/>
                <a:gd name="T89" fmla="*/ 117 h 1514"/>
                <a:gd name="T90" fmla="*/ 82 w 3296"/>
                <a:gd name="T91" fmla="*/ 123 h 1514"/>
                <a:gd name="T92" fmla="*/ 60 w 3296"/>
                <a:gd name="T93" fmla="*/ 120 h 1514"/>
                <a:gd name="T94" fmla="*/ 43 w 3296"/>
                <a:gd name="T95" fmla="*/ 127 h 1514"/>
                <a:gd name="T96" fmla="*/ 36 w 3296"/>
                <a:gd name="T97" fmla="*/ 144 h 1514"/>
                <a:gd name="T98" fmla="*/ 27 w 3296"/>
                <a:gd name="T99" fmla="*/ 162 h 1514"/>
                <a:gd name="T100" fmla="*/ 32 w 3296"/>
                <a:gd name="T101" fmla="*/ 179 h 1514"/>
                <a:gd name="T102" fmla="*/ 27 w 3296"/>
                <a:gd name="T103" fmla="*/ 190 h 15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6" h="1514">
                  <a:moveTo>
                    <a:pt x="140" y="1004"/>
                  </a:moveTo>
                  <a:lnTo>
                    <a:pt x="150" y="1093"/>
                  </a:lnTo>
                  <a:lnTo>
                    <a:pt x="92" y="1169"/>
                  </a:lnTo>
                  <a:lnTo>
                    <a:pt x="86" y="1255"/>
                  </a:lnTo>
                  <a:lnTo>
                    <a:pt x="29" y="1321"/>
                  </a:lnTo>
                  <a:lnTo>
                    <a:pt x="0" y="1514"/>
                  </a:lnTo>
                  <a:lnTo>
                    <a:pt x="51" y="1511"/>
                  </a:lnTo>
                  <a:lnTo>
                    <a:pt x="231" y="1475"/>
                  </a:lnTo>
                  <a:lnTo>
                    <a:pt x="405" y="1463"/>
                  </a:lnTo>
                  <a:lnTo>
                    <a:pt x="513" y="1439"/>
                  </a:lnTo>
                  <a:lnTo>
                    <a:pt x="603" y="1439"/>
                  </a:lnTo>
                  <a:lnTo>
                    <a:pt x="753" y="1433"/>
                  </a:lnTo>
                  <a:lnTo>
                    <a:pt x="826" y="1378"/>
                  </a:lnTo>
                  <a:lnTo>
                    <a:pt x="856" y="1318"/>
                  </a:lnTo>
                  <a:lnTo>
                    <a:pt x="957" y="1343"/>
                  </a:lnTo>
                  <a:lnTo>
                    <a:pt x="1036" y="1288"/>
                  </a:lnTo>
                  <a:lnTo>
                    <a:pt x="1095" y="1307"/>
                  </a:lnTo>
                  <a:lnTo>
                    <a:pt x="1113" y="1373"/>
                  </a:lnTo>
                  <a:lnTo>
                    <a:pt x="1246" y="1348"/>
                  </a:lnTo>
                  <a:lnTo>
                    <a:pt x="1449" y="1289"/>
                  </a:lnTo>
                  <a:lnTo>
                    <a:pt x="1593" y="1271"/>
                  </a:lnTo>
                  <a:lnTo>
                    <a:pt x="1784" y="1205"/>
                  </a:lnTo>
                  <a:lnTo>
                    <a:pt x="1965" y="1198"/>
                  </a:lnTo>
                  <a:lnTo>
                    <a:pt x="2090" y="1139"/>
                  </a:lnTo>
                  <a:lnTo>
                    <a:pt x="2246" y="1151"/>
                  </a:lnTo>
                  <a:lnTo>
                    <a:pt x="2355" y="1078"/>
                  </a:lnTo>
                  <a:lnTo>
                    <a:pt x="2357" y="931"/>
                  </a:lnTo>
                  <a:lnTo>
                    <a:pt x="2445" y="903"/>
                  </a:lnTo>
                  <a:lnTo>
                    <a:pt x="2528" y="769"/>
                  </a:lnTo>
                  <a:lnTo>
                    <a:pt x="2900" y="483"/>
                  </a:lnTo>
                  <a:lnTo>
                    <a:pt x="2865" y="388"/>
                  </a:lnTo>
                  <a:lnTo>
                    <a:pt x="3225" y="208"/>
                  </a:lnTo>
                  <a:lnTo>
                    <a:pt x="3296" y="113"/>
                  </a:lnTo>
                  <a:lnTo>
                    <a:pt x="3293" y="0"/>
                  </a:lnTo>
                  <a:lnTo>
                    <a:pt x="3152" y="65"/>
                  </a:lnTo>
                  <a:lnTo>
                    <a:pt x="2906" y="107"/>
                  </a:lnTo>
                  <a:lnTo>
                    <a:pt x="2590" y="182"/>
                  </a:lnTo>
                  <a:lnTo>
                    <a:pt x="2372" y="245"/>
                  </a:lnTo>
                  <a:lnTo>
                    <a:pt x="2086" y="292"/>
                  </a:lnTo>
                  <a:lnTo>
                    <a:pt x="1856" y="322"/>
                  </a:lnTo>
                  <a:lnTo>
                    <a:pt x="1472" y="400"/>
                  </a:lnTo>
                  <a:lnTo>
                    <a:pt x="1200" y="485"/>
                  </a:lnTo>
                  <a:lnTo>
                    <a:pt x="1017" y="479"/>
                  </a:lnTo>
                  <a:lnTo>
                    <a:pt x="689" y="613"/>
                  </a:lnTo>
                  <a:lnTo>
                    <a:pt x="549" y="617"/>
                  </a:lnTo>
                  <a:lnTo>
                    <a:pt x="435" y="649"/>
                  </a:lnTo>
                  <a:lnTo>
                    <a:pt x="315" y="632"/>
                  </a:lnTo>
                  <a:lnTo>
                    <a:pt x="228" y="671"/>
                  </a:lnTo>
                  <a:lnTo>
                    <a:pt x="189" y="761"/>
                  </a:lnTo>
                  <a:lnTo>
                    <a:pt x="140" y="853"/>
                  </a:lnTo>
                  <a:lnTo>
                    <a:pt x="170" y="943"/>
                  </a:lnTo>
                  <a:lnTo>
                    <a:pt x="140" y="1004"/>
                  </a:lnTo>
                  <a:close/>
                </a:path>
              </a:pathLst>
            </a:custGeom>
            <a:solidFill>
              <a:schemeClr val="accent3">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8" name="South Dakota">
              <a:extLst>
                <a:ext uri="{FF2B5EF4-FFF2-40B4-BE49-F238E27FC236}">
                  <a16:creationId xmlns:a16="http://schemas.microsoft.com/office/drawing/2014/main" id="{1C2612EF-A16D-5622-7951-8A07706759C2}"/>
                </a:ext>
              </a:extLst>
            </p:cNvPr>
            <p:cNvSpPr>
              <a:spLocks/>
            </p:cNvSpPr>
            <p:nvPr/>
          </p:nvSpPr>
          <p:spPr bwMode="auto">
            <a:xfrm>
              <a:off x="4079997" y="2307470"/>
              <a:ext cx="868411" cy="512263"/>
            </a:xfrm>
            <a:custGeom>
              <a:avLst/>
              <a:gdLst>
                <a:gd name="T0" fmla="*/ 0 w 2822"/>
                <a:gd name="T1" fmla="*/ 276 h 1670"/>
                <a:gd name="T2" fmla="*/ 108 w 2822"/>
                <a:gd name="T3" fmla="*/ 285 h 1670"/>
                <a:gd name="T4" fmla="*/ 217 w 2822"/>
                <a:gd name="T5" fmla="*/ 286 h 1670"/>
                <a:gd name="T6" fmla="*/ 295 w 2822"/>
                <a:gd name="T7" fmla="*/ 285 h 1670"/>
                <a:gd name="T8" fmla="*/ 349 w 2822"/>
                <a:gd name="T9" fmla="*/ 283 h 1670"/>
                <a:gd name="T10" fmla="*/ 376 w 2822"/>
                <a:gd name="T11" fmla="*/ 281 h 1670"/>
                <a:gd name="T12" fmla="*/ 422 w 2822"/>
                <a:gd name="T13" fmla="*/ 298 h 1670"/>
                <a:gd name="T14" fmla="*/ 439 w 2822"/>
                <a:gd name="T15" fmla="*/ 286 h 1670"/>
                <a:gd name="T16" fmla="*/ 473 w 2822"/>
                <a:gd name="T17" fmla="*/ 286 h 1670"/>
                <a:gd name="T18" fmla="*/ 485 w 2822"/>
                <a:gd name="T19" fmla="*/ 303 h 1670"/>
                <a:gd name="T20" fmla="*/ 535 w 2822"/>
                <a:gd name="T21" fmla="*/ 316 h 1670"/>
                <a:gd name="T22" fmla="*/ 535 w 2822"/>
                <a:gd name="T23" fmla="*/ 259 h 1670"/>
                <a:gd name="T24" fmla="*/ 528 w 2822"/>
                <a:gd name="T25" fmla="*/ 233 h 1670"/>
                <a:gd name="T26" fmla="*/ 533 w 2822"/>
                <a:gd name="T27" fmla="*/ 181 h 1670"/>
                <a:gd name="T28" fmla="*/ 526 w 2822"/>
                <a:gd name="T29" fmla="*/ 72 h 1670"/>
                <a:gd name="T30" fmla="*/ 502 w 2822"/>
                <a:gd name="T31" fmla="*/ 43 h 1670"/>
                <a:gd name="T32" fmla="*/ 509 w 2822"/>
                <a:gd name="T33" fmla="*/ 22 h 1670"/>
                <a:gd name="T34" fmla="*/ 507 w 2822"/>
                <a:gd name="T35" fmla="*/ 0 h 1670"/>
                <a:gd name="T36" fmla="*/ 388 w 2822"/>
                <a:gd name="T37" fmla="*/ 3 h 1670"/>
                <a:gd name="T38" fmla="*/ 10 w 2822"/>
                <a:gd name="T39" fmla="*/ 10 h 1670"/>
                <a:gd name="T40" fmla="*/ 5 w 2822"/>
                <a:gd name="T41" fmla="*/ 90 h 1670"/>
                <a:gd name="T42" fmla="*/ 0 w 2822"/>
                <a:gd name="T43" fmla="*/ 276 h 16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22" h="1670">
                  <a:moveTo>
                    <a:pt x="0" y="1456"/>
                  </a:moveTo>
                  <a:lnTo>
                    <a:pt x="570" y="1505"/>
                  </a:lnTo>
                  <a:lnTo>
                    <a:pt x="1143" y="1513"/>
                  </a:lnTo>
                  <a:lnTo>
                    <a:pt x="1558" y="1505"/>
                  </a:lnTo>
                  <a:lnTo>
                    <a:pt x="1842" y="1496"/>
                  </a:lnTo>
                  <a:lnTo>
                    <a:pt x="1985" y="1483"/>
                  </a:lnTo>
                  <a:lnTo>
                    <a:pt x="2225" y="1573"/>
                  </a:lnTo>
                  <a:lnTo>
                    <a:pt x="2315" y="1513"/>
                  </a:lnTo>
                  <a:lnTo>
                    <a:pt x="2496" y="1513"/>
                  </a:lnTo>
                  <a:lnTo>
                    <a:pt x="2556" y="1603"/>
                  </a:lnTo>
                  <a:lnTo>
                    <a:pt x="2822" y="1670"/>
                  </a:lnTo>
                  <a:lnTo>
                    <a:pt x="2822" y="1369"/>
                  </a:lnTo>
                  <a:lnTo>
                    <a:pt x="2785" y="1232"/>
                  </a:lnTo>
                  <a:lnTo>
                    <a:pt x="2813" y="957"/>
                  </a:lnTo>
                  <a:lnTo>
                    <a:pt x="2776" y="382"/>
                  </a:lnTo>
                  <a:lnTo>
                    <a:pt x="2646" y="226"/>
                  </a:lnTo>
                  <a:lnTo>
                    <a:pt x="2685" y="118"/>
                  </a:lnTo>
                  <a:lnTo>
                    <a:pt x="2674" y="0"/>
                  </a:lnTo>
                  <a:lnTo>
                    <a:pt x="2045" y="16"/>
                  </a:lnTo>
                  <a:lnTo>
                    <a:pt x="54" y="54"/>
                  </a:lnTo>
                  <a:lnTo>
                    <a:pt x="28" y="476"/>
                  </a:lnTo>
                  <a:lnTo>
                    <a:pt x="0" y="1456"/>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9" name="South Carolina">
              <a:extLst>
                <a:ext uri="{FF2B5EF4-FFF2-40B4-BE49-F238E27FC236}">
                  <a16:creationId xmlns:a16="http://schemas.microsoft.com/office/drawing/2014/main" id="{BD63B456-D581-F76A-5144-AAADF429ECA3}"/>
                </a:ext>
              </a:extLst>
            </p:cNvPr>
            <p:cNvSpPr>
              <a:spLocks/>
            </p:cNvSpPr>
            <p:nvPr/>
          </p:nvSpPr>
          <p:spPr bwMode="auto">
            <a:xfrm>
              <a:off x="6694971" y="3618926"/>
              <a:ext cx="608699" cy="486324"/>
            </a:xfrm>
            <a:custGeom>
              <a:avLst/>
              <a:gdLst>
                <a:gd name="T0" fmla="*/ 0 w 1978"/>
                <a:gd name="T1" fmla="*/ 68 h 1580"/>
                <a:gd name="T2" fmla="*/ 67 w 1978"/>
                <a:gd name="T3" fmla="*/ 37 h 1580"/>
                <a:gd name="T4" fmla="*/ 114 w 1978"/>
                <a:gd name="T5" fmla="*/ 23 h 1580"/>
                <a:gd name="T6" fmla="*/ 150 w 1978"/>
                <a:gd name="T7" fmla="*/ 13 h 1580"/>
                <a:gd name="T8" fmla="*/ 182 w 1978"/>
                <a:gd name="T9" fmla="*/ 17 h 1580"/>
                <a:gd name="T10" fmla="*/ 199 w 1978"/>
                <a:gd name="T11" fmla="*/ 34 h 1580"/>
                <a:gd name="T12" fmla="*/ 234 w 1978"/>
                <a:gd name="T13" fmla="*/ 23 h 1580"/>
                <a:gd name="T14" fmla="*/ 279 w 1978"/>
                <a:gd name="T15" fmla="*/ 0 h 1580"/>
                <a:gd name="T16" fmla="*/ 325 w 1978"/>
                <a:gd name="T17" fmla="*/ 40 h 1580"/>
                <a:gd name="T18" fmla="*/ 364 w 1978"/>
                <a:gd name="T19" fmla="*/ 63 h 1580"/>
                <a:gd name="T20" fmla="*/ 375 w 1978"/>
                <a:gd name="T21" fmla="*/ 85 h 1580"/>
                <a:gd name="T22" fmla="*/ 359 w 1978"/>
                <a:gd name="T23" fmla="*/ 119 h 1580"/>
                <a:gd name="T24" fmla="*/ 330 w 1978"/>
                <a:gd name="T25" fmla="*/ 148 h 1580"/>
                <a:gd name="T26" fmla="*/ 330 w 1978"/>
                <a:gd name="T27" fmla="*/ 176 h 1580"/>
                <a:gd name="T28" fmla="*/ 307 w 1978"/>
                <a:gd name="T29" fmla="*/ 193 h 1580"/>
                <a:gd name="T30" fmla="*/ 296 w 1978"/>
                <a:gd name="T31" fmla="*/ 222 h 1580"/>
                <a:gd name="T32" fmla="*/ 273 w 1978"/>
                <a:gd name="T33" fmla="*/ 249 h 1580"/>
                <a:gd name="T34" fmla="*/ 247 w 1978"/>
                <a:gd name="T35" fmla="*/ 246 h 1580"/>
                <a:gd name="T36" fmla="*/ 237 w 1978"/>
                <a:gd name="T37" fmla="*/ 257 h 1580"/>
                <a:gd name="T38" fmla="*/ 234 w 1978"/>
                <a:gd name="T39" fmla="*/ 275 h 1580"/>
                <a:gd name="T40" fmla="*/ 230 w 1978"/>
                <a:gd name="T41" fmla="*/ 300 h 1580"/>
                <a:gd name="T42" fmla="*/ 206 w 1978"/>
                <a:gd name="T43" fmla="*/ 274 h 1580"/>
                <a:gd name="T44" fmla="*/ 178 w 1978"/>
                <a:gd name="T45" fmla="*/ 249 h 1580"/>
                <a:gd name="T46" fmla="*/ 184 w 1978"/>
                <a:gd name="T47" fmla="*/ 232 h 1580"/>
                <a:gd name="T48" fmla="*/ 145 w 1978"/>
                <a:gd name="T49" fmla="*/ 198 h 1580"/>
                <a:gd name="T50" fmla="*/ 118 w 1978"/>
                <a:gd name="T51" fmla="*/ 185 h 1580"/>
                <a:gd name="T52" fmla="*/ 99 w 1978"/>
                <a:gd name="T53" fmla="*/ 166 h 1580"/>
                <a:gd name="T54" fmla="*/ 75 w 1978"/>
                <a:gd name="T55" fmla="*/ 152 h 1580"/>
                <a:gd name="T56" fmla="*/ 48 w 1978"/>
                <a:gd name="T57" fmla="*/ 141 h 1580"/>
                <a:gd name="T58" fmla="*/ 43 w 1978"/>
                <a:gd name="T59" fmla="*/ 122 h 1580"/>
                <a:gd name="T60" fmla="*/ 21 w 1978"/>
                <a:gd name="T61" fmla="*/ 114 h 1580"/>
                <a:gd name="T62" fmla="*/ 8 w 1978"/>
                <a:gd name="T63" fmla="*/ 95 h 1580"/>
                <a:gd name="T64" fmla="*/ 0 w 1978"/>
                <a:gd name="T65" fmla="*/ 68 h 15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78" h="1580">
                  <a:moveTo>
                    <a:pt x="0" y="359"/>
                  </a:moveTo>
                  <a:lnTo>
                    <a:pt x="352" y="195"/>
                  </a:lnTo>
                  <a:lnTo>
                    <a:pt x="599" y="120"/>
                  </a:lnTo>
                  <a:lnTo>
                    <a:pt x="793" y="67"/>
                  </a:lnTo>
                  <a:lnTo>
                    <a:pt x="960" y="90"/>
                  </a:lnTo>
                  <a:lnTo>
                    <a:pt x="1050" y="180"/>
                  </a:lnTo>
                  <a:lnTo>
                    <a:pt x="1233" y="123"/>
                  </a:lnTo>
                  <a:lnTo>
                    <a:pt x="1470" y="0"/>
                  </a:lnTo>
                  <a:lnTo>
                    <a:pt x="1714" y="211"/>
                  </a:lnTo>
                  <a:lnTo>
                    <a:pt x="1921" y="330"/>
                  </a:lnTo>
                  <a:lnTo>
                    <a:pt x="1978" y="450"/>
                  </a:lnTo>
                  <a:lnTo>
                    <a:pt x="1891" y="629"/>
                  </a:lnTo>
                  <a:lnTo>
                    <a:pt x="1741" y="779"/>
                  </a:lnTo>
                  <a:lnTo>
                    <a:pt x="1741" y="929"/>
                  </a:lnTo>
                  <a:lnTo>
                    <a:pt x="1621" y="1019"/>
                  </a:lnTo>
                  <a:lnTo>
                    <a:pt x="1561" y="1169"/>
                  </a:lnTo>
                  <a:lnTo>
                    <a:pt x="1441" y="1309"/>
                  </a:lnTo>
                  <a:lnTo>
                    <a:pt x="1305" y="1297"/>
                  </a:lnTo>
                  <a:lnTo>
                    <a:pt x="1249" y="1353"/>
                  </a:lnTo>
                  <a:lnTo>
                    <a:pt x="1233" y="1449"/>
                  </a:lnTo>
                  <a:lnTo>
                    <a:pt x="1211" y="1580"/>
                  </a:lnTo>
                  <a:lnTo>
                    <a:pt x="1088" y="1442"/>
                  </a:lnTo>
                  <a:lnTo>
                    <a:pt x="941" y="1311"/>
                  </a:lnTo>
                  <a:lnTo>
                    <a:pt x="971" y="1220"/>
                  </a:lnTo>
                  <a:lnTo>
                    <a:pt x="765" y="1042"/>
                  </a:lnTo>
                  <a:lnTo>
                    <a:pt x="621" y="973"/>
                  </a:lnTo>
                  <a:lnTo>
                    <a:pt x="521" y="874"/>
                  </a:lnTo>
                  <a:lnTo>
                    <a:pt x="397" y="798"/>
                  </a:lnTo>
                  <a:lnTo>
                    <a:pt x="253" y="742"/>
                  </a:lnTo>
                  <a:lnTo>
                    <a:pt x="228" y="641"/>
                  </a:lnTo>
                  <a:lnTo>
                    <a:pt x="109" y="598"/>
                  </a:lnTo>
                  <a:lnTo>
                    <a:pt x="43" y="500"/>
                  </a:lnTo>
                  <a:lnTo>
                    <a:pt x="0" y="359"/>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0" name="Rhode Island">
              <a:extLst>
                <a:ext uri="{FF2B5EF4-FFF2-40B4-BE49-F238E27FC236}">
                  <a16:creationId xmlns:a16="http://schemas.microsoft.com/office/drawing/2014/main" id="{695F20E8-91DA-FB93-04D4-67F4A156A715}"/>
                </a:ext>
              </a:extLst>
            </p:cNvPr>
            <p:cNvSpPr>
              <a:spLocks/>
            </p:cNvSpPr>
            <p:nvPr/>
          </p:nvSpPr>
          <p:spPr bwMode="auto">
            <a:xfrm>
              <a:off x="7728949" y="2224795"/>
              <a:ext cx="95769" cy="110234"/>
            </a:xfrm>
            <a:custGeom>
              <a:avLst/>
              <a:gdLst>
                <a:gd name="T0" fmla="*/ 0 w 314"/>
                <a:gd name="T1" fmla="*/ 13 h 363"/>
                <a:gd name="T2" fmla="*/ 42 w 314"/>
                <a:gd name="T3" fmla="*/ 0 h 363"/>
                <a:gd name="T4" fmla="*/ 59 w 314"/>
                <a:gd name="T5" fmla="*/ 32 h 363"/>
                <a:gd name="T6" fmla="*/ 51 w 314"/>
                <a:gd name="T7" fmla="*/ 36 h 363"/>
                <a:gd name="T8" fmla="*/ 45 w 314"/>
                <a:gd name="T9" fmla="*/ 53 h 363"/>
                <a:gd name="T10" fmla="*/ 29 w 314"/>
                <a:gd name="T11" fmla="*/ 68 h 363"/>
                <a:gd name="T12" fmla="*/ 26 w 314"/>
                <a:gd name="T13" fmla="*/ 37 h 363"/>
                <a:gd name="T14" fmla="*/ 0 w 314"/>
                <a:gd name="T15" fmla="*/ 13 h 3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363">
                  <a:moveTo>
                    <a:pt x="0" y="69"/>
                  </a:moveTo>
                  <a:lnTo>
                    <a:pt x="225" y="0"/>
                  </a:lnTo>
                  <a:lnTo>
                    <a:pt x="314" y="171"/>
                  </a:lnTo>
                  <a:lnTo>
                    <a:pt x="273" y="192"/>
                  </a:lnTo>
                  <a:lnTo>
                    <a:pt x="237" y="282"/>
                  </a:lnTo>
                  <a:lnTo>
                    <a:pt x="156" y="363"/>
                  </a:lnTo>
                  <a:lnTo>
                    <a:pt x="138" y="195"/>
                  </a:lnTo>
                  <a:lnTo>
                    <a:pt x="0" y="69"/>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1" name="Pennsylvania">
              <a:extLst>
                <a:ext uri="{FF2B5EF4-FFF2-40B4-BE49-F238E27FC236}">
                  <a16:creationId xmlns:a16="http://schemas.microsoft.com/office/drawing/2014/main" id="{2C922FE7-6B16-0CAC-D7BB-2C66E1483E23}"/>
                </a:ext>
              </a:extLst>
            </p:cNvPr>
            <p:cNvSpPr>
              <a:spLocks/>
            </p:cNvSpPr>
            <p:nvPr/>
          </p:nvSpPr>
          <p:spPr bwMode="auto">
            <a:xfrm>
              <a:off x="6784247" y="2403115"/>
              <a:ext cx="712584" cy="518746"/>
            </a:xfrm>
            <a:custGeom>
              <a:avLst/>
              <a:gdLst>
                <a:gd name="T0" fmla="*/ 0 w 2320"/>
                <a:gd name="T1" fmla="*/ 115 h 1689"/>
                <a:gd name="T2" fmla="*/ 21 w 2320"/>
                <a:gd name="T3" fmla="*/ 97 h 1689"/>
                <a:gd name="T4" fmla="*/ 45 w 2320"/>
                <a:gd name="T5" fmla="*/ 98 h 1689"/>
                <a:gd name="T6" fmla="*/ 118 w 2320"/>
                <a:gd name="T7" fmla="*/ 74 h 1689"/>
                <a:gd name="T8" fmla="*/ 226 w 2320"/>
                <a:gd name="T9" fmla="*/ 38 h 1689"/>
                <a:gd name="T10" fmla="*/ 350 w 2320"/>
                <a:gd name="T11" fmla="*/ 0 h 1689"/>
                <a:gd name="T12" fmla="*/ 399 w 2320"/>
                <a:gd name="T13" fmla="*/ 33 h 1689"/>
                <a:gd name="T14" fmla="*/ 417 w 2320"/>
                <a:gd name="T15" fmla="*/ 41 h 1689"/>
                <a:gd name="T16" fmla="*/ 402 w 2320"/>
                <a:gd name="T17" fmla="*/ 64 h 1689"/>
                <a:gd name="T18" fmla="*/ 392 w 2320"/>
                <a:gd name="T19" fmla="*/ 92 h 1689"/>
                <a:gd name="T20" fmla="*/ 412 w 2320"/>
                <a:gd name="T21" fmla="*/ 124 h 1689"/>
                <a:gd name="T22" fmla="*/ 438 w 2320"/>
                <a:gd name="T23" fmla="*/ 143 h 1689"/>
                <a:gd name="T24" fmla="*/ 439 w 2320"/>
                <a:gd name="T25" fmla="*/ 159 h 1689"/>
                <a:gd name="T26" fmla="*/ 429 w 2320"/>
                <a:gd name="T27" fmla="*/ 177 h 1689"/>
                <a:gd name="T28" fmla="*/ 422 w 2320"/>
                <a:gd name="T29" fmla="*/ 196 h 1689"/>
                <a:gd name="T30" fmla="*/ 408 w 2320"/>
                <a:gd name="T31" fmla="*/ 211 h 1689"/>
                <a:gd name="T32" fmla="*/ 386 w 2320"/>
                <a:gd name="T33" fmla="*/ 213 h 1689"/>
                <a:gd name="T34" fmla="*/ 374 w 2320"/>
                <a:gd name="T35" fmla="*/ 221 h 1689"/>
                <a:gd name="T36" fmla="*/ 362 w 2320"/>
                <a:gd name="T37" fmla="*/ 225 h 1689"/>
                <a:gd name="T38" fmla="*/ 338 w 2320"/>
                <a:gd name="T39" fmla="*/ 224 h 1689"/>
                <a:gd name="T40" fmla="*/ 325 w 2320"/>
                <a:gd name="T41" fmla="*/ 225 h 1689"/>
                <a:gd name="T42" fmla="*/ 298 w 2320"/>
                <a:gd name="T43" fmla="*/ 237 h 1689"/>
                <a:gd name="T44" fmla="*/ 277 w 2320"/>
                <a:gd name="T45" fmla="*/ 242 h 1689"/>
                <a:gd name="T46" fmla="*/ 262 w 2320"/>
                <a:gd name="T47" fmla="*/ 259 h 1689"/>
                <a:gd name="T48" fmla="*/ 229 w 2320"/>
                <a:gd name="T49" fmla="*/ 265 h 1689"/>
                <a:gd name="T50" fmla="*/ 204 w 2320"/>
                <a:gd name="T51" fmla="*/ 274 h 1689"/>
                <a:gd name="T52" fmla="*/ 164 w 2320"/>
                <a:gd name="T53" fmla="*/ 285 h 1689"/>
                <a:gd name="T54" fmla="*/ 130 w 2320"/>
                <a:gd name="T55" fmla="*/ 297 h 1689"/>
                <a:gd name="T56" fmla="*/ 113 w 2320"/>
                <a:gd name="T57" fmla="*/ 297 h 1689"/>
                <a:gd name="T58" fmla="*/ 93 w 2320"/>
                <a:gd name="T59" fmla="*/ 313 h 1689"/>
                <a:gd name="T60" fmla="*/ 56 w 2320"/>
                <a:gd name="T61" fmla="*/ 320 h 1689"/>
                <a:gd name="T62" fmla="*/ 44 w 2320"/>
                <a:gd name="T63" fmla="*/ 300 h 1689"/>
                <a:gd name="T64" fmla="*/ 39 w 2320"/>
                <a:gd name="T65" fmla="*/ 248 h 1689"/>
                <a:gd name="T66" fmla="*/ 26 w 2320"/>
                <a:gd name="T67" fmla="*/ 252 h 1689"/>
                <a:gd name="T68" fmla="*/ 23 w 2320"/>
                <a:gd name="T69" fmla="*/ 196 h 1689"/>
                <a:gd name="T70" fmla="*/ 0 w 2320"/>
                <a:gd name="T71" fmla="*/ 115 h 16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320" h="1689">
                  <a:moveTo>
                    <a:pt x="0" y="606"/>
                  </a:moveTo>
                  <a:lnTo>
                    <a:pt x="112" y="510"/>
                  </a:lnTo>
                  <a:lnTo>
                    <a:pt x="238" y="516"/>
                  </a:lnTo>
                  <a:lnTo>
                    <a:pt x="622" y="390"/>
                  </a:lnTo>
                  <a:lnTo>
                    <a:pt x="1192" y="198"/>
                  </a:lnTo>
                  <a:lnTo>
                    <a:pt x="1852" y="0"/>
                  </a:lnTo>
                  <a:lnTo>
                    <a:pt x="2110" y="174"/>
                  </a:lnTo>
                  <a:lnTo>
                    <a:pt x="2206" y="216"/>
                  </a:lnTo>
                  <a:lnTo>
                    <a:pt x="2122" y="336"/>
                  </a:lnTo>
                  <a:lnTo>
                    <a:pt x="2071" y="486"/>
                  </a:lnTo>
                  <a:lnTo>
                    <a:pt x="2176" y="654"/>
                  </a:lnTo>
                  <a:lnTo>
                    <a:pt x="2314" y="756"/>
                  </a:lnTo>
                  <a:lnTo>
                    <a:pt x="2320" y="840"/>
                  </a:lnTo>
                  <a:lnTo>
                    <a:pt x="2266" y="935"/>
                  </a:lnTo>
                  <a:lnTo>
                    <a:pt x="2230" y="1037"/>
                  </a:lnTo>
                  <a:lnTo>
                    <a:pt x="2156" y="1115"/>
                  </a:lnTo>
                  <a:lnTo>
                    <a:pt x="2042" y="1125"/>
                  </a:lnTo>
                  <a:lnTo>
                    <a:pt x="1978" y="1167"/>
                  </a:lnTo>
                  <a:lnTo>
                    <a:pt x="1912" y="1189"/>
                  </a:lnTo>
                  <a:lnTo>
                    <a:pt x="1786" y="1181"/>
                  </a:lnTo>
                  <a:lnTo>
                    <a:pt x="1718" y="1187"/>
                  </a:lnTo>
                  <a:lnTo>
                    <a:pt x="1574" y="1251"/>
                  </a:lnTo>
                  <a:lnTo>
                    <a:pt x="1462" y="1275"/>
                  </a:lnTo>
                  <a:lnTo>
                    <a:pt x="1382" y="1367"/>
                  </a:lnTo>
                  <a:lnTo>
                    <a:pt x="1208" y="1397"/>
                  </a:lnTo>
                  <a:lnTo>
                    <a:pt x="1080" y="1445"/>
                  </a:lnTo>
                  <a:lnTo>
                    <a:pt x="866" y="1505"/>
                  </a:lnTo>
                  <a:lnTo>
                    <a:pt x="687" y="1568"/>
                  </a:lnTo>
                  <a:lnTo>
                    <a:pt x="597" y="1568"/>
                  </a:lnTo>
                  <a:lnTo>
                    <a:pt x="489" y="1653"/>
                  </a:lnTo>
                  <a:lnTo>
                    <a:pt x="297" y="1689"/>
                  </a:lnTo>
                  <a:lnTo>
                    <a:pt x="234" y="1581"/>
                  </a:lnTo>
                  <a:lnTo>
                    <a:pt x="208" y="1307"/>
                  </a:lnTo>
                  <a:lnTo>
                    <a:pt x="136" y="1329"/>
                  </a:lnTo>
                  <a:lnTo>
                    <a:pt x="122" y="1035"/>
                  </a:lnTo>
                  <a:lnTo>
                    <a:pt x="0" y="606"/>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2" name="Oregon">
              <a:extLst>
                <a:ext uri="{FF2B5EF4-FFF2-40B4-BE49-F238E27FC236}">
                  <a16:creationId xmlns:a16="http://schemas.microsoft.com/office/drawing/2014/main" id="{B868F9B5-5BAE-1AEC-8A10-19879BB07A8E}"/>
                </a:ext>
              </a:extLst>
            </p:cNvPr>
            <p:cNvSpPr>
              <a:spLocks/>
            </p:cNvSpPr>
            <p:nvPr/>
          </p:nvSpPr>
          <p:spPr bwMode="auto">
            <a:xfrm>
              <a:off x="1721490" y="1903820"/>
              <a:ext cx="1001514" cy="820267"/>
            </a:xfrm>
            <a:custGeom>
              <a:avLst/>
              <a:gdLst>
                <a:gd name="T0" fmla="*/ 150 w 3256"/>
                <a:gd name="T1" fmla="*/ 0 h 2669"/>
                <a:gd name="T2" fmla="*/ 127 w 3256"/>
                <a:gd name="T3" fmla="*/ 29 h 2669"/>
                <a:gd name="T4" fmla="*/ 132 w 3256"/>
                <a:gd name="T5" fmla="*/ 68 h 2669"/>
                <a:gd name="T6" fmla="*/ 109 w 3256"/>
                <a:gd name="T7" fmla="*/ 85 h 2669"/>
                <a:gd name="T8" fmla="*/ 103 w 3256"/>
                <a:gd name="T9" fmla="*/ 114 h 2669"/>
                <a:gd name="T10" fmla="*/ 91 w 3256"/>
                <a:gd name="T11" fmla="*/ 139 h 2669"/>
                <a:gd name="T12" fmla="*/ 79 w 3256"/>
                <a:gd name="T13" fmla="*/ 173 h 2669"/>
                <a:gd name="T14" fmla="*/ 58 w 3256"/>
                <a:gd name="T15" fmla="*/ 207 h 2669"/>
                <a:gd name="T16" fmla="*/ 30 w 3256"/>
                <a:gd name="T17" fmla="*/ 240 h 2669"/>
                <a:gd name="T18" fmla="*/ 29 w 3256"/>
                <a:gd name="T19" fmla="*/ 263 h 2669"/>
                <a:gd name="T20" fmla="*/ 12 w 3256"/>
                <a:gd name="T21" fmla="*/ 284 h 2669"/>
                <a:gd name="T22" fmla="*/ 17 w 3256"/>
                <a:gd name="T23" fmla="*/ 325 h 2669"/>
                <a:gd name="T24" fmla="*/ 0 w 3256"/>
                <a:gd name="T25" fmla="*/ 357 h 2669"/>
                <a:gd name="T26" fmla="*/ 9 w 3256"/>
                <a:gd name="T27" fmla="*/ 370 h 2669"/>
                <a:gd name="T28" fmla="*/ 46 w 3256"/>
                <a:gd name="T29" fmla="*/ 381 h 2669"/>
                <a:gd name="T30" fmla="*/ 302 w 3256"/>
                <a:gd name="T31" fmla="*/ 460 h 2669"/>
                <a:gd name="T32" fmla="*/ 524 w 3256"/>
                <a:gd name="T33" fmla="*/ 506 h 2669"/>
                <a:gd name="T34" fmla="*/ 547 w 3256"/>
                <a:gd name="T35" fmla="*/ 352 h 2669"/>
                <a:gd name="T36" fmla="*/ 569 w 3256"/>
                <a:gd name="T37" fmla="*/ 318 h 2669"/>
                <a:gd name="T38" fmla="*/ 552 w 3256"/>
                <a:gd name="T39" fmla="*/ 296 h 2669"/>
                <a:gd name="T40" fmla="*/ 552 w 3256"/>
                <a:gd name="T41" fmla="*/ 273 h 2669"/>
                <a:gd name="T42" fmla="*/ 581 w 3256"/>
                <a:gd name="T43" fmla="*/ 256 h 2669"/>
                <a:gd name="T44" fmla="*/ 586 w 3256"/>
                <a:gd name="T45" fmla="*/ 227 h 2669"/>
                <a:gd name="T46" fmla="*/ 586 w 3256"/>
                <a:gd name="T47" fmla="*/ 222 h 2669"/>
                <a:gd name="T48" fmla="*/ 592 w 3256"/>
                <a:gd name="T49" fmla="*/ 210 h 2669"/>
                <a:gd name="T50" fmla="*/ 615 w 3256"/>
                <a:gd name="T51" fmla="*/ 205 h 2669"/>
                <a:gd name="T52" fmla="*/ 617 w 3256"/>
                <a:gd name="T53" fmla="*/ 187 h 2669"/>
                <a:gd name="T54" fmla="*/ 615 w 3256"/>
                <a:gd name="T55" fmla="*/ 165 h 2669"/>
                <a:gd name="T56" fmla="*/ 598 w 3256"/>
                <a:gd name="T57" fmla="*/ 142 h 2669"/>
                <a:gd name="T58" fmla="*/ 571 w 3256"/>
                <a:gd name="T59" fmla="*/ 142 h 2669"/>
                <a:gd name="T60" fmla="*/ 514 w 3256"/>
                <a:gd name="T61" fmla="*/ 124 h 2669"/>
                <a:gd name="T62" fmla="*/ 496 w 3256"/>
                <a:gd name="T63" fmla="*/ 111 h 2669"/>
                <a:gd name="T64" fmla="*/ 466 w 3256"/>
                <a:gd name="T65" fmla="*/ 111 h 2669"/>
                <a:gd name="T66" fmla="*/ 446 w 3256"/>
                <a:gd name="T67" fmla="*/ 119 h 2669"/>
                <a:gd name="T68" fmla="*/ 428 w 3256"/>
                <a:gd name="T69" fmla="*/ 108 h 2669"/>
                <a:gd name="T70" fmla="*/ 377 w 3256"/>
                <a:gd name="T71" fmla="*/ 114 h 2669"/>
                <a:gd name="T72" fmla="*/ 337 w 3256"/>
                <a:gd name="T73" fmla="*/ 91 h 2669"/>
                <a:gd name="T74" fmla="*/ 314 w 3256"/>
                <a:gd name="T75" fmla="*/ 108 h 2669"/>
                <a:gd name="T76" fmla="*/ 286 w 3256"/>
                <a:gd name="T77" fmla="*/ 79 h 2669"/>
                <a:gd name="T78" fmla="*/ 252 w 3256"/>
                <a:gd name="T79" fmla="*/ 80 h 2669"/>
                <a:gd name="T80" fmla="*/ 218 w 3256"/>
                <a:gd name="T81" fmla="*/ 79 h 2669"/>
                <a:gd name="T82" fmla="*/ 206 w 3256"/>
                <a:gd name="T83" fmla="*/ 34 h 2669"/>
                <a:gd name="T84" fmla="*/ 191 w 3256"/>
                <a:gd name="T85" fmla="*/ 16 h 2669"/>
                <a:gd name="T86" fmla="*/ 171 w 3256"/>
                <a:gd name="T87" fmla="*/ 5 h 2669"/>
                <a:gd name="T88" fmla="*/ 150 w 3256"/>
                <a:gd name="T89" fmla="*/ 0 h 26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56" h="2669">
                  <a:moveTo>
                    <a:pt x="789" y="0"/>
                  </a:moveTo>
                  <a:lnTo>
                    <a:pt x="672" y="155"/>
                  </a:lnTo>
                  <a:lnTo>
                    <a:pt x="694" y="359"/>
                  </a:lnTo>
                  <a:lnTo>
                    <a:pt x="574" y="449"/>
                  </a:lnTo>
                  <a:lnTo>
                    <a:pt x="544" y="599"/>
                  </a:lnTo>
                  <a:lnTo>
                    <a:pt x="480" y="731"/>
                  </a:lnTo>
                  <a:lnTo>
                    <a:pt x="416" y="915"/>
                  </a:lnTo>
                  <a:lnTo>
                    <a:pt x="304" y="1091"/>
                  </a:lnTo>
                  <a:lnTo>
                    <a:pt x="160" y="1267"/>
                  </a:lnTo>
                  <a:lnTo>
                    <a:pt x="152" y="1387"/>
                  </a:lnTo>
                  <a:lnTo>
                    <a:pt x="64" y="1499"/>
                  </a:lnTo>
                  <a:lnTo>
                    <a:pt x="88" y="1715"/>
                  </a:lnTo>
                  <a:lnTo>
                    <a:pt x="0" y="1883"/>
                  </a:lnTo>
                  <a:lnTo>
                    <a:pt x="48" y="1952"/>
                  </a:lnTo>
                  <a:lnTo>
                    <a:pt x="244" y="2009"/>
                  </a:lnTo>
                  <a:lnTo>
                    <a:pt x="1594" y="2429"/>
                  </a:lnTo>
                  <a:lnTo>
                    <a:pt x="2765" y="2669"/>
                  </a:lnTo>
                  <a:lnTo>
                    <a:pt x="2885" y="1859"/>
                  </a:lnTo>
                  <a:lnTo>
                    <a:pt x="3005" y="1679"/>
                  </a:lnTo>
                  <a:lnTo>
                    <a:pt x="2915" y="1559"/>
                  </a:lnTo>
                  <a:lnTo>
                    <a:pt x="2915" y="1439"/>
                  </a:lnTo>
                  <a:lnTo>
                    <a:pt x="3065" y="1349"/>
                  </a:lnTo>
                  <a:lnTo>
                    <a:pt x="3095" y="1199"/>
                  </a:lnTo>
                  <a:lnTo>
                    <a:pt x="3095" y="1169"/>
                  </a:lnTo>
                  <a:lnTo>
                    <a:pt x="3125" y="1109"/>
                  </a:lnTo>
                  <a:lnTo>
                    <a:pt x="3245" y="1079"/>
                  </a:lnTo>
                  <a:lnTo>
                    <a:pt x="3256" y="987"/>
                  </a:lnTo>
                  <a:lnTo>
                    <a:pt x="3245" y="869"/>
                  </a:lnTo>
                  <a:lnTo>
                    <a:pt x="3158" y="749"/>
                  </a:lnTo>
                  <a:lnTo>
                    <a:pt x="3012" y="749"/>
                  </a:lnTo>
                  <a:lnTo>
                    <a:pt x="2715" y="653"/>
                  </a:lnTo>
                  <a:lnTo>
                    <a:pt x="2615" y="587"/>
                  </a:lnTo>
                  <a:lnTo>
                    <a:pt x="2460" y="587"/>
                  </a:lnTo>
                  <a:lnTo>
                    <a:pt x="2351" y="629"/>
                  </a:lnTo>
                  <a:lnTo>
                    <a:pt x="2259" y="569"/>
                  </a:lnTo>
                  <a:lnTo>
                    <a:pt x="1989" y="599"/>
                  </a:lnTo>
                  <a:lnTo>
                    <a:pt x="1779" y="480"/>
                  </a:lnTo>
                  <a:lnTo>
                    <a:pt x="1659" y="569"/>
                  </a:lnTo>
                  <a:lnTo>
                    <a:pt x="1508" y="419"/>
                  </a:lnTo>
                  <a:lnTo>
                    <a:pt x="1331" y="423"/>
                  </a:lnTo>
                  <a:lnTo>
                    <a:pt x="1148" y="419"/>
                  </a:lnTo>
                  <a:lnTo>
                    <a:pt x="1088" y="180"/>
                  </a:lnTo>
                  <a:lnTo>
                    <a:pt x="1010" y="87"/>
                  </a:lnTo>
                  <a:lnTo>
                    <a:pt x="905" y="29"/>
                  </a:lnTo>
                  <a:lnTo>
                    <a:pt x="789" y="0"/>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3" name="Oklahoma">
              <a:extLst>
                <a:ext uri="{FF2B5EF4-FFF2-40B4-BE49-F238E27FC236}">
                  <a16:creationId xmlns:a16="http://schemas.microsoft.com/office/drawing/2014/main" id="{0B05587F-E07F-7D46-51D6-BF11F624A6E4}"/>
                </a:ext>
              </a:extLst>
            </p:cNvPr>
            <p:cNvSpPr>
              <a:spLocks/>
            </p:cNvSpPr>
            <p:nvPr/>
          </p:nvSpPr>
          <p:spPr bwMode="auto">
            <a:xfrm>
              <a:off x="4169273" y="3657832"/>
              <a:ext cx="1113514" cy="530095"/>
            </a:xfrm>
            <a:custGeom>
              <a:avLst/>
              <a:gdLst>
                <a:gd name="T0" fmla="*/ 3 w 3616"/>
                <a:gd name="T1" fmla="*/ 24 h 1724"/>
                <a:gd name="T2" fmla="*/ 0 w 3616"/>
                <a:gd name="T3" fmla="*/ 74 h 1724"/>
                <a:gd name="T4" fmla="*/ 109 w 3616"/>
                <a:gd name="T5" fmla="*/ 73 h 1724"/>
                <a:gd name="T6" fmla="*/ 169 w 3616"/>
                <a:gd name="T7" fmla="*/ 71 h 1724"/>
                <a:gd name="T8" fmla="*/ 231 w 3616"/>
                <a:gd name="T9" fmla="*/ 71 h 1724"/>
                <a:gd name="T10" fmla="*/ 234 w 3616"/>
                <a:gd name="T11" fmla="*/ 106 h 1724"/>
                <a:gd name="T12" fmla="*/ 235 w 3616"/>
                <a:gd name="T13" fmla="*/ 158 h 1724"/>
                <a:gd name="T14" fmla="*/ 230 w 3616"/>
                <a:gd name="T15" fmla="*/ 187 h 1724"/>
                <a:gd name="T16" fmla="*/ 223 w 3616"/>
                <a:gd name="T17" fmla="*/ 211 h 1724"/>
                <a:gd name="T18" fmla="*/ 230 w 3616"/>
                <a:gd name="T19" fmla="*/ 234 h 1724"/>
                <a:gd name="T20" fmla="*/ 231 w 3616"/>
                <a:gd name="T21" fmla="*/ 259 h 1724"/>
                <a:gd name="T22" fmla="*/ 261 w 3616"/>
                <a:gd name="T23" fmla="*/ 262 h 1724"/>
                <a:gd name="T24" fmla="*/ 280 w 3616"/>
                <a:gd name="T25" fmla="*/ 274 h 1724"/>
                <a:gd name="T26" fmla="*/ 306 w 3616"/>
                <a:gd name="T27" fmla="*/ 276 h 1724"/>
                <a:gd name="T28" fmla="*/ 338 w 3616"/>
                <a:gd name="T29" fmla="*/ 295 h 1724"/>
                <a:gd name="T30" fmla="*/ 381 w 3616"/>
                <a:gd name="T31" fmla="*/ 288 h 1724"/>
                <a:gd name="T32" fmla="*/ 412 w 3616"/>
                <a:gd name="T33" fmla="*/ 315 h 1724"/>
                <a:gd name="T34" fmla="*/ 440 w 3616"/>
                <a:gd name="T35" fmla="*/ 309 h 1724"/>
                <a:gd name="T36" fmla="*/ 464 w 3616"/>
                <a:gd name="T37" fmla="*/ 321 h 1724"/>
                <a:gd name="T38" fmla="*/ 492 w 3616"/>
                <a:gd name="T39" fmla="*/ 319 h 1724"/>
                <a:gd name="T40" fmla="*/ 544 w 3616"/>
                <a:gd name="T41" fmla="*/ 327 h 1724"/>
                <a:gd name="T42" fmla="*/ 591 w 3616"/>
                <a:gd name="T43" fmla="*/ 309 h 1724"/>
                <a:gd name="T44" fmla="*/ 617 w 3616"/>
                <a:gd name="T45" fmla="*/ 312 h 1724"/>
                <a:gd name="T46" fmla="*/ 636 w 3616"/>
                <a:gd name="T47" fmla="*/ 303 h 1724"/>
                <a:gd name="T48" fmla="*/ 657 w 3616"/>
                <a:gd name="T49" fmla="*/ 321 h 1724"/>
                <a:gd name="T50" fmla="*/ 686 w 3616"/>
                <a:gd name="T51" fmla="*/ 327 h 1724"/>
                <a:gd name="T52" fmla="*/ 686 w 3616"/>
                <a:gd name="T53" fmla="*/ 173 h 1724"/>
                <a:gd name="T54" fmla="*/ 673 w 3616"/>
                <a:gd name="T55" fmla="*/ 112 h 1724"/>
                <a:gd name="T56" fmla="*/ 669 w 3616"/>
                <a:gd name="T57" fmla="*/ 74 h 1724"/>
                <a:gd name="T58" fmla="*/ 669 w 3616"/>
                <a:gd name="T59" fmla="*/ 48 h 1724"/>
                <a:gd name="T60" fmla="*/ 664 w 3616"/>
                <a:gd name="T61" fmla="*/ 26 h 1724"/>
                <a:gd name="T62" fmla="*/ 654 w 3616"/>
                <a:gd name="T63" fmla="*/ 0 h 1724"/>
                <a:gd name="T64" fmla="*/ 587 w 3616"/>
                <a:gd name="T65" fmla="*/ 5 h 1724"/>
                <a:gd name="T66" fmla="*/ 344 w 3616"/>
                <a:gd name="T67" fmla="*/ 25 h 1724"/>
                <a:gd name="T68" fmla="*/ 219 w 3616"/>
                <a:gd name="T69" fmla="*/ 25 h 1724"/>
                <a:gd name="T70" fmla="*/ 79 w 3616"/>
                <a:gd name="T71" fmla="*/ 25 h 1724"/>
                <a:gd name="T72" fmla="*/ 3 w 3616"/>
                <a:gd name="T73" fmla="*/ 24 h 17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16" h="1724">
                  <a:moveTo>
                    <a:pt x="14" y="124"/>
                  </a:moveTo>
                  <a:lnTo>
                    <a:pt x="0" y="392"/>
                  </a:lnTo>
                  <a:lnTo>
                    <a:pt x="573" y="383"/>
                  </a:lnTo>
                  <a:lnTo>
                    <a:pt x="893" y="374"/>
                  </a:lnTo>
                  <a:lnTo>
                    <a:pt x="1215" y="374"/>
                  </a:lnTo>
                  <a:lnTo>
                    <a:pt x="1231" y="557"/>
                  </a:lnTo>
                  <a:lnTo>
                    <a:pt x="1241" y="831"/>
                  </a:lnTo>
                  <a:lnTo>
                    <a:pt x="1213" y="987"/>
                  </a:lnTo>
                  <a:lnTo>
                    <a:pt x="1177" y="1115"/>
                  </a:lnTo>
                  <a:lnTo>
                    <a:pt x="1213" y="1233"/>
                  </a:lnTo>
                  <a:lnTo>
                    <a:pt x="1215" y="1364"/>
                  </a:lnTo>
                  <a:lnTo>
                    <a:pt x="1378" y="1380"/>
                  </a:lnTo>
                  <a:lnTo>
                    <a:pt x="1478" y="1444"/>
                  </a:lnTo>
                  <a:lnTo>
                    <a:pt x="1615" y="1453"/>
                  </a:lnTo>
                  <a:lnTo>
                    <a:pt x="1780" y="1553"/>
                  </a:lnTo>
                  <a:lnTo>
                    <a:pt x="2009" y="1517"/>
                  </a:lnTo>
                  <a:lnTo>
                    <a:pt x="2173" y="1663"/>
                  </a:lnTo>
                  <a:lnTo>
                    <a:pt x="2319" y="1627"/>
                  </a:lnTo>
                  <a:lnTo>
                    <a:pt x="2446" y="1694"/>
                  </a:lnTo>
                  <a:lnTo>
                    <a:pt x="2594" y="1681"/>
                  </a:lnTo>
                  <a:lnTo>
                    <a:pt x="2866" y="1724"/>
                  </a:lnTo>
                  <a:lnTo>
                    <a:pt x="3115" y="1627"/>
                  </a:lnTo>
                  <a:lnTo>
                    <a:pt x="3252" y="1645"/>
                  </a:lnTo>
                  <a:lnTo>
                    <a:pt x="3353" y="1599"/>
                  </a:lnTo>
                  <a:lnTo>
                    <a:pt x="3462" y="1691"/>
                  </a:lnTo>
                  <a:lnTo>
                    <a:pt x="3616" y="1724"/>
                  </a:lnTo>
                  <a:lnTo>
                    <a:pt x="3616" y="914"/>
                  </a:lnTo>
                  <a:lnTo>
                    <a:pt x="3545" y="593"/>
                  </a:lnTo>
                  <a:lnTo>
                    <a:pt x="3526" y="392"/>
                  </a:lnTo>
                  <a:lnTo>
                    <a:pt x="3526" y="254"/>
                  </a:lnTo>
                  <a:lnTo>
                    <a:pt x="3499" y="136"/>
                  </a:lnTo>
                  <a:lnTo>
                    <a:pt x="3446" y="0"/>
                  </a:lnTo>
                  <a:lnTo>
                    <a:pt x="3096" y="28"/>
                  </a:lnTo>
                  <a:lnTo>
                    <a:pt x="1814" y="134"/>
                  </a:lnTo>
                  <a:lnTo>
                    <a:pt x="1155" y="134"/>
                  </a:lnTo>
                  <a:lnTo>
                    <a:pt x="416" y="130"/>
                  </a:lnTo>
                  <a:lnTo>
                    <a:pt x="14" y="124"/>
                  </a:lnTo>
                  <a:close/>
                </a:path>
              </a:pathLst>
            </a:custGeom>
            <a:solidFill>
              <a:schemeClr val="accent3">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4" name="Ohio">
              <a:extLst>
                <a:ext uri="{FF2B5EF4-FFF2-40B4-BE49-F238E27FC236}">
                  <a16:creationId xmlns:a16="http://schemas.microsoft.com/office/drawing/2014/main" id="{5320351F-38D5-7D41-DFE5-5C791D46F294}"/>
                </a:ext>
              </a:extLst>
            </p:cNvPr>
            <p:cNvSpPr>
              <a:spLocks/>
            </p:cNvSpPr>
            <p:nvPr/>
          </p:nvSpPr>
          <p:spPr bwMode="auto">
            <a:xfrm>
              <a:off x="6305403" y="2587918"/>
              <a:ext cx="525917" cy="594938"/>
            </a:xfrm>
            <a:custGeom>
              <a:avLst/>
              <a:gdLst>
                <a:gd name="T0" fmla="*/ 0 w 1707"/>
                <a:gd name="T1" fmla="*/ 109 h 1934"/>
                <a:gd name="T2" fmla="*/ 23 w 1707"/>
                <a:gd name="T3" fmla="*/ 94 h 1934"/>
                <a:gd name="T4" fmla="*/ 60 w 1707"/>
                <a:gd name="T5" fmla="*/ 93 h 1934"/>
                <a:gd name="T6" fmla="*/ 60 w 1707"/>
                <a:gd name="T7" fmla="*/ 85 h 1934"/>
                <a:gd name="T8" fmla="*/ 96 w 1707"/>
                <a:gd name="T9" fmla="*/ 82 h 1934"/>
                <a:gd name="T10" fmla="*/ 122 w 1707"/>
                <a:gd name="T11" fmla="*/ 90 h 1934"/>
                <a:gd name="T12" fmla="*/ 153 w 1707"/>
                <a:gd name="T13" fmla="*/ 99 h 1934"/>
                <a:gd name="T14" fmla="*/ 218 w 1707"/>
                <a:gd name="T15" fmla="*/ 59 h 1934"/>
                <a:gd name="T16" fmla="*/ 295 w 1707"/>
                <a:gd name="T17" fmla="*/ 0 h 1934"/>
                <a:gd name="T18" fmla="*/ 318 w 1707"/>
                <a:gd name="T19" fmla="*/ 82 h 1934"/>
                <a:gd name="T20" fmla="*/ 321 w 1707"/>
                <a:gd name="T21" fmla="*/ 140 h 1934"/>
                <a:gd name="T22" fmla="*/ 324 w 1707"/>
                <a:gd name="T23" fmla="*/ 190 h 1934"/>
                <a:gd name="T24" fmla="*/ 312 w 1707"/>
                <a:gd name="T25" fmla="*/ 225 h 1934"/>
                <a:gd name="T26" fmla="*/ 292 w 1707"/>
                <a:gd name="T27" fmla="*/ 250 h 1934"/>
                <a:gd name="T28" fmla="*/ 272 w 1707"/>
                <a:gd name="T29" fmla="*/ 265 h 1934"/>
                <a:gd name="T30" fmla="*/ 275 w 1707"/>
                <a:gd name="T31" fmla="*/ 284 h 1934"/>
                <a:gd name="T32" fmla="*/ 268 w 1707"/>
                <a:gd name="T33" fmla="*/ 302 h 1934"/>
                <a:gd name="T34" fmla="*/ 250 w 1707"/>
                <a:gd name="T35" fmla="*/ 299 h 1934"/>
                <a:gd name="T36" fmla="*/ 250 w 1707"/>
                <a:gd name="T37" fmla="*/ 325 h 1934"/>
                <a:gd name="T38" fmla="*/ 244 w 1707"/>
                <a:gd name="T39" fmla="*/ 344 h 1934"/>
                <a:gd name="T40" fmla="*/ 221 w 1707"/>
                <a:gd name="T41" fmla="*/ 367 h 1934"/>
                <a:gd name="T42" fmla="*/ 206 w 1707"/>
                <a:gd name="T43" fmla="*/ 349 h 1934"/>
                <a:gd name="T44" fmla="*/ 184 w 1707"/>
                <a:gd name="T45" fmla="*/ 332 h 1934"/>
                <a:gd name="T46" fmla="*/ 168 w 1707"/>
                <a:gd name="T47" fmla="*/ 349 h 1934"/>
                <a:gd name="T48" fmla="*/ 147 w 1707"/>
                <a:gd name="T49" fmla="*/ 356 h 1934"/>
                <a:gd name="T50" fmla="*/ 113 w 1707"/>
                <a:gd name="T51" fmla="*/ 356 h 1934"/>
                <a:gd name="T52" fmla="*/ 83 w 1707"/>
                <a:gd name="T53" fmla="*/ 352 h 1934"/>
                <a:gd name="T54" fmla="*/ 52 w 1707"/>
                <a:gd name="T55" fmla="*/ 332 h 1934"/>
                <a:gd name="T56" fmla="*/ 46 w 1707"/>
                <a:gd name="T57" fmla="*/ 293 h 1934"/>
                <a:gd name="T58" fmla="*/ 32 w 1707"/>
                <a:gd name="T59" fmla="*/ 258 h 1934"/>
                <a:gd name="T60" fmla="*/ 29 w 1707"/>
                <a:gd name="T61" fmla="*/ 206 h 1934"/>
                <a:gd name="T62" fmla="*/ 20 w 1707"/>
                <a:gd name="T63" fmla="*/ 189 h 1934"/>
                <a:gd name="T64" fmla="*/ 7 w 1707"/>
                <a:gd name="T65" fmla="*/ 150 h 1934"/>
                <a:gd name="T66" fmla="*/ 13 w 1707"/>
                <a:gd name="T67" fmla="*/ 135 h 1934"/>
                <a:gd name="T68" fmla="*/ 0 w 1707"/>
                <a:gd name="T69" fmla="*/ 109 h 19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07" h="1934">
                  <a:moveTo>
                    <a:pt x="0" y="575"/>
                  </a:moveTo>
                  <a:lnTo>
                    <a:pt x="123" y="496"/>
                  </a:lnTo>
                  <a:lnTo>
                    <a:pt x="315" y="488"/>
                  </a:lnTo>
                  <a:lnTo>
                    <a:pt x="315" y="448"/>
                  </a:lnTo>
                  <a:lnTo>
                    <a:pt x="507" y="432"/>
                  </a:lnTo>
                  <a:lnTo>
                    <a:pt x="643" y="472"/>
                  </a:lnTo>
                  <a:lnTo>
                    <a:pt x="805" y="523"/>
                  </a:lnTo>
                  <a:lnTo>
                    <a:pt x="1147" y="312"/>
                  </a:lnTo>
                  <a:lnTo>
                    <a:pt x="1555" y="0"/>
                  </a:lnTo>
                  <a:lnTo>
                    <a:pt x="1675" y="433"/>
                  </a:lnTo>
                  <a:lnTo>
                    <a:pt x="1691" y="736"/>
                  </a:lnTo>
                  <a:lnTo>
                    <a:pt x="1707" y="1000"/>
                  </a:lnTo>
                  <a:lnTo>
                    <a:pt x="1645" y="1184"/>
                  </a:lnTo>
                  <a:lnTo>
                    <a:pt x="1539" y="1320"/>
                  </a:lnTo>
                  <a:lnTo>
                    <a:pt x="1435" y="1394"/>
                  </a:lnTo>
                  <a:lnTo>
                    <a:pt x="1451" y="1496"/>
                  </a:lnTo>
                  <a:lnTo>
                    <a:pt x="1411" y="1592"/>
                  </a:lnTo>
                  <a:lnTo>
                    <a:pt x="1315" y="1574"/>
                  </a:lnTo>
                  <a:lnTo>
                    <a:pt x="1315" y="1712"/>
                  </a:lnTo>
                  <a:lnTo>
                    <a:pt x="1285" y="1814"/>
                  </a:lnTo>
                  <a:lnTo>
                    <a:pt x="1165" y="1934"/>
                  </a:lnTo>
                  <a:lnTo>
                    <a:pt x="1083" y="1840"/>
                  </a:lnTo>
                  <a:lnTo>
                    <a:pt x="971" y="1752"/>
                  </a:lnTo>
                  <a:lnTo>
                    <a:pt x="883" y="1840"/>
                  </a:lnTo>
                  <a:lnTo>
                    <a:pt x="775" y="1874"/>
                  </a:lnTo>
                  <a:lnTo>
                    <a:pt x="595" y="1874"/>
                  </a:lnTo>
                  <a:lnTo>
                    <a:pt x="435" y="1856"/>
                  </a:lnTo>
                  <a:lnTo>
                    <a:pt x="275" y="1750"/>
                  </a:lnTo>
                  <a:lnTo>
                    <a:pt x="242" y="1544"/>
                  </a:lnTo>
                  <a:lnTo>
                    <a:pt x="170" y="1361"/>
                  </a:lnTo>
                  <a:lnTo>
                    <a:pt x="153" y="1085"/>
                  </a:lnTo>
                  <a:lnTo>
                    <a:pt x="107" y="998"/>
                  </a:lnTo>
                  <a:lnTo>
                    <a:pt x="35" y="791"/>
                  </a:lnTo>
                  <a:lnTo>
                    <a:pt x="66" y="710"/>
                  </a:lnTo>
                  <a:lnTo>
                    <a:pt x="0" y="575"/>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5" name="North Dakota">
              <a:extLst>
                <a:ext uri="{FF2B5EF4-FFF2-40B4-BE49-F238E27FC236}">
                  <a16:creationId xmlns:a16="http://schemas.microsoft.com/office/drawing/2014/main" id="{FC9C5E63-BBA3-23ED-B0F3-CB83EF5E7A82}"/>
                </a:ext>
              </a:extLst>
            </p:cNvPr>
            <p:cNvSpPr>
              <a:spLocks/>
            </p:cNvSpPr>
            <p:nvPr/>
          </p:nvSpPr>
          <p:spPr bwMode="auto">
            <a:xfrm>
              <a:off x="4096230" y="1845461"/>
              <a:ext cx="805106" cy="478219"/>
            </a:xfrm>
            <a:custGeom>
              <a:avLst/>
              <a:gdLst>
                <a:gd name="T0" fmla="*/ 14 w 2622"/>
                <a:gd name="T1" fmla="*/ 7 h 1560"/>
                <a:gd name="T2" fmla="*/ 0 w 2622"/>
                <a:gd name="T3" fmla="*/ 295 h 1560"/>
                <a:gd name="T4" fmla="*/ 496 w 2622"/>
                <a:gd name="T5" fmla="*/ 284 h 1560"/>
                <a:gd name="T6" fmla="*/ 486 w 2622"/>
                <a:gd name="T7" fmla="*/ 217 h 1560"/>
                <a:gd name="T8" fmla="*/ 477 w 2622"/>
                <a:gd name="T9" fmla="*/ 130 h 1560"/>
                <a:gd name="T10" fmla="*/ 454 w 2622"/>
                <a:gd name="T11" fmla="*/ 99 h 1560"/>
                <a:gd name="T12" fmla="*/ 447 w 2622"/>
                <a:gd name="T13" fmla="*/ 58 h 1560"/>
                <a:gd name="T14" fmla="*/ 443 w 2622"/>
                <a:gd name="T15" fmla="*/ 0 h 1560"/>
                <a:gd name="T16" fmla="*/ 355 w 2622"/>
                <a:gd name="T17" fmla="*/ 3 h 1560"/>
                <a:gd name="T18" fmla="*/ 310 w 2622"/>
                <a:gd name="T19" fmla="*/ 12 h 1560"/>
                <a:gd name="T20" fmla="*/ 236 w 2622"/>
                <a:gd name="T21" fmla="*/ 9 h 1560"/>
                <a:gd name="T22" fmla="*/ 140 w 2622"/>
                <a:gd name="T23" fmla="*/ 10 h 1560"/>
                <a:gd name="T24" fmla="*/ 14 w 2622"/>
                <a:gd name="T25" fmla="*/ 7 h 15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22" h="1560">
                  <a:moveTo>
                    <a:pt x="72" y="35"/>
                  </a:moveTo>
                  <a:lnTo>
                    <a:pt x="0" y="1560"/>
                  </a:lnTo>
                  <a:lnTo>
                    <a:pt x="2622" y="1503"/>
                  </a:lnTo>
                  <a:lnTo>
                    <a:pt x="2568" y="1149"/>
                  </a:lnTo>
                  <a:lnTo>
                    <a:pt x="2520" y="690"/>
                  </a:lnTo>
                  <a:lnTo>
                    <a:pt x="2400" y="525"/>
                  </a:lnTo>
                  <a:lnTo>
                    <a:pt x="2364" y="309"/>
                  </a:lnTo>
                  <a:lnTo>
                    <a:pt x="2340" y="0"/>
                  </a:lnTo>
                  <a:lnTo>
                    <a:pt x="1878" y="15"/>
                  </a:lnTo>
                  <a:lnTo>
                    <a:pt x="1638" y="63"/>
                  </a:lnTo>
                  <a:lnTo>
                    <a:pt x="1248" y="45"/>
                  </a:lnTo>
                  <a:lnTo>
                    <a:pt x="738" y="51"/>
                  </a:lnTo>
                  <a:lnTo>
                    <a:pt x="72" y="35"/>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6" name="North Carolina">
              <a:extLst>
                <a:ext uri="{FF2B5EF4-FFF2-40B4-BE49-F238E27FC236}">
                  <a16:creationId xmlns:a16="http://schemas.microsoft.com/office/drawing/2014/main" id="{ED6334F3-9D47-4584-05FA-45D76229CE9B}"/>
                </a:ext>
              </a:extLst>
            </p:cNvPr>
            <p:cNvSpPr>
              <a:spLocks/>
            </p:cNvSpPr>
            <p:nvPr/>
          </p:nvSpPr>
          <p:spPr bwMode="auto">
            <a:xfrm>
              <a:off x="6545636" y="3221762"/>
              <a:ext cx="1051833" cy="539820"/>
            </a:xfrm>
            <a:custGeom>
              <a:avLst/>
              <a:gdLst>
                <a:gd name="T0" fmla="*/ 0 w 3422"/>
                <a:gd name="T1" fmla="*/ 333 h 1760"/>
                <a:gd name="T2" fmla="*/ 32 w 3422"/>
                <a:gd name="T3" fmla="*/ 329 h 1760"/>
                <a:gd name="T4" fmla="*/ 70 w 3422"/>
                <a:gd name="T5" fmla="*/ 317 h 1760"/>
                <a:gd name="T6" fmla="*/ 92 w 3422"/>
                <a:gd name="T7" fmla="*/ 314 h 1760"/>
                <a:gd name="T8" fmla="*/ 161 w 3422"/>
                <a:gd name="T9" fmla="*/ 282 h 1760"/>
                <a:gd name="T10" fmla="*/ 205 w 3422"/>
                <a:gd name="T11" fmla="*/ 268 h 1760"/>
                <a:gd name="T12" fmla="*/ 243 w 3422"/>
                <a:gd name="T13" fmla="*/ 258 h 1760"/>
                <a:gd name="T14" fmla="*/ 275 w 3422"/>
                <a:gd name="T15" fmla="*/ 262 h 1760"/>
                <a:gd name="T16" fmla="*/ 292 w 3422"/>
                <a:gd name="T17" fmla="*/ 280 h 1760"/>
                <a:gd name="T18" fmla="*/ 327 w 3422"/>
                <a:gd name="T19" fmla="*/ 268 h 1760"/>
                <a:gd name="T20" fmla="*/ 371 w 3422"/>
                <a:gd name="T21" fmla="*/ 246 h 1760"/>
                <a:gd name="T22" fmla="*/ 418 w 3422"/>
                <a:gd name="T23" fmla="*/ 286 h 1760"/>
                <a:gd name="T24" fmla="*/ 457 w 3422"/>
                <a:gd name="T25" fmla="*/ 308 h 1760"/>
                <a:gd name="T26" fmla="*/ 467 w 3422"/>
                <a:gd name="T27" fmla="*/ 331 h 1760"/>
                <a:gd name="T28" fmla="*/ 506 w 3422"/>
                <a:gd name="T29" fmla="*/ 301 h 1760"/>
                <a:gd name="T30" fmla="*/ 525 w 3422"/>
                <a:gd name="T31" fmla="*/ 276 h 1760"/>
                <a:gd name="T32" fmla="*/ 537 w 3422"/>
                <a:gd name="T33" fmla="*/ 246 h 1760"/>
                <a:gd name="T34" fmla="*/ 554 w 3422"/>
                <a:gd name="T35" fmla="*/ 217 h 1760"/>
                <a:gd name="T36" fmla="*/ 582 w 3422"/>
                <a:gd name="T37" fmla="*/ 202 h 1760"/>
                <a:gd name="T38" fmla="*/ 603 w 3422"/>
                <a:gd name="T39" fmla="*/ 187 h 1760"/>
                <a:gd name="T40" fmla="*/ 614 w 3422"/>
                <a:gd name="T41" fmla="*/ 176 h 1760"/>
                <a:gd name="T42" fmla="*/ 603 w 3422"/>
                <a:gd name="T43" fmla="*/ 165 h 1760"/>
                <a:gd name="T44" fmla="*/ 568 w 3422"/>
                <a:gd name="T45" fmla="*/ 182 h 1760"/>
                <a:gd name="T46" fmla="*/ 563 w 3422"/>
                <a:gd name="T47" fmla="*/ 165 h 1760"/>
                <a:gd name="T48" fmla="*/ 582 w 3422"/>
                <a:gd name="T49" fmla="*/ 160 h 1760"/>
                <a:gd name="T50" fmla="*/ 592 w 3422"/>
                <a:gd name="T51" fmla="*/ 148 h 1760"/>
                <a:gd name="T52" fmla="*/ 591 w 3422"/>
                <a:gd name="T53" fmla="*/ 125 h 1760"/>
                <a:gd name="T54" fmla="*/ 625 w 3422"/>
                <a:gd name="T55" fmla="*/ 114 h 1760"/>
                <a:gd name="T56" fmla="*/ 645 w 3422"/>
                <a:gd name="T57" fmla="*/ 90 h 1760"/>
                <a:gd name="T58" fmla="*/ 648 w 3422"/>
                <a:gd name="T59" fmla="*/ 68 h 1760"/>
                <a:gd name="T60" fmla="*/ 625 w 3422"/>
                <a:gd name="T61" fmla="*/ 45 h 1760"/>
                <a:gd name="T62" fmla="*/ 620 w 3422"/>
                <a:gd name="T63" fmla="*/ 68 h 1760"/>
                <a:gd name="T64" fmla="*/ 602 w 3422"/>
                <a:gd name="T65" fmla="*/ 63 h 1760"/>
                <a:gd name="T66" fmla="*/ 570 w 3422"/>
                <a:gd name="T67" fmla="*/ 70 h 1760"/>
                <a:gd name="T68" fmla="*/ 551 w 3422"/>
                <a:gd name="T69" fmla="*/ 51 h 1760"/>
                <a:gd name="T70" fmla="*/ 564 w 3422"/>
                <a:gd name="T71" fmla="*/ 39 h 1760"/>
                <a:gd name="T72" fmla="*/ 586 w 3422"/>
                <a:gd name="T73" fmla="*/ 49 h 1760"/>
                <a:gd name="T74" fmla="*/ 599 w 3422"/>
                <a:gd name="T75" fmla="*/ 34 h 1760"/>
                <a:gd name="T76" fmla="*/ 620 w 3422"/>
                <a:gd name="T77" fmla="*/ 28 h 1760"/>
                <a:gd name="T78" fmla="*/ 591 w 3422"/>
                <a:gd name="T79" fmla="*/ 0 h 1760"/>
                <a:gd name="T80" fmla="*/ 554 w 3422"/>
                <a:gd name="T81" fmla="*/ 17 h 1760"/>
                <a:gd name="T82" fmla="*/ 512 w 3422"/>
                <a:gd name="T83" fmla="*/ 23 h 1760"/>
                <a:gd name="T84" fmla="*/ 351 w 3422"/>
                <a:gd name="T85" fmla="*/ 70 h 1760"/>
                <a:gd name="T86" fmla="*/ 280 w 3422"/>
                <a:gd name="T87" fmla="*/ 101 h 1760"/>
                <a:gd name="T88" fmla="*/ 178 w 3422"/>
                <a:gd name="T89" fmla="*/ 129 h 1760"/>
                <a:gd name="T90" fmla="*/ 178 w 3422"/>
                <a:gd name="T91" fmla="*/ 151 h 1760"/>
                <a:gd name="T92" fmla="*/ 165 w 3422"/>
                <a:gd name="T93" fmla="*/ 169 h 1760"/>
                <a:gd name="T94" fmla="*/ 97 w 3422"/>
                <a:gd name="T95" fmla="*/ 202 h 1760"/>
                <a:gd name="T96" fmla="*/ 103 w 3422"/>
                <a:gd name="T97" fmla="*/ 220 h 1760"/>
                <a:gd name="T98" fmla="*/ 32 w 3422"/>
                <a:gd name="T99" fmla="*/ 275 h 1760"/>
                <a:gd name="T100" fmla="*/ 18 w 3422"/>
                <a:gd name="T101" fmla="*/ 300 h 1760"/>
                <a:gd name="T102" fmla="*/ 1 w 3422"/>
                <a:gd name="T103" fmla="*/ 305 h 1760"/>
                <a:gd name="T104" fmla="*/ 0 w 3422"/>
                <a:gd name="T105" fmla="*/ 333 h 17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422" h="1760">
                  <a:moveTo>
                    <a:pt x="0" y="1760"/>
                  </a:moveTo>
                  <a:lnTo>
                    <a:pt x="168" y="1738"/>
                  </a:lnTo>
                  <a:lnTo>
                    <a:pt x="369" y="1675"/>
                  </a:lnTo>
                  <a:lnTo>
                    <a:pt x="487" y="1657"/>
                  </a:lnTo>
                  <a:lnTo>
                    <a:pt x="848" y="1490"/>
                  </a:lnTo>
                  <a:lnTo>
                    <a:pt x="1082" y="1419"/>
                  </a:lnTo>
                  <a:lnTo>
                    <a:pt x="1283" y="1365"/>
                  </a:lnTo>
                  <a:lnTo>
                    <a:pt x="1452" y="1386"/>
                  </a:lnTo>
                  <a:lnTo>
                    <a:pt x="1542" y="1478"/>
                  </a:lnTo>
                  <a:lnTo>
                    <a:pt x="1726" y="1418"/>
                  </a:lnTo>
                  <a:lnTo>
                    <a:pt x="1961" y="1298"/>
                  </a:lnTo>
                  <a:lnTo>
                    <a:pt x="2209" y="1511"/>
                  </a:lnTo>
                  <a:lnTo>
                    <a:pt x="2411" y="1626"/>
                  </a:lnTo>
                  <a:lnTo>
                    <a:pt x="2468" y="1748"/>
                  </a:lnTo>
                  <a:lnTo>
                    <a:pt x="2672" y="1590"/>
                  </a:lnTo>
                  <a:lnTo>
                    <a:pt x="2772" y="1460"/>
                  </a:lnTo>
                  <a:lnTo>
                    <a:pt x="2836" y="1300"/>
                  </a:lnTo>
                  <a:lnTo>
                    <a:pt x="2924" y="1148"/>
                  </a:lnTo>
                  <a:lnTo>
                    <a:pt x="3076" y="1068"/>
                  </a:lnTo>
                  <a:lnTo>
                    <a:pt x="3182" y="990"/>
                  </a:lnTo>
                  <a:lnTo>
                    <a:pt x="3244" y="932"/>
                  </a:lnTo>
                  <a:lnTo>
                    <a:pt x="3182" y="870"/>
                  </a:lnTo>
                  <a:lnTo>
                    <a:pt x="3002" y="960"/>
                  </a:lnTo>
                  <a:lnTo>
                    <a:pt x="2972" y="870"/>
                  </a:lnTo>
                  <a:lnTo>
                    <a:pt x="3076" y="844"/>
                  </a:lnTo>
                  <a:lnTo>
                    <a:pt x="3124" y="780"/>
                  </a:lnTo>
                  <a:lnTo>
                    <a:pt x="3122" y="660"/>
                  </a:lnTo>
                  <a:lnTo>
                    <a:pt x="3302" y="600"/>
                  </a:lnTo>
                  <a:lnTo>
                    <a:pt x="3404" y="476"/>
                  </a:lnTo>
                  <a:lnTo>
                    <a:pt x="3422" y="360"/>
                  </a:lnTo>
                  <a:lnTo>
                    <a:pt x="3302" y="240"/>
                  </a:lnTo>
                  <a:lnTo>
                    <a:pt x="3272" y="360"/>
                  </a:lnTo>
                  <a:lnTo>
                    <a:pt x="3180" y="332"/>
                  </a:lnTo>
                  <a:lnTo>
                    <a:pt x="3012" y="372"/>
                  </a:lnTo>
                  <a:lnTo>
                    <a:pt x="2912" y="270"/>
                  </a:lnTo>
                  <a:lnTo>
                    <a:pt x="2980" y="204"/>
                  </a:lnTo>
                  <a:lnTo>
                    <a:pt x="3092" y="260"/>
                  </a:lnTo>
                  <a:lnTo>
                    <a:pt x="3164" y="180"/>
                  </a:lnTo>
                  <a:lnTo>
                    <a:pt x="3272" y="150"/>
                  </a:lnTo>
                  <a:lnTo>
                    <a:pt x="3122" y="0"/>
                  </a:lnTo>
                  <a:lnTo>
                    <a:pt x="2924" y="92"/>
                  </a:lnTo>
                  <a:lnTo>
                    <a:pt x="2702" y="120"/>
                  </a:lnTo>
                  <a:lnTo>
                    <a:pt x="1852" y="372"/>
                  </a:lnTo>
                  <a:lnTo>
                    <a:pt x="1477" y="532"/>
                  </a:lnTo>
                  <a:lnTo>
                    <a:pt x="939" y="683"/>
                  </a:lnTo>
                  <a:lnTo>
                    <a:pt x="942" y="797"/>
                  </a:lnTo>
                  <a:lnTo>
                    <a:pt x="871" y="892"/>
                  </a:lnTo>
                  <a:lnTo>
                    <a:pt x="513" y="1070"/>
                  </a:lnTo>
                  <a:lnTo>
                    <a:pt x="545" y="1164"/>
                  </a:lnTo>
                  <a:lnTo>
                    <a:pt x="171" y="1451"/>
                  </a:lnTo>
                  <a:lnTo>
                    <a:pt x="93" y="1583"/>
                  </a:lnTo>
                  <a:lnTo>
                    <a:pt x="3" y="1614"/>
                  </a:lnTo>
                  <a:lnTo>
                    <a:pt x="0" y="1760"/>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27" name="New York">
              <a:extLst>
                <a:ext uri="{FF2B5EF4-FFF2-40B4-BE49-F238E27FC236}">
                  <a16:creationId xmlns:a16="http://schemas.microsoft.com/office/drawing/2014/main" id="{E67539E5-CDF0-71E4-FC80-5575E45179C8}"/>
                </a:ext>
              </a:extLst>
            </p:cNvPr>
            <p:cNvSpPr>
              <a:spLocks/>
            </p:cNvSpPr>
            <p:nvPr/>
          </p:nvSpPr>
          <p:spPr bwMode="auto">
            <a:xfrm>
              <a:off x="6816710" y="1876262"/>
              <a:ext cx="800238" cy="684098"/>
            </a:xfrm>
            <a:custGeom>
              <a:avLst/>
              <a:gdLst>
                <a:gd name="T0" fmla="*/ 0 w 2597"/>
                <a:gd name="T1" fmla="*/ 421 h 2224"/>
                <a:gd name="T2" fmla="*/ 24 w 2597"/>
                <a:gd name="T3" fmla="*/ 422 h 2224"/>
                <a:gd name="T4" fmla="*/ 207 w 2597"/>
                <a:gd name="T5" fmla="*/ 361 h 2224"/>
                <a:gd name="T6" fmla="*/ 330 w 2597"/>
                <a:gd name="T7" fmla="*/ 324 h 2224"/>
                <a:gd name="T8" fmla="*/ 380 w 2597"/>
                <a:gd name="T9" fmla="*/ 357 h 2224"/>
                <a:gd name="T10" fmla="*/ 398 w 2597"/>
                <a:gd name="T11" fmla="*/ 365 h 2224"/>
                <a:gd name="T12" fmla="*/ 436 w 2597"/>
                <a:gd name="T13" fmla="*/ 367 h 2224"/>
                <a:gd name="T14" fmla="*/ 474 w 2597"/>
                <a:gd name="T15" fmla="*/ 373 h 2224"/>
                <a:gd name="T16" fmla="*/ 493 w 2597"/>
                <a:gd name="T17" fmla="*/ 346 h 2224"/>
                <a:gd name="T18" fmla="*/ 483 w 2597"/>
                <a:gd name="T19" fmla="*/ 334 h 2224"/>
                <a:gd name="T20" fmla="*/ 482 w 2597"/>
                <a:gd name="T21" fmla="*/ 314 h 2224"/>
                <a:gd name="T22" fmla="*/ 465 w 2597"/>
                <a:gd name="T23" fmla="*/ 301 h 2224"/>
                <a:gd name="T24" fmla="*/ 459 w 2597"/>
                <a:gd name="T25" fmla="*/ 278 h 2224"/>
                <a:gd name="T26" fmla="*/ 454 w 2597"/>
                <a:gd name="T27" fmla="*/ 241 h 2224"/>
                <a:gd name="T28" fmla="*/ 447 w 2597"/>
                <a:gd name="T29" fmla="*/ 198 h 2224"/>
                <a:gd name="T30" fmla="*/ 439 w 2597"/>
                <a:gd name="T31" fmla="*/ 170 h 2224"/>
                <a:gd name="T32" fmla="*/ 433 w 2597"/>
                <a:gd name="T33" fmla="*/ 132 h 2224"/>
                <a:gd name="T34" fmla="*/ 396 w 2597"/>
                <a:gd name="T35" fmla="*/ 73 h 2224"/>
                <a:gd name="T36" fmla="*/ 385 w 2597"/>
                <a:gd name="T37" fmla="*/ 28 h 2224"/>
                <a:gd name="T38" fmla="*/ 377 w 2597"/>
                <a:gd name="T39" fmla="*/ 11 h 2224"/>
                <a:gd name="T40" fmla="*/ 362 w 2597"/>
                <a:gd name="T41" fmla="*/ 0 h 2224"/>
                <a:gd name="T42" fmla="*/ 351 w 2597"/>
                <a:gd name="T43" fmla="*/ 11 h 2224"/>
                <a:gd name="T44" fmla="*/ 328 w 2597"/>
                <a:gd name="T45" fmla="*/ 16 h 2224"/>
                <a:gd name="T46" fmla="*/ 301 w 2597"/>
                <a:gd name="T47" fmla="*/ 29 h 2224"/>
                <a:gd name="T48" fmla="*/ 260 w 2597"/>
                <a:gd name="T49" fmla="*/ 39 h 2224"/>
                <a:gd name="T50" fmla="*/ 243 w 2597"/>
                <a:gd name="T51" fmla="*/ 61 h 2224"/>
                <a:gd name="T52" fmla="*/ 225 w 2597"/>
                <a:gd name="T53" fmla="*/ 85 h 2224"/>
                <a:gd name="T54" fmla="*/ 227 w 2597"/>
                <a:gd name="T55" fmla="*/ 108 h 2224"/>
                <a:gd name="T56" fmla="*/ 233 w 2597"/>
                <a:gd name="T57" fmla="*/ 123 h 2224"/>
                <a:gd name="T58" fmla="*/ 197 w 2597"/>
                <a:gd name="T59" fmla="*/ 159 h 2224"/>
                <a:gd name="T60" fmla="*/ 211 w 2597"/>
                <a:gd name="T61" fmla="*/ 165 h 2224"/>
                <a:gd name="T62" fmla="*/ 225 w 2597"/>
                <a:gd name="T63" fmla="*/ 159 h 2224"/>
                <a:gd name="T64" fmla="*/ 228 w 2597"/>
                <a:gd name="T65" fmla="*/ 173 h 2224"/>
                <a:gd name="T66" fmla="*/ 214 w 2597"/>
                <a:gd name="T67" fmla="*/ 187 h 2224"/>
                <a:gd name="T68" fmla="*/ 237 w 2597"/>
                <a:gd name="T69" fmla="*/ 198 h 2224"/>
                <a:gd name="T70" fmla="*/ 242 w 2597"/>
                <a:gd name="T71" fmla="*/ 216 h 2224"/>
                <a:gd name="T72" fmla="*/ 213 w 2597"/>
                <a:gd name="T73" fmla="*/ 225 h 2224"/>
                <a:gd name="T74" fmla="*/ 183 w 2597"/>
                <a:gd name="T75" fmla="*/ 243 h 2224"/>
                <a:gd name="T76" fmla="*/ 151 w 2597"/>
                <a:gd name="T77" fmla="*/ 267 h 2224"/>
                <a:gd name="T78" fmla="*/ 120 w 2597"/>
                <a:gd name="T79" fmla="*/ 261 h 2224"/>
                <a:gd name="T80" fmla="*/ 88 w 2597"/>
                <a:gd name="T81" fmla="*/ 273 h 2224"/>
                <a:gd name="T82" fmla="*/ 60 w 2597"/>
                <a:gd name="T83" fmla="*/ 291 h 2224"/>
                <a:gd name="T84" fmla="*/ 58 w 2597"/>
                <a:gd name="T85" fmla="*/ 310 h 2224"/>
                <a:gd name="T86" fmla="*/ 77 w 2597"/>
                <a:gd name="T87" fmla="*/ 329 h 2224"/>
                <a:gd name="T88" fmla="*/ 76 w 2597"/>
                <a:gd name="T89" fmla="*/ 351 h 2224"/>
                <a:gd name="T90" fmla="*/ 60 w 2597"/>
                <a:gd name="T91" fmla="*/ 369 h 2224"/>
                <a:gd name="T92" fmla="*/ 0 w 2597"/>
                <a:gd name="T93" fmla="*/ 421 h 22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97" h="2224">
                  <a:moveTo>
                    <a:pt x="0" y="2218"/>
                  </a:moveTo>
                  <a:lnTo>
                    <a:pt x="128" y="2224"/>
                  </a:lnTo>
                  <a:lnTo>
                    <a:pt x="1088" y="1905"/>
                  </a:lnTo>
                  <a:lnTo>
                    <a:pt x="1737" y="1708"/>
                  </a:lnTo>
                  <a:lnTo>
                    <a:pt x="2003" y="1884"/>
                  </a:lnTo>
                  <a:lnTo>
                    <a:pt x="2094" y="1924"/>
                  </a:lnTo>
                  <a:lnTo>
                    <a:pt x="2298" y="1936"/>
                  </a:lnTo>
                  <a:lnTo>
                    <a:pt x="2498" y="1968"/>
                  </a:lnTo>
                  <a:lnTo>
                    <a:pt x="2597" y="1826"/>
                  </a:lnTo>
                  <a:lnTo>
                    <a:pt x="2546" y="1760"/>
                  </a:lnTo>
                  <a:lnTo>
                    <a:pt x="2538" y="1656"/>
                  </a:lnTo>
                  <a:lnTo>
                    <a:pt x="2450" y="1584"/>
                  </a:lnTo>
                  <a:lnTo>
                    <a:pt x="2417" y="1466"/>
                  </a:lnTo>
                  <a:lnTo>
                    <a:pt x="2394" y="1272"/>
                  </a:lnTo>
                  <a:lnTo>
                    <a:pt x="2357" y="1046"/>
                  </a:lnTo>
                  <a:lnTo>
                    <a:pt x="2314" y="896"/>
                  </a:lnTo>
                  <a:lnTo>
                    <a:pt x="2282" y="696"/>
                  </a:lnTo>
                  <a:lnTo>
                    <a:pt x="2087" y="386"/>
                  </a:lnTo>
                  <a:lnTo>
                    <a:pt x="2027" y="146"/>
                  </a:lnTo>
                  <a:lnTo>
                    <a:pt x="1986" y="56"/>
                  </a:lnTo>
                  <a:lnTo>
                    <a:pt x="1906" y="0"/>
                  </a:lnTo>
                  <a:lnTo>
                    <a:pt x="1847" y="56"/>
                  </a:lnTo>
                  <a:lnTo>
                    <a:pt x="1727" y="86"/>
                  </a:lnTo>
                  <a:lnTo>
                    <a:pt x="1586" y="152"/>
                  </a:lnTo>
                  <a:lnTo>
                    <a:pt x="1367" y="206"/>
                  </a:lnTo>
                  <a:lnTo>
                    <a:pt x="1282" y="320"/>
                  </a:lnTo>
                  <a:lnTo>
                    <a:pt x="1186" y="446"/>
                  </a:lnTo>
                  <a:lnTo>
                    <a:pt x="1194" y="568"/>
                  </a:lnTo>
                  <a:lnTo>
                    <a:pt x="1226" y="648"/>
                  </a:lnTo>
                  <a:lnTo>
                    <a:pt x="1036" y="836"/>
                  </a:lnTo>
                  <a:lnTo>
                    <a:pt x="1114" y="872"/>
                  </a:lnTo>
                  <a:lnTo>
                    <a:pt x="1186" y="836"/>
                  </a:lnTo>
                  <a:lnTo>
                    <a:pt x="1202" y="912"/>
                  </a:lnTo>
                  <a:lnTo>
                    <a:pt x="1126" y="986"/>
                  </a:lnTo>
                  <a:lnTo>
                    <a:pt x="1247" y="1046"/>
                  </a:lnTo>
                  <a:lnTo>
                    <a:pt x="1277" y="1136"/>
                  </a:lnTo>
                  <a:lnTo>
                    <a:pt x="1122" y="1184"/>
                  </a:lnTo>
                  <a:lnTo>
                    <a:pt x="962" y="1280"/>
                  </a:lnTo>
                  <a:lnTo>
                    <a:pt x="796" y="1406"/>
                  </a:lnTo>
                  <a:lnTo>
                    <a:pt x="634" y="1376"/>
                  </a:lnTo>
                  <a:lnTo>
                    <a:pt x="466" y="1440"/>
                  </a:lnTo>
                  <a:lnTo>
                    <a:pt x="314" y="1536"/>
                  </a:lnTo>
                  <a:lnTo>
                    <a:pt x="306" y="1632"/>
                  </a:lnTo>
                  <a:lnTo>
                    <a:pt x="406" y="1736"/>
                  </a:lnTo>
                  <a:lnTo>
                    <a:pt x="402" y="1848"/>
                  </a:lnTo>
                  <a:lnTo>
                    <a:pt x="316" y="1946"/>
                  </a:lnTo>
                  <a:lnTo>
                    <a:pt x="0" y="2218"/>
                  </a:lnTo>
                  <a:close/>
                </a:path>
              </a:pathLst>
            </a:custGeom>
            <a:solidFill>
              <a:schemeClr val="accent3">
                <a:lumMod val="50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28" name="New Mexico">
              <a:extLst>
                <a:ext uri="{FF2B5EF4-FFF2-40B4-BE49-F238E27FC236}">
                  <a16:creationId xmlns:a16="http://schemas.microsoft.com/office/drawing/2014/main" id="{F9544666-ED8D-A9FB-CFA6-C48C5907BFF1}"/>
                </a:ext>
              </a:extLst>
            </p:cNvPr>
            <p:cNvSpPr>
              <a:spLocks/>
            </p:cNvSpPr>
            <p:nvPr/>
          </p:nvSpPr>
          <p:spPr bwMode="auto">
            <a:xfrm>
              <a:off x="3357674" y="3656212"/>
              <a:ext cx="816469" cy="893217"/>
            </a:xfrm>
            <a:custGeom>
              <a:avLst/>
              <a:gdLst>
                <a:gd name="T0" fmla="*/ 41 w 2655"/>
                <a:gd name="T1" fmla="*/ 0 h 2904"/>
                <a:gd name="T2" fmla="*/ 261 w 2655"/>
                <a:gd name="T3" fmla="*/ 16 h 2904"/>
                <a:gd name="T4" fmla="*/ 411 w 2655"/>
                <a:gd name="T5" fmla="*/ 23 h 2904"/>
                <a:gd name="T6" fmla="*/ 503 w 2655"/>
                <a:gd name="T7" fmla="*/ 25 h 2904"/>
                <a:gd name="T8" fmla="*/ 500 w 2655"/>
                <a:gd name="T9" fmla="*/ 75 h 2904"/>
                <a:gd name="T10" fmla="*/ 503 w 2655"/>
                <a:gd name="T11" fmla="*/ 283 h 2904"/>
                <a:gd name="T12" fmla="*/ 497 w 2655"/>
                <a:gd name="T13" fmla="*/ 505 h 2904"/>
                <a:gd name="T14" fmla="*/ 194 w 2655"/>
                <a:gd name="T15" fmla="*/ 494 h 2904"/>
                <a:gd name="T16" fmla="*/ 206 w 2655"/>
                <a:gd name="T17" fmla="*/ 516 h 2904"/>
                <a:gd name="T18" fmla="*/ 171 w 2655"/>
                <a:gd name="T19" fmla="*/ 510 h 2904"/>
                <a:gd name="T20" fmla="*/ 130 w 2655"/>
                <a:gd name="T21" fmla="*/ 512 h 2904"/>
                <a:gd name="T22" fmla="*/ 80 w 2655"/>
                <a:gd name="T23" fmla="*/ 505 h 2904"/>
                <a:gd name="T24" fmla="*/ 78 w 2655"/>
                <a:gd name="T25" fmla="*/ 532 h 2904"/>
                <a:gd name="T26" fmla="*/ 73 w 2655"/>
                <a:gd name="T27" fmla="*/ 551 h 2904"/>
                <a:gd name="T28" fmla="*/ 0 w 2655"/>
                <a:gd name="T29" fmla="*/ 549 h 2904"/>
                <a:gd name="T30" fmla="*/ 41 w 2655"/>
                <a:gd name="T31" fmla="*/ 0 h 29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55" h="2904">
                  <a:moveTo>
                    <a:pt x="217" y="0"/>
                  </a:moveTo>
                  <a:lnTo>
                    <a:pt x="1377" y="84"/>
                  </a:lnTo>
                  <a:lnTo>
                    <a:pt x="2169" y="122"/>
                  </a:lnTo>
                  <a:lnTo>
                    <a:pt x="2653" y="132"/>
                  </a:lnTo>
                  <a:lnTo>
                    <a:pt x="2637" y="396"/>
                  </a:lnTo>
                  <a:lnTo>
                    <a:pt x="2655" y="1494"/>
                  </a:lnTo>
                  <a:lnTo>
                    <a:pt x="2625" y="2664"/>
                  </a:lnTo>
                  <a:lnTo>
                    <a:pt x="1026" y="2601"/>
                  </a:lnTo>
                  <a:lnTo>
                    <a:pt x="1086" y="2721"/>
                  </a:lnTo>
                  <a:lnTo>
                    <a:pt x="903" y="2688"/>
                  </a:lnTo>
                  <a:lnTo>
                    <a:pt x="687" y="2700"/>
                  </a:lnTo>
                  <a:lnTo>
                    <a:pt x="423" y="2664"/>
                  </a:lnTo>
                  <a:lnTo>
                    <a:pt x="411" y="2802"/>
                  </a:lnTo>
                  <a:lnTo>
                    <a:pt x="387" y="2904"/>
                  </a:lnTo>
                  <a:lnTo>
                    <a:pt x="0" y="2892"/>
                  </a:lnTo>
                  <a:lnTo>
                    <a:pt x="217" y="0"/>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29" name="New Jersey">
              <a:extLst>
                <a:ext uri="{FF2B5EF4-FFF2-40B4-BE49-F238E27FC236}">
                  <a16:creationId xmlns:a16="http://schemas.microsoft.com/office/drawing/2014/main" id="{FA2D7D73-495C-0C04-73E3-2D1A70E1822E}"/>
                </a:ext>
              </a:extLst>
            </p:cNvPr>
            <p:cNvSpPr>
              <a:spLocks/>
            </p:cNvSpPr>
            <p:nvPr/>
          </p:nvSpPr>
          <p:spPr bwMode="auto">
            <a:xfrm>
              <a:off x="7420541" y="2467958"/>
              <a:ext cx="185044" cy="366365"/>
            </a:xfrm>
            <a:custGeom>
              <a:avLst/>
              <a:gdLst>
                <a:gd name="T0" fmla="*/ 10 w 601"/>
                <a:gd name="T1" fmla="*/ 23 h 1190"/>
                <a:gd name="T2" fmla="*/ 0 w 601"/>
                <a:gd name="T3" fmla="*/ 51 h 1190"/>
                <a:gd name="T4" fmla="*/ 20 w 601"/>
                <a:gd name="T5" fmla="*/ 84 h 1190"/>
                <a:gd name="T6" fmla="*/ 46 w 601"/>
                <a:gd name="T7" fmla="*/ 103 h 1190"/>
                <a:gd name="T8" fmla="*/ 47 w 601"/>
                <a:gd name="T9" fmla="*/ 119 h 1190"/>
                <a:gd name="T10" fmla="*/ 38 w 601"/>
                <a:gd name="T11" fmla="*/ 136 h 1190"/>
                <a:gd name="T12" fmla="*/ 30 w 601"/>
                <a:gd name="T13" fmla="*/ 156 h 1190"/>
                <a:gd name="T14" fmla="*/ 17 w 601"/>
                <a:gd name="T15" fmla="*/ 171 h 1190"/>
                <a:gd name="T16" fmla="*/ 27 w 601"/>
                <a:gd name="T17" fmla="*/ 201 h 1190"/>
                <a:gd name="T18" fmla="*/ 48 w 601"/>
                <a:gd name="T19" fmla="*/ 198 h 1190"/>
                <a:gd name="T20" fmla="*/ 66 w 601"/>
                <a:gd name="T21" fmla="*/ 216 h 1190"/>
                <a:gd name="T22" fmla="*/ 85 w 601"/>
                <a:gd name="T23" fmla="*/ 226 h 1190"/>
                <a:gd name="T24" fmla="*/ 91 w 601"/>
                <a:gd name="T25" fmla="*/ 188 h 1190"/>
                <a:gd name="T26" fmla="*/ 97 w 601"/>
                <a:gd name="T27" fmla="*/ 165 h 1190"/>
                <a:gd name="T28" fmla="*/ 102 w 601"/>
                <a:gd name="T29" fmla="*/ 137 h 1190"/>
                <a:gd name="T30" fmla="*/ 114 w 601"/>
                <a:gd name="T31" fmla="*/ 108 h 1190"/>
                <a:gd name="T32" fmla="*/ 108 w 601"/>
                <a:gd name="T33" fmla="*/ 74 h 1190"/>
                <a:gd name="T34" fmla="*/ 86 w 601"/>
                <a:gd name="T35" fmla="*/ 57 h 1190"/>
                <a:gd name="T36" fmla="*/ 86 w 601"/>
                <a:gd name="T37" fmla="*/ 33 h 1190"/>
                <a:gd name="T38" fmla="*/ 102 w 601"/>
                <a:gd name="T39" fmla="*/ 9 h 1190"/>
                <a:gd name="T40" fmla="*/ 64 w 601"/>
                <a:gd name="T41" fmla="*/ 2 h 1190"/>
                <a:gd name="T42" fmla="*/ 26 w 601"/>
                <a:gd name="T43" fmla="*/ 0 h 1190"/>
                <a:gd name="T44" fmla="*/ 10 w 601"/>
                <a:gd name="T45" fmla="*/ 23 h 119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1" h="1190">
                  <a:moveTo>
                    <a:pt x="54" y="119"/>
                  </a:moveTo>
                  <a:lnTo>
                    <a:pt x="0" y="269"/>
                  </a:lnTo>
                  <a:lnTo>
                    <a:pt x="106" y="440"/>
                  </a:lnTo>
                  <a:lnTo>
                    <a:pt x="244" y="540"/>
                  </a:lnTo>
                  <a:lnTo>
                    <a:pt x="250" y="624"/>
                  </a:lnTo>
                  <a:lnTo>
                    <a:pt x="199" y="716"/>
                  </a:lnTo>
                  <a:lnTo>
                    <a:pt x="159" y="821"/>
                  </a:lnTo>
                  <a:lnTo>
                    <a:pt x="87" y="902"/>
                  </a:lnTo>
                  <a:lnTo>
                    <a:pt x="141" y="1059"/>
                  </a:lnTo>
                  <a:lnTo>
                    <a:pt x="254" y="1044"/>
                  </a:lnTo>
                  <a:lnTo>
                    <a:pt x="346" y="1135"/>
                  </a:lnTo>
                  <a:lnTo>
                    <a:pt x="446" y="1190"/>
                  </a:lnTo>
                  <a:lnTo>
                    <a:pt x="481" y="989"/>
                  </a:lnTo>
                  <a:lnTo>
                    <a:pt x="511" y="869"/>
                  </a:lnTo>
                  <a:lnTo>
                    <a:pt x="538" y="724"/>
                  </a:lnTo>
                  <a:lnTo>
                    <a:pt x="601" y="569"/>
                  </a:lnTo>
                  <a:lnTo>
                    <a:pt x="571" y="389"/>
                  </a:lnTo>
                  <a:lnTo>
                    <a:pt x="451" y="299"/>
                  </a:lnTo>
                  <a:lnTo>
                    <a:pt x="455" y="175"/>
                  </a:lnTo>
                  <a:lnTo>
                    <a:pt x="540" y="45"/>
                  </a:lnTo>
                  <a:lnTo>
                    <a:pt x="340" y="12"/>
                  </a:lnTo>
                  <a:lnTo>
                    <a:pt x="135" y="0"/>
                  </a:lnTo>
                  <a:lnTo>
                    <a:pt x="54" y="119"/>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0" name="New Hampshire">
              <a:extLst>
                <a:ext uri="{FF2B5EF4-FFF2-40B4-BE49-F238E27FC236}">
                  <a16:creationId xmlns:a16="http://schemas.microsoft.com/office/drawing/2014/main" id="{A2DAE354-11B8-279E-1783-9FFCD060D6C6}"/>
                </a:ext>
              </a:extLst>
            </p:cNvPr>
            <p:cNvSpPr>
              <a:spLocks/>
            </p:cNvSpPr>
            <p:nvPr/>
          </p:nvSpPr>
          <p:spPr bwMode="auto">
            <a:xfrm>
              <a:off x="7602339" y="1769271"/>
              <a:ext cx="188291" cy="402029"/>
            </a:xfrm>
            <a:custGeom>
              <a:avLst/>
              <a:gdLst>
                <a:gd name="T0" fmla="*/ 66 w 615"/>
                <a:gd name="T1" fmla="*/ 233 h 1311"/>
                <a:gd name="T2" fmla="*/ 96 w 615"/>
                <a:gd name="T3" fmla="*/ 224 h 1311"/>
                <a:gd name="T4" fmla="*/ 107 w 615"/>
                <a:gd name="T5" fmla="*/ 201 h 1311"/>
                <a:gd name="T6" fmla="*/ 107 w 615"/>
                <a:gd name="T7" fmla="*/ 184 h 1311"/>
                <a:gd name="T8" fmla="*/ 116 w 615"/>
                <a:gd name="T9" fmla="*/ 170 h 1311"/>
                <a:gd name="T10" fmla="*/ 96 w 615"/>
                <a:gd name="T11" fmla="*/ 162 h 1311"/>
                <a:gd name="T12" fmla="*/ 89 w 615"/>
                <a:gd name="T13" fmla="*/ 136 h 1311"/>
                <a:gd name="T14" fmla="*/ 54 w 615"/>
                <a:gd name="T15" fmla="*/ 74 h 1311"/>
                <a:gd name="T16" fmla="*/ 25 w 615"/>
                <a:gd name="T17" fmla="*/ 0 h 1311"/>
                <a:gd name="T18" fmla="*/ 9 w 615"/>
                <a:gd name="T19" fmla="*/ 6 h 1311"/>
                <a:gd name="T20" fmla="*/ 2 w 615"/>
                <a:gd name="T21" fmla="*/ 18 h 1311"/>
                <a:gd name="T22" fmla="*/ 14 w 615"/>
                <a:gd name="T23" fmla="*/ 52 h 1311"/>
                <a:gd name="T24" fmla="*/ 18 w 615"/>
                <a:gd name="T25" fmla="*/ 74 h 1311"/>
                <a:gd name="T26" fmla="*/ 2 w 615"/>
                <a:gd name="T27" fmla="*/ 97 h 1311"/>
                <a:gd name="T28" fmla="*/ 0 w 615"/>
                <a:gd name="T29" fmla="*/ 145 h 1311"/>
                <a:gd name="T30" fmla="*/ 5 w 615"/>
                <a:gd name="T31" fmla="*/ 200 h 1311"/>
                <a:gd name="T32" fmla="*/ 12 w 615"/>
                <a:gd name="T33" fmla="*/ 234 h 1311"/>
                <a:gd name="T34" fmla="*/ 18 w 615"/>
                <a:gd name="T35" fmla="*/ 248 h 1311"/>
                <a:gd name="T36" fmla="*/ 66 w 615"/>
                <a:gd name="T37" fmla="*/ 233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5" h="1311">
                  <a:moveTo>
                    <a:pt x="349" y="1231"/>
                  </a:moveTo>
                  <a:lnTo>
                    <a:pt x="507" y="1183"/>
                  </a:lnTo>
                  <a:lnTo>
                    <a:pt x="567" y="1063"/>
                  </a:lnTo>
                  <a:lnTo>
                    <a:pt x="567" y="975"/>
                  </a:lnTo>
                  <a:lnTo>
                    <a:pt x="615" y="900"/>
                  </a:lnTo>
                  <a:lnTo>
                    <a:pt x="508" y="859"/>
                  </a:lnTo>
                  <a:lnTo>
                    <a:pt x="472" y="721"/>
                  </a:lnTo>
                  <a:lnTo>
                    <a:pt x="285" y="390"/>
                  </a:lnTo>
                  <a:lnTo>
                    <a:pt x="135" y="0"/>
                  </a:lnTo>
                  <a:lnTo>
                    <a:pt x="46" y="31"/>
                  </a:lnTo>
                  <a:lnTo>
                    <a:pt x="13" y="97"/>
                  </a:lnTo>
                  <a:lnTo>
                    <a:pt x="75" y="277"/>
                  </a:lnTo>
                  <a:lnTo>
                    <a:pt x="96" y="393"/>
                  </a:lnTo>
                  <a:lnTo>
                    <a:pt x="12" y="514"/>
                  </a:lnTo>
                  <a:lnTo>
                    <a:pt x="0" y="766"/>
                  </a:lnTo>
                  <a:lnTo>
                    <a:pt x="24" y="1056"/>
                  </a:lnTo>
                  <a:lnTo>
                    <a:pt x="64" y="1239"/>
                  </a:lnTo>
                  <a:lnTo>
                    <a:pt x="96" y="1311"/>
                  </a:lnTo>
                  <a:lnTo>
                    <a:pt x="349" y="1231"/>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1" name="Nevada">
              <a:extLst>
                <a:ext uri="{FF2B5EF4-FFF2-40B4-BE49-F238E27FC236}">
                  <a16:creationId xmlns:a16="http://schemas.microsoft.com/office/drawing/2014/main" id="{FE96FDB5-9627-B6DA-20D5-D83DB40BCD16}"/>
                </a:ext>
              </a:extLst>
            </p:cNvPr>
            <p:cNvSpPr>
              <a:spLocks/>
            </p:cNvSpPr>
            <p:nvPr/>
          </p:nvSpPr>
          <p:spPr bwMode="auto">
            <a:xfrm>
              <a:off x="2130536" y="2649518"/>
              <a:ext cx="788875" cy="1189874"/>
            </a:xfrm>
            <a:custGeom>
              <a:avLst/>
              <a:gdLst>
                <a:gd name="T0" fmla="*/ 49 w 2565"/>
                <a:gd name="T1" fmla="*/ 0 h 3871"/>
                <a:gd name="T2" fmla="*/ 272 w 2565"/>
                <a:gd name="T3" fmla="*/ 46 h 3871"/>
                <a:gd name="T4" fmla="*/ 486 w 2565"/>
                <a:gd name="T5" fmla="*/ 88 h 3871"/>
                <a:gd name="T6" fmla="*/ 480 w 2565"/>
                <a:gd name="T7" fmla="*/ 110 h 3871"/>
                <a:gd name="T8" fmla="*/ 465 w 2565"/>
                <a:gd name="T9" fmla="*/ 183 h 3871"/>
                <a:gd name="T10" fmla="*/ 458 w 2565"/>
                <a:gd name="T11" fmla="*/ 251 h 3871"/>
                <a:gd name="T12" fmla="*/ 450 w 2565"/>
                <a:gd name="T13" fmla="*/ 318 h 3871"/>
                <a:gd name="T14" fmla="*/ 425 w 2565"/>
                <a:gd name="T15" fmla="*/ 472 h 3871"/>
                <a:gd name="T16" fmla="*/ 414 w 2565"/>
                <a:gd name="T17" fmla="*/ 569 h 3871"/>
                <a:gd name="T18" fmla="*/ 409 w 2565"/>
                <a:gd name="T19" fmla="*/ 587 h 3871"/>
                <a:gd name="T20" fmla="*/ 409 w 2565"/>
                <a:gd name="T21" fmla="*/ 612 h 3871"/>
                <a:gd name="T22" fmla="*/ 399 w 2565"/>
                <a:gd name="T23" fmla="*/ 624 h 3871"/>
                <a:gd name="T24" fmla="*/ 404 w 2565"/>
                <a:gd name="T25" fmla="*/ 652 h 3871"/>
                <a:gd name="T26" fmla="*/ 376 w 2565"/>
                <a:gd name="T27" fmla="*/ 642 h 3871"/>
                <a:gd name="T28" fmla="*/ 357 w 2565"/>
                <a:gd name="T29" fmla="*/ 637 h 3871"/>
                <a:gd name="T30" fmla="*/ 342 w 2565"/>
                <a:gd name="T31" fmla="*/ 646 h 3871"/>
                <a:gd name="T32" fmla="*/ 341 w 2565"/>
                <a:gd name="T33" fmla="*/ 662 h 3871"/>
                <a:gd name="T34" fmla="*/ 348 w 2565"/>
                <a:gd name="T35" fmla="*/ 695 h 3871"/>
                <a:gd name="T36" fmla="*/ 346 w 2565"/>
                <a:gd name="T37" fmla="*/ 718 h 3871"/>
                <a:gd name="T38" fmla="*/ 333 w 2565"/>
                <a:gd name="T39" fmla="*/ 734 h 3871"/>
                <a:gd name="T40" fmla="*/ 214 w 2565"/>
                <a:gd name="T41" fmla="*/ 579 h 3871"/>
                <a:gd name="T42" fmla="*/ 170 w 2565"/>
                <a:gd name="T43" fmla="*/ 523 h 3871"/>
                <a:gd name="T44" fmla="*/ 108 w 2565"/>
                <a:gd name="T45" fmla="*/ 424 h 3871"/>
                <a:gd name="T46" fmla="*/ 27 w 2565"/>
                <a:gd name="T47" fmla="*/ 323 h 3871"/>
                <a:gd name="T48" fmla="*/ 0 w 2565"/>
                <a:gd name="T49" fmla="*/ 277 h 3871"/>
                <a:gd name="T50" fmla="*/ 49 w 2565"/>
                <a:gd name="T51" fmla="*/ 0 h 38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565" h="3871">
                  <a:moveTo>
                    <a:pt x="261" y="0"/>
                  </a:moveTo>
                  <a:lnTo>
                    <a:pt x="1437" y="241"/>
                  </a:lnTo>
                  <a:lnTo>
                    <a:pt x="2565" y="465"/>
                  </a:lnTo>
                  <a:lnTo>
                    <a:pt x="2532" y="580"/>
                  </a:lnTo>
                  <a:lnTo>
                    <a:pt x="2454" y="964"/>
                  </a:lnTo>
                  <a:lnTo>
                    <a:pt x="2418" y="1324"/>
                  </a:lnTo>
                  <a:lnTo>
                    <a:pt x="2376" y="1678"/>
                  </a:lnTo>
                  <a:lnTo>
                    <a:pt x="2243" y="2489"/>
                  </a:lnTo>
                  <a:lnTo>
                    <a:pt x="2183" y="2999"/>
                  </a:lnTo>
                  <a:lnTo>
                    <a:pt x="2160" y="3094"/>
                  </a:lnTo>
                  <a:lnTo>
                    <a:pt x="2160" y="3226"/>
                  </a:lnTo>
                  <a:lnTo>
                    <a:pt x="2106" y="3292"/>
                  </a:lnTo>
                  <a:lnTo>
                    <a:pt x="2130" y="3436"/>
                  </a:lnTo>
                  <a:lnTo>
                    <a:pt x="1986" y="3388"/>
                  </a:lnTo>
                  <a:lnTo>
                    <a:pt x="1883" y="3359"/>
                  </a:lnTo>
                  <a:lnTo>
                    <a:pt x="1806" y="3406"/>
                  </a:lnTo>
                  <a:lnTo>
                    <a:pt x="1800" y="3490"/>
                  </a:lnTo>
                  <a:lnTo>
                    <a:pt x="1836" y="3664"/>
                  </a:lnTo>
                  <a:lnTo>
                    <a:pt x="1824" y="3784"/>
                  </a:lnTo>
                  <a:lnTo>
                    <a:pt x="1757" y="3871"/>
                  </a:lnTo>
                  <a:lnTo>
                    <a:pt x="1130" y="3054"/>
                  </a:lnTo>
                  <a:lnTo>
                    <a:pt x="899" y="2758"/>
                  </a:lnTo>
                  <a:lnTo>
                    <a:pt x="569" y="2236"/>
                  </a:lnTo>
                  <a:lnTo>
                    <a:pt x="144" y="1702"/>
                  </a:lnTo>
                  <a:lnTo>
                    <a:pt x="0" y="1459"/>
                  </a:lnTo>
                  <a:lnTo>
                    <a:pt x="261" y="0"/>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2" name="Nebraska">
              <a:extLst>
                <a:ext uri="{FF2B5EF4-FFF2-40B4-BE49-F238E27FC236}">
                  <a16:creationId xmlns:a16="http://schemas.microsoft.com/office/drawing/2014/main" id="{26510882-68FC-0770-0C39-C52E69835FFA}"/>
                </a:ext>
              </a:extLst>
            </p:cNvPr>
            <p:cNvSpPr>
              <a:spLocks/>
            </p:cNvSpPr>
            <p:nvPr/>
          </p:nvSpPr>
          <p:spPr bwMode="auto">
            <a:xfrm>
              <a:off x="4070258" y="2756510"/>
              <a:ext cx="1020992" cy="455525"/>
            </a:xfrm>
            <a:custGeom>
              <a:avLst/>
              <a:gdLst>
                <a:gd name="T0" fmla="*/ 7 w 3321"/>
                <a:gd name="T1" fmla="*/ 0 h 1486"/>
                <a:gd name="T2" fmla="*/ 0 w 3321"/>
                <a:gd name="T3" fmla="*/ 197 h 1486"/>
                <a:gd name="T4" fmla="*/ 123 w 3321"/>
                <a:gd name="T5" fmla="*/ 200 h 1486"/>
                <a:gd name="T6" fmla="*/ 146 w 3321"/>
                <a:gd name="T7" fmla="*/ 196 h 1486"/>
                <a:gd name="T8" fmla="*/ 144 w 3321"/>
                <a:gd name="T9" fmla="*/ 218 h 1486"/>
                <a:gd name="T10" fmla="*/ 147 w 3321"/>
                <a:gd name="T11" fmla="*/ 252 h 1486"/>
                <a:gd name="T12" fmla="*/ 150 w 3321"/>
                <a:gd name="T13" fmla="*/ 281 h 1486"/>
                <a:gd name="T14" fmla="*/ 413 w 3321"/>
                <a:gd name="T15" fmla="*/ 281 h 1486"/>
                <a:gd name="T16" fmla="*/ 529 w 3321"/>
                <a:gd name="T17" fmla="*/ 275 h 1486"/>
                <a:gd name="T18" fmla="*/ 557 w 3321"/>
                <a:gd name="T19" fmla="*/ 272 h 1486"/>
                <a:gd name="T20" fmla="*/ 588 w 3321"/>
                <a:gd name="T21" fmla="*/ 271 h 1486"/>
                <a:gd name="T22" fmla="*/ 629 w 3321"/>
                <a:gd name="T23" fmla="*/ 269 h 1486"/>
                <a:gd name="T24" fmla="*/ 607 w 3321"/>
                <a:gd name="T25" fmla="*/ 225 h 1486"/>
                <a:gd name="T26" fmla="*/ 607 w 3321"/>
                <a:gd name="T27" fmla="*/ 179 h 1486"/>
                <a:gd name="T28" fmla="*/ 556 w 3321"/>
                <a:gd name="T29" fmla="*/ 78 h 1486"/>
                <a:gd name="T30" fmla="*/ 540 w 3321"/>
                <a:gd name="T31" fmla="*/ 40 h 1486"/>
                <a:gd name="T32" fmla="*/ 490 w 3321"/>
                <a:gd name="T33" fmla="*/ 28 h 1486"/>
                <a:gd name="T34" fmla="*/ 480 w 3321"/>
                <a:gd name="T35" fmla="*/ 11 h 1486"/>
                <a:gd name="T36" fmla="*/ 445 w 3321"/>
                <a:gd name="T37" fmla="*/ 11 h 1486"/>
                <a:gd name="T38" fmla="*/ 428 w 3321"/>
                <a:gd name="T39" fmla="*/ 22 h 1486"/>
                <a:gd name="T40" fmla="*/ 382 w 3321"/>
                <a:gd name="T41" fmla="*/ 5 h 1486"/>
                <a:gd name="T42" fmla="*/ 353 w 3321"/>
                <a:gd name="T43" fmla="*/ 8 h 1486"/>
                <a:gd name="T44" fmla="*/ 301 w 3321"/>
                <a:gd name="T45" fmla="*/ 9 h 1486"/>
                <a:gd name="T46" fmla="*/ 220 w 3321"/>
                <a:gd name="T47" fmla="*/ 11 h 1486"/>
                <a:gd name="T48" fmla="*/ 115 w 3321"/>
                <a:gd name="T49" fmla="*/ 9 h 1486"/>
                <a:gd name="T50" fmla="*/ 7 w 3321"/>
                <a:gd name="T51" fmla="*/ 0 h 14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321" h="1486">
                  <a:moveTo>
                    <a:pt x="35" y="0"/>
                  </a:moveTo>
                  <a:lnTo>
                    <a:pt x="0" y="1044"/>
                  </a:lnTo>
                  <a:lnTo>
                    <a:pt x="651" y="1058"/>
                  </a:lnTo>
                  <a:lnTo>
                    <a:pt x="769" y="1034"/>
                  </a:lnTo>
                  <a:lnTo>
                    <a:pt x="761" y="1152"/>
                  </a:lnTo>
                  <a:lnTo>
                    <a:pt x="775" y="1332"/>
                  </a:lnTo>
                  <a:lnTo>
                    <a:pt x="793" y="1486"/>
                  </a:lnTo>
                  <a:lnTo>
                    <a:pt x="2181" y="1486"/>
                  </a:lnTo>
                  <a:lnTo>
                    <a:pt x="2791" y="1454"/>
                  </a:lnTo>
                  <a:lnTo>
                    <a:pt x="2939" y="1436"/>
                  </a:lnTo>
                  <a:lnTo>
                    <a:pt x="3107" y="1432"/>
                  </a:lnTo>
                  <a:lnTo>
                    <a:pt x="3321" y="1424"/>
                  </a:lnTo>
                  <a:lnTo>
                    <a:pt x="3203" y="1190"/>
                  </a:lnTo>
                  <a:lnTo>
                    <a:pt x="3203" y="946"/>
                  </a:lnTo>
                  <a:lnTo>
                    <a:pt x="2937" y="414"/>
                  </a:lnTo>
                  <a:lnTo>
                    <a:pt x="2849" y="212"/>
                  </a:lnTo>
                  <a:lnTo>
                    <a:pt x="2587" y="146"/>
                  </a:lnTo>
                  <a:lnTo>
                    <a:pt x="2533" y="56"/>
                  </a:lnTo>
                  <a:lnTo>
                    <a:pt x="2348" y="58"/>
                  </a:lnTo>
                  <a:lnTo>
                    <a:pt x="2259" y="116"/>
                  </a:lnTo>
                  <a:lnTo>
                    <a:pt x="2017" y="24"/>
                  </a:lnTo>
                  <a:lnTo>
                    <a:pt x="1862" y="42"/>
                  </a:lnTo>
                  <a:lnTo>
                    <a:pt x="1587" y="50"/>
                  </a:lnTo>
                  <a:lnTo>
                    <a:pt x="1159" y="56"/>
                  </a:lnTo>
                  <a:lnTo>
                    <a:pt x="607" y="48"/>
                  </a:lnTo>
                  <a:lnTo>
                    <a:pt x="35" y="0"/>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3" name="Montana">
              <a:extLst>
                <a:ext uri="{FF2B5EF4-FFF2-40B4-BE49-F238E27FC236}">
                  <a16:creationId xmlns:a16="http://schemas.microsoft.com/office/drawing/2014/main" id="{35522C13-CAE1-50D0-C43B-0BA2E478A8FD}"/>
                </a:ext>
              </a:extLst>
            </p:cNvPr>
            <p:cNvSpPr>
              <a:spLocks/>
            </p:cNvSpPr>
            <p:nvPr/>
          </p:nvSpPr>
          <p:spPr bwMode="auto">
            <a:xfrm>
              <a:off x="2864222" y="1712532"/>
              <a:ext cx="1253110" cy="752182"/>
            </a:xfrm>
            <a:custGeom>
              <a:avLst/>
              <a:gdLst>
                <a:gd name="T0" fmla="*/ 6 w 4076"/>
                <a:gd name="T1" fmla="*/ 0 h 2449"/>
                <a:gd name="T2" fmla="*/ 221 w 4076"/>
                <a:gd name="T3" fmla="*/ 36 h 2449"/>
                <a:gd name="T4" fmla="*/ 511 w 4076"/>
                <a:gd name="T5" fmla="*/ 70 h 2449"/>
                <a:gd name="T6" fmla="*/ 772 w 4076"/>
                <a:gd name="T7" fmla="*/ 88 h 2449"/>
                <a:gd name="T8" fmla="*/ 755 w 4076"/>
                <a:gd name="T9" fmla="*/ 457 h 2449"/>
                <a:gd name="T10" fmla="*/ 385 w 4076"/>
                <a:gd name="T11" fmla="*/ 429 h 2449"/>
                <a:gd name="T12" fmla="*/ 277 w 4076"/>
                <a:gd name="T13" fmla="*/ 417 h 2449"/>
                <a:gd name="T14" fmla="*/ 267 w 4076"/>
                <a:gd name="T15" fmla="*/ 452 h 2449"/>
                <a:gd name="T16" fmla="*/ 239 w 4076"/>
                <a:gd name="T17" fmla="*/ 441 h 2449"/>
                <a:gd name="T18" fmla="*/ 239 w 4076"/>
                <a:gd name="T19" fmla="*/ 459 h 2449"/>
                <a:gd name="T20" fmla="*/ 217 w 4076"/>
                <a:gd name="T21" fmla="*/ 464 h 2449"/>
                <a:gd name="T22" fmla="*/ 199 w 4076"/>
                <a:gd name="T23" fmla="*/ 453 h 2449"/>
                <a:gd name="T24" fmla="*/ 154 w 4076"/>
                <a:gd name="T25" fmla="*/ 453 h 2449"/>
                <a:gd name="T26" fmla="*/ 136 w 4076"/>
                <a:gd name="T27" fmla="*/ 444 h 2449"/>
                <a:gd name="T28" fmla="*/ 120 w 4076"/>
                <a:gd name="T29" fmla="*/ 426 h 2449"/>
                <a:gd name="T30" fmla="*/ 110 w 4076"/>
                <a:gd name="T31" fmla="*/ 409 h 2449"/>
                <a:gd name="T32" fmla="*/ 108 w 4076"/>
                <a:gd name="T33" fmla="*/ 380 h 2449"/>
                <a:gd name="T34" fmla="*/ 92 w 4076"/>
                <a:gd name="T35" fmla="*/ 327 h 2449"/>
                <a:gd name="T36" fmla="*/ 60 w 4076"/>
                <a:gd name="T37" fmla="*/ 329 h 2449"/>
                <a:gd name="T38" fmla="*/ 60 w 4076"/>
                <a:gd name="T39" fmla="*/ 287 h 2449"/>
                <a:gd name="T40" fmla="*/ 80 w 4076"/>
                <a:gd name="T41" fmla="*/ 231 h 2449"/>
                <a:gd name="T42" fmla="*/ 57 w 4076"/>
                <a:gd name="T43" fmla="*/ 219 h 2449"/>
                <a:gd name="T44" fmla="*/ 46 w 4076"/>
                <a:gd name="T45" fmla="*/ 197 h 2449"/>
                <a:gd name="T46" fmla="*/ 18 w 4076"/>
                <a:gd name="T47" fmla="*/ 167 h 2449"/>
                <a:gd name="T48" fmla="*/ 0 w 4076"/>
                <a:gd name="T49" fmla="*/ 140 h 2449"/>
                <a:gd name="T50" fmla="*/ 0 w 4076"/>
                <a:gd name="T51" fmla="*/ 87 h 2449"/>
                <a:gd name="T52" fmla="*/ 1 w 4076"/>
                <a:gd name="T53" fmla="*/ 49 h 2449"/>
                <a:gd name="T54" fmla="*/ 6 w 4076"/>
                <a:gd name="T55" fmla="*/ 0 h 24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076" h="2449">
                  <a:moveTo>
                    <a:pt x="31" y="0"/>
                  </a:moveTo>
                  <a:lnTo>
                    <a:pt x="1165" y="192"/>
                  </a:lnTo>
                  <a:lnTo>
                    <a:pt x="2696" y="372"/>
                  </a:lnTo>
                  <a:lnTo>
                    <a:pt x="4076" y="462"/>
                  </a:lnTo>
                  <a:lnTo>
                    <a:pt x="3986" y="2412"/>
                  </a:lnTo>
                  <a:lnTo>
                    <a:pt x="2035" y="2262"/>
                  </a:lnTo>
                  <a:lnTo>
                    <a:pt x="1465" y="2202"/>
                  </a:lnTo>
                  <a:lnTo>
                    <a:pt x="1410" y="2388"/>
                  </a:lnTo>
                  <a:lnTo>
                    <a:pt x="1264" y="2329"/>
                  </a:lnTo>
                  <a:lnTo>
                    <a:pt x="1262" y="2421"/>
                  </a:lnTo>
                  <a:lnTo>
                    <a:pt x="1146" y="2449"/>
                  </a:lnTo>
                  <a:lnTo>
                    <a:pt x="1053" y="2390"/>
                  </a:lnTo>
                  <a:lnTo>
                    <a:pt x="811" y="2390"/>
                  </a:lnTo>
                  <a:lnTo>
                    <a:pt x="720" y="2341"/>
                  </a:lnTo>
                  <a:lnTo>
                    <a:pt x="632" y="2251"/>
                  </a:lnTo>
                  <a:lnTo>
                    <a:pt x="583" y="2159"/>
                  </a:lnTo>
                  <a:lnTo>
                    <a:pt x="572" y="2005"/>
                  </a:lnTo>
                  <a:lnTo>
                    <a:pt x="486" y="1727"/>
                  </a:lnTo>
                  <a:lnTo>
                    <a:pt x="319" y="1736"/>
                  </a:lnTo>
                  <a:lnTo>
                    <a:pt x="318" y="1515"/>
                  </a:lnTo>
                  <a:lnTo>
                    <a:pt x="421" y="1220"/>
                  </a:lnTo>
                  <a:lnTo>
                    <a:pt x="303" y="1154"/>
                  </a:lnTo>
                  <a:lnTo>
                    <a:pt x="241" y="1040"/>
                  </a:lnTo>
                  <a:lnTo>
                    <a:pt x="94" y="881"/>
                  </a:lnTo>
                  <a:lnTo>
                    <a:pt x="1" y="737"/>
                  </a:lnTo>
                  <a:lnTo>
                    <a:pt x="0" y="461"/>
                  </a:lnTo>
                  <a:lnTo>
                    <a:pt x="6" y="257"/>
                  </a:lnTo>
                  <a:lnTo>
                    <a:pt x="31" y="0"/>
                  </a:lnTo>
                  <a:close/>
                </a:path>
              </a:pathLst>
            </a:custGeom>
            <a:solidFill>
              <a:schemeClr val="accent3">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4" name="Missouri">
              <a:extLst>
                <a:ext uri="{FF2B5EF4-FFF2-40B4-BE49-F238E27FC236}">
                  <a16:creationId xmlns:a16="http://schemas.microsoft.com/office/drawing/2014/main" id="{0B8C7008-6FAB-0E38-5919-1359913A3346}"/>
                </a:ext>
              </a:extLst>
            </p:cNvPr>
            <p:cNvSpPr>
              <a:spLocks/>
            </p:cNvSpPr>
            <p:nvPr/>
          </p:nvSpPr>
          <p:spPr bwMode="auto">
            <a:xfrm>
              <a:off x="5055540" y="3075864"/>
              <a:ext cx="861918" cy="677613"/>
            </a:xfrm>
            <a:custGeom>
              <a:avLst/>
              <a:gdLst>
                <a:gd name="T0" fmla="*/ 0 w 2800"/>
                <a:gd name="T1" fmla="*/ 29 h 2206"/>
                <a:gd name="T2" fmla="*/ 22 w 2800"/>
                <a:gd name="T3" fmla="*/ 73 h 2206"/>
                <a:gd name="T4" fmla="*/ 47 w 2800"/>
                <a:gd name="T5" fmla="*/ 86 h 2206"/>
                <a:gd name="T6" fmla="*/ 69 w 2800"/>
                <a:gd name="T7" fmla="*/ 98 h 2206"/>
                <a:gd name="T8" fmla="*/ 63 w 2800"/>
                <a:gd name="T9" fmla="*/ 115 h 2206"/>
                <a:gd name="T10" fmla="*/ 74 w 2800"/>
                <a:gd name="T11" fmla="*/ 146 h 2206"/>
                <a:gd name="T12" fmla="*/ 97 w 2800"/>
                <a:gd name="T13" fmla="*/ 160 h 2206"/>
                <a:gd name="T14" fmla="*/ 101 w 2800"/>
                <a:gd name="T15" fmla="*/ 211 h 2206"/>
                <a:gd name="T16" fmla="*/ 101 w 2800"/>
                <a:gd name="T17" fmla="*/ 271 h 2206"/>
                <a:gd name="T18" fmla="*/ 107 w 2800"/>
                <a:gd name="T19" fmla="*/ 324 h 2206"/>
                <a:gd name="T20" fmla="*/ 107 w 2800"/>
                <a:gd name="T21" fmla="*/ 359 h 2206"/>
                <a:gd name="T22" fmla="*/ 117 w 2800"/>
                <a:gd name="T23" fmla="*/ 385 h 2206"/>
                <a:gd name="T24" fmla="*/ 122 w 2800"/>
                <a:gd name="T25" fmla="*/ 409 h 2206"/>
                <a:gd name="T26" fmla="*/ 335 w 2800"/>
                <a:gd name="T27" fmla="*/ 382 h 2206"/>
                <a:gd name="T28" fmla="*/ 393 w 2800"/>
                <a:gd name="T29" fmla="*/ 376 h 2206"/>
                <a:gd name="T30" fmla="*/ 452 w 2800"/>
                <a:gd name="T31" fmla="*/ 364 h 2206"/>
                <a:gd name="T32" fmla="*/ 463 w 2800"/>
                <a:gd name="T33" fmla="*/ 375 h 2206"/>
                <a:gd name="T34" fmla="*/ 446 w 2800"/>
                <a:gd name="T35" fmla="*/ 398 h 2206"/>
                <a:gd name="T36" fmla="*/ 458 w 2800"/>
                <a:gd name="T37" fmla="*/ 409 h 2206"/>
                <a:gd name="T38" fmla="*/ 478 w 2800"/>
                <a:gd name="T39" fmla="*/ 418 h 2206"/>
                <a:gd name="T40" fmla="*/ 497 w 2800"/>
                <a:gd name="T41" fmla="*/ 409 h 2206"/>
                <a:gd name="T42" fmla="*/ 503 w 2800"/>
                <a:gd name="T43" fmla="*/ 398 h 2206"/>
                <a:gd name="T44" fmla="*/ 497 w 2800"/>
                <a:gd name="T45" fmla="*/ 381 h 2206"/>
                <a:gd name="T46" fmla="*/ 507 w 2800"/>
                <a:gd name="T47" fmla="*/ 363 h 2206"/>
                <a:gd name="T48" fmla="*/ 515 w 2800"/>
                <a:gd name="T49" fmla="*/ 347 h 2206"/>
                <a:gd name="T50" fmla="*/ 531 w 2800"/>
                <a:gd name="T51" fmla="*/ 339 h 2206"/>
                <a:gd name="T52" fmla="*/ 529 w 2800"/>
                <a:gd name="T53" fmla="*/ 324 h 2206"/>
                <a:gd name="T54" fmla="*/ 528 w 2800"/>
                <a:gd name="T55" fmla="*/ 306 h 2206"/>
                <a:gd name="T56" fmla="*/ 509 w 2800"/>
                <a:gd name="T57" fmla="*/ 296 h 2206"/>
                <a:gd name="T58" fmla="*/ 492 w 2800"/>
                <a:gd name="T59" fmla="*/ 273 h 2206"/>
                <a:gd name="T60" fmla="*/ 486 w 2800"/>
                <a:gd name="T61" fmla="*/ 244 h 2206"/>
                <a:gd name="T62" fmla="*/ 458 w 2800"/>
                <a:gd name="T63" fmla="*/ 222 h 2206"/>
                <a:gd name="T64" fmla="*/ 435 w 2800"/>
                <a:gd name="T65" fmla="*/ 210 h 2206"/>
                <a:gd name="T66" fmla="*/ 418 w 2800"/>
                <a:gd name="T67" fmla="*/ 187 h 2206"/>
                <a:gd name="T68" fmla="*/ 426 w 2800"/>
                <a:gd name="T69" fmla="*/ 166 h 2206"/>
                <a:gd name="T70" fmla="*/ 429 w 2800"/>
                <a:gd name="T71" fmla="*/ 142 h 2206"/>
                <a:gd name="T72" fmla="*/ 414 w 2800"/>
                <a:gd name="T73" fmla="*/ 133 h 2206"/>
                <a:gd name="T74" fmla="*/ 396 w 2800"/>
                <a:gd name="T75" fmla="*/ 128 h 2206"/>
                <a:gd name="T76" fmla="*/ 378 w 2800"/>
                <a:gd name="T77" fmla="*/ 114 h 2206"/>
                <a:gd name="T78" fmla="*/ 355 w 2800"/>
                <a:gd name="T79" fmla="*/ 85 h 2206"/>
                <a:gd name="T80" fmla="*/ 337 w 2800"/>
                <a:gd name="T81" fmla="*/ 74 h 2206"/>
                <a:gd name="T82" fmla="*/ 321 w 2800"/>
                <a:gd name="T83" fmla="*/ 51 h 2206"/>
                <a:gd name="T84" fmla="*/ 315 w 2800"/>
                <a:gd name="T85" fmla="*/ 21 h 2206"/>
                <a:gd name="T86" fmla="*/ 287 w 2800"/>
                <a:gd name="T87" fmla="*/ 0 h 2206"/>
                <a:gd name="T88" fmla="*/ 260 w 2800"/>
                <a:gd name="T89" fmla="*/ 4 h 2206"/>
                <a:gd name="T90" fmla="*/ 200 w 2800"/>
                <a:gd name="T91" fmla="*/ 15 h 2206"/>
                <a:gd name="T92" fmla="*/ 122 w 2800"/>
                <a:gd name="T93" fmla="*/ 22 h 2206"/>
                <a:gd name="T94" fmla="*/ 58 w 2800"/>
                <a:gd name="T95" fmla="*/ 26 h 2206"/>
                <a:gd name="T96" fmla="*/ 0 w 2800"/>
                <a:gd name="T97" fmla="*/ 29 h 220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00" h="2206">
                  <a:moveTo>
                    <a:pt x="0" y="152"/>
                  </a:moveTo>
                  <a:lnTo>
                    <a:pt x="118" y="387"/>
                  </a:lnTo>
                  <a:lnTo>
                    <a:pt x="247" y="452"/>
                  </a:lnTo>
                  <a:lnTo>
                    <a:pt x="363" y="518"/>
                  </a:lnTo>
                  <a:lnTo>
                    <a:pt x="333" y="608"/>
                  </a:lnTo>
                  <a:lnTo>
                    <a:pt x="388" y="771"/>
                  </a:lnTo>
                  <a:lnTo>
                    <a:pt x="513" y="845"/>
                  </a:lnTo>
                  <a:lnTo>
                    <a:pt x="535" y="1115"/>
                  </a:lnTo>
                  <a:lnTo>
                    <a:pt x="535" y="1431"/>
                  </a:lnTo>
                  <a:lnTo>
                    <a:pt x="562" y="1710"/>
                  </a:lnTo>
                  <a:lnTo>
                    <a:pt x="562" y="1895"/>
                  </a:lnTo>
                  <a:lnTo>
                    <a:pt x="618" y="2034"/>
                  </a:lnTo>
                  <a:lnTo>
                    <a:pt x="645" y="2160"/>
                  </a:lnTo>
                  <a:lnTo>
                    <a:pt x="1769" y="2014"/>
                  </a:lnTo>
                  <a:lnTo>
                    <a:pt x="2073" y="1982"/>
                  </a:lnTo>
                  <a:lnTo>
                    <a:pt x="2383" y="1920"/>
                  </a:lnTo>
                  <a:lnTo>
                    <a:pt x="2443" y="1980"/>
                  </a:lnTo>
                  <a:lnTo>
                    <a:pt x="2353" y="2100"/>
                  </a:lnTo>
                  <a:lnTo>
                    <a:pt x="2413" y="2160"/>
                  </a:lnTo>
                  <a:lnTo>
                    <a:pt x="2520" y="2206"/>
                  </a:lnTo>
                  <a:lnTo>
                    <a:pt x="2623" y="2160"/>
                  </a:lnTo>
                  <a:lnTo>
                    <a:pt x="2653" y="2100"/>
                  </a:lnTo>
                  <a:lnTo>
                    <a:pt x="2623" y="2010"/>
                  </a:lnTo>
                  <a:lnTo>
                    <a:pt x="2672" y="1918"/>
                  </a:lnTo>
                  <a:lnTo>
                    <a:pt x="2713" y="1830"/>
                  </a:lnTo>
                  <a:lnTo>
                    <a:pt x="2800" y="1790"/>
                  </a:lnTo>
                  <a:lnTo>
                    <a:pt x="2792" y="1710"/>
                  </a:lnTo>
                  <a:lnTo>
                    <a:pt x="2784" y="1614"/>
                  </a:lnTo>
                  <a:lnTo>
                    <a:pt x="2683" y="1560"/>
                  </a:lnTo>
                  <a:lnTo>
                    <a:pt x="2593" y="1440"/>
                  </a:lnTo>
                  <a:lnTo>
                    <a:pt x="2563" y="1290"/>
                  </a:lnTo>
                  <a:lnTo>
                    <a:pt x="2413" y="1170"/>
                  </a:lnTo>
                  <a:lnTo>
                    <a:pt x="2293" y="1110"/>
                  </a:lnTo>
                  <a:lnTo>
                    <a:pt x="2203" y="989"/>
                  </a:lnTo>
                  <a:lnTo>
                    <a:pt x="2248" y="878"/>
                  </a:lnTo>
                  <a:lnTo>
                    <a:pt x="2263" y="749"/>
                  </a:lnTo>
                  <a:lnTo>
                    <a:pt x="2184" y="702"/>
                  </a:lnTo>
                  <a:lnTo>
                    <a:pt x="2089" y="678"/>
                  </a:lnTo>
                  <a:lnTo>
                    <a:pt x="1994" y="599"/>
                  </a:lnTo>
                  <a:lnTo>
                    <a:pt x="1874" y="449"/>
                  </a:lnTo>
                  <a:lnTo>
                    <a:pt x="1777" y="390"/>
                  </a:lnTo>
                  <a:lnTo>
                    <a:pt x="1694" y="269"/>
                  </a:lnTo>
                  <a:lnTo>
                    <a:pt x="1659" y="110"/>
                  </a:lnTo>
                  <a:lnTo>
                    <a:pt x="1511" y="0"/>
                  </a:lnTo>
                  <a:lnTo>
                    <a:pt x="1373" y="23"/>
                  </a:lnTo>
                  <a:lnTo>
                    <a:pt x="1055" y="80"/>
                  </a:lnTo>
                  <a:lnTo>
                    <a:pt x="643" y="117"/>
                  </a:lnTo>
                  <a:lnTo>
                    <a:pt x="306" y="135"/>
                  </a:lnTo>
                  <a:lnTo>
                    <a:pt x="0" y="152"/>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5" name="Mississippi">
              <a:extLst>
                <a:ext uri="{FF2B5EF4-FFF2-40B4-BE49-F238E27FC236}">
                  <a16:creationId xmlns:a16="http://schemas.microsoft.com/office/drawing/2014/main" id="{D7262D9B-8ACD-472D-F895-95AD01E55BF4}"/>
                </a:ext>
              </a:extLst>
            </p:cNvPr>
            <p:cNvSpPr>
              <a:spLocks/>
            </p:cNvSpPr>
            <p:nvPr/>
          </p:nvSpPr>
          <p:spPr bwMode="auto">
            <a:xfrm>
              <a:off x="5699950" y="3871816"/>
              <a:ext cx="431771" cy="748941"/>
            </a:xfrm>
            <a:custGeom>
              <a:avLst/>
              <a:gdLst>
                <a:gd name="T0" fmla="*/ 74 w 1400"/>
                <a:gd name="T1" fmla="*/ 16 h 2439"/>
                <a:gd name="T2" fmla="*/ 63 w 1400"/>
                <a:gd name="T3" fmla="*/ 36 h 2439"/>
                <a:gd name="T4" fmla="*/ 46 w 1400"/>
                <a:gd name="T5" fmla="*/ 82 h 2439"/>
                <a:gd name="T6" fmla="*/ 25 w 1400"/>
                <a:gd name="T7" fmla="*/ 110 h 2439"/>
                <a:gd name="T8" fmla="*/ 17 w 1400"/>
                <a:gd name="T9" fmla="*/ 147 h 2439"/>
                <a:gd name="T10" fmla="*/ 20 w 1400"/>
                <a:gd name="T11" fmla="*/ 200 h 2439"/>
                <a:gd name="T12" fmla="*/ 17 w 1400"/>
                <a:gd name="T13" fmla="*/ 231 h 2439"/>
                <a:gd name="T14" fmla="*/ 26 w 1400"/>
                <a:gd name="T15" fmla="*/ 252 h 2439"/>
                <a:gd name="T16" fmla="*/ 34 w 1400"/>
                <a:gd name="T17" fmla="*/ 265 h 2439"/>
                <a:gd name="T18" fmla="*/ 29 w 1400"/>
                <a:gd name="T19" fmla="*/ 279 h 2439"/>
                <a:gd name="T20" fmla="*/ 34 w 1400"/>
                <a:gd name="T21" fmla="*/ 293 h 2439"/>
                <a:gd name="T22" fmla="*/ 23 w 1400"/>
                <a:gd name="T23" fmla="*/ 311 h 2439"/>
                <a:gd name="T24" fmla="*/ 23 w 1400"/>
                <a:gd name="T25" fmla="*/ 333 h 2439"/>
                <a:gd name="T26" fmla="*/ 5 w 1400"/>
                <a:gd name="T27" fmla="*/ 359 h 2439"/>
                <a:gd name="T28" fmla="*/ 0 w 1400"/>
                <a:gd name="T29" fmla="*/ 384 h 2439"/>
                <a:gd name="T30" fmla="*/ 1 w 1400"/>
                <a:gd name="T31" fmla="*/ 407 h 2439"/>
                <a:gd name="T32" fmla="*/ 84 w 1400"/>
                <a:gd name="T33" fmla="*/ 407 h 2439"/>
                <a:gd name="T34" fmla="*/ 111 w 1400"/>
                <a:gd name="T35" fmla="*/ 402 h 2439"/>
                <a:gd name="T36" fmla="*/ 139 w 1400"/>
                <a:gd name="T37" fmla="*/ 397 h 2439"/>
                <a:gd name="T38" fmla="*/ 154 w 1400"/>
                <a:gd name="T39" fmla="*/ 401 h 2439"/>
                <a:gd name="T40" fmla="*/ 151 w 1400"/>
                <a:gd name="T41" fmla="*/ 421 h 2439"/>
                <a:gd name="T42" fmla="*/ 161 w 1400"/>
                <a:gd name="T43" fmla="*/ 446 h 2439"/>
                <a:gd name="T44" fmla="*/ 173 w 1400"/>
                <a:gd name="T45" fmla="*/ 462 h 2439"/>
                <a:gd name="T46" fmla="*/ 218 w 1400"/>
                <a:gd name="T47" fmla="*/ 437 h 2439"/>
                <a:gd name="T48" fmla="*/ 258 w 1400"/>
                <a:gd name="T49" fmla="*/ 437 h 2439"/>
                <a:gd name="T50" fmla="*/ 264 w 1400"/>
                <a:gd name="T51" fmla="*/ 426 h 2439"/>
                <a:gd name="T52" fmla="*/ 266 w 1400"/>
                <a:gd name="T53" fmla="*/ 386 h 2439"/>
                <a:gd name="T54" fmla="*/ 259 w 1400"/>
                <a:gd name="T55" fmla="*/ 336 h 2439"/>
                <a:gd name="T56" fmla="*/ 252 w 1400"/>
                <a:gd name="T57" fmla="*/ 278 h 2439"/>
                <a:gd name="T58" fmla="*/ 243 w 1400"/>
                <a:gd name="T59" fmla="*/ 159 h 2439"/>
                <a:gd name="T60" fmla="*/ 235 w 1400"/>
                <a:gd name="T61" fmla="*/ 96 h 2439"/>
                <a:gd name="T62" fmla="*/ 236 w 1400"/>
                <a:gd name="T63" fmla="*/ 52 h 2439"/>
                <a:gd name="T64" fmla="*/ 218 w 1400"/>
                <a:gd name="T65" fmla="*/ 0 h 2439"/>
                <a:gd name="T66" fmla="*/ 188 w 1400"/>
                <a:gd name="T67" fmla="*/ 1 h 2439"/>
                <a:gd name="T68" fmla="*/ 171 w 1400"/>
                <a:gd name="T69" fmla="*/ 1 h 2439"/>
                <a:gd name="T70" fmla="*/ 149 w 1400"/>
                <a:gd name="T71" fmla="*/ 6 h 2439"/>
                <a:gd name="T72" fmla="*/ 118 w 1400"/>
                <a:gd name="T73" fmla="*/ 8 h 2439"/>
                <a:gd name="T74" fmla="*/ 84 w 1400"/>
                <a:gd name="T75" fmla="*/ 15 h 2439"/>
                <a:gd name="T76" fmla="*/ 74 w 1400"/>
                <a:gd name="T77" fmla="*/ 16 h 24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0" h="2439">
                  <a:moveTo>
                    <a:pt x="390" y="83"/>
                  </a:moveTo>
                  <a:lnTo>
                    <a:pt x="330" y="189"/>
                  </a:lnTo>
                  <a:lnTo>
                    <a:pt x="241" y="431"/>
                  </a:lnTo>
                  <a:lnTo>
                    <a:pt x="129" y="582"/>
                  </a:lnTo>
                  <a:lnTo>
                    <a:pt x="87" y="774"/>
                  </a:lnTo>
                  <a:lnTo>
                    <a:pt x="106" y="1056"/>
                  </a:lnTo>
                  <a:lnTo>
                    <a:pt x="90" y="1221"/>
                  </a:lnTo>
                  <a:lnTo>
                    <a:pt x="139" y="1329"/>
                  </a:lnTo>
                  <a:lnTo>
                    <a:pt x="180" y="1398"/>
                  </a:lnTo>
                  <a:lnTo>
                    <a:pt x="151" y="1472"/>
                  </a:lnTo>
                  <a:lnTo>
                    <a:pt x="180" y="1548"/>
                  </a:lnTo>
                  <a:lnTo>
                    <a:pt x="120" y="1640"/>
                  </a:lnTo>
                  <a:lnTo>
                    <a:pt x="121" y="1758"/>
                  </a:lnTo>
                  <a:lnTo>
                    <a:pt x="25" y="1893"/>
                  </a:lnTo>
                  <a:lnTo>
                    <a:pt x="0" y="2027"/>
                  </a:lnTo>
                  <a:lnTo>
                    <a:pt x="3" y="2147"/>
                  </a:lnTo>
                  <a:lnTo>
                    <a:pt x="444" y="2151"/>
                  </a:lnTo>
                  <a:lnTo>
                    <a:pt x="585" y="2121"/>
                  </a:lnTo>
                  <a:lnTo>
                    <a:pt x="732" y="2097"/>
                  </a:lnTo>
                  <a:lnTo>
                    <a:pt x="811" y="2117"/>
                  </a:lnTo>
                  <a:lnTo>
                    <a:pt x="793" y="2223"/>
                  </a:lnTo>
                  <a:lnTo>
                    <a:pt x="847" y="2357"/>
                  </a:lnTo>
                  <a:lnTo>
                    <a:pt x="910" y="2439"/>
                  </a:lnTo>
                  <a:lnTo>
                    <a:pt x="1148" y="2309"/>
                  </a:lnTo>
                  <a:lnTo>
                    <a:pt x="1358" y="2309"/>
                  </a:lnTo>
                  <a:lnTo>
                    <a:pt x="1388" y="2249"/>
                  </a:lnTo>
                  <a:lnTo>
                    <a:pt x="1400" y="2037"/>
                  </a:lnTo>
                  <a:lnTo>
                    <a:pt x="1363" y="1772"/>
                  </a:lnTo>
                  <a:lnTo>
                    <a:pt x="1327" y="1470"/>
                  </a:lnTo>
                  <a:lnTo>
                    <a:pt x="1281" y="839"/>
                  </a:lnTo>
                  <a:lnTo>
                    <a:pt x="1238" y="509"/>
                  </a:lnTo>
                  <a:lnTo>
                    <a:pt x="1244" y="272"/>
                  </a:lnTo>
                  <a:lnTo>
                    <a:pt x="1146" y="0"/>
                  </a:lnTo>
                  <a:lnTo>
                    <a:pt x="988" y="5"/>
                  </a:lnTo>
                  <a:lnTo>
                    <a:pt x="900" y="6"/>
                  </a:lnTo>
                  <a:lnTo>
                    <a:pt x="786" y="30"/>
                  </a:lnTo>
                  <a:lnTo>
                    <a:pt x="621" y="42"/>
                  </a:lnTo>
                  <a:lnTo>
                    <a:pt x="444" y="77"/>
                  </a:lnTo>
                  <a:lnTo>
                    <a:pt x="390" y="83"/>
                  </a:lnTo>
                  <a:close/>
                </a:path>
              </a:pathLst>
            </a:custGeom>
            <a:solidFill>
              <a:schemeClr val="accent3">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6" name="Minnesota">
              <a:extLst>
                <a:ext uri="{FF2B5EF4-FFF2-40B4-BE49-F238E27FC236}">
                  <a16:creationId xmlns:a16="http://schemas.microsoft.com/office/drawing/2014/main" id="{1EAEA63E-137D-52F9-70CC-8A30A41915C9}"/>
                </a:ext>
              </a:extLst>
            </p:cNvPr>
            <p:cNvSpPr>
              <a:spLocks/>
            </p:cNvSpPr>
            <p:nvPr/>
          </p:nvSpPr>
          <p:spPr bwMode="auto">
            <a:xfrm>
              <a:off x="4813683" y="1770891"/>
              <a:ext cx="801861" cy="915912"/>
            </a:xfrm>
            <a:custGeom>
              <a:avLst/>
              <a:gdLst>
                <a:gd name="T0" fmla="*/ 0 w 2604"/>
                <a:gd name="T1" fmla="*/ 45 h 2977"/>
                <a:gd name="T2" fmla="*/ 31 w 2604"/>
                <a:gd name="T3" fmla="*/ 46 h 2977"/>
                <a:gd name="T4" fmla="*/ 64 w 2604"/>
                <a:gd name="T5" fmla="*/ 43 h 2977"/>
                <a:gd name="T6" fmla="*/ 91 w 2604"/>
                <a:gd name="T7" fmla="*/ 46 h 2977"/>
                <a:gd name="T8" fmla="*/ 117 w 2604"/>
                <a:gd name="T9" fmla="*/ 40 h 2977"/>
                <a:gd name="T10" fmla="*/ 117 w 2604"/>
                <a:gd name="T11" fmla="*/ 0 h 2977"/>
                <a:gd name="T12" fmla="*/ 137 w 2604"/>
                <a:gd name="T13" fmla="*/ 5 h 2977"/>
                <a:gd name="T14" fmla="*/ 125 w 2604"/>
                <a:gd name="T15" fmla="*/ 25 h 2977"/>
                <a:gd name="T16" fmla="*/ 134 w 2604"/>
                <a:gd name="T17" fmla="*/ 40 h 2977"/>
                <a:gd name="T18" fmla="*/ 163 w 2604"/>
                <a:gd name="T19" fmla="*/ 51 h 2977"/>
                <a:gd name="T20" fmla="*/ 184 w 2604"/>
                <a:gd name="T21" fmla="*/ 61 h 2977"/>
                <a:gd name="T22" fmla="*/ 225 w 2604"/>
                <a:gd name="T23" fmla="*/ 68 h 2977"/>
                <a:gd name="T24" fmla="*/ 265 w 2604"/>
                <a:gd name="T25" fmla="*/ 68 h 2977"/>
                <a:gd name="T26" fmla="*/ 282 w 2604"/>
                <a:gd name="T27" fmla="*/ 57 h 2977"/>
                <a:gd name="T28" fmla="*/ 305 w 2604"/>
                <a:gd name="T29" fmla="*/ 74 h 2977"/>
                <a:gd name="T30" fmla="*/ 339 w 2604"/>
                <a:gd name="T31" fmla="*/ 80 h 2977"/>
                <a:gd name="T32" fmla="*/ 373 w 2604"/>
                <a:gd name="T33" fmla="*/ 97 h 2977"/>
                <a:gd name="T34" fmla="*/ 407 w 2604"/>
                <a:gd name="T35" fmla="*/ 85 h 2977"/>
                <a:gd name="T36" fmla="*/ 419 w 2604"/>
                <a:gd name="T37" fmla="*/ 93 h 2977"/>
                <a:gd name="T38" fmla="*/ 447 w 2604"/>
                <a:gd name="T39" fmla="*/ 91 h 2977"/>
                <a:gd name="T40" fmla="*/ 469 w 2604"/>
                <a:gd name="T41" fmla="*/ 91 h 2977"/>
                <a:gd name="T42" fmla="*/ 494 w 2604"/>
                <a:gd name="T43" fmla="*/ 90 h 2977"/>
                <a:gd name="T44" fmla="*/ 492 w 2604"/>
                <a:gd name="T45" fmla="*/ 94 h 2977"/>
                <a:gd name="T46" fmla="*/ 428 w 2604"/>
                <a:gd name="T47" fmla="*/ 136 h 2977"/>
                <a:gd name="T48" fmla="*/ 402 w 2604"/>
                <a:gd name="T49" fmla="*/ 160 h 2977"/>
                <a:gd name="T50" fmla="*/ 390 w 2604"/>
                <a:gd name="T51" fmla="*/ 188 h 2977"/>
                <a:gd name="T52" fmla="*/ 351 w 2604"/>
                <a:gd name="T53" fmla="*/ 216 h 2977"/>
                <a:gd name="T54" fmla="*/ 328 w 2604"/>
                <a:gd name="T55" fmla="*/ 245 h 2977"/>
                <a:gd name="T56" fmla="*/ 339 w 2604"/>
                <a:gd name="T57" fmla="*/ 279 h 2977"/>
                <a:gd name="T58" fmla="*/ 319 w 2604"/>
                <a:gd name="T59" fmla="*/ 307 h 2977"/>
                <a:gd name="T60" fmla="*/ 299 w 2604"/>
                <a:gd name="T61" fmla="*/ 330 h 2977"/>
                <a:gd name="T62" fmla="*/ 322 w 2604"/>
                <a:gd name="T63" fmla="*/ 359 h 2977"/>
                <a:gd name="T64" fmla="*/ 319 w 2604"/>
                <a:gd name="T65" fmla="*/ 400 h 2977"/>
                <a:gd name="T66" fmla="*/ 311 w 2604"/>
                <a:gd name="T67" fmla="*/ 421 h 2977"/>
                <a:gd name="T68" fmla="*/ 330 w 2604"/>
                <a:gd name="T69" fmla="*/ 430 h 2977"/>
                <a:gd name="T70" fmla="*/ 356 w 2604"/>
                <a:gd name="T71" fmla="*/ 427 h 2977"/>
                <a:gd name="T72" fmla="*/ 393 w 2604"/>
                <a:gd name="T73" fmla="*/ 460 h 2977"/>
                <a:gd name="T74" fmla="*/ 453 w 2604"/>
                <a:gd name="T75" fmla="*/ 501 h 2977"/>
                <a:gd name="T76" fmla="*/ 442 w 2604"/>
                <a:gd name="T77" fmla="*/ 530 h 2977"/>
                <a:gd name="T78" fmla="*/ 75 w 2604"/>
                <a:gd name="T79" fmla="*/ 565 h 2977"/>
                <a:gd name="T80" fmla="*/ 80 w 2604"/>
                <a:gd name="T81" fmla="*/ 513 h 2977"/>
                <a:gd name="T82" fmla="*/ 73 w 2604"/>
                <a:gd name="T83" fmla="*/ 403 h 2977"/>
                <a:gd name="T84" fmla="*/ 49 w 2604"/>
                <a:gd name="T85" fmla="*/ 374 h 2977"/>
                <a:gd name="T86" fmla="*/ 56 w 2604"/>
                <a:gd name="T87" fmla="*/ 353 h 2977"/>
                <a:gd name="T88" fmla="*/ 53 w 2604"/>
                <a:gd name="T89" fmla="*/ 330 h 2977"/>
                <a:gd name="T90" fmla="*/ 43 w 2604"/>
                <a:gd name="T91" fmla="*/ 263 h 2977"/>
                <a:gd name="T92" fmla="*/ 34 w 2604"/>
                <a:gd name="T93" fmla="*/ 176 h 2977"/>
                <a:gd name="T94" fmla="*/ 11 w 2604"/>
                <a:gd name="T95" fmla="*/ 145 h 2977"/>
                <a:gd name="T96" fmla="*/ 5 w 2604"/>
                <a:gd name="T97" fmla="*/ 106 h 2977"/>
                <a:gd name="T98" fmla="*/ 0 w 2604"/>
                <a:gd name="T99" fmla="*/ 45 h 29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604" h="2977">
                  <a:moveTo>
                    <a:pt x="0" y="239"/>
                  </a:moveTo>
                  <a:lnTo>
                    <a:pt x="161" y="242"/>
                  </a:lnTo>
                  <a:lnTo>
                    <a:pt x="337" y="226"/>
                  </a:lnTo>
                  <a:lnTo>
                    <a:pt x="481" y="242"/>
                  </a:lnTo>
                  <a:lnTo>
                    <a:pt x="617" y="210"/>
                  </a:lnTo>
                  <a:lnTo>
                    <a:pt x="617" y="0"/>
                  </a:lnTo>
                  <a:lnTo>
                    <a:pt x="721" y="26"/>
                  </a:lnTo>
                  <a:lnTo>
                    <a:pt x="657" y="130"/>
                  </a:lnTo>
                  <a:lnTo>
                    <a:pt x="705" y="210"/>
                  </a:lnTo>
                  <a:lnTo>
                    <a:pt x="857" y="270"/>
                  </a:lnTo>
                  <a:lnTo>
                    <a:pt x="969" y="322"/>
                  </a:lnTo>
                  <a:lnTo>
                    <a:pt x="1187" y="360"/>
                  </a:lnTo>
                  <a:lnTo>
                    <a:pt x="1398" y="360"/>
                  </a:lnTo>
                  <a:lnTo>
                    <a:pt x="1488" y="300"/>
                  </a:lnTo>
                  <a:lnTo>
                    <a:pt x="1608" y="390"/>
                  </a:lnTo>
                  <a:lnTo>
                    <a:pt x="1788" y="420"/>
                  </a:lnTo>
                  <a:lnTo>
                    <a:pt x="1968" y="510"/>
                  </a:lnTo>
                  <a:lnTo>
                    <a:pt x="2148" y="450"/>
                  </a:lnTo>
                  <a:lnTo>
                    <a:pt x="2209" y="490"/>
                  </a:lnTo>
                  <a:lnTo>
                    <a:pt x="2358" y="480"/>
                  </a:lnTo>
                  <a:lnTo>
                    <a:pt x="2473" y="482"/>
                  </a:lnTo>
                  <a:lnTo>
                    <a:pt x="2604" y="476"/>
                  </a:lnTo>
                  <a:lnTo>
                    <a:pt x="2596" y="497"/>
                  </a:lnTo>
                  <a:lnTo>
                    <a:pt x="2257" y="714"/>
                  </a:lnTo>
                  <a:lnTo>
                    <a:pt x="2121" y="842"/>
                  </a:lnTo>
                  <a:lnTo>
                    <a:pt x="2058" y="990"/>
                  </a:lnTo>
                  <a:lnTo>
                    <a:pt x="1848" y="1140"/>
                  </a:lnTo>
                  <a:lnTo>
                    <a:pt x="1728" y="1290"/>
                  </a:lnTo>
                  <a:lnTo>
                    <a:pt x="1788" y="1470"/>
                  </a:lnTo>
                  <a:lnTo>
                    <a:pt x="1681" y="1618"/>
                  </a:lnTo>
                  <a:lnTo>
                    <a:pt x="1578" y="1740"/>
                  </a:lnTo>
                  <a:lnTo>
                    <a:pt x="1698" y="1890"/>
                  </a:lnTo>
                  <a:lnTo>
                    <a:pt x="1681" y="2106"/>
                  </a:lnTo>
                  <a:lnTo>
                    <a:pt x="1638" y="2220"/>
                  </a:lnTo>
                  <a:lnTo>
                    <a:pt x="1737" y="2266"/>
                  </a:lnTo>
                  <a:lnTo>
                    <a:pt x="1878" y="2250"/>
                  </a:lnTo>
                  <a:lnTo>
                    <a:pt x="2073" y="2426"/>
                  </a:lnTo>
                  <a:lnTo>
                    <a:pt x="2388" y="2640"/>
                  </a:lnTo>
                  <a:lnTo>
                    <a:pt x="2329" y="2794"/>
                  </a:lnTo>
                  <a:lnTo>
                    <a:pt x="394" y="2977"/>
                  </a:lnTo>
                  <a:lnTo>
                    <a:pt x="421" y="2701"/>
                  </a:lnTo>
                  <a:lnTo>
                    <a:pt x="385" y="2123"/>
                  </a:lnTo>
                  <a:lnTo>
                    <a:pt x="256" y="1969"/>
                  </a:lnTo>
                  <a:lnTo>
                    <a:pt x="294" y="1862"/>
                  </a:lnTo>
                  <a:lnTo>
                    <a:pt x="282" y="1741"/>
                  </a:lnTo>
                  <a:lnTo>
                    <a:pt x="229" y="1387"/>
                  </a:lnTo>
                  <a:lnTo>
                    <a:pt x="181" y="928"/>
                  </a:lnTo>
                  <a:lnTo>
                    <a:pt x="60" y="763"/>
                  </a:lnTo>
                  <a:lnTo>
                    <a:pt x="25" y="556"/>
                  </a:lnTo>
                  <a:lnTo>
                    <a:pt x="0" y="239"/>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7" name="Michigan">
              <a:extLst>
                <a:ext uri="{FF2B5EF4-FFF2-40B4-BE49-F238E27FC236}">
                  <a16:creationId xmlns:a16="http://schemas.microsoft.com/office/drawing/2014/main" id="{B28A8CED-76A6-BEC9-0CF5-ABB98E46497F}"/>
                </a:ext>
              </a:extLst>
            </p:cNvPr>
            <p:cNvSpPr>
              <a:spLocks/>
            </p:cNvSpPr>
            <p:nvPr/>
          </p:nvSpPr>
          <p:spPr bwMode="auto">
            <a:xfrm>
              <a:off x="6044068" y="2155088"/>
              <a:ext cx="486960" cy="627360"/>
            </a:xfrm>
            <a:custGeom>
              <a:avLst/>
              <a:gdLst>
                <a:gd name="T0" fmla="*/ 96 w 1586"/>
                <a:gd name="T1" fmla="*/ 0 h 2040"/>
                <a:gd name="T2" fmla="*/ 74 w 1586"/>
                <a:gd name="T3" fmla="*/ 9 h 2040"/>
                <a:gd name="T4" fmla="*/ 70 w 1586"/>
                <a:gd name="T5" fmla="*/ 25 h 2040"/>
                <a:gd name="T6" fmla="*/ 82 w 1586"/>
                <a:gd name="T7" fmla="*/ 39 h 2040"/>
                <a:gd name="T8" fmla="*/ 69 w 1586"/>
                <a:gd name="T9" fmla="*/ 56 h 2040"/>
                <a:gd name="T10" fmla="*/ 73 w 1586"/>
                <a:gd name="T11" fmla="*/ 72 h 2040"/>
                <a:gd name="T12" fmla="*/ 63 w 1586"/>
                <a:gd name="T13" fmla="*/ 89 h 2040"/>
                <a:gd name="T14" fmla="*/ 50 w 1586"/>
                <a:gd name="T15" fmla="*/ 79 h 2040"/>
                <a:gd name="T16" fmla="*/ 42 w 1586"/>
                <a:gd name="T17" fmla="*/ 63 h 2040"/>
                <a:gd name="T18" fmla="*/ 24 w 1586"/>
                <a:gd name="T19" fmla="*/ 88 h 2040"/>
                <a:gd name="T20" fmla="*/ 13 w 1586"/>
                <a:gd name="T21" fmla="*/ 91 h 2040"/>
                <a:gd name="T22" fmla="*/ 5 w 1586"/>
                <a:gd name="T23" fmla="*/ 123 h 2040"/>
                <a:gd name="T24" fmla="*/ 13 w 1586"/>
                <a:gd name="T25" fmla="*/ 142 h 2040"/>
                <a:gd name="T26" fmla="*/ 0 w 1586"/>
                <a:gd name="T27" fmla="*/ 168 h 2040"/>
                <a:gd name="T28" fmla="*/ 7 w 1586"/>
                <a:gd name="T29" fmla="*/ 186 h 2040"/>
                <a:gd name="T30" fmla="*/ 12 w 1586"/>
                <a:gd name="T31" fmla="*/ 213 h 2040"/>
                <a:gd name="T32" fmla="*/ 34 w 1586"/>
                <a:gd name="T33" fmla="*/ 241 h 2040"/>
                <a:gd name="T34" fmla="*/ 40 w 1586"/>
                <a:gd name="T35" fmla="*/ 271 h 2040"/>
                <a:gd name="T36" fmla="*/ 45 w 1586"/>
                <a:gd name="T37" fmla="*/ 300 h 2040"/>
                <a:gd name="T38" fmla="*/ 26 w 1586"/>
                <a:gd name="T39" fmla="*/ 387 h 2040"/>
                <a:gd name="T40" fmla="*/ 58 w 1586"/>
                <a:gd name="T41" fmla="*/ 382 h 2040"/>
                <a:gd name="T42" fmla="*/ 145 w 1586"/>
                <a:gd name="T43" fmla="*/ 365 h 2040"/>
                <a:gd name="T44" fmla="*/ 161 w 1586"/>
                <a:gd name="T45" fmla="*/ 376 h 2040"/>
                <a:gd name="T46" fmla="*/ 184 w 1586"/>
                <a:gd name="T47" fmla="*/ 361 h 2040"/>
                <a:gd name="T48" fmla="*/ 221 w 1586"/>
                <a:gd name="T49" fmla="*/ 359 h 2040"/>
                <a:gd name="T50" fmla="*/ 221 w 1586"/>
                <a:gd name="T51" fmla="*/ 352 h 2040"/>
                <a:gd name="T52" fmla="*/ 257 w 1586"/>
                <a:gd name="T53" fmla="*/ 349 h 2040"/>
                <a:gd name="T54" fmla="*/ 266 w 1586"/>
                <a:gd name="T55" fmla="*/ 332 h 2040"/>
                <a:gd name="T56" fmla="*/ 276 w 1586"/>
                <a:gd name="T57" fmla="*/ 323 h 2040"/>
                <a:gd name="T58" fmla="*/ 277 w 1586"/>
                <a:gd name="T59" fmla="*/ 313 h 2040"/>
                <a:gd name="T60" fmla="*/ 267 w 1586"/>
                <a:gd name="T61" fmla="*/ 308 h 2040"/>
                <a:gd name="T62" fmla="*/ 278 w 1586"/>
                <a:gd name="T63" fmla="*/ 278 h 2040"/>
                <a:gd name="T64" fmla="*/ 292 w 1586"/>
                <a:gd name="T65" fmla="*/ 266 h 2040"/>
                <a:gd name="T66" fmla="*/ 298 w 1586"/>
                <a:gd name="T67" fmla="*/ 246 h 2040"/>
                <a:gd name="T68" fmla="*/ 300 w 1586"/>
                <a:gd name="T69" fmla="*/ 201 h 2040"/>
                <a:gd name="T70" fmla="*/ 284 w 1586"/>
                <a:gd name="T71" fmla="*/ 171 h 2040"/>
                <a:gd name="T72" fmla="*/ 272 w 1586"/>
                <a:gd name="T73" fmla="*/ 140 h 2040"/>
                <a:gd name="T74" fmla="*/ 250 w 1586"/>
                <a:gd name="T75" fmla="*/ 132 h 2040"/>
                <a:gd name="T76" fmla="*/ 230 w 1586"/>
                <a:gd name="T77" fmla="*/ 134 h 2040"/>
                <a:gd name="T78" fmla="*/ 221 w 1586"/>
                <a:gd name="T79" fmla="*/ 149 h 2040"/>
                <a:gd name="T80" fmla="*/ 215 w 1586"/>
                <a:gd name="T81" fmla="*/ 168 h 2040"/>
                <a:gd name="T82" fmla="*/ 197 w 1586"/>
                <a:gd name="T83" fmla="*/ 174 h 2040"/>
                <a:gd name="T84" fmla="*/ 180 w 1586"/>
                <a:gd name="T85" fmla="*/ 159 h 2040"/>
                <a:gd name="T86" fmla="*/ 193 w 1586"/>
                <a:gd name="T87" fmla="*/ 143 h 2040"/>
                <a:gd name="T88" fmla="*/ 201 w 1586"/>
                <a:gd name="T89" fmla="*/ 126 h 2040"/>
                <a:gd name="T90" fmla="*/ 209 w 1586"/>
                <a:gd name="T91" fmla="*/ 94 h 2040"/>
                <a:gd name="T92" fmla="*/ 201 w 1586"/>
                <a:gd name="T93" fmla="*/ 66 h 2040"/>
                <a:gd name="T94" fmla="*/ 187 w 1586"/>
                <a:gd name="T95" fmla="*/ 47 h 2040"/>
                <a:gd name="T96" fmla="*/ 197 w 1586"/>
                <a:gd name="T97" fmla="*/ 30 h 2040"/>
                <a:gd name="T98" fmla="*/ 162 w 1586"/>
                <a:gd name="T99" fmla="*/ 15 h 2040"/>
                <a:gd name="T100" fmla="*/ 134 w 1586"/>
                <a:gd name="T101" fmla="*/ 9 h 2040"/>
                <a:gd name="T102" fmla="*/ 114 w 1586"/>
                <a:gd name="T103" fmla="*/ 7 h 2040"/>
                <a:gd name="T104" fmla="*/ 96 w 1586"/>
                <a:gd name="T105" fmla="*/ 0 h 20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86" h="2040">
                  <a:moveTo>
                    <a:pt x="506" y="0"/>
                  </a:moveTo>
                  <a:lnTo>
                    <a:pt x="392" y="48"/>
                  </a:lnTo>
                  <a:lnTo>
                    <a:pt x="368" y="132"/>
                  </a:lnTo>
                  <a:lnTo>
                    <a:pt x="434" y="204"/>
                  </a:lnTo>
                  <a:lnTo>
                    <a:pt x="363" y="293"/>
                  </a:lnTo>
                  <a:lnTo>
                    <a:pt x="386" y="378"/>
                  </a:lnTo>
                  <a:lnTo>
                    <a:pt x="332" y="468"/>
                  </a:lnTo>
                  <a:lnTo>
                    <a:pt x="266" y="414"/>
                  </a:lnTo>
                  <a:lnTo>
                    <a:pt x="224" y="330"/>
                  </a:lnTo>
                  <a:lnTo>
                    <a:pt x="128" y="462"/>
                  </a:lnTo>
                  <a:lnTo>
                    <a:pt x="68" y="480"/>
                  </a:lnTo>
                  <a:lnTo>
                    <a:pt x="26" y="648"/>
                  </a:lnTo>
                  <a:lnTo>
                    <a:pt x="68" y="750"/>
                  </a:lnTo>
                  <a:lnTo>
                    <a:pt x="0" y="883"/>
                  </a:lnTo>
                  <a:lnTo>
                    <a:pt x="38" y="978"/>
                  </a:lnTo>
                  <a:lnTo>
                    <a:pt x="62" y="1122"/>
                  </a:lnTo>
                  <a:lnTo>
                    <a:pt x="182" y="1272"/>
                  </a:lnTo>
                  <a:lnTo>
                    <a:pt x="212" y="1428"/>
                  </a:lnTo>
                  <a:lnTo>
                    <a:pt x="236" y="1584"/>
                  </a:lnTo>
                  <a:lnTo>
                    <a:pt x="137" y="2040"/>
                  </a:lnTo>
                  <a:lnTo>
                    <a:pt x="304" y="2013"/>
                  </a:lnTo>
                  <a:lnTo>
                    <a:pt x="766" y="1926"/>
                  </a:lnTo>
                  <a:lnTo>
                    <a:pt x="851" y="1983"/>
                  </a:lnTo>
                  <a:lnTo>
                    <a:pt x="973" y="1905"/>
                  </a:lnTo>
                  <a:lnTo>
                    <a:pt x="1166" y="1895"/>
                  </a:lnTo>
                  <a:lnTo>
                    <a:pt x="1166" y="1857"/>
                  </a:lnTo>
                  <a:lnTo>
                    <a:pt x="1360" y="1841"/>
                  </a:lnTo>
                  <a:lnTo>
                    <a:pt x="1406" y="1752"/>
                  </a:lnTo>
                  <a:lnTo>
                    <a:pt x="1460" y="1704"/>
                  </a:lnTo>
                  <a:lnTo>
                    <a:pt x="1466" y="1650"/>
                  </a:lnTo>
                  <a:lnTo>
                    <a:pt x="1409" y="1626"/>
                  </a:lnTo>
                  <a:lnTo>
                    <a:pt x="1472" y="1464"/>
                  </a:lnTo>
                  <a:lnTo>
                    <a:pt x="1544" y="1404"/>
                  </a:lnTo>
                  <a:lnTo>
                    <a:pt x="1574" y="1296"/>
                  </a:lnTo>
                  <a:lnTo>
                    <a:pt x="1586" y="1062"/>
                  </a:lnTo>
                  <a:lnTo>
                    <a:pt x="1502" y="900"/>
                  </a:lnTo>
                  <a:lnTo>
                    <a:pt x="1436" y="738"/>
                  </a:lnTo>
                  <a:lnTo>
                    <a:pt x="1322" y="696"/>
                  </a:lnTo>
                  <a:lnTo>
                    <a:pt x="1214" y="708"/>
                  </a:lnTo>
                  <a:lnTo>
                    <a:pt x="1166" y="786"/>
                  </a:lnTo>
                  <a:lnTo>
                    <a:pt x="1136" y="888"/>
                  </a:lnTo>
                  <a:lnTo>
                    <a:pt x="1040" y="918"/>
                  </a:lnTo>
                  <a:lnTo>
                    <a:pt x="952" y="837"/>
                  </a:lnTo>
                  <a:lnTo>
                    <a:pt x="1022" y="756"/>
                  </a:lnTo>
                  <a:lnTo>
                    <a:pt x="1064" y="666"/>
                  </a:lnTo>
                  <a:lnTo>
                    <a:pt x="1106" y="498"/>
                  </a:lnTo>
                  <a:lnTo>
                    <a:pt x="1064" y="348"/>
                  </a:lnTo>
                  <a:lnTo>
                    <a:pt x="986" y="246"/>
                  </a:lnTo>
                  <a:lnTo>
                    <a:pt x="1040" y="156"/>
                  </a:lnTo>
                  <a:lnTo>
                    <a:pt x="854" y="78"/>
                  </a:lnTo>
                  <a:lnTo>
                    <a:pt x="710" y="48"/>
                  </a:lnTo>
                  <a:lnTo>
                    <a:pt x="602" y="36"/>
                  </a:lnTo>
                  <a:lnTo>
                    <a:pt x="506" y="0"/>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8" name="Massachusetts">
              <a:extLst>
                <a:ext uri="{FF2B5EF4-FFF2-40B4-BE49-F238E27FC236}">
                  <a16:creationId xmlns:a16="http://schemas.microsoft.com/office/drawing/2014/main" id="{3D33EB61-CD5E-6407-F550-8AB1B1E85ADE}"/>
                </a:ext>
              </a:extLst>
            </p:cNvPr>
            <p:cNvSpPr>
              <a:spLocks/>
            </p:cNvSpPr>
            <p:nvPr/>
          </p:nvSpPr>
          <p:spPr bwMode="auto">
            <a:xfrm>
              <a:off x="7545527" y="2069170"/>
              <a:ext cx="423655" cy="260995"/>
            </a:xfrm>
            <a:custGeom>
              <a:avLst/>
              <a:gdLst>
                <a:gd name="T0" fmla="*/ 142 w 1383"/>
                <a:gd name="T1" fmla="*/ 17 h 850"/>
                <a:gd name="T2" fmla="*/ 131 w 1383"/>
                <a:gd name="T3" fmla="*/ 40 h 850"/>
                <a:gd name="T4" fmla="*/ 53 w 1383"/>
                <a:gd name="T5" fmla="*/ 64 h 850"/>
                <a:gd name="T6" fmla="*/ 0 w 1383"/>
                <a:gd name="T7" fmla="*/ 83 h 850"/>
                <a:gd name="T8" fmla="*/ 6 w 1383"/>
                <a:gd name="T9" fmla="*/ 122 h 850"/>
                <a:gd name="T10" fmla="*/ 11 w 1383"/>
                <a:gd name="T11" fmla="*/ 161 h 850"/>
                <a:gd name="T12" fmla="*/ 113 w 1383"/>
                <a:gd name="T13" fmla="*/ 109 h 850"/>
                <a:gd name="T14" fmla="*/ 156 w 1383"/>
                <a:gd name="T15" fmla="*/ 96 h 850"/>
                <a:gd name="T16" fmla="*/ 172 w 1383"/>
                <a:gd name="T17" fmla="*/ 128 h 850"/>
                <a:gd name="T18" fmla="*/ 193 w 1383"/>
                <a:gd name="T19" fmla="*/ 142 h 850"/>
                <a:gd name="T20" fmla="*/ 201 w 1383"/>
                <a:gd name="T21" fmla="*/ 125 h 850"/>
                <a:gd name="T22" fmla="*/ 233 w 1383"/>
                <a:gd name="T23" fmla="*/ 102 h 850"/>
                <a:gd name="T24" fmla="*/ 261 w 1383"/>
                <a:gd name="T25" fmla="*/ 85 h 850"/>
                <a:gd name="T26" fmla="*/ 252 w 1383"/>
                <a:gd name="T27" fmla="*/ 73 h 850"/>
                <a:gd name="T28" fmla="*/ 250 w 1383"/>
                <a:gd name="T29" fmla="*/ 62 h 850"/>
                <a:gd name="T30" fmla="*/ 245 w 1383"/>
                <a:gd name="T31" fmla="*/ 44 h 850"/>
                <a:gd name="T32" fmla="*/ 240 w 1383"/>
                <a:gd name="T33" fmla="*/ 50 h 850"/>
                <a:gd name="T34" fmla="*/ 243 w 1383"/>
                <a:gd name="T35" fmla="*/ 60 h 850"/>
                <a:gd name="T36" fmla="*/ 240 w 1383"/>
                <a:gd name="T37" fmla="*/ 70 h 850"/>
                <a:gd name="T38" fmla="*/ 245 w 1383"/>
                <a:gd name="T39" fmla="*/ 82 h 850"/>
                <a:gd name="T40" fmla="*/ 227 w 1383"/>
                <a:gd name="T41" fmla="*/ 97 h 850"/>
                <a:gd name="T42" fmla="*/ 204 w 1383"/>
                <a:gd name="T43" fmla="*/ 85 h 850"/>
                <a:gd name="T44" fmla="*/ 176 w 1383"/>
                <a:gd name="T45" fmla="*/ 51 h 850"/>
                <a:gd name="T46" fmla="*/ 168 w 1383"/>
                <a:gd name="T47" fmla="*/ 23 h 850"/>
                <a:gd name="T48" fmla="*/ 142 w 1383"/>
                <a:gd name="T49" fmla="*/ 0 h 850"/>
                <a:gd name="T50" fmla="*/ 142 w 1383"/>
                <a:gd name="T51" fmla="*/ 17 h 8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83" h="850">
                  <a:moveTo>
                    <a:pt x="753" y="90"/>
                  </a:moveTo>
                  <a:lnTo>
                    <a:pt x="693" y="210"/>
                  </a:lnTo>
                  <a:lnTo>
                    <a:pt x="281" y="340"/>
                  </a:lnTo>
                  <a:lnTo>
                    <a:pt x="0" y="436"/>
                  </a:lnTo>
                  <a:lnTo>
                    <a:pt x="30" y="645"/>
                  </a:lnTo>
                  <a:lnTo>
                    <a:pt x="57" y="850"/>
                  </a:lnTo>
                  <a:lnTo>
                    <a:pt x="597" y="573"/>
                  </a:lnTo>
                  <a:lnTo>
                    <a:pt x="825" y="507"/>
                  </a:lnTo>
                  <a:lnTo>
                    <a:pt x="913" y="675"/>
                  </a:lnTo>
                  <a:lnTo>
                    <a:pt x="1023" y="750"/>
                  </a:lnTo>
                  <a:lnTo>
                    <a:pt x="1065" y="659"/>
                  </a:lnTo>
                  <a:lnTo>
                    <a:pt x="1233" y="540"/>
                  </a:lnTo>
                  <a:lnTo>
                    <a:pt x="1383" y="450"/>
                  </a:lnTo>
                  <a:lnTo>
                    <a:pt x="1337" y="383"/>
                  </a:lnTo>
                  <a:lnTo>
                    <a:pt x="1325" y="325"/>
                  </a:lnTo>
                  <a:lnTo>
                    <a:pt x="1297" y="233"/>
                  </a:lnTo>
                  <a:lnTo>
                    <a:pt x="1273" y="263"/>
                  </a:lnTo>
                  <a:lnTo>
                    <a:pt x="1285" y="319"/>
                  </a:lnTo>
                  <a:lnTo>
                    <a:pt x="1273" y="371"/>
                  </a:lnTo>
                  <a:lnTo>
                    <a:pt x="1297" y="435"/>
                  </a:lnTo>
                  <a:lnTo>
                    <a:pt x="1203" y="510"/>
                  </a:lnTo>
                  <a:lnTo>
                    <a:pt x="1081" y="451"/>
                  </a:lnTo>
                  <a:lnTo>
                    <a:pt x="933" y="270"/>
                  </a:lnTo>
                  <a:lnTo>
                    <a:pt x="889" y="123"/>
                  </a:lnTo>
                  <a:lnTo>
                    <a:pt x="753" y="0"/>
                  </a:lnTo>
                  <a:lnTo>
                    <a:pt x="753" y="90"/>
                  </a:lnTo>
                  <a:close/>
                </a:path>
              </a:pathLst>
            </a:custGeom>
            <a:solidFill>
              <a:schemeClr val="accent3">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39" name="Maryland">
              <a:extLst>
                <a:ext uri="{FF2B5EF4-FFF2-40B4-BE49-F238E27FC236}">
                  <a16:creationId xmlns:a16="http://schemas.microsoft.com/office/drawing/2014/main" id="{2B6954FF-A3BC-E626-2DB0-7E908F230AE8}"/>
                </a:ext>
              </a:extLst>
            </p:cNvPr>
            <p:cNvSpPr>
              <a:spLocks/>
            </p:cNvSpPr>
            <p:nvPr/>
          </p:nvSpPr>
          <p:spPr bwMode="auto">
            <a:xfrm>
              <a:off x="6993640" y="2748405"/>
              <a:ext cx="543771" cy="269100"/>
            </a:xfrm>
            <a:custGeom>
              <a:avLst/>
              <a:gdLst>
                <a:gd name="T0" fmla="*/ 171 w 1675"/>
                <a:gd name="T1" fmla="*/ 132 h 830"/>
                <a:gd name="T2" fmla="*/ 227 w 1675"/>
                <a:gd name="T3" fmla="*/ 166 h 830"/>
                <a:gd name="T4" fmla="*/ 251 w 1675"/>
                <a:gd name="T5" fmla="*/ 162 h 830"/>
                <a:gd name="T6" fmla="*/ 254 w 1675"/>
                <a:gd name="T7" fmla="*/ 147 h 830"/>
                <a:gd name="T8" fmla="*/ 250 w 1675"/>
                <a:gd name="T9" fmla="*/ 139 h 830"/>
                <a:gd name="T10" fmla="*/ 250 w 1675"/>
                <a:gd name="T11" fmla="*/ 129 h 830"/>
                <a:gd name="T12" fmla="*/ 241 w 1675"/>
                <a:gd name="T13" fmla="*/ 116 h 830"/>
                <a:gd name="T14" fmla="*/ 233 w 1675"/>
                <a:gd name="T15" fmla="*/ 99 h 830"/>
                <a:gd name="T16" fmla="*/ 226 w 1675"/>
                <a:gd name="T17" fmla="*/ 79 h 830"/>
                <a:gd name="T18" fmla="*/ 218 w 1675"/>
                <a:gd name="T19" fmla="*/ 68 h 830"/>
                <a:gd name="T20" fmla="*/ 227 w 1675"/>
                <a:gd name="T21" fmla="*/ 50 h 830"/>
                <a:gd name="T22" fmla="*/ 227 w 1675"/>
                <a:gd name="T23" fmla="*/ 28 h 830"/>
                <a:gd name="T24" fmla="*/ 250 w 1675"/>
                <a:gd name="T25" fmla="*/ 45 h 830"/>
                <a:gd name="T26" fmla="*/ 246 w 1675"/>
                <a:gd name="T27" fmla="*/ 68 h 830"/>
                <a:gd name="T28" fmla="*/ 244 w 1675"/>
                <a:gd name="T29" fmla="*/ 84 h 830"/>
                <a:gd name="T30" fmla="*/ 255 w 1675"/>
                <a:gd name="T31" fmla="*/ 92 h 830"/>
                <a:gd name="T32" fmla="*/ 263 w 1675"/>
                <a:gd name="T33" fmla="*/ 100 h 830"/>
                <a:gd name="T34" fmla="*/ 259 w 1675"/>
                <a:gd name="T35" fmla="*/ 111 h 830"/>
                <a:gd name="T36" fmla="*/ 269 w 1675"/>
                <a:gd name="T37" fmla="*/ 123 h 830"/>
                <a:gd name="T38" fmla="*/ 284 w 1675"/>
                <a:gd name="T39" fmla="*/ 124 h 830"/>
                <a:gd name="T40" fmla="*/ 301 w 1675"/>
                <a:gd name="T41" fmla="*/ 141 h 830"/>
                <a:gd name="T42" fmla="*/ 316 w 1675"/>
                <a:gd name="T43" fmla="*/ 141 h 830"/>
                <a:gd name="T44" fmla="*/ 332 w 1675"/>
                <a:gd name="T45" fmla="*/ 137 h 830"/>
                <a:gd name="T46" fmla="*/ 334 w 1675"/>
                <a:gd name="T47" fmla="*/ 118 h 830"/>
                <a:gd name="T48" fmla="*/ 335 w 1675"/>
                <a:gd name="T49" fmla="*/ 103 h 830"/>
                <a:gd name="T50" fmla="*/ 321 w 1675"/>
                <a:gd name="T51" fmla="*/ 105 h 830"/>
                <a:gd name="T52" fmla="*/ 303 w 1675"/>
                <a:gd name="T53" fmla="*/ 113 h 830"/>
                <a:gd name="T54" fmla="*/ 297 w 1675"/>
                <a:gd name="T55" fmla="*/ 102 h 830"/>
                <a:gd name="T56" fmla="*/ 289 w 1675"/>
                <a:gd name="T57" fmla="*/ 82 h 830"/>
                <a:gd name="T58" fmla="*/ 284 w 1675"/>
                <a:gd name="T59" fmla="*/ 63 h 830"/>
                <a:gd name="T60" fmla="*/ 276 w 1675"/>
                <a:gd name="T61" fmla="*/ 50 h 830"/>
                <a:gd name="T62" fmla="*/ 272 w 1675"/>
                <a:gd name="T63" fmla="*/ 33 h 830"/>
                <a:gd name="T64" fmla="*/ 265 w 1675"/>
                <a:gd name="T65" fmla="*/ 19 h 830"/>
                <a:gd name="T66" fmla="*/ 258 w 1675"/>
                <a:gd name="T67" fmla="*/ 0 h 830"/>
                <a:gd name="T68" fmla="*/ 244 w 1675"/>
                <a:gd name="T69" fmla="*/ 9 h 830"/>
                <a:gd name="T70" fmla="*/ 233 w 1675"/>
                <a:gd name="T71" fmla="*/ 13 h 830"/>
                <a:gd name="T72" fmla="*/ 210 w 1675"/>
                <a:gd name="T73" fmla="*/ 11 h 830"/>
                <a:gd name="T74" fmla="*/ 195 w 1675"/>
                <a:gd name="T75" fmla="*/ 13 h 830"/>
                <a:gd name="T76" fmla="*/ 170 w 1675"/>
                <a:gd name="T77" fmla="*/ 24 h 830"/>
                <a:gd name="T78" fmla="*/ 147 w 1675"/>
                <a:gd name="T79" fmla="*/ 29 h 830"/>
                <a:gd name="T80" fmla="*/ 132 w 1675"/>
                <a:gd name="T81" fmla="*/ 46 h 830"/>
                <a:gd name="T82" fmla="*/ 100 w 1675"/>
                <a:gd name="T83" fmla="*/ 52 h 830"/>
                <a:gd name="T84" fmla="*/ 75 w 1675"/>
                <a:gd name="T85" fmla="*/ 61 h 830"/>
                <a:gd name="T86" fmla="*/ 33 w 1675"/>
                <a:gd name="T87" fmla="*/ 73 h 830"/>
                <a:gd name="T88" fmla="*/ 0 w 1675"/>
                <a:gd name="T89" fmla="*/ 85 h 830"/>
                <a:gd name="T90" fmla="*/ 6 w 1675"/>
                <a:gd name="T91" fmla="*/ 113 h 830"/>
                <a:gd name="T92" fmla="*/ 18 w 1675"/>
                <a:gd name="T93" fmla="*/ 113 h 830"/>
                <a:gd name="T94" fmla="*/ 36 w 1675"/>
                <a:gd name="T95" fmla="*/ 92 h 830"/>
                <a:gd name="T96" fmla="*/ 55 w 1675"/>
                <a:gd name="T97" fmla="*/ 81 h 830"/>
                <a:gd name="T98" fmla="*/ 76 w 1675"/>
                <a:gd name="T99" fmla="*/ 78 h 830"/>
                <a:gd name="T100" fmla="*/ 86 w 1675"/>
                <a:gd name="T101" fmla="*/ 62 h 830"/>
                <a:gd name="T102" fmla="*/ 98 w 1675"/>
                <a:gd name="T103" fmla="*/ 56 h 830"/>
                <a:gd name="T104" fmla="*/ 114 w 1675"/>
                <a:gd name="T105" fmla="*/ 67 h 830"/>
                <a:gd name="T106" fmla="*/ 136 w 1675"/>
                <a:gd name="T107" fmla="*/ 76 h 830"/>
                <a:gd name="T108" fmla="*/ 151 w 1675"/>
                <a:gd name="T109" fmla="*/ 82 h 830"/>
                <a:gd name="T110" fmla="*/ 160 w 1675"/>
                <a:gd name="T111" fmla="*/ 74 h 830"/>
                <a:gd name="T112" fmla="*/ 174 w 1675"/>
                <a:gd name="T113" fmla="*/ 85 h 830"/>
                <a:gd name="T114" fmla="*/ 161 w 1675"/>
                <a:gd name="T115" fmla="*/ 97 h 830"/>
                <a:gd name="T116" fmla="*/ 159 w 1675"/>
                <a:gd name="T117" fmla="*/ 113 h 830"/>
                <a:gd name="T118" fmla="*/ 171 w 1675"/>
                <a:gd name="T119" fmla="*/ 132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75" h="830">
                  <a:moveTo>
                    <a:pt x="853" y="659"/>
                  </a:moveTo>
                  <a:lnTo>
                    <a:pt x="1136" y="830"/>
                  </a:lnTo>
                  <a:lnTo>
                    <a:pt x="1256" y="810"/>
                  </a:lnTo>
                  <a:lnTo>
                    <a:pt x="1269" y="736"/>
                  </a:lnTo>
                  <a:lnTo>
                    <a:pt x="1250" y="697"/>
                  </a:lnTo>
                  <a:lnTo>
                    <a:pt x="1250" y="646"/>
                  </a:lnTo>
                  <a:lnTo>
                    <a:pt x="1205" y="579"/>
                  </a:lnTo>
                  <a:lnTo>
                    <a:pt x="1165" y="494"/>
                  </a:lnTo>
                  <a:lnTo>
                    <a:pt x="1131" y="397"/>
                  </a:lnTo>
                  <a:lnTo>
                    <a:pt x="1091" y="340"/>
                  </a:lnTo>
                  <a:lnTo>
                    <a:pt x="1136" y="251"/>
                  </a:lnTo>
                  <a:lnTo>
                    <a:pt x="1136" y="138"/>
                  </a:lnTo>
                  <a:lnTo>
                    <a:pt x="1250" y="223"/>
                  </a:lnTo>
                  <a:lnTo>
                    <a:pt x="1228" y="340"/>
                  </a:lnTo>
                  <a:lnTo>
                    <a:pt x="1222" y="420"/>
                  </a:lnTo>
                  <a:lnTo>
                    <a:pt x="1273" y="460"/>
                  </a:lnTo>
                  <a:lnTo>
                    <a:pt x="1313" y="499"/>
                  </a:lnTo>
                  <a:lnTo>
                    <a:pt x="1296" y="556"/>
                  </a:lnTo>
                  <a:lnTo>
                    <a:pt x="1347" y="613"/>
                  </a:lnTo>
                  <a:lnTo>
                    <a:pt x="1421" y="619"/>
                  </a:lnTo>
                  <a:lnTo>
                    <a:pt x="1507" y="705"/>
                  </a:lnTo>
                  <a:lnTo>
                    <a:pt x="1581" y="703"/>
                  </a:lnTo>
                  <a:lnTo>
                    <a:pt x="1661" y="686"/>
                  </a:lnTo>
                  <a:lnTo>
                    <a:pt x="1672" y="590"/>
                  </a:lnTo>
                  <a:lnTo>
                    <a:pt x="1675" y="517"/>
                  </a:lnTo>
                  <a:lnTo>
                    <a:pt x="1605" y="527"/>
                  </a:lnTo>
                  <a:lnTo>
                    <a:pt x="1515" y="564"/>
                  </a:lnTo>
                  <a:lnTo>
                    <a:pt x="1484" y="511"/>
                  </a:lnTo>
                  <a:lnTo>
                    <a:pt x="1444" y="408"/>
                  </a:lnTo>
                  <a:lnTo>
                    <a:pt x="1418" y="314"/>
                  </a:lnTo>
                  <a:lnTo>
                    <a:pt x="1381" y="249"/>
                  </a:lnTo>
                  <a:lnTo>
                    <a:pt x="1362" y="163"/>
                  </a:lnTo>
                  <a:lnTo>
                    <a:pt x="1323" y="95"/>
                  </a:lnTo>
                  <a:lnTo>
                    <a:pt x="1288" y="0"/>
                  </a:lnTo>
                  <a:lnTo>
                    <a:pt x="1222" y="45"/>
                  </a:lnTo>
                  <a:lnTo>
                    <a:pt x="1165" y="63"/>
                  </a:lnTo>
                  <a:lnTo>
                    <a:pt x="1051" y="54"/>
                  </a:lnTo>
                  <a:lnTo>
                    <a:pt x="977" y="63"/>
                  </a:lnTo>
                  <a:lnTo>
                    <a:pt x="851" y="119"/>
                  </a:lnTo>
                  <a:lnTo>
                    <a:pt x="735" y="143"/>
                  </a:lnTo>
                  <a:lnTo>
                    <a:pt x="662" y="232"/>
                  </a:lnTo>
                  <a:lnTo>
                    <a:pt x="501" y="260"/>
                  </a:lnTo>
                  <a:lnTo>
                    <a:pt x="376" y="304"/>
                  </a:lnTo>
                  <a:lnTo>
                    <a:pt x="165" y="365"/>
                  </a:lnTo>
                  <a:lnTo>
                    <a:pt x="0" y="423"/>
                  </a:lnTo>
                  <a:lnTo>
                    <a:pt x="29" y="564"/>
                  </a:lnTo>
                  <a:lnTo>
                    <a:pt x="88" y="564"/>
                  </a:lnTo>
                  <a:lnTo>
                    <a:pt x="178" y="461"/>
                  </a:lnTo>
                  <a:lnTo>
                    <a:pt x="277" y="403"/>
                  </a:lnTo>
                  <a:lnTo>
                    <a:pt x="380" y="388"/>
                  </a:lnTo>
                  <a:lnTo>
                    <a:pt x="428" y="308"/>
                  </a:lnTo>
                  <a:lnTo>
                    <a:pt x="491" y="282"/>
                  </a:lnTo>
                  <a:lnTo>
                    <a:pt x="571" y="334"/>
                  </a:lnTo>
                  <a:lnTo>
                    <a:pt x="680" y="378"/>
                  </a:lnTo>
                  <a:lnTo>
                    <a:pt x="754" y="412"/>
                  </a:lnTo>
                  <a:lnTo>
                    <a:pt x="802" y="372"/>
                  </a:lnTo>
                  <a:lnTo>
                    <a:pt x="871" y="424"/>
                  </a:lnTo>
                  <a:lnTo>
                    <a:pt x="805" y="483"/>
                  </a:lnTo>
                  <a:lnTo>
                    <a:pt x="795" y="563"/>
                  </a:lnTo>
                  <a:lnTo>
                    <a:pt x="853" y="659"/>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0" name="Maine">
              <a:extLst>
                <a:ext uri="{FF2B5EF4-FFF2-40B4-BE49-F238E27FC236}">
                  <a16:creationId xmlns:a16="http://schemas.microsoft.com/office/drawing/2014/main" id="{B493D50B-FDC7-591E-19BF-8BD634959E90}"/>
                </a:ext>
              </a:extLst>
            </p:cNvPr>
            <p:cNvSpPr>
              <a:spLocks/>
            </p:cNvSpPr>
            <p:nvPr/>
          </p:nvSpPr>
          <p:spPr bwMode="auto">
            <a:xfrm>
              <a:off x="7642918" y="1367242"/>
              <a:ext cx="426902" cy="679234"/>
            </a:xfrm>
            <a:custGeom>
              <a:avLst/>
              <a:gdLst>
                <a:gd name="T0" fmla="*/ 0 w 1386"/>
                <a:gd name="T1" fmla="*/ 249 h 2211"/>
                <a:gd name="T2" fmla="*/ 29 w 1386"/>
                <a:gd name="T3" fmla="*/ 323 h 2211"/>
                <a:gd name="T4" fmla="*/ 64 w 1386"/>
                <a:gd name="T5" fmla="*/ 385 h 2211"/>
                <a:gd name="T6" fmla="*/ 71 w 1386"/>
                <a:gd name="T7" fmla="*/ 411 h 2211"/>
                <a:gd name="T8" fmla="*/ 92 w 1386"/>
                <a:gd name="T9" fmla="*/ 419 h 2211"/>
                <a:gd name="T10" fmla="*/ 109 w 1386"/>
                <a:gd name="T11" fmla="*/ 374 h 2211"/>
                <a:gd name="T12" fmla="*/ 109 w 1386"/>
                <a:gd name="T13" fmla="*/ 351 h 2211"/>
                <a:gd name="T14" fmla="*/ 125 w 1386"/>
                <a:gd name="T15" fmla="*/ 333 h 2211"/>
                <a:gd name="T16" fmla="*/ 143 w 1386"/>
                <a:gd name="T17" fmla="*/ 318 h 2211"/>
                <a:gd name="T18" fmla="*/ 166 w 1386"/>
                <a:gd name="T19" fmla="*/ 289 h 2211"/>
                <a:gd name="T20" fmla="*/ 172 w 1386"/>
                <a:gd name="T21" fmla="*/ 266 h 2211"/>
                <a:gd name="T22" fmla="*/ 164 w 1386"/>
                <a:gd name="T23" fmla="*/ 260 h 2211"/>
                <a:gd name="T24" fmla="*/ 178 w 1386"/>
                <a:gd name="T25" fmla="*/ 245 h 2211"/>
                <a:gd name="T26" fmla="*/ 189 w 1386"/>
                <a:gd name="T27" fmla="*/ 266 h 2211"/>
                <a:gd name="T28" fmla="*/ 195 w 1386"/>
                <a:gd name="T29" fmla="*/ 261 h 2211"/>
                <a:gd name="T30" fmla="*/ 195 w 1386"/>
                <a:gd name="T31" fmla="*/ 232 h 2211"/>
                <a:gd name="T32" fmla="*/ 229 w 1386"/>
                <a:gd name="T33" fmla="*/ 215 h 2211"/>
                <a:gd name="T34" fmla="*/ 245 w 1386"/>
                <a:gd name="T35" fmla="*/ 200 h 2211"/>
                <a:gd name="T36" fmla="*/ 263 w 1386"/>
                <a:gd name="T37" fmla="*/ 181 h 2211"/>
                <a:gd name="T38" fmla="*/ 263 w 1386"/>
                <a:gd name="T39" fmla="*/ 158 h 2211"/>
                <a:gd name="T40" fmla="*/ 248 w 1386"/>
                <a:gd name="T41" fmla="*/ 150 h 2211"/>
                <a:gd name="T42" fmla="*/ 246 w 1386"/>
                <a:gd name="T43" fmla="*/ 136 h 2211"/>
                <a:gd name="T44" fmla="*/ 226 w 1386"/>
                <a:gd name="T45" fmla="*/ 138 h 2211"/>
                <a:gd name="T46" fmla="*/ 212 w 1386"/>
                <a:gd name="T47" fmla="*/ 130 h 2211"/>
                <a:gd name="T48" fmla="*/ 202 w 1386"/>
                <a:gd name="T49" fmla="*/ 114 h 2211"/>
                <a:gd name="T50" fmla="*/ 183 w 1386"/>
                <a:gd name="T51" fmla="*/ 113 h 2211"/>
                <a:gd name="T52" fmla="*/ 170 w 1386"/>
                <a:gd name="T53" fmla="*/ 100 h 2211"/>
                <a:gd name="T54" fmla="*/ 167 w 1386"/>
                <a:gd name="T55" fmla="*/ 76 h 2211"/>
                <a:gd name="T56" fmla="*/ 152 w 1386"/>
                <a:gd name="T57" fmla="*/ 56 h 2211"/>
                <a:gd name="T58" fmla="*/ 144 w 1386"/>
                <a:gd name="T59" fmla="*/ 35 h 2211"/>
                <a:gd name="T60" fmla="*/ 129 w 1386"/>
                <a:gd name="T61" fmla="*/ 0 h 2211"/>
                <a:gd name="T62" fmla="*/ 109 w 1386"/>
                <a:gd name="T63" fmla="*/ 2 h 2211"/>
                <a:gd name="T64" fmla="*/ 90 w 1386"/>
                <a:gd name="T65" fmla="*/ 2 h 2211"/>
                <a:gd name="T66" fmla="*/ 70 w 1386"/>
                <a:gd name="T67" fmla="*/ 24 h 2211"/>
                <a:gd name="T68" fmla="*/ 52 w 1386"/>
                <a:gd name="T69" fmla="*/ 33 h 2211"/>
                <a:gd name="T70" fmla="*/ 35 w 1386"/>
                <a:gd name="T71" fmla="*/ 23 h 2211"/>
                <a:gd name="T72" fmla="*/ 30 w 1386"/>
                <a:gd name="T73" fmla="*/ 11 h 2211"/>
                <a:gd name="T74" fmla="*/ 15 w 1386"/>
                <a:gd name="T75" fmla="*/ 41 h 2211"/>
                <a:gd name="T76" fmla="*/ 21 w 1386"/>
                <a:gd name="T77" fmla="*/ 56 h 2211"/>
                <a:gd name="T78" fmla="*/ 18 w 1386"/>
                <a:gd name="T79" fmla="*/ 74 h 2211"/>
                <a:gd name="T80" fmla="*/ 11 w 1386"/>
                <a:gd name="T81" fmla="*/ 104 h 2211"/>
                <a:gd name="T82" fmla="*/ 15 w 1386"/>
                <a:gd name="T83" fmla="*/ 133 h 2211"/>
                <a:gd name="T84" fmla="*/ 24 w 1386"/>
                <a:gd name="T85" fmla="*/ 163 h 2211"/>
                <a:gd name="T86" fmla="*/ 18 w 1386"/>
                <a:gd name="T87" fmla="*/ 187 h 2211"/>
                <a:gd name="T88" fmla="*/ 11 w 1386"/>
                <a:gd name="T89" fmla="*/ 224 h 2211"/>
                <a:gd name="T90" fmla="*/ 0 w 1386"/>
                <a:gd name="T91" fmla="*/ 249 h 2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86" h="2211">
                  <a:moveTo>
                    <a:pt x="0" y="1313"/>
                  </a:moveTo>
                  <a:lnTo>
                    <a:pt x="153" y="1703"/>
                  </a:lnTo>
                  <a:lnTo>
                    <a:pt x="337" y="2030"/>
                  </a:lnTo>
                  <a:lnTo>
                    <a:pt x="373" y="2169"/>
                  </a:lnTo>
                  <a:lnTo>
                    <a:pt x="483" y="2211"/>
                  </a:lnTo>
                  <a:lnTo>
                    <a:pt x="576" y="1976"/>
                  </a:lnTo>
                  <a:lnTo>
                    <a:pt x="577" y="1853"/>
                  </a:lnTo>
                  <a:lnTo>
                    <a:pt x="657" y="1757"/>
                  </a:lnTo>
                  <a:lnTo>
                    <a:pt x="753" y="1677"/>
                  </a:lnTo>
                  <a:lnTo>
                    <a:pt x="876" y="1526"/>
                  </a:lnTo>
                  <a:lnTo>
                    <a:pt x="906" y="1406"/>
                  </a:lnTo>
                  <a:lnTo>
                    <a:pt x="865" y="1373"/>
                  </a:lnTo>
                  <a:lnTo>
                    <a:pt x="937" y="1293"/>
                  </a:lnTo>
                  <a:lnTo>
                    <a:pt x="996" y="1406"/>
                  </a:lnTo>
                  <a:lnTo>
                    <a:pt x="1026" y="1376"/>
                  </a:lnTo>
                  <a:lnTo>
                    <a:pt x="1026" y="1226"/>
                  </a:lnTo>
                  <a:lnTo>
                    <a:pt x="1206" y="1136"/>
                  </a:lnTo>
                  <a:lnTo>
                    <a:pt x="1289" y="1056"/>
                  </a:lnTo>
                  <a:lnTo>
                    <a:pt x="1386" y="956"/>
                  </a:lnTo>
                  <a:lnTo>
                    <a:pt x="1386" y="836"/>
                  </a:lnTo>
                  <a:lnTo>
                    <a:pt x="1305" y="792"/>
                  </a:lnTo>
                  <a:lnTo>
                    <a:pt x="1296" y="716"/>
                  </a:lnTo>
                  <a:lnTo>
                    <a:pt x="1193" y="728"/>
                  </a:lnTo>
                  <a:lnTo>
                    <a:pt x="1116" y="686"/>
                  </a:lnTo>
                  <a:lnTo>
                    <a:pt x="1065" y="600"/>
                  </a:lnTo>
                  <a:lnTo>
                    <a:pt x="966" y="596"/>
                  </a:lnTo>
                  <a:lnTo>
                    <a:pt x="897" y="528"/>
                  </a:lnTo>
                  <a:lnTo>
                    <a:pt x="881" y="400"/>
                  </a:lnTo>
                  <a:lnTo>
                    <a:pt x="801" y="296"/>
                  </a:lnTo>
                  <a:lnTo>
                    <a:pt x="761" y="184"/>
                  </a:lnTo>
                  <a:lnTo>
                    <a:pt x="681" y="0"/>
                  </a:lnTo>
                  <a:lnTo>
                    <a:pt x="577" y="8"/>
                  </a:lnTo>
                  <a:lnTo>
                    <a:pt x="473" y="8"/>
                  </a:lnTo>
                  <a:lnTo>
                    <a:pt x="369" y="128"/>
                  </a:lnTo>
                  <a:lnTo>
                    <a:pt x="276" y="176"/>
                  </a:lnTo>
                  <a:lnTo>
                    <a:pt x="185" y="120"/>
                  </a:lnTo>
                  <a:lnTo>
                    <a:pt x="156" y="56"/>
                  </a:lnTo>
                  <a:lnTo>
                    <a:pt x="81" y="216"/>
                  </a:lnTo>
                  <a:lnTo>
                    <a:pt x="113" y="296"/>
                  </a:lnTo>
                  <a:lnTo>
                    <a:pt x="97" y="392"/>
                  </a:lnTo>
                  <a:lnTo>
                    <a:pt x="57" y="549"/>
                  </a:lnTo>
                  <a:lnTo>
                    <a:pt x="81" y="704"/>
                  </a:lnTo>
                  <a:lnTo>
                    <a:pt x="129" y="861"/>
                  </a:lnTo>
                  <a:lnTo>
                    <a:pt x="96" y="986"/>
                  </a:lnTo>
                  <a:lnTo>
                    <a:pt x="57" y="1184"/>
                  </a:lnTo>
                  <a:lnTo>
                    <a:pt x="0" y="1313"/>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41" name="Lousiana">
              <a:extLst>
                <a:ext uri="{FF2B5EF4-FFF2-40B4-BE49-F238E27FC236}">
                  <a16:creationId xmlns:a16="http://schemas.microsoft.com/office/drawing/2014/main" id="{31B5C516-E434-CC60-AC73-33319F8F1CB3}"/>
                </a:ext>
              </a:extLst>
            </p:cNvPr>
            <p:cNvSpPr>
              <a:spLocks/>
            </p:cNvSpPr>
            <p:nvPr/>
          </p:nvSpPr>
          <p:spPr bwMode="auto">
            <a:xfrm>
              <a:off x="5354208" y="4246286"/>
              <a:ext cx="715830" cy="603043"/>
            </a:xfrm>
            <a:custGeom>
              <a:avLst/>
              <a:gdLst>
                <a:gd name="T0" fmla="*/ 54 w 2329"/>
                <a:gd name="T1" fmla="*/ 9 h 1959"/>
                <a:gd name="T2" fmla="*/ 187 w 2329"/>
                <a:gd name="T3" fmla="*/ 6 h 1959"/>
                <a:gd name="T4" fmla="*/ 240 w 2329"/>
                <a:gd name="T5" fmla="*/ 21 h 1959"/>
                <a:gd name="T6" fmla="*/ 242 w 2329"/>
                <a:gd name="T7" fmla="*/ 48 h 1959"/>
                <a:gd name="T8" fmla="*/ 237 w 2329"/>
                <a:gd name="T9" fmla="*/ 80 h 1959"/>
                <a:gd name="T10" fmla="*/ 218 w 2329"/>
                <a:gd name="T11" fmla="*/ 128 h 1959"/>
                <a:gd name="T12" fmla="*/ 214 w 2329"/>
                <a:gd name="T13" fmla="*/ 176 h 1959"/>
                <a:gd name="T14" fmla="*/ 298 w 2329"/>
                <a:gd name="T15" fmla="*/ 177 h 1959"/>
                <a:gd name="T16" fmla="*/ 352 w 2329"/>
                <a:gd name="T17" fmla="*/ 166 h 1959"/>
                <a:gd name="T18" fmla="*/ 364 w 2329"/>
                <a:gd name="T19" fmla="*/ 190 h 1959"/>
                <a:gd name="T20" fmla="*/ 374 w 2329"/>
                <a:gd name="T21" fmla="*/ 216 h 1959"/>
                <a:gd name="T22" fmla="*/ 384 w 2329"/>
                <a:gd name="T23" fmla="*/ 239 h 1959"/>
                <a:gd name="T24" fmla="*/ 339 w 2329"/>
                <a:gd name="T25" fmla="*/ 222 h 1959"/>
                <a:gd name="T26" fmla="*/ 319 w 2329"/>
                <a:gd name="T27" fmla="*/ 252 h 1959"/>
                <a:gd name="T28" fmla="*/ 342 w 2329"/>
                <a:gd name="T29" fmla="*/ 264 h 1959"/>
                <a:gd name="T30" fmla="*/ 373 w 2329"/>
                <a:gd name="T31" fmla="*/ 250 h 1959"/>
                <a:gd name="T32" fmla="*/ 384 w 2329"/>
                <a:gd name="T33" fmla="*/ 259 h 1959"/>
                <a:gd name="T34" fmla="*/ 405 w 2329"/>
                <a:gd name="T35" fmla="*/ 254 h 1959"/>
                <a:gd name="T36" fmla="*/ 427 w 2329"/>
                <a:gd name="T37" fmla="*/ 267 h 1959"/>
                <a:gd name="T38" fmla="*/ 410 w 2329"/>
                <a:gd name="T39" fmla="*/ 292 h 1959"/>
                <a:gd name="T40" fmla="*/ 436 w 2329"/>
                <a:gd name="T41" fmla="*/ 320 h 1959"/>
                <a:gd name="T42" fmla="*/ 425 w 2329"/>
                <a:gd name="T43" fmla="*/ 362 h 1959"/>
                <a:gd name="T44" fmla="*/ 396 w 2329"/>
                <a:gd name="T45" fmla="*/ 333 h 1959"/>
                <a:gd name="T46" fmla="*/ 369 w 2329"/>
                <a:gd name="T47" fmla="*/ 320 h 1959"/>
                <a:gd name="T48" fmla="*/ 327 w 2329"/>
                <a:gd name="T49" fmla="*/ 296 h 1959"/>
                <a:gd name="T50" fmla="*/ 357 w 2329"/>
                <a:gd name="T51" fmla="*/ 341 h 1959"/>
                <a:gd name="T52" fmla="*/ 333 w 2329"/>
                <a:gd name="T53" fmla="*/ 361 h 1959"/>
                <a:gd name="T54" fmla="*/ 302 w 2329"/>
                <a:gd name="T55" fmla="*/ 353 h 1959"/>
                <a:gd name="T56" fmla="*/ 266 w 2329"/>
                <a:gd name="T57" fmla="*/ 369 h 1959"/>
                <a:gd name="T58" fmla="*/ 257 w 2329"/>
                <a:gd name="T59" fmla="*/ 342 h 1959"/>
                <a:gd name="T60" fmla="*/ 248 w 2329"/>
                <a:gd name="T61" fmla="*/ 298 h 1959"/>
                <a:gd name="T62" fmla="*/ 242 w 2329"/>
                <a:gd name="T63" fmla="*/ 330 h 1959"/>
                <a:gd name="T64" fmla="*/ 201 w 2329"/>
                <a:gd name="T65" fmla="*/ 309 h 1959"/>
                <a:gd name="T66" fmla="*/ 171 w 2329"/>
                <a:gd name="T67" fmla="*/ 336 h 1959"/>
                <a:gd name="T68" fmla="*/ 119 w 2329"/>
                <a:gd name="T69" fmla="*/ 326 h 1959"/>
                <a:gd name="T70" fmla="*/ 74 w 2329"/>
                <a:gd name="T71" fmla="*/ 330 h 1959"/>
                <a:gd name="T72" fmla="*/ 44 w 2329"/>
                <a:gd name="T73" fmla="*/ 284 h 1959"/>
                <a:gd name="T74" fmla="*/ 56 w 2329"/>
                <a:gd name="T75" fmla="*/ 215 h 1959"/>
                <a:gd name="T76" fmla="*/ 30 w 2329"/>
                <a:gd name="T77" fmla="*/ 146 h 1959"/>
                <a:gd name="T78" fmla="*/ 0 w 2329"/>
                <a:gd name="T79" fmla="*/ 93 h 1959"/>
                <a:gd name="T80" fmla="*/ 0 w 2329"/>
                <a:gd name="T81" fmla="*/ 50 h 19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9" h="1959">
                  <a:moveTo>
                    <a:pt x="16" y="123"/>
                  </a:moveTo>
                  <a:lnTo>
                    <a:pt x="283" y="48"/>
                  </a:lnTo>
                  <a:lnTo>
                    <a:pt x="694" y="33"/>
                  </a:lnTo>
                  <a:lnTo>
                    <a:pt x="988" y="32"/>
                  </a:lnTo>
                  <a:lnTo>
                    <a:pt x="1216" y="0"/>
                  </a:lnTo>
                  <a:lnTo>
                    <a:pt x="1267" y="108"/>
                  </a:lnTo>
                  <a:lnTo>
                    <a:pt x="1309" y="177"/>
                  </a:lnTo>
                  <a:lnTo>
                    <a:pt x="1279" y="252"/>
                  </a:lnTo>
                  <a:lnTo>
                    <a:pt x="1309" y="327"/>
                  </a:lnTo>
                  <a:lnTo>
                    <a:pt x="1249" y="420"/>
                  </a:lnTo>
                  <a:lnTo>
                    <a:pt x="1249" y="537"/>
                  </a:lnTo>
                  <a:lnTo>
                    <a:pt x="1153" y="672"/>
                  </a:lnTo>
                  <a:lnTo>
                    <a:pt x="1129" y="807"/>
                  </a:lnTo>
                  <a:lnTo>
                    <a:pt x="1129" y="927"/>
                  </a:lnTo>
                  <a:lnTo>
                    <a:pt x="1339" y="927"/>
                  </a:lnTo>
                  <a:lnTo>
                    <a:pt x="1573" y="930"/>
                  </a:lnTo>
                  <a:lnTo>
                    <a:pt x="1729" y="897"/>
                  </a:lnTo>
                  <a:lnTo>
                    <a:pt x="1861" y="876"/>
                  </a:lnTo>
                  <a:lnTo>
                    <a:pt x="1939" y="897"/>
                  </a:lnTo>
                  <a:lnTo>
                    <a:pt x="1921" y="1002"/>
                  </a:lnTo>
                  <a:lnTo>
                    <a:pt x="1939" y="1047"/>
                  </a:lnTo>
                  <a:lnTo>
                    <a:pt x="1975" y="1137"/>
                  </a:lnTo>
                  <a:lnTo>
                    <a:pt x="2035" y="1215"/>
                  </a:lnTo>
                  <a:lnTo>
                    <a:pt x="2029" y="1257"/>
                  </a:lnTo>
                  <a:lnTo>
                    <a:pt x="1909" y="1209"/>
                  </a:lnTo>
                  <a:lnTo>
                    <a:pt x="1789" y="1167"/>
                  </a:lnTo>
                  <a:lnTo>
                    <a:pt x="1609" y="1257"/>
                  </a:lnTo>
                  <a:lnTo>
                    <a:pt x="1687" y="1329"/>
                  </a:lnTo>
                  <a:lnTo>
                    <a:pt x="1729" y="1497"/>
                  </a:lnTo>
                  <a:lnTo>
                    <a:pt x="1807" y="1392"/>
                  </a:lnTo>
                  <a:lnTo>
                    <a:pt x="1867" y="1299"/>
                  </a:lnTo>
                  <a:lnTo>
                    <a:pt x="1969" y="1317"/>
                  </a:lnTo>
                  <a:lnTo>
                    <a:pt x="1969" y="1377"/>
                  </a:lnTo>
                  <a:lnTo>
                    <a:pt x="2029" y="1362"/>
                  </a:lnTo>
                  <a:lnTo>
                    <a:pt x="2071" y="1314"/>
                  </a:lnTo>
                  <a:lnTo>
                    <a:pt x="2137" y="1338"/>
                  </a:lnTo>
                  <a:lnTo>
                    <a:pt x="2209" y="1347"/>
                  </a:lnTo>
                  <a:lnTo>
                    <a:pt x="2257" y="1407"/>
                  </a:lnTo>
                  <a:lnTo>
                    <a:pt x="2209" y="1470"/>
                  </a:lnTo>
                  <a:lnTo>
                    <a:pt x="2167" y="1536"/>
                  </a:lnTo>
                  <a:lnTo>
                    <a:pt x="2179" y="1647"/>
                  </a:lnTo>
                  <a:lnTo>
                    <a:pt x="2305" y="1683"/>
                  </a:lnTo>
                  <a:lnTo>
                    <a:pt x="2329" y="1797"/>
                  </a:lnTo>
                  <a:lnTo>
                    <a:pt x="2245" y="1905"/>
                  </a:lnTo>
                  <a:lnTo>
                    <a:pt x="2161" y="1815"/>
                  </a:lnTo>
                  <a:lnTo>
                    <a:pt x="2089" y="1755"/>
                  </a:lnTo>
                  <a:lnTo>
                    <a:pt x="2011" y="1731"/>
                  </a:lnTo>
                  <a:lnTo>
                    <a:pt x="1951" y="1683"/>
                  </a:lnTo>
                  <a:lnTo>
                    <a:pt x="1789" y="1557"/>
                  </a:lnTo>
                  <a:lnTo>
                    <a:pt x="1729" y="1557"/>
                  </a:lnTo>
                  <a:lnTo>
                    <a:pt x="1837" y="1689"/>
                  </a:lnTo>
                  <a:lnTo>
                    <a:pt x="1885" y="1797"/>
                  </a:lnTo>
                  <a:lnTo>
                    <a:pt x="1825" y="1875"/>
                  </a:lnTo>
                  <a:lnTo>
                    <a:pt x="1759" y="1902"/>
                  </a:lnTo>
                  <a:lnTo>
                    <a:pt x="1705" y="1857"/>
                  </a:lnTo>
                  <a:lnTo>
                    <a:pt x="1597" y="1857"/>
                  </a:lnTo>
                  <a:lnTo>
                    <a:pt x="1537" y="1959"/>
                  </a:lnTo>
                  <a:lnTo>
                    <a:pt x="1405" y="1944"/>
                  </a:lnTo>
                  <a:lnTo>
                    <a:pt x="1369" y="1905"/>
                  </a:lnTo>
                  <a:lnTo>
                    <a:pt x="1357" y="1803"/>
                  </a:lnTo>
                  <a:lnTo>
                    <a:pt x="1399" y="1647"/>
                  </a:lnTo>
                  <a:lnTo>
                    <a:pt x="1309" y="1569"/>
                  </a:lnTo>
                  <a:lnTo>
                    <a:pt x="1321" y="1647"/>
                  </a:lnTo>
                  <a:lnTo>
                    <a:pt x="1279" y="1737"/>
                  </a:lnTo>
                  <a:lnTo>
                    <a:pt x="1177" y="1659"/>
                  </a:lnTo>
                  <a:lnTo>
                    <a:pt x="1063" y="1626"/>
                  </a:lnTo>
                  <a:lnTo>
                    <a:pt x="949" y="1677"/>
                  </a:lnTo>
                  <a:lnTo>
                    <a:pt x="901" y="1770"/>
                  </a:lnTo>
                  <a:lnTo>
                    <a:pt x="769" y="1797"/>
                  </a:lnTo>
                  <a:lnTo>
                    <a:pt x="631" y="1719"/>
                  </a:lnTo>
                  <a:lnTo>
                    <a:pt x="469" y="1677"/>
                  </a:lnTo>
                  <a:lnTo>
                    <a:pt x="391" y="1737"/>
                  </a:lnTo>
                  <a:lnTo>
                    <a:pt x="241" y="1751"/>
                  </a:lnTo>
                  <a:lnTo>
                    <a:pt x="234" y="1496"/>
                  </a:lnTo>
                  <a:lnTo>
                    <a:pt x="211" y="1214"/>
                  </a:lnTo>
                  <a:lnTo>
                    <a:pt x="297" y="1130"/>
                  </a:lnTo>
                  <a:lnTo>
                    <a:pt x="258" y="932"/>
                  </a:lnTo>
                  <a:lnTo>
                    <a:pt x="156" y="770"/>
                  </a:lnTo>
                  <a:lnTo>
                    <a:pt x="73" y="681"/>
                  </a:lnTo>
                  <a:lnTo>
                    <a:pt x="0" y="491"/>
                  </a:lnTo>
                  <a:lnTo>
                    <a:pt x="18" y="389"/>
                  </a:lnTo>
                  <a:lnTo>
                    <a:pt x="1" y="263"/>
                  </a:lnTo>
                  <a:lnTo>
                    <a:pt x="16" y="123"/>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2" name="Kentucky">
              <a:extLst>
                <a:ext uri="{FF2B5EF4-FFF2-40B4-BE49-F238E27FC236}">
                  <a16:creationId xmlns:a16="http://schemas.microsoft.com/office/drawing/2014/main" id="{12B8ED4C-7626-39D1-CA7E-E12CD092CA38}"/>
                </a:ext>
              </a:extLst>
            </p:cNvPr>
            <p:cNvSpPr>
              <a:spLocks/>
            </p:cNvSpPr>
            <p:nvPr/>
          </p:nvSpPr>
          <p:spPr bwMode="auto">
            <a:xfrm>
              <a:off x="5881748" y="3126117"/>
              <a:ext cx="844064" cy="504156"/>
            </a:xfrm>
            <a:custGeom>
              <a:avLst/>
              <a:gdLst>
                <a:gd name="T0" fmla="*/ 0 w 2741"/>
                <a:gd name="T1" fmla="*/ 264 h 1641"/>
                <a:gd name="T2" fmla="*/ 19 w 2741"/>
                <a:gd name="T3" fmla="*/ 275 h 1641"/>
                <a:gd name="T4" fmla="*/ 22 w 2741"/>
                <a:gd name="T5" fmla="*/ 308 h 1641"/>
                <a:gd name="T6" fmla="*/ 45 w 2741"/>
                <a:gd name="T7" fmla="*/ 311 h 1641"/>
                <a:gd name="T8" fmla="*/ 66 w 2741"/>
                <a:gd name="T9" fmla="*/ 305 h 1641"/>
                <a:gd name="T10" fmla="*/ 93 w 2741"/>
                <a:gd name="T11" fmla="*/ 304 h 1641"/>
                <a:gd name="T12" fmla="*/ 124 w 2741"/>
                <a:gd name="T13" fmla="*/ 292 h 1641"/>
                <a:gd name="T14" fmla="*/ 155 w 2741"/>
                <a:gd name="T15" fmla="*/ 279 h 1641"/>
                <a:gd name="T16" fmla="*/ 189 w 2741"/>
                <a:gd name="T17" fmla="*/ 280 h 1641"/>
                <a:gd name="T18" fmla="*/ 240 w 2741"/>
                <a:gd name="T19" fmla="*/ 264 h 1641"/>
                <a:gd name="T20" fmla="*/ 313 w 2741"/>
                <a:gd name="T21" fmla="*/ 250 h 1641"/>
                <a:gd name="T22" fmla="*/ 357 w 2741"/>
                <a:gd name="T23" fmla="*/ 244 h 1641"/>
                <a:gd name="T24" fmla="*/ 412 w 2741"/>
                <a:gd name="T25" fmla="*/ 235 h 1641"/>
                <a:gd name="T26" fmla="*/ 456 w 2741"/>
                <a:gd name="T27" fmla="*/ 222 h 1641"/>
                <a:gd name="T28" fmla="*/ 513 w 2741"/>
                <a:gd name="T29" fmla="*/ 209 h 1641"/>
                <a:gd name="T30" fmla="*/ 518 w 2741"/>
                <a:gd name="T31" fmla="*/ 193 h 1641"/>
                <a:gd name="T32" fmla="*/ 507 w 2741"/>
                <a:gd name="T33" fmla="*/ 165 h 1641"/>
                <a:gd name="T34" fmla="*/ 518 w 2741"/>
                <a:gd name="T35" fmla="*/ 145 h 1641"/>
                <a:gd name="T36" fmla="*/ 520 w 2741"/>
                <a:gd name="T37" fmla="*/ 121 h 1641"/>
                <a:gd name="T38" fmla="*/ 517 w 2741"/>
                <a:gd name="T39" fmla="*/ 97 h 1641"/>
                <a:gd name="T40" fmla="*/ 496 w 2741"/>
                <a:gd name="T41" fmla="*/ 80 h 1641"/>
                <a:gd name="T42" fmla="*/ 493 w 2741"/>
                <a:gd name="T43" fmla="*/ 47 h 1641"/>
                <a:gd name="T44" fmla="*/ 482 w 2741"/>
                <a:gd name="T45" fmla="*/ 34 h 1641"/>
                <a:gd name="T46" fmla="*/ 469 w 2741"/>
                <a:gd name="T47" fmla="*/ 19 h 1641"/>
                <a:gd name="T48" fmla="*/ 445 w 2741"/>
                <a:gd name="T49" fmla="*/ 0 h 1641"/>
                <a:gd name="T50" fmla="*/ 430 w 2741"/>
                <a:gd name="T51" fmla="*/ 16 h 1641"/>
                <a:gd name="T52" fmla="*/ 409 w 2741"/>
                <a:gd name="T53" fmla="*/ 23 h 1641"/>
                <a:gd name="T54" fmla="*/ 375 w 2741"/>
                <a:gd name="T55" fmla="*/ 23 h 1641"/>
                <a:gd name="T56" fmla="*/ 344 w 2741"/>
                <a:gd name="T57" fmla="*/ 20 h 1641"/>
                <a:gd name="T58" fmla="*/ 313 w 2741"/>
                <a:gd name="T59" fmla="*/ 0 h 1641"/>
                <a:gd name="T60" fmla="*/ 307 w 2741"/>
                <a:gd name="T61" fmla="*/ 26 h 1641"/>
                <a:gd name="T62" fmla="*/ 315 w 2741"/>
                <a:gd name="T63" fmla="*/ 46 h 1641"/>
                <a:gd name="T64" fmla="*/ 280 w 2741"/>
                <a:gd name="T65" fmla="*/ 52 h 1641"/>
                <a:gd name="T66" fmla="*/ 257 w 2741"/>
                <a:gd name="T67" fmla="*/ 65 h 1641"/>
                <a:gd name="T68" fmla="*/ 257 w 2741"/>
                <a:gd name="T69" fmla="*/ 87 h 1641"/>
                <a:gd name="T70" fmla="*/ 241 w 2741"/>
                <a:gd name="T71" fmla="*/ 111 h 1641"/>
                <a:gd name="T72" fmla="*/ 223 w 2741"/>
                <a:gd name="T73" fmla="*/ 136 h 1641"/>
                <a:gd name="T74" fmla="*/ 196 w 2741"/>
                <a:gd name="T75" fmla="*/ 129 h 1641"/>
                <a:gd name="T76" fmla="*/ 188 w 2741"/>
                <a:gd name="T77" fmla="*/ 148 h 1641"/>
                <a:gd name="T78" fmla="*/ 165 w 2741"/>
                <a:gd name="T79" fmla="*/ 159 h 1641"/>
                <a:gd name="T80" fmla="*/ 145 w 2741"/>
                <a:gd name="T81" fmla="*/ 178 h 1641"/>
                <a:gd name="T82" fmla="*/ 126 w 2741"/>
                <a:gd name="T83" fmla="*/ 165 h 1641"/>
                <a:gd name="T84" fmla="*/ 111 w 2741"/>
                <a:gd name="T85" fmla="*/ 179 h 1641"/>
                <a:gd name="T86" fmla="*/ 89 w 2741"/>
                <a:gd name="T87" fmla="*/ 190 h 1641"/>
                <a:gd name="T88" fmla="*/ 91 w 2741"/>
                <a:gd name="T89" fmla="*/ 210 h 1641"/>
                <a:gd name="T90" fmla="*/ 78 w 2741"/>
                <a:gd name="T91" fmla="*/ 225 h 1641"/>
                <a:gd name="T92" fmla="*/ 60 w 2741"/>
                <a:gd name="T93" fmla="*/ 237 h 1641"/>
                <a:gd name="T94" fmla="*/ 40 w 2741"/>
                <a:gd name="T95" fmla="*/ 248 h 1641"/>
                <a:gd name="T96" fmla="*/ 0 w 2741"/>
                <a:gd name="T97" fmla="*/ 264 h 1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741" h="1641">
                  <a:moveTo>
                    <a:pt x="0" y="1394"/>
                  </a:moveTo>
                  <a:lnTo>
                    <a:pt x="100" y="1452"/>
                  </a:lnTo>
                  <a:lnTo>
                    <a:pt x="117" y="1626"/>
                  </a:lnTo>
                  <a:lnTo>
                    <a:pt x="237" y="1641"/>
                  </a:lnTo>
                  <a:lnTo>
                    <a:pt x="350" y="1611"/>
                  </a:lnTo>
                  <a:lnTo>
                    <a:pt x="488" y="1605"/>
                  </a:lnTo>
                  <a:lnTo>
                    <a:pt x="656" y="1539"/>
                  </a:lnTo>
                  <a:lnTo>
                    <a:pt x="818" y="1473"/>
                  </a:lnTo>
                  <a:lnTo>
                    <a:pt x="998" y="1479"/>
                  </a:lnTo>
                  <a:lnTo>
                    <a:pt x="1267" y="1395"/>
                  </a:lnTo>
                  <a:lnTo>
                    <a:pt x="1651" y="1317"/>
                  </a:lnTo>
                  <a:lnTo>
                    <a:pt x="1884" y="1287"/>
                  </a:lnTo>
                  <a:lnTo>
                    <a:pt x="2172" y="1239"/>
                  </a:lnTo>
                  <a:lnTo>
                    <a:pt x="2402" y="1172"/>
                  </a:lnTo>
                  <a:lnTo>
                    <a:pt x="2705" y="1101"/>
                  </a:lnTo>
                  <a:lnTo>
                    <a:pt x="2729" y="1017"/>
                  </a:lnTo>
                  <a:lnTo>
                    <a:pt x="2672" y="872"/>
                  </a:lnTo>
                  <a:lnTo>
                    <a:pt x="2729" y="765"/>
                  </a:lnTo>
                  <a:lnTo>
                    <a:pt x="2741" y="639"/>
                  </a:lnTo>
                  <a:lnTo>
                    <a:pt x="2723" y="513"/>
                  </a:lnTo>
                  <a:lnTo>
                    <a:pt x="2615" y="423"/>
                  </a:lnTo>
                  <a:lnTo>
                    <a:pt x="2597" y="249"/>
                  </a:lnTo>
                  <a:lnTo>
                    <a:pt x="2540" y="182"/>
                  </a:lnTo>
                  <a:lnTo>
                    <a:pt x="2470" y="99"/>
                  </a:lnTo>
                  <a:lnTo>
                    <a:pt x="2347" y="2"/>
                  </a:lnTo>
                  <a:lnTo>
                    <a:pt x="2266" y="87"/>
                  </a:lnTo>
                  <a:lnTo>
                    <a:pt x="2154" y="123"/>
                  </a:lnTo>
                  <a:lnTo>
                    <a:pt x="1976" y="123"/>
                  </a:lnTo>
                  <a:lnTo>
                    <a:pt x="1813" y="107"/>
                  </a:lnTo>
                  <a:lnTo>
                    <a:pt x="1651" y="0"/>
                  </a:lnTo>
                  <a:lnTo>
                    <a:pt x="1620" y="138"/>
                  </a:lnTo>
                  <a:lnTo>
                    <a:pt x="1659" y="242"/>
                  </a:lnTo>
                  <a:lnTo>
                    <a:pt x="1476" y="272"/>
                  </a:lnTo>
                  <a:lnTo>
                    <a:pt x="1357" y="344"/>
                  </a:lnTo>
                  <a:lnTo>
                    <a:pt x="1356" y="458"/>
                  </a:lnTo>
                  <a:lnTo>
                    <a:pt x="1269" y="588"/>
                  </a:lnTo>
                  <a:lnTo>
                    <a:pt x="1173" y="717"/>
                  </a:lnTo>
                  <a:lnTo>
                    <a:pt x="1035" y="681"/>
                  </a:lnTo>
                  <a:lnTo>
                    <a:pt x="992" y="780"/>
                  </a:lnTo>
                  <a:lnTo>
                    <a:pt x="871" y="837"/>
                  </a:lnTo>
                  <a:lnTo>
                    <a:pt x="766" y="938"/>
                  </a:lnTo>
                  <a:lnTo>
                    <a:pt x="662" y="870"/>
                  </a:lnTo>
                  <a:lnTo>
                    <a:pt x="583" y="944"/>
                  </a:lnTo>
                  <a:lnTo>
                    <a:pt x="471" y="1005"/>
                  </a:lnTo>
                  <a:lnTo>
                    <a:pt x="479" y="1106"/>
                  </a:lnTo>
                  <a:lnTo>
                    <a:pt x="409" y="1185"/>
                  </a:lnTo>
                  <a:lnTo>
                    <a:pt x="315" y="1250"/>
                  </a:lnTo>
                  <a:lnTo>
                    <a:pt x="213" y="1307"/>
                  </a:lnTo>
                  <a:lnTo>
                    <a:pt x="0" y="1394"/>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3" name="Kansas">
              <a:extLst>
                <a:ext uri="{FF2B5EF4-FFF2-40B4-BE49-F238E27FC236}">
                  <a16:creationId xmlns:a16="http://schemas.microsoft.com/office/drawing/2014/main" id="{27011970-B0AE-4D0F-5B10-F3C974A5DA2D}"/>
                </a:ext>
              </a:extLst>
            </p:cNvPr>
            <p:cNvSpPr>
              <a:spLocks/>
            </p:cNvSpPr>
            <p:nvPr/>
          </p:nvSpPr>
          <p:spPr bwMode="auto">
            <a:xfrm>
              <a:off x="4294260" y="3194203"/>
              <a:ext cx="933339" cy="505778"/>
            </a:xfrm>
            <a:custGeom>
              <a:avLst/>
              <a:gdLst>
                <a:gd name="T0" fmla="*/ 12 w 3036"/>
                <a:gd name="T1" fmla="*/ 11 h 1646"/>
                <a:gd name="T2" fmla="*/ 0 w 3036"/>
                <a:gd name="T3" fmla="*/ 93 h 1646"/>
                <a:gd name="T4" fmla="*/ 2 w 3036"/>
                <a:gd name="T5" fmla="*/ 311 h 1646"/>
                <a:gd name="T6" fmla="*/ 265 w 3036"/>
                <a:gd name="T7" fmla="*/ 312 h 1646"/>
                <a:gd name="T8" fmla="*/ 435 w 3036"/>
                <a:gd name="T9" fmla="*/ 298 h 1646"/>
                <a:gd name="T10" fmla="*/ 575 w 3036"/>
                <a:gd name="T11" fmla="*/ 286 h 1646"/>
                <a:gd name="T12" fmla="*/ 575 w 3036"/>
                <a:gd name="T13" fmla="*/ 251 h 1646"/>
                <a:gd name="T14" fmla="*/ 570 w 3036"/>
                <a:gd name="T15" fmla="*/ 198 h 1646"/>
                <a:gd name="T16" fmla="*/ 570 w 3036"/>
                <a:gd name="T17" fmla="*/ 135 h 1646"/>
                <a:gd name="T18" fmla="*/ 566 w 3036"/>
                <a:gd name="T19" fmla="*/ 87 h 1646"/>
                <a:gd name="T20" fmla="*/ 542 w 3036"/>
                <a:gd name="T21" fmla="*/ 73 h 1646"/>
                <a:gd name="T22" fmla="*/ 532 w 3036"/>
                <a:gd name="T23" fmla="*/ 42 h 1646"/>
                <a:gd name="T24" fmla="*/ 537 w 3036"/>
                <a:gd name="T25" fmla="*/ 25 h 1646"/>
                <a:gd name="T26" fmla="*/ 518 w 3036"/>
                <a:gd name="T27" fmla="*/ 14 h 1646"/>
                <a:gd name="T28" fmla="*/ 491 w 3036"/>
                <a:gd name="T29" fmla="*/ 0 h 1646"/>
                <a:gd name="T30" fmla="*/ 453 w 3036"/>
                <a:gd name="T31" fmla="*/ 0 h 1646"/>
                <a:gd name="T32" fmla="*/ 419 w 3036"/>
                <a:gd name="T33" fmla="*/ 2 h 1646"/>
                <a:gd name="T34" fmla="*/ 391 w 3036"/>
                <a:gd name="T35" fmla="*/ 5 h 1646"/>
                <a:gd name="T36" fmla="*/ 279 w 3036"/>
                <a:gd name="T37" fmla="*/ 11 h 1646"/>
                <a:gd name="T38" fmla="*/ 12 w 3036"/>
                <a:gd name="T39" fmla="*/ 11 h 16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36" h="1646">
                  <a:moveTo>
                    <a:pt x="62" y="59"/>
                  </a:moveTo>
                  <a:lnTo>
                    <a:pt x="0" y="491"/>
                  </a:lnTo>
                  <a:lnTo>
                    <a:pt x="13" y="1641"/>
                  </a:lnTo>
                  <a:lnTo>
                    <a:pt x="1401" y="1646"/>
                  </a:lnTo>
                  <a:lnTo>
                    <a:pt x="2298" y="1572"/>
                  </a:lnTo>
                  <a:lnTo>
                    <a:pt x="3036" y="1509"/>
                  </a:lnTo>
                  <a:lnTo>
                    <a:pt x="3036" y="1326"/>
                  </a:lnTo>
                  <a:lnTo>
                    <a:pt x="3009" y="1043"/>
                  </a:lnTo>
                  <a:lnTo>
                    <a:pt x="3009" y="713"/>
                  </a:lnTo>
                  <a:lnTo>
                    <a:pt x="2987" y="461"/>
                  </a:lnTo>
                  <a:lnTo>
                    <a:pt x="2862" y="384"/>
                  </a:lnTo>
                  <a:lnTo>
                    <a:pt x="2807" y="221"/>
                  </a:lnTo>
                  <a:lnTo>
                    <a:pt x="2837" y="131"/>
                  </a:lnTo>
                  <a:lnTo>
                    <a:pt x="2734" y="73"/>
                  </a:lnTo>
                  <a:lnTo>
                    <a:pt x="2593" y="0"/>
                  </a:lnTo>
                  <a:lnTo>
                    <a:pt x="2392" y="2"/>
                  </a:lnTo>
                  <a:lnTo>
                    <a:pt x="2212" y="11"/>
                  </a:lnTo>
                  <a:lnTo>
                    <a:pt x="2062" y="27"/>
                  </a:lnTo>
                  <a:lnTo>
                    <a:pt x="1474" y="60"/>
                  </a:lnTo>
                  <a:lnTo>
                    <a:pt x="62" y="59"/>
                  </a:lnTo>
                  <a:close/>
                </a:path>
              </a:pathLst>
            </a:custGeom>
            <a:solidFill>
              <a:schemeClr val="accent3">
                <a:lumMod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4" name="Iowa">
              <a:extLst>
                <a:ext uri="{FF2B5EF4-FFF2-40B4-BE49-F238E27FC236}">
                  <a16:creationId xmlns:a16="http://schemas.microsoft.com/office/drawing/2014/main" id="{F658D8C9-625C-ECEE-67C6-4FCFF4FAFDF2}"/>
                </a:ext>
              </a:extLst>
            </p:cNvPr>
            <p:cNvSpPr>
              <a:spLocks/>
            </p:cNvSpPr>
            <p:nvPr/>
          </p:nvSpPr>
          <p:spPr bwMode="auto">
            <a:xfrm>
              <a:off x="4937047" y="2630066"/>
              <a:ext cx="764526" cy="491188"/>
            </a:xfrm>
            <a:custGeom>
              <a:avLst/>
              <a:gdLst>
                <a:gd name="T0" fmla="*/ 0 w 2485"/>
                <a:gd name="T1" fmla="*/ 35 h 1601"/>
                <a:gd name="T2" fmla="*/ 367 w 2485"/>
                <a:gd name="T3" fmla="*/ 0 h 1601"/>
                <a:gd name="T4" fmla="*/ 378 w 2485"/>
                <a:gd name="T5" fmla="*/ 14 h 1601"/>
                <a:gd name="T6" fmla="*/ 379 w 2485"/>
                <a:gd name="T7" fmla="*/ 40 h 1601"/>
                <a:gd name="T8" fmla="*/ 386 w 2485"/>
                <a:gd name="T9" fmla="*/ 65 h 1601"/>
                <a:gd name="T10" fmla="*/ 408 w 2485"/>
                <a:gd name="T11" fmla="*/ 74 h 1601"/>
                <a:gd name="T12" fmla="*/ 428 w 2485"/>
                <a:gd name="T13" fmla="*/ 85 h 1601"/>
                <a:gd name="T14" fmla="*/ 447 w 2485"/>
                <a:gd name="T15" fmla="*/ 109 h 1601"/>
                <a:gd name="T16" fmla="*/ 463 w 2485"/>
                <a:gd name="T17" fmla="*/ 127 h 1601"/>
                <a:gd name="T18" fmla="*/ 471 w 2485"/>
                <a:gd name="T19" fmla="*/ 154 h 1601"/>
                <a:gd name="T20" fmla="*/ 451 w 2485"/>
                <a:gd name="T21" fmla="*/ 178 h 1601"/>
                <a:gd name="T22" fmla="*/ 426 w 2485"/>
                <a:gd name="T23" fmla="*/ 189 h 1601"/>
                <a:gd name="T24" fmla="*/ 399 w 2485"/>
                <a:gd name="T25" fmla="*/ 189 h 1601"/>
                <a:gd name="T26" fmla="*/ 416 w 2485"/>
                <a:gd name="T27" fmla="*/ 217 h 1601"/>
                <a:gd name="T28" fmla="*/ 407 w 2485"/>
                <a:gd name="T29" fmla="*/ 248 h 1601"/>
                <a:gd name="T30" fmla="*/ 394 w 2485"/>
                <a:gd name="T31" fmla="*/ 274 h 1601"/>
                <a:gd name="T32" fmla="*/ 388 w 2485"/>
                <a:gd name="T33" fmla="*/ 295 h 1601"/>
                <a:gd name="T34" fmla="*/ 360 w 2485"/>
                <a:gd name="T35" fmla="*/ 274 h 1601"/>
                <a:gd name="T36" fmla="*/ 277 w 2485"/>
                <a:gd name="T37" fmla="*/ 289 h 1601"/>
                <a:gd name="T38" fmla="*/ 195 w 2485"/>
                <a:gd name="T39" fmla="*/ 297 h 1601"/>
                <a:gd name="T40" fmla="*/ 73 w 2485"/>
                <a:gd name="T41" fmla="*/ 303 h 1601"/>
                <a:gd name="T42" fmla="*/ 73 w 2485"/>
                <a:gd name="T43" fmla="*/ 256 h 1601"/>
                <a:gd name="T44" fmla="*/ 23 w 2485"/>
                <a:gd name="T45" fmla="*/ 157 h 1601"/>
                <a:gd name="T46" fmla="*/ 6 w 2485"/>
                <a:gd name="T47" fmla="*/ 117 h 1601"/>
                <a:gd name="T48" fmla="*/ 6 w 2485"/>
                <a:gd name="T49" fmla="*/ 59 h 1601"/>
                <a:gd name="T50" fmla="*/ 0 w 2485"/>
                <a:gd name="T51" fmla="*/ 35 h 16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85" h="1601">
                  <a:moveTo>
                    <a:pt x="0" y="183"/>
                  </a:moveTo>
                  <a:lnTo>
                    <a:pt x="1935" y="0"/>
                  </a:lnTo>
                  <a:lnTo>
                    <a:pt x="1996" y="75"/>
                  </a:lnTo>
                  <a:lnTo>
                    <a:pt x="1998" y="212"/>
                  </a:lnTo>
                  <a:lnTo>
                    <a:pt x="2037" y="344"/>
                  </a:lnTo>
                  <a:lnTo>
                    <a:pt x="2155" y="393"/>
                  </a:lnTo>
                  <a:lnTo>
                    <a:pt x="2257" y="447"/>
                  </a:lnTo>
                  <a:lnTo>
                    <a:pt x="2357" y="575"/>
                  </a:lnTo>
                  <a:lnTo>
                    <a:pt x="2445" y="671"/>
                  </a:lnTo>
                  <a:lnTo>
                    <a:pt x="2485" y="815"/>
                  </a:lnTo>
                  <a:lnTo>
                    <a:pt x="2377" y="939"/>
                  </a:lnTo>
                  <a:lnTo>
                    <a:pt x="2245" y="999"/>
                  </a:lnTo>
                  <a:lnTo>
                    <a:pt x="2107" y="999"/>
                  </a:lnTo>
                  <a:lnTo>
                    <a:pt x="2197" y="1149"/>
                  </a:lnTo>
                  <a:lnTo>
                    <a:pt x="2149" y="1311"/>
                  </a:lnTo>
                  <a:lnTo>
                    <a:pt x="2077" y="1449"/>
                  </a:lnTo>
                  <a:lnTo>
                    <a:pt x="2045" y="1559"/>
                  </a:lnTo>
                  <a:lnTo>
                    <a:pt x="1897" y="1449"/>
                  </a:lnTo>
                  <a:lnTo>
                    <a:pt x="1461" y="1527"/>
                  </a:lnTo>
                  <a:lnTo>
                    <a:pt x="1029" y="1567"/>
                  </a:lnTo>
                  <a:lnTo>
                    <a:pt x="384" y="1601"/>
                  </a:lnTo>
                  <a:lnTo>
                    <a:pt x="384" y="1355"/>
                  </a:lnTo>
                  <a:lnTo>
                    <a:pt x="120" y="827"/>
                  </a:lnTo>
                  <a:lnTo>
                    <a:pt x="33" y="620"/>
                  </a:lnTo>
                  <a:lnTo>
                    <a:pt x="34" y="312"/>
                  </a:lnTo>
                  <a:lnTo>
                    <a:pt x="0" y="183"/>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5" name="Indiana">
              <a:extLst>
                <a:ext uri="{FF2B5EF4-FFF2-40B4-BE49-F238E27FC236}">
                  <a16:creationId xmlns:a16="http://schemas.microsoft.com/office/drawing/2014/main" id="{52627B5E-4B23-7F44-E2DA-15B276E15858}"/>
                </a:ext>
              </a:extLst>
            </p:cNvPr>
            <p:cNvSpPr>
              <a:spLocks/>
            </p:cNvSpPr>
            <p:nvPr/>
          </p:nvSpPr>
          <p:spPr bwMode="auto">
            <a:xfrm>
              <a:off x="6006735" y="2746783"/>
              <a:ext cx="386322" cy="688960"/>
            </a:xfrm>
            <a:custGeom>
              <a:avLst/>
              <a:gdLst>
                <a:gd name="T0" fmla="*/ 0 w 1255"/>
                <a:gd name="T1" fmla="*/ 49 h 2237"/>
                <a:gd name="T2" fmla="*/ 2 w 1255"/>
                <a:gd name="T3" fmla="*/ 86 h 2237"/>
                <a:gd name="T4" fmla="*/ 13 w 1255"/>
                <a:gd name="T5" fmla="*/ 123 h 2237"/>
                <a:gd name="T6" fmla="*/ 27 w 1255"/>
                <a:gd name="T7" fmla="*/ 158 h 2237"/>
                <a:gd name="T8" fmla="*/ 29 w 1255"/>
                <a:gd name="T9" fmla="*/ 192 h 2237"/>
                <a:gd name="T10" fmla="*/ 40 w 1255"/>
                <a:gd name="T11" fmla="*/ 231 h 2237"/>
                <a:gd name="T12" fmla="*/ 23 w 1255"/>
                <a:gd name="T13" fmla="*/ 262 h 2237"/>
                <a:gd name="T14" fmla="*/ 34 w 1255"/>
                <a:gd name="T15" fmla="*/ 335 h 2237"/>
                <a:gd name="T16" fmla="*/ 14 w 1255"/>
                <a:gd name="T17" fmla="*/ 386 h 2237"/>
                <a:gd name="T18" fmla="*/ 12 w 1255"/>
                <a:gd name="T19" fmla="*/ 425 h 2237"/>
                <a:gd name="T20" fmla="*/ 33 w 1255"/>
                <a:gd name="T21" fmla="*/ 414 h 2237"/>
                <a:gd name="T22" fmla="*/ 49 w 1255"/>
                <a:gd name="T23" fmla="*/ 399 h 2237"/>
                <a:gd name="T24" fmla="*/ 68 w 1255"/>
                <a:gd name="T25" fmla="*/ 412 h 2237"/>
                <a:gd name="T26" fmla="*/ 88 w 1255"/>
                <a:gd name="T27" fmla="*/ 393 h 2237"/>
                <a:gd name="T28" fmla="*/ 111 w 1255"/>
                <a:gd name="T29" fmla="*/ 382 h 2237"/>
                <a:gd name="T30" fmla="*/ 120 w 1255"/>
                <a:gd name="T31" fmla="*/ 363 h 2237"/>
                <a:gd name="T32" fmla="*/ 145 w 1255"/>
                <a:gd name="T33" fmla="*/ 371 h 2237"/>
                <a:gd name="T34" fmla="*/ 162 w 1255"/>
                <a:gd name="T35" fmla="*/ 348 h 2237"/>
                <a:gd name="T36" fmla="*/ 180 w 1255"/>
                <a:gd name="T37" fmla="*/ 321 h 2237"/>
                <a:gd name="T38" fmla="*/ 180 w 1255"/>
                <a:gd name="T39" fmla="*/ 300 h 2237"/>
                <a:gd name="T40" fmla="*/ 203 w 1255"/>
                <a:gd name="T41" fmla="*/ 286 h 2237"/>
                <a:gd name="T42" fmla="*/ 238 w 1255"/>
                <a:gd name="T43" fmla="*/ 280 h 2237"/>
                <a:gd name="T44" fmla="*/ 230 w 1255"/>
                <a:gd name="T45" fmla="*/ 260 h 2237"/>
                <a:gd name="T46" fmla="*/ 236 w 1255"/>
                <a:gd name="T47" fmla="*/ 234 h 2237"/>
                <a:gd name="T48" fmla="*/ 230 w 1255"/>
                <a:gd name="T49" fmla="*/ 195 h 2237"/>
                <a:gd name="T50" fmla="*/ 217 w 1255"/>
                <a:gd name="T51" fmla="*/ 160 h 2237"/>
                <a:gd name="T52" fmla="*/ 214 w 1255"/>
                <a:gd name="T53" fmla="*/ 108 h 2237"/>
                <a:gd name="T54" fmla="*/ 205 w 1255"/>
                <a:gd name="T55" fmla="*/ 90 h 2237"/>
                <a:gd name="T56" fmla="*/ 197 w 1255"/>
                <a:gd name="T57" fmla="*/ 69 h 2237"/>
                <a:gd name="T58" fmla="*/ 191 w 1255"/>
                <a:gd name="T59" fmla="*/ 52 h 2237"/>
                <a:gd name="T60" fmla="*/ 197 w 1255"/>
                <a:gd name="T61" fmla="*/ 37 h 2237"/>
                <a:gd name="T62" fmla="*/ 185 w 1255"/>
                <a:gd name="T63" fmla="*/ 11 h 2237"/>
                <a:gd name="T64" fmla="*/ 168 w 1255"/>
                <a:gd name="T65" fmla="*/ 0 h 2237"/>
                <a:gd name="T66" fmla="*/ 126 w 1255"/>
                <a:gd name="T67" fmla="*/ 8 h 2237"/>
                <a:gd name="T68" fmla="*/ 80 w 1255"/>
                <a:gd name="T69" fmla="*/ 17 h 2237"/>
                <a:gd name="T70" fmla="*/ 49 w 1255"/>
                <a:gd name="T71" fmla="*/ 22 h 2237"/>
                <a:gd name="T72" fmla="*/ 24 w 1255"/>
                <a:gd name="T73" fmla="*/ 35 h 2237"/>
                <a:gd name="T74" fmla="*/ 0 w 1255"/>
                <a:gd name="T75" fmla="*/ 49 h 2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55" h="2237">
                  <a:moveTo>
                    <a:pt x="0" y="260"/>
                  </a:moveTo>
                  <a:lnTo>
                    <a:pt x="9" y="452"/>
                  </a:lnTo>
                  <a:lnTo>
                    <a:pt x="70" y="645"/>
                  </a:lnTo>
                  <a:lnTo>
                    <a:pt x="144" y="833"/>
                  </a:lnTo>
                  <a:lnTo>
                    <a:pt x="151" y="1011"/>
                  </a:lnTo>
                  <a:lnTo>
                    <a:pt x="211" y="1217"/>
                  </a:lnTo>
                  <a:lnTo>
                    <a:pt x="120" y="1379"/>
                  </a:lnTo>
                  <a:lnTo>
                    <a:pt x="181" y="1763"/>
                  </a:lnTo>
                  <a:lnTo>
                    <a:pt x="73" y="2033"/>
                  </a:lnTo>
                  <a:lnTo>
                    <a:pt x="64" y="2237"/>
                  </a:lnTo>
                  <a:lnTo>
                    <a:pt x="176" y="2178"/>
                  </a:lnTo>
                  <a:lnTo>
                    <a:pt x="256" y="2101"/>
                  </a:lnTo>
                  <a:lnTo>
                    <a:pt x="360" y="2170"/>
                  </a:lnTo>
                  <a:lnTo>
                    <a:pt x="466" y="2071"/>
                  </a:lnTo>
                  <a:lnTo>
                    <a:pt x="586" y="2011"/>
                  </a:lnTo>
                  <a:lnTo>
                    <a:pt x="631" y="1913"/>
                  </a:lnTo>
                  <a:lnTo>
                    <a:pt x="766" y="1951"/>
                  </a:lnTo>
                  <a:lnTo>
                    <a:pt x="855" y="1833"/>
                  </a:lnTo>
                  <a:lnTo>
                    <a:pt x="951" y="1689"/>
                  </a:lnTo>
                  <a:lnTo>
                    <a:pt x="951" y="1577"/>
                  </a:lnTo>
                  <a:lnTo>
                    <a:pt x="1071" y="1505"/>
                  </a:lnTo>
                  <a:lnTo>
                    <a:pt x="1255" y="1473"/>
                  </a:lnTo>
                  <a:lnTo>
                    <a:pt x="1215" y="1369"/>
                  </a:lnTo>
                  <a:lnTo>
                    <a:pt x="1246" y="1231"/>
                  </a:lnTo>
                  <a:lnTo>
                    <a:pt x="1215" y="1025"/>
                  </a:lnTo>
                  <a:lnTo>
                    <a:pt x="1143" y="841"/>
                  </a:lnTo>
                  <a:lnTo>
                    <a:pt x="1126" y="570"/>
                  </a:lnTo>
                  <a:lnTo>
                    <a:pt x="1079" y="473"/>
                  </a:lnTo>
                  <a:lnTo>
                    <a:pt x="1039" y="361"/>
                  </a:lnTo>
                  <a:lnTo>
                    <a:pt x="1007" y="273"/>
                  </a:lnTo>
                  <a:lnTo>
                    <a:pt x="1039" y="193"/>
                  </a:lnTo>
                  <a:lnTo>
                    <a:pt x="976" y="60"/>
                  </a:lnTo>
                  <a:lnTo>
                    <a:pt x="886" y="0"/>
                  </a:lnTo>
                  <a:lnTo>
                    <a:pt x="663" y="41"/>
                  </a:lnTo>
                  <a:lnTo>
                    <a:pt x="423" y="89"/>
                  </a:lnTo>
                  <a:lnTo>
                    <a:pt x="256" y="114"/>
                  </a:lnTo>
                  <a:lnTo>
                    <a:pt x="127" y="185"/>
                  </a:lnTo>
                  <a:lnTo>
                    <a:pt x="0" y="260"/>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6" name="Illiniois">
              <a:extLst>
                <a:ext uri="{FF2B5EF4-FFF2-40B4-BE49-F238E27FC236}">
                  <a16:creationId xmlns:a16="http://schemas.microsoft.com/office/drawing/2014/main" id="{86FE6800-2750-8E1F-22F9-F468615DE0D5}"/>
                </a:ext>
              </a:extLst>
            </p:cNvPr>
            <p:cNvSpPr>
              <a:spLocks/>
            </p:cNvSpPr>
            <p:nvPr/>
          </p:nvSpPr>
          <p:spPr bwMode="auto">
            <a:xfrm>
              <a:off x="5566847" y="2719226"/>
              <a:ext cx="504814" cy="834858"/>
            </a:xfrm>
            <a:custGeom>
              <a:avLst/>
              <a:gdLst>
                <a:gd name="T0" fmla="*/ 40 w 1641"/>
                <a:gd name="T1" fmla="*/ 30 h 2721"/>
                <a:gd name="T2" fmla="*/ 56 w 1641"/>
                <a:gd name="T3" fmla="*/ 52 h 2721"/>
                <a:gd name="T4" fmla="*/ 76 w 1641"/>
                <a:gd name="T5" fmla="*/ 73 h 2721"/>
                <a:gd name="T6" fmla="*/ 83 w 1641"/>
                <a:gd name="T7" fmla="*/ 100 h 2721"/>
                <a:gd name="T8" fmla="*/ 63 w 1641"/>
                <a:gd name="T9" fmla="*/ 123 h 2721"/>
                <a:gd name="T10" fmla="*/ 38 w 1641"/>
                <a:gd name="T11" fmla="*/ 135 h 2721"/>
                <a:gd name="T12" fmla="*/ 12 w 1641"/>
                <a:gd name="T13" fmla="*/ 135 h 2721"/>
                <a:gd name="T14" fmla="*/ 28 w 1641"/>
                <a:gd name="T15" fmla="*/ 164 h 2721"/>
                <a:gd name="T16" fmla="*/ 20 w 1641"/>
                <a:gd name="T17" fmla="*/ 193 h 2721"/>
                <a:gd name="T18" fmla="*/ 6 w 1641"/>
                <a:gd name="T19" fmla="*/ 220 h 2721"/>
                <a:gd name="T20" fmla="*/ 0 w 1641"/>
                <a:gd name="T21" fmla="*/ 240 h 2721"/>
                <a:gd name="T22" fmla="*/ 6 w 1641"/>
                <a:gd name="T23" fmla="*/ 270 h 2721"/>
                <a:gd name="T24" fmla="*/ 23 w 1641"/>
                <a:gd name="T25" fmla="*/ 293 h 2721"/>
                <a:gd name="T26" fmla="*/ 41 w 1641"/>
                <a:gd name="T27" fmla="*/ 305 h 2721"/>
                <a:gd name="T28" fmla="*/ 63 w 1641"/>
                <a:gd name="T29" fmla="*/ 333 h 2721"/>
                <a:gd name="T30" fmla="*/ 82 w 1641"/>
                <a:gd name="T31" fmla="*/ 348 h 2721"/>
                <a:gd name="T32" fmla="*/ 100 w 1641"/>
                <a:gd name="T33" fmla="*/ 353 h 2721"/>
                <a:gd name="T34" fmla="*/ 115 w 1641"/>
                <a:gd name="T35" fmla="*/ 362 h 2721"/>
                <a:gd name="T36" fmla="*/ 111 w 1641"/>
                <a:gd name="T37" fmla="*/ 387 h 2721"/>
                <a:gd name="T38" fmla="*/ 103 w 1641"/>
                <a:gd name="T39" fmla="*/ 407 h 2721"/>
                <a:gd name="T40" fmla="*/ 121 w 1641"/>
                <a:gd name="T41" fmla="*/ 430 h 2721"/>
                <a:gd name="T42" fmla="*/ 143 w 1641"/>
                <a:gd name="T43" fmla="*/ 441 h 2721"/>
                <a:gd name="T44" fmla="*/ 172 w 1641"/>
                <a:gd name="T45" fmla="*/ 464 h 2721"/>
                <a:gd name="T46" fmla="*/ 177 w 1641"/>
                <a:gd name="T47" fmla="*/ 492 h 2721"/>
                <a:gd name="T48" fmla="*/ 194 w 1641"/>
                <a:gd name="T49" fmla="*/ 515 h 2721"/>
                <a:gd name="T50" fmla="*/ 194 w 1641"/>
                <a:gd name="T51" fmla="*/ 515 h 2721"/>
                <a:gd name="T52" fmla="*/ 220 w 1641"/>
                <a:gd name="T53" fmla="*/ 504 h 2721"/>
                <a:gd name="T54" fmla="*/ 235 w 1641"/>
                <a:gd name="T55" fmla="*/ 498 h 2721"/>
                <a:gd name="T56" fmla="*/ 254 w 1641"/>
                <a:gd name="T57" fmla="*/ 487 h 2721"/>
                <a:gd name="T58" fmla="*/ 271 w 1641"/>
                <a:gd name="T59" fmla="*/ 476 h 2721"/>
                <a:gd name="T60" fmla="*/ 285 w 1641"/>
                <a:gd name="T61" fmla="*/ 460 h 2721"/>
                <a:gd name="T62" fmla="*/ 284 w 1641"/>
                <a:gd name="T63" fmla="*/ 441 h 2721"/>
                <a:gd name="T64" fmla="*/ 285 w 1641"/>
                <a:gd name="T65" fmla="*/ 403 h 2721"/>
                <a:gd name="T66" fmla="*/ 305 w 1641"/>
                <a:gd name="T67" fmla="*/ 351 h 2721"/>
                <a:gd name="T68" fmla="*/ 300 w 1641"/>
                <a:gd name="T69" fmla="*/ 316 h 2721"/>
                <a:gd name="T70" fmla="*/ 294 w 1641"/>
                <a:gd name="T71" fmla="*/ 278 h 2721"/>
                <a:gd name="T72" fmla="*/ 311 w 1641"/>
                <a:gd name="T73" fmla="*/ 249 h 2721"/>
                <a:gd name="T74" fmla="*/ 300 w 1641"/>
                <a:gd name="T75" fmla="*/ 209 h 2721"/>
                <a:gd name="T76" fmla="*/ 298 w 1641"/>
                <a:gd name="T77" fmla="*/ 176 h 2721"/>
                <a:gd name="T78" fmla="*/ 285 w 1641"/>
                <a:gd name="T79" fmla="*/ 141 h 2721"/>
                <a:gd name="T80" fmla="*/ 273 w 1641"/>
                <a:gd name="T81" fmla="*/ 103 h 2721"/>
                <a:gd name="T82" fmla="*/ 271 w 1641"/>
                <a:gd name="T83" fmla="*/ 67 h 2721"/>
                <a:gd name="T84" fmla="*/ 248 w 1641"/>
                <a:gd name="T85" fmla="*/ 44 h 2721"/>
                <a:gd name="T86" fmla="*/ 236 w 1641"/>
                <a:gd name="T87" fmla="*/ 0 h 2721"/>
                <a:gd name="T88" fmla="*/ 40 w 1641"/>
                <a:gd name="T89" fmla="*/ 30 h 27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41" h="2721">
                  <a:moveTo>
                    <a:pt x="213" y="160"/>
                  </a:moveTo>
                  <a:lnTo>
                    <a:pt x="298" y="274"/>
                  </a:lnTo>
                  <a:lnTo>
                    <a:pt x="399" y="384"/>
                  </a:lnTo>
                  <a:lnTo>
                    <a:pt x="438" y="529"/>
                  </a:lnTo>
                  <a:lnTo>
                    <a:pt x="333" y="652"/>
                  </a:lnTo>
                  <a:lnTo>
                    <a:pt x="201" y="712"/>
                  </a:lnTo>
                  <a:lnTo>
                    <a:pt x="61" y="711"/>
                  </a:lnTo>
                  <a:lnTo>
                    <a:pt x="150" y="864"/>
                  </a:lnTo>
                  <a:lnTo>
                    <a:pt x="105" y="1020"/>
                  </a:lnTo>
                  <a:lnTo>
                    <a:pt x="31" y="1162"/>
                  </a:lnTo>
                  <a:lnTo>
                    <a:pt x="0" y="1270"/>
                  </a:lnTo>
                  <a:lnTo>
                    <a:pt x="34" y="1428"/>
                  </a:lnTo>
                  <a:lnTo>
                    <a:pt x="120" y="1550"/>
                  </a:lnTo>
                  <a:lnTo>
                    <a:pt x="216" y="1611"/>
                  </a:lnTo>
                  <a:lnTo>
                    <a:pt x="333" y="1757"/>
                  </a:lnTo>
                  <a:lnTo>
                    <a:pt x="433" y="1839"/>
                  </a:lnTo>
                  <a:lnTo>
                    <a:pt x="529" y="1863"/>
                  </a:lnTo>
                  <a:lnTo>
                    <a:pt x="605" y="1910"/>
                  </a:lnTo>
                  <a:lnTo>
                    <a:pt x="587" y="2045"/>
                  </a:lnTo>
                  <a:lnTo>
                    <a:pt x="543" y="2153"/>
                  </a:lnTo>
                  <a:lnTo>
                    <a:pt x="636" y="2270"/>
                  </a:lnTo>
                  <a:lnTo>
                    <a:pt x="756" y="2331"/>
                  </a:lnTo>
                  <a:lnTo>
                    <a:pt x="906" y="2451"/>
                  </a:lnTo>
                  <a:lnTo>
                    <a:pt x="933" y="2597"/>
                  </a:lnTo>
                  <a:lnTo>
                    <a:pt x="1023" y="2720"/>
                  </a:lnTo>
                  <a:lnTo>
                    <a:pt x="1022" y="2721"/>
                  </a:lnTo>
                  <a:lnTo>
                    <a:pt x="1161" y="2664"/>
                  </a:lnTo>
                  <a:lnTo>
                    <a:pt x="1238" y="2631"/>
                  </a:lnTo>
                  <a:lnTo>
                    <a:pt x="1341" y="2574"/>
                  </a:lnTo>
                  <a:lnTo>
                    <a:pt x="1431" y="2514"/>
                  </a:lnTo>
                  <a:lnTo>
                    <a:pt x="1502" y="2431"/>
                  </a:lnTo>
                  <a:lnTo>
                    <a:pt x="1496" y="2330"/>
                  </a:lnTo>
                  <a:lnTo>
                    <a:pt x="1502" y="2127"/>
                  </a:lnTo>
                  <a:lnTo>
                    <a:pt x="1611" y="1854"/>
                  </a:lnTo>
                  <a:lnTo>
                    <a:pt x="1582" y="1671"/>
                  </a:lnTo>
                  <a:lnTo>
                    <a:pt x="1550" y="1471"/>
                  </a:lnTo>
                  <a:lnTo>
                    <a:pt x="1641" y="1314"/>
                  </a:lnTo>
                  <a:lnTo>
                    <a:pt x="1582" y="1104"/>
                  </a:lnTo>
                  <a:lnTo>
                    <a:pt x="1574" y="928"/>
                  </a:lnTo>
                  <a:lnTo>
                    <a:pt x="1502" y="744"/>
                  </a:lnTo>
                  <a:lnTo>
                    <a:pt x="1438" y="544"/>
                  </a:lnTo>
                  <a:lnTo>
                    <a:pt x="1431" y="354"/>
                  </a:lnTo>
                  <a:lnTo>
                    <a:pt x="1311" y="234"/>
                  </a:lnTo>
                  <a:lnTo>
                    <a:pt x="1246" y="0"/>
                  </a:lnTo>
                  <a:lnTo>
                    <a:pt x="213" y="160"/>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7" name="Idaho">
              <a:extLst>
                <a:ext uri="{FF2B5EF4-FFF2-40B4-BE49-F238E27FC236}">
                  <a16:creationId xmlns:a16="http://schemas.microsoft.com/office/drawing/2014/main" id="{9B6952F6-935D-CDB6-AD6B-41549F71B58C}"/>
                </a:ext>
              </a:extLst>
            </p:cNvPr>
            <p:cNvSpPr>
              <a:spLocks/>
            </p:cNvSpPr>
            <p:nvPr/>
          </p:nvSpPr>
          <p:spPr bwMode="auto">
            <a:xfrm>
              <a:off x="2572046" y="1693080"/>
              <a:ext cx="727193" cy="1167180"/>
            </a:xfrm>
            <a:custGeom>
              <a:avLst/>
              <a:gdLst>
                <a:gd name="T0" fmla="*/ 129 w 2360"/>
                <a:gd name="T1" fmla="*/ 2 h 3800"/>
                <a:gd name="T2" fmla="*/ 152 w 2360"/>
                <a:gd name="T3" fmla="*/ 0 h 3800"/>
                <a:gd name="T4" fmla="*/ 186 w 2360"/>
                <a:gd name="T5" fmla="*/ 12 h 3800"/>
                <a:gd name="T6" fmla="*/ 181 w 2360"/>
                <a:gd name="T7" fmla="*/ 59 h 3800"/>
                <a:gd name="T8" fmla="*/ 180 w 2360"/>
                <a:gd name="T9" fmla="*/ 100 h 3800"/>
                <a:gd name="T10" fmla="*/ 180 w 2360"/>
                <a:gd name="T11" fmla="*/ 152 h 3800"/>
                <a:gd name="T12" fmla="*/ 198 w 2360"/>
                <a:gd name="T13" fmla="*/ 179 h 3800"/>
                <a:gd name="T14" fmla="*/ 226 w 2360"/>
                <a:gd name="T15" fmla="*/ 209 h 3800"/>
                <a:gd name="T16" fmla="*/ 237 w 2360"/>
                <a:gd name="T17" fmla="*/ 230 h 3800"/>
                <a:gd name="T18" fmla="*/ 260 w 2360"/>
                <a:gd name="T19" fmla="*/ 243 h 3800"/>
                <a:gd name="T20" fmla="*/ 241 w 2360"/>
                <a:gd name="T21" fmla="*/ 299 h 3800"/>
                <a:gd name="T22" fmla="*/ 241 w 2360"/>
                <a:gd name="T23" fmla="*/ 320 h 3800"/>
                <a:gd name="T24" fmla="*/ 241 w 2360"/>
                <a:gd name="T25" fmla="*/ 341 h 3800"/>
                <a:gd name="T26" fmla="*/ 271 w 2360"/>
                <a:gd name="T27" fmla="*/ 340 h 3800"/>
                <a:gd name="T28" fmla="*/ 288 w 2360"/>
                <a:gd name="T29" fmla="*/ 391 h 3800"/>
                <a:gd name="T30" fmla="*/ 291 w 2360"/>
                <a:gd name="T31" fmla="*/ 421 h 3800"/>
                <a:gd name="T32" fmla="*/ 300 w 2360"/>
                <a:gd name="T33" fmla="*/ 440 h 3800"/>
                <a:gd name="T34" fmla="*/ 316 w 2360"/>
                <a:gd name="T35" fmla="*/ 456 h 3800"/>
                <a:gd name="T36" fmla="*/ 334 w 2360"/>
                <a:gd name="T37" fmla="*/ 465 h 3800"/>
                <a:gd name="T38" fmla="*/ 380 w 2360"/>
                <a:gd name="T39" fmla="*/ 465 h 3800"/>
                <a:gd name="T40" fmla="*/ 397 w 2360"/>
                <a:gd name="T41" fmla="*/ 476 h 3800"/>
                <a:gd name="T42" fmla="*/ 420 w 2360"/>
                <a:gd name="T43" fmla="*/ 471 h 3800"/>
                <a:gd name="T44" fmla="*/ 420 w 2360"/>
                <a:gd name="T45" fmla="*/ 454 h 3800"/>
                <a:gd name="T46" fmla="*/ 448 w 2360"/>
                <a:gd name="T47" fmla="*/ 465 h 3800"/>
                <a:gd name="T48" fmla="*/ 435 w 2360"/>
                <a:gd name="T49" fmla="*/ 590 h 3800"/>
                <a:gd name="T50" fmla="*/ 427 w 2360"/>
                <a:gd name="T51" fmla="*/ 662 h 3800"/>
                <a:gd name="T52" fmla="*/ 421 w 2360"/>
                <a:gd name="T53" fmla="*/ 720 h 3800"/>
                <a:gd name="T54" fmla="*/ 324 w 2360"/>
                <a:gd name="T55" fmla="*/ 694 h 3800"/>
                <a:gd name="T56" fmla="*/ 212 w 2360"/>
                <a:gd name="T57" fmla="*/ 678 h 3800"/>
                <a:gd name="T58" fmla="*/ 0 w 2360"/>
                <a:gd name="T59" fmla="*/ 636 h 3800"/>
                <a:gd name="T60" fmla="*/ 23 w 2360"/>
                <a:gd name="T61" fmla="*/ 482 h 3800"/>
                <a:gd name="T62" fmla="*/ 46 w 2360"/>
                <a:gd name="T63" fmla="*/ 448 h 3800"/>
                <a:gd name="T64" fmla="*/ 28 w 2360"/>
                <a:gd name="T65" fmla="*/ 425 h 3800"/>
                <a:gd name="T66" fmla="*/ 28 w 2360"/>
                <a:gd name="T67" fmla="*/ 403 h 3800"/>
                <a:gd name="T68" fmla="*/ 57 w 2360"/>
                <a:gd name="T69" fmla="*/ 385 h 3800"/>
                <a:gd name="T70" fmla="*/ 63 w 2360"/>
                <a:gd name="T71" fmla="*/ 358 h 3800"/>
                <a:gd name="T72" fmla="*/ 63 w 2360"/>
                <a:gd name="T73" fmla="*/ 351 h 3800"/>
                <a:gd name="T74" fmla="*/ 69 w 2360"/>
                <a:gd name="T75" fmla="*/ 340 h 3800"/>
                <a:gd name="T76" fmla="*/ 91 w 2360"/>
                <a:gd name="T77" fmla="*/ 334 h 3800"/>
                <a:gd name="T78" fmla="*/ 93 w 2360"/>
                <a:gd name="T79" fmla="*/ 317 h 3800"/>
                <a:gd name="T80" fmla="*/ 91 w 2360"/>
                <a:gd name="T81" fmla="*/ 294 h 3800"/>
                <a:gd name="T82" fmla="*/ 75 w 2360"/>
                <a:gd name="T83" fmla="*/ 271 h 3800"/>
                <a:gd name="T84" fmla="*/ 75 w 2360"/>
                <a:gd name="T85" fmla="*/ 237 h 3800"/>
                <a:gd name="T86" fmla="*/ 99 w 2360"/>
                <a:gd name="T87" fmla="*/ 156 h 3800"/>
                <a:gd name="T88" fmla="*/ 103 w 2360"/>
                <a:gd name="T89" fmla="*/ 131 h 3800"/>
                <a:gd name="T90" fmla="*/ 102 w 2360"/>
                <a:gd name="T91" fmla="*/ 96 h 3800"/>
                <a:gd name="T92" fmla="*/ 114 w 2360"/>
                <a:gd name="T93" fmla="*/ 59 h 3800"/>
                <a:gd name="T94" fmla="*/ 120 w 2360"/>
                <a:gd name="T95" fmla="*/ 20 h 3800"/>
                <a:gd name="T96" fmla="*/ 129 w 2360"/>
                <a:gd name="T97" fmla="*/ 2 h 38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360" h="3800">
                  <a:moveTo>
                    <a:pt x="681" y="12"/>
                  </a:moveTo>
                  <a:lnTo>
                    <a:pt x="803" y="0"/>
                  </a:lnTo>
                  <a:lnTo>
                    <a:pt x="979" y="64"/>
                  </a:lnTo>
                  <a:lnTo>
                    <a:pt x="955" y="312"/>
                  </a:lnTo>
                  <a:lnTo>
                    <a:pt x="947" y="528"/>
                  </a:lnTo>
                  <a:lnTo>
                    <a:pt x="950" y="804"/>
                  </a:lnTo>
                  <a:lnTo>
                    <a:pt x="1043" y="944"/>
                  </a:lnTo>
                  <a:lnTo>
                    <a:pt x="1190" y="1104"/>
                  </a:lnTo>
                  <a:lnTo>
                    <a:pt x="1251" y="1216"/>
                  </a:lnTo>
                  <a:lnTo>
                    <a:pt x="1370" y="1284"/>
                  </a:lnTo>
                  <a:lnTo>
                    <a:pt x="1267" y="1576"/>
                  </a:lnTo>
                  <a:lnTo>
                    <a:pt x="1267" y="1688"/>
                  </a:lnTo>
                  <a:lnTo>
                    <a:pt x="1267" y="1800"/>
                  </a:lnTo>
                  <a:lnTo>
                    <a:pt x="1430" y="1794"/>
                  </a:lnTo>
                  <a:lnTo>
                    <a:pt x="1515" y="2064"/>
                  </a:lnTo>
                  <a:lnTo>
                    <a:pt x="1531" y="2224"/>
                  </a:lnTo>
                  <a:lnTo>
                    <a:pt x="1579" y="2320"/>
                  </a:lnTo>
                  <a:lnTo>
                    <a:pt x="1667" y="2408"/>
                  </a:lnTo>
                  <a:lnTo>
                    <a:pt x="1760" y="2454"/>
                  </a:lnTo>
                  <a:lnTo>
                    <a:pt x="2000" y="2454"/>
                  </a:lnTo>
                  <a:lnTo>
                    <a:pt x="2090" y="2514"/>
                  </a:lnTo>
                  <a:lnTo>
                    <a:pt x="2210" y="2484"/>
                  </a:lnTo>
                  <a:lnTo>
                    <a:pt x="2210" y="2394"/>
                  </a:lnTo>
                  <a:lnTo>
                    <a:pt x="2360" y="2454"/>
                  </a:lnTo>
                  <a:lnTo>
                    <a:pt x="2291" y="3112"/>
                  </a:lnTo>
                  <a:lnTo>
                    <a:pt x="2251" y="3496"/>
                  </a:lnTo>
                  <a:lnTo>
                    <a:pt x="2219" y="3800"/>
                  </a:lnTo>
                  <a:lnTo>
                    <a:pt x="1707" y="3664"/>
                  </a:lnTo>
                  <a:lnTo>
                    <a:pt x="1115" y="3576"/>
                  </a:lnTo>
                  <a:lnTo>
                    <a:pt x="0" y="3355"/>
                  </a:lnTo>
                  <a:lnTo>
                    <a:pt x="121" y="2544"/>
                  </a:lnTo>
                  <a:lnTo>
                    <a:pt x="241" y="2365"/>
                  </a:lnTo>
                  <a:lnTo>
                    <a:pt x="150" y="2242"/>
                  </a:lnTo>
                  <a:lnTo>
                    <a:pt x="150" y="2125"/>
                  </a:lnTo>
                  <a:lnTo>
                    <a:pt x="300" y="2034"/>
                  </a:lnTo>
                  <a:lnTo>
                    <a:pt x="330" y="1887"/>
                  </a:lnTo>
                  <a:lnTo>
                    <a:pt x="330" y="1852"/>
                  </a:lnTo>
                  <a:lnTo>
                    <a:pt x="361" y="1794"/>
                  </a:lnTo>
                  <a:lnTo>
                    <a:pt x="478" y="1764"/>
                  </a:lnTo>
                  <a:lnTo>
                    <a:pt x="492" y="1671"/>
                  </a:lnTo>
                  <a:lnTo>
                    <a:pt x="480" y="1554"/>
                  </a:lnTo>
                  <a:lnTo>
                    <a:pt x="393" y="1432"/>
                  </a:lnTo>
                  <a:lnTo>
                    <a:pt x="396" y="1252"/>
                  </a:lnTo>
                  <a:lnTo>
                    <a:pt x="519" y="823"/>
                  </a:lnTo>
                  <a:lnTo>
                    <a:pt x="544" y="691"/>
                  </a:lnTo>
                  <a:lnTo>
                    <a:pt x="535" y="505"/>
                  </a:lnTo>
                  <a:lnTo>
                    <a:pt x="598" y="312"/>
                  </a:lnTo>
                  <a:lnTo>
                    <a:pt x="633" y="105"/>
                  </a:lnTo>
                  <a:lnTo>
                    <a:pt x="681" y="12"/>
                  </a:lnTo>
                  <a:close/>
                </a:path>
              </a:pathLst>
            </a:custGeom>
            <a:solidFill>
              <a:schemeClr val="accent3">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8" name="Hawaii">
              <a:extLst>
                <a:ext uri="{FF2B5EF4-FFF2-40B4-BE49-F238E27FC236}">
                  <a16:creationId xmlns:a16="http://schemas.microsoft.com/office/drawing/2014/main" id="{FBC1D1C5-6CB4-814C-B036-2E8422C71F09}"/>
                </a:ext>
              </a:extLst>
            </p:cNvPr>
            <p:cNvSpPr>
              <a:spLocks/>
            </p:cNvSpPr>
            <p:nvPr/>
          </p:nvSpPr>
          <p:spPr bwMode="auto">
            <a:xfrm>
              <a:off x="2137841" y="4805584"/>
              <a:ext cx="1024238" cy="637085"/>
            </a:xfrm>
            <a:custGeom>
              <a:avLst/>
              <a:gdLst>
                <a:gd name="connsiteX0" fmla="*/ 795449 w 1024238"/>
                <a:gd name="connsiteY0" fmla="*/ 335564 h 637085"/>
                <a:gd name="connsiteX1" fmla="*/ 810210 w 1024238"/>
                <a:gd name="connsiteY1" fmla="*/ 351563 h 637085"/>
                <a:gd name="connsiteX2" fmla="*/ 839731 w 1024238"/>
                <a:gd name="connsiteY2" fmla="*/ 363870 h 637085"/>
                <a:gd name="connsiteX3" fmla="*/ 865254 w 1024238"/>
                <a:gd name="connsiteY3" fmla="*/ 363563 h 637085"/>
                <a:gd name="connsiteX4" fmla="*/ 891393 w 1024238"/>
                <a:gd name="connsiteY4" fmla="*/ 373716 h 637085"/>
                <a:gd name="connsiteX5" fmla="*/ 915994 w 1024238"/>
                <a:gd name="connsiteY5" fmla="*/ 378639 h 637085"/>
                <a:gd name="connsiteX6" fmla="*/ 935060 w 1024238"/>
                <a:gd name="connsiteY6" fmla="*/ 405406 h 637085"/>
                <a:gd name="connsiteX7" fmla="*/ 957816 w 1024238"/>
                <a:gd name="connsiteY7" fmla="*/ 422944 h 637085"/>
                <a:gd name="connsiteX8" fmla="*/ 963043 w 1024238"/>
                <a:gd name="connsiteY8" fmla="*/ 447250 h 637085"/>
                <a:gd name="connsiteX9" fmla="*/ 1002097 w 1024238"/>
                <a:gd name="connsiteY9" fmla="*/ 462326 h 637085"/>
                <a:gd name="connsiteX10" fmla="*/ 1024238 w 1024238"/>
                <a:gd name="connsiteY10" fmla="*/ 484479 h 637085"/>
                <a:gd name="connsiteX11" fmla="*/ 1011938 w 1024238"/>
                <a:gd name="connsiteY11" fmla="*/ 501708 h 637085"/>
                <a:gd name="connsiteX12" fmla="*/ 994717 w 1024238"/>
                <a:gd name="connsiteY12" fmla="*/ 531245 h 637085"/>
                <a:gd name="connsiteX13" fmla="*/ 970116 w 1024238"/>
                <a:gd name="connsiteY13" fmla="*/ 536168 h 637085"/>
                <a:gd name="connsiteX14" fmla="*/ 935675 w 1024238"/>
                <a:gd name="connsiteY14" fmla="*/ 553398 h 637085"/>
                <a:gd name="connsiteX15" fmla="*/ 915994 w 1024238"/>
                <a:gd name="connsiteY15" fmla="*/ 573089 h 637085"/>
                <a:gd name="connsiteX16" fmla="*/ 896313 w 1024238"/>
                <a:gd name="connsiteY16" fmla="*/ 590319 h 637085"/>
                <a:gd name="connsiteX17" fmla="*/ 891393 w 1024238"/>
                <a:gd name="connsiteY17" fmla="*/ 612471 h 637085"/>
                <a:gd name="connsiteX18" fmla="*/ 876632 w 1024238"/>
                <a:gd name="connsiteY18" fmla="*/ 637085 h 637085"/>
                <a:gd name="connsiteX19" fmla="*/ 837271 w 1024238"/>
                <a:gd name="connsiteY19" fmla="*/ 628470 h 637085"/>
                <a:gd name="connsiteX20" fmla="*/ 824970 w 1024238"/>
                <a:gd name="connsiteY20" fmla="*/ 614933 h 637085"/>
                <a:gd name="connsiteX21" fmla="*/ 809595 w 1024238"/>
                <a:gd name="connsiteY21" fmla="*/ 586627 h 637085"/>
                <a:gd name="connsiteX22" fmla="*/ 820050 w 1024238"/>
                <a:gd name="connsiteY22" fmla="*/ 568166 h 637085"/>
                <a:gd name="connsiteX23" fmla="*/ 810210 w 1024238"/>
                <a:gd name="connsiteY23" fmla="*/ 536168 h 637085"/>
                <a:gd name="connsiteX24" fmla="*/ 795449 w 1024238"/>
                <a:gd name="connsiteY24" fmla="*/ 502939 h 637085"/>
                <a:gd name="connsiteX25" fmla="*/ 767773 w 1024238"/>
                <a:gd name="connsiteY25" fmla="*/ 474941 h 637085"/>
                <a:gd name="connsiteX26" fmla="*/ 781611 w 1024238"/>
                <a:gd name="connsiteY26" fmla="*/ 447250 h 637085"/>
                <a:gd name="connsiteX27" fmla="*/ 797909 w 1024238"/>
                <a:gd name="connsiteY27" fmla="*/ 425405 h 637085"/>
                <a:gd name="connsiteX28" fmla="*/ 812670 w 1024238"/>
                <a:gd name="connsiteY28" fmla="*/ 410637 h 637085"/>
                <a:gd name="connsiteX29" fmla="*/ 800369 w 1024238"/>
                <a:gd name="connsiteY29" fmla="*/ 383561 h 637085"/>
                <a:gd name="connsiteX30" fmla="*/ 781611 w 1024238"/>
                <a:gd name="connsiteY30" fmla="*/ 377408 h 637085"/>
                <a:gd name="connsiteX31" fmla="*/ 783149 w 1024238"/>
                <a:gd name="connsiteY31" fmla="*/ 361409 h 637085"/>
                <a:gd name="connsiteX32" fmla="*/ 557748 w 1024238"/>
                <a:gd name="connsiteY32" fmla="*/ 223709 h 637085"/>
                <a:gd name="connsiteX33" fmla="*/ 572036 w 1024238"/>
                <a:gd name="connsiteY33" fmla="*/ 237815 h 637085"/>
                <a:gd name="connsiteX34" fmla="*/ 594090 w 1024238"/>
                <a:gd name="connsiteY34" fmla="*/ 244711 h 637085"/>
                <a:gd name="connsiteX35" fmla="*/ 590363 w 1024238"/>
                <a:gd name="connsiteY35" fmla="*/ 263519 h 637085"/>
                <a:gd name="connsiteX36" fmla="*/ 575453 w 1024238"/>
                <a:gd name="connsiteY36" fmla="*/ 280447 h 637085"/>
                <a:gd name="connsiteX37" fmla="*/ 564271 w 1024238"/>
                <a:gd name="connsiteY37" fmla="*/ 274804 h 637085"/>
                <a:gd name="connsiteX38" fmla="*/ 554953 w 1024238"/>
                <a:gd name="connsiteY38" fmla="*/ 261639 h 637085"/>
                <a:gd name="connsiteX39" fmla="*/ 543771 w 1024238"/>
                <a:gd name="connsiteY39" fmla="*/ 237815 h 637085"/>
                <a:gd name="connsiteX40" fmla="*/ 630517 w 1024238"/>
                <a:gd name="connsiteY40" fmla="*/ 202635 h 637085"/>
                <a:gd name="connsiteX41" fmla="*/ 655478 w 1024238"/>
                <a:gd name="connsiteY41" fmla="*/ 210643 h 637085"/>
                <a:gd name="connsiteX42" fmla="*/ 673043 w 1024238"/>
                <a:gd name="connsiteY42" fmla="*/ 217419 h 637085"/>
                <a:gd name="connsiteX43" fmla="*/ 683212 w 1024238"/>
                <a:gd name="connsiteY43" fmla="*/ 210643 h 637085"/>
                <a:gd name="connsiteX44" fmla="*/ 711871 w 1024238"/>
                <a:gd name="connsiteY44" fmla="*/ 206331 h 637085"/>
                <a:gd name="connsiteX45" fmla="*/ 725430 w 1024238"/>
                <a:gd name="connsiteY45" fmla="*/ 224503 h 637085"/>
                <a:gd name="connsiteX46" fmla="*/ 753164 w 1024238"/>
                <a:gd name="connsiteY46" fmla="*/ 238364 h 637085"/>
                <a:gd name="connsiteX47" fmla="*/ 753164 w 1024238"/>
                <a:gd name="connsiteY47" fmla="*/ 266392 h 637085"/>
                <a:gd name="connsiteX48" fmla="*/ 734058 w 1024238"/>
                <a:gd name="connsiteY48" fmla="*/ 282100 h 637085"/>
                <a:gd name="connsiteX49" fmla="*/ 722965 w 1024238"/>
                <a:gd name="connsiteY49" fmla="*/ 283949 h 637085"/>
                <a:gd name="connsiteX50" fmla="*/ 708173 w 1024238"/>
                <a:gd name="connsiteY50" fmla="*/ 285797 h 637085"/>
                <a:gd name="connsiteX51" fmla="*/ 695230 w 1024238"/>
                <a:gd name="connsiteY51" fmla="*/ 295037 h 637085"/>
                <a:gd name="connsiteX52" fmla="*/ 683212 w 1024238"/>
                <a:gd name="connsiteY52" fmla="*/ 280252 h 637085"/>
                <a:gd name="connsiteX53" fmla="*/ 671194 w 1024238"/>
                <a:gd name="connsiteY53" fmla="*/ 263620 h 637085"/>
                <a:gd name="connsiteX54" fmla="*/ 650856 w 1024238"/>
                <a:gd name="connsiteY54" fmla="*/ 248836 h 637085"/>
                <a:gd name="connsiteX55" fmla="*/ 627436 w 1024238"/>
                <a:gd name="connsiteY55" fmla="*/ 252532 h 637085"/>
                <a:gd name="connsiteX56" fmla="*/ 617575 w 1024238"/>
                <a:gd name="connsiteY56" fmla="*/ 237748 h 637085"/>
                <a:gd name="connsiteX57" fmla="*/ 613569 w 1024238"/>
                <a:gd name="connsiteY57" fmla="*/ 224503 h 637085"/>
                <a:gd name="connsiteX58" fmla="*/ 627436 w 1024238"/>
                <a:gd name="connsiteY58" fmla="*/ 210643 h 637085"/>
                <a:gd name="connsiteX59" fmla="*/ 599512 w 1024238"/>
                <a:gd name="connsiteY59" fmla="*/ 168593 h 637085"/>
                <a:gd name="connsiteX60" fmla="*/ 613569 w 1024238"/>
                <a:gd name="connsiteY60" fmla="*/ 182539 h 637085"/>
                <a:gd name="connsiteX61" fmla="*/ 613569 w 1024238"/>
                <a:gd name="connsiteY61" fmla="*/ 196485 h 637085"/>
                <a:gd name="connsiteX62" fmla="*/ 602873 w 1024238"/>
                <a:gd name="connsiteY62" fmla="*/ 198965 h 637085"/>
                <a:gd name="connsiteX63" fmla="*/ 590038 w 1024238"/>
                <a:gd name="connsiteY63" fmla="*/ 204543 h 637085"/>
                <a:gd name="connsiteX64" fmla="*/ 557951 w 1024238"/>
                <a:gd name="connsiteY64" fmla="*/ 196485 h 637085"/>
                <a:gd name="connsiteX65" fmla="*/ 544200 w 1024238"/>
                <a:gd name="connsiteY65" fmla="*/ 196485 h 637085"/>
                <a:gd name="connsiteX66" fmla="*/ 516391 w 1024238"/>
                <a:gd name="connsiteY66" fmla="*/ 210742 h 637085"/>
                <a:gd name="connsiteX67" fmla="*/ 502028 w 1024238"/>
                <a:gd name="connsiteY67" fmla="*/ 202684 h 637085"/>
                <a:gd name="connsiteX68" fmla="*/ 488582 w 1024238"/>
                <a:gd name="connsiteY68" fmla="*/ 182539 h 637085"/>
                <a:gd name="connsiteX69" fmla="*/ 509362 w 1024238"/>
                <a:gd name="connsiteY69" fmla="*/ 169213 h 637085"/>
                <a:gd name="connsiteX70" fmla="*/ 533198 w 1024238"/>
                <a:gd name="connsiteY70" fmla="*/ 171072 h 637085"/>
                <a:gd name="connsiteX71" fmla="*/ 557951 w 1024238"/>
                <a:gd name="connsiteY71" fmla="*/ 182539 h 637085"/>
                <a:gd name="connsiteX72" fmla="*/ 580871 w 1024238"/>
                <a:gd name="connsiteY72" fmla="*/ 172932 h 637085"/>
                <a:gd name="connsiteX73" fmla="*/ 354350 w 1024238"/>
                <a:gd name="connsiteY73" fmla="*/ 84296 h 637085"/>
                <a:gd name="connsiteX74" fmla="*/ 372700 w 1024238"/>
                <a:gd name="connsiteY74" fmla="*/ 104577 h 637085"/>
                <a:gd name="connsiteX75" fmla="*/ 385544 w 1024238"/>
                <a:gd name="connsiteY75" fmla="*/ 132234 h 637085"/>
                <a:gd name="connsiteX76" fmla="*/ 400224 w 1024238"/>
                <a:gd name="connsiteY76" fmla="*/ 141452 h 637085"/>
                <a:gd name="connsiteX77" fmla="*/ 418573 w 1024238"/>
                <a:gd name="connsiteY77" fmla="*/ 146984 h 637085"/>
                <a:gd name="connsiteX78" fmla="*/ 420408 w 1024238"/>
                <a:gd name="connsiteY78" fmla="*/ 169109 h 637085"/>
                <a:gd name="connsiteX79" fmla="*/ 392884 w 1024238"/>
                <a:gd name="connsiteY79" fmla="*/ 183859 h 637085"/>
                <a:gd name="connsiteX80" fmla="*/ 362913 w 1024238"/>
                <a:gd name="connsiteY80" fmla="*/ 196151 h 637085"/>
                <a:gd name="connsiteX81" fmla="*/ 335390 w 1024238"/>
                <a:gd name="connsiteY81" fmla="*/ 182323 h 637085"/>
                <a:gd name="connsiteX82" fmla="*/ 321322 w 1024238"/>
                <a:gd name="connsiteY82" fmla="*/ 168494 h 637085"/>
                <a:gd name="connsiteX83" fmla="*/ 321322 w 1024238"/>
                <a:gd name="connsiteY83" fmla="*/ 154359 h 637085"/>
                <a:gd name="connsiteX84" fmla="*/ 297468 w 1024238"/>
                <a:gd name="connsiteY84" fmla="*/ 143296 h 637085"/>
                <a:gd name="connsiteX85" fmla="*/ 293798 w 1024238"/>
                <a:gd name="connsiteY85" fmla="*/ 117483 h 637085"/>
                <a:gd name="connsiteX86" fmla="*/ 326827 w 1024238"/>
                <a:gd name="connsiteY86" fmla="*/ 113796 h 637085"/>
                <a:gd name="connsiteX87" fmla="*/ 332331 w 1024238"/>
                <a:gd name="connsiteY87" fmla="*/ 95358 h 637085"/>
                <a:gd name="connsiteX88" fmla="*/ 59665 w 1024238"/>
                <a:gd name="connsiteY88" fmla="*/ 0 h 637085"/>
                <a:gd name="connsiteX89" fmla="*/ 84884 w 1024238"/>
                <a:gd name="connsiteY89" fmla="*/ 2190 h 637085"/>
                <a:gd name="connsiteX90" fmla="*/ 87652 w 1024238"/>
                <a:gd name="connsiteY90" fmla="*/ 28479 h 637085"/>
                <a:gd name="connsiteX91" fmla="*/ 87652 w 1024238"/>
                <a:gd name="connsiteY91" fmla="*/ 56957 h 637085"/>
                <a:gd name="connsiteX92" fmla="*/ 75657 w 1024238"/>
                <a:gd name="connsiteY92" fmla="*/ 75422 h 637085"/>
                <a:gd name="connsiteX93" fmla="*/ 53206 w 1024238"/>
                <a:gd name="connsiteY93" fmla="*/ 81055 h 637085"/>
                <a:gd name="connsiteX94" fmla="*/ 31985 w 1024238"/>
                <a:gd name="connsiteY94" fmla="*/ 71040 h 637085"/>
                <a:gd name="connsiteX95" fmla="*/ 12610 w 1024238"/>
                <a:gd name="connsiteY95" fmla="*/ 75422 h 637085"/>
                <a:gd name="connsiteX96" fmla="*/ 0 w 1024238"/>
                <a:gd name="connsiteY96" fmla="*/ 64155 h 637085"/>
                <a:gd name="connsiteX97" fmla="*/ 3998 w 1024238"/>
                <a:gd name="connsiteY97" fmla="*/ 42561 h 637085"/>
                <a:gd name="connsiteX98" fmla="*/ 17838 w 1024238"/>
                <a:gd name="connsiteY98" fmla="*/ 14396 h 637085"/>
                <a:gd name="connsiteX99" fmla="*/ 36906 w 1024238"/>
                <a:gd name="connsiteY99" fmla="*/ 2190 h 63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024238" h="637085">
                  <a:moveTo>
                    <a:pt x="795449" y="335564"/>
                  </a:moveTo>
                  <a:lnTo>
                    <a:pt x="810210" y="351563"/>
                  </a:lnTo>
                  <a:lnTo>
                    <a:pt x="839731" y="363870"/>
                  </a:lnTo>
                  <a:lnTo>
                    <a:pt x="865254" y="363563"/>
                  </a:lnTo>
                  <a:lnTo>
                    <a:pt x="891393" y="373716"/>
                  </a:lnTo>
                  <a:lnTo>
                    <a:pt x="915994" y="378639"/>
                  </a:lnTo>
                  <a:lnTo>
                    <a:pt x="935060" y="405406"/>
                  </a:lnTo>
                  <a:lnTo>
                    <a:pt x="957816" y="422944"/>
                  </a:lnTo>
                  <a:lnTo>
                    <a:pt x="963043" y="447250"/>
                  </a:lnTo>
                  <a:lnTo>
                    <a:pt x="1002097" y="462326"/>
                  </a:lnTo>
                  <a:lnTo>
                    <a:pt x="1024238" y="484479"/>
                  </a:lnTo>
                  <a:lnTo>
                    <a:pt x="1011938" y="501708"/>
                  </a:lnTo>
                  <a:lnTo>
                    <a:pt x="994717" y="531245"/>
                  </a:lnTo>
                  <a:lnTo>
                    <a:pt x="970116" y="536168"/>
                  </a:lnTo>
                  <a:lnTo>
                    <a:pt x="935675" y="553398"/>
                  </a:lnTo>
                  <a:lnTo>
                    <a:pt x="915994" y="573089"/>
                  </a:lnTo>
                  <a:lnTo>
                    <a:pt x="896313" y="590319"/>
                  </a:lnTo>
                  <a:lnTo>
                    <a:pt x="891393" y="612471"/>
                  </a:lnTo>
                  <a:lnTo>
                    <a:pt x="876632" y="637085"/>
                  </a:lnTo>
                  <a:lnTo>
                    <a:pt x="837271" y="628470"/>
                  </a:lnTo>
                  <a:lnTo>
                    <a:pt x="824970" y="614933"/>
                  </a:lnTo>
                  <a:lnTo>
                    <a:pt x="809595" y="586627"/>
                  </a:lnTo>
                  <a:lnTo>
                    <a:pt x="820050" y="568166"/>
                  </a:lnTo>
                  <a:lnTo>
                    <a:pt x="810210" y="536168"/>
                  </a:lnTo>
                  <a:lnTo>
                    <a:pt x="795449" y="502939"/>
                  </a:lnTo>
                  <a:lnTo>
                    <a:pt x="767773" y="474941"/>
                  </a:lnTo>
                  <a:lnTo>
                    <a:pt x="781611" y="447250"/>
                  </a:lnTo>
                  <a:lnTo>
                    <a:pt x="797909" y="425405"/>
                  </a:lnTo>
                  <a:lnTo>
                    <a:pt x="812670" y="410637"/>
                  </a:lnTo>
                  <a:lnTo>
                    <a:pt x="800369" y="383561"/>
                  </a:lnTo>
                  <a:lnTo>
                    <a:pt x="781611" y="377408"/>
                  </a:lnTo>
                  <a:lnTo>
                    <a:pt x="783149" y="361409"/>
                  </a:lnTo>
                  <a:close/>
                  <a:moveTo>
                    <a:pt x="557748" y="223709"/>
                  </a:moveTo>
                  <a:lnTo>
                    <a:pt x="572036" y="237815"/>
                  </a:lnTo>
                  <a:lnTo>
                    <a:pt x="594090" y="244711"/>
                  </a:lnTo>
                  <a:lnTo>
                    <a:pt x="590363" y="263519"/>
                  </a:lnTo>
                  <a:lnTo>
                    <a:pt x="575453" y="280447"/>
                  </a:lnTo>
                  <a:lnTo>
                    <a:pt x="564271" y="274804"/>
                  </a:lnTo>
                  <a:lnTo>
                    <a:pt x="554953" y="261639"/>
                  </a:lnTo>
                  <a:lnTo>
                    <a:pt x="543771" y="237815"/>
                  </a:lnTo>
                  <a:close/>
                  <a:moveTo>
                    <a:pt x="630517" y="202635"/>
                  </a:moveTo>
                  <a:lnTo>
                    <a:pt x="655478" y="210643"/>
                  </a:lnTo>
                  <a:lnTo>
                    <a:pt x="673043" y="217419"/>
                  </a:lnTo>
                  <a:lnTo>
                    <a:pt x="683212" y="210643"/>
                  </a:lnTo>
                  <a:lnTo>
                    <a:pt x="711871" y="206331"/>
                  </a:lnTo>
                  <a:lnTo>
                    <a:pt x="725430" y="224503"/>
                  </a:lnTo>
                  <a:lnTo>
                    <a:pt x="753164" y="238364"/>
                  </a:lnTo>
                  <a:lnTo>
                    <a:pt x="753164" y="266392"/>
                  </a:lnTo>
                  <a:lnTo>
                    <a:pt x="734058" y="282100"/>
                  </a:lnTo>
                  <a:lnTo>
                    <a:pt x="722965" y="283949"/>
                  </a:lnTo>
                  <a:lnTo>
                    <a:pt x="708173" y="285797"/>
                  </a:lnTo>
                  <a:lnTo>
                    <a:pt x="695230" y="295037"/>
                  </a:lnTo>
                  <a:lnTo>
                    <a:pt x="683212" y="280252"/>
                  </a:lnTo>
                  <a:lnTo>
                    <a:pt x="671194" y="263620"/>
                  </a:lnTo>
                  <a:lnTo>
                    <a:pt x="650856" y="248836"/>
                  </a:lnTo>
                  <a:lnTo>
                    <a:pt x="627436" y="252532"/>
                  </a:lnTo>
                  <a:lnTo>
                    <a:pt x="617575" y="237748"/>
                  </a:lnTo>
                  <a:lnTo>
                    <a:pt x="613569" y="224503"/>
                  </a:lnTo>
                  <a:lnTo>
                    <a:pt x="627436" y="210643"/>
                  </a:lnTo>
                  <a:close/>
                  <a:moveTo>
                    <a:pt x="599512" y="168593"/>
                  </a:moveTo>
                  <a:lnTo>
                    <a:pt x="613569" y="182539"/>
                  </a:lnTo>
                  <a:lnTo>
                    <a:pt x="613569" y="196485"/>
                  </a:lnTo>
                  <a:lnTo>
                    <a:pt x="602873" y="198965"/>
                  </a:lnTo>
                  <a:lnTo>
                    <a:pt x="590038" y="204543"/>
                  </a:lnTo>
                  <a:lnTo>
                    <a:pt x="557951" y="196485"/>
                  </a:lnTo>
                  <a:lnTo>
                    <a:pt x="544200" y="196485"/>
                  </a:lnTo>
                  <a:lnTo>
                    <a:pt x="516391" y="210742"/>
                  </a:lnTo>
                  <a:lnTo>
                    <a:pt x="502028" y="202684"/>
                  </a:lnTo>
                  <a:lnTo>
                    <a:pt x="488582" y="182539"/>
                  </a:lnTo>
                  <a:lnTo>
                    <a:pt x="509362" y="169213"/>
                  </a:lnTo>
                  <a:lnTo>
                    <a:pt x="533198" y="171072"/>
                  </a:lnTo>
                  <a:lnTo>
                    <a:pt x="557951" y="182539"/>
                  </a:lnTo>
                  <a:lnTo>
                    <a:pt x="580871" y="172932"/>
                  </a:lnTo>
                  <a:close/>
                  <a:moveTo>
                    <a:pt x="354350" y="84296"/>
                  </a:moveTo>
                  <a:lnTo>
                    <a:pt x="372700" y="104577"/>
                  </a:lnTo>
                  <a:lnTo>
                    <a:pt x="385544" y="132234"/>
                  </a:lnTo>
                  <a:lnTo>
                    <a:pt x="400224" y="141452"/>
                  </a:lnTo>
                  <a:lnTo>
                    <a:pt x="418573" y="146984"/>
                  </a:lnTo>
                  <a:lnTo>
                    <a:pt x="420408" y="169109"/>
                  </a:lnTo>
                  <a:lnTo>
                    <a:pt x="392884" y="183859"/>
                  </a:lnTo>
                  <a:lnTo>
                    <a:pt x="362913" y="196151"/>
                  </a:lnTo>
                  <a:lnTo>
                    <a:pt x="335390" y="182323"/>
                  </a:lnTo>
                  <a:lnTo>
                    <a:pt x="321322" y="168494"/>
                  </a:lnTo>
                  <a:lnTo>
                    <a:pt x="321322" y="154359"/>
                  </a:lnTo>
                  <a:lnTo>
                    <a:pt x="297468" y="143296"/>
                  </a:lnTo>
                  <a:lnTo>
                    <a:pt x="293798" y="117483"/>
                  </a:lnTo>
                  <a:lnTo>
                    <a:pt x="326827" y="113796"/>
                  </a:lnTo>
                  <a:lnTo>
                    <a:pt x="332331" y="95358"/>
                  </a:lnTo>
                  <a:close/>
                  <a:moveTo>
                    <a:pt x="59665" y="0"/>
                  </a:moveTo>
                  <a:lnTo>
                    <a:pt x="84884" y="2190"/>
                  </a:lnTo>
                  <a:lnTo>
                    <a:pt x="87652" y="28479"/>
                  </a:lnTo>
                  <a:lnTo>
                    <a:pt x="87652" y="56957"/>
                  </a:lnTo>
                  <a:lnTo>
                    <a:pt x="75657" y="75422"/>
                  </a:lnTo>
                  <a:lnTo>
                    <a:pt x="53206" y="81055"/>
                  </a:lnTo>
                  <a:lnTo>
                    <a:pt x="31985" y="71040"/>
                  </a:lnTo>
                  <a:lnTo>
                    <a:pt x="12610" y="75422"/>
                  </a:lnTo>
                  <a:lnTo>
                    <a:pt x="0" y="64155"/>
                  </a:lnTo>
                  <a:lnTo>
                    <a:pt x="3998" y="42561"/>
                  </a:lnTo>
                  <a:lnTo>
                    <a:pt x="17838" y="14396"/>
                  </a:lnTo>
                  <a:lnTo>
                    <a:pt x="36906" y="2190"/>
                  </a:lnTo>
                  <a:close/>
                </a:path>
              </a:pathLst>
            </a:custGeom>
            <a:solidFill>
              <a:schemeClr val="accent1">
                <a:lumMod val="10000"/>
                <a:lumOff val="90000"/>
              </a:schemeClr>
            </a:solidFill>
            <a:ln w="9525" cmpd="sng">
              <a:solidFill>
                <a:schemeClr val="bg1"/>
              </a:solidFill>
              <a:prstDash val="solid"/>
              <a:round/>
              <a:headEnd/>
              <a:tailEnd/>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49" name="Georgia">
              <a:extLst>
                <a:ext uri="{FF2B5EF4-FFF2-40B4-BE49-F238E27FC236}">
                  <a16:creationId xmlns:a16="http://schemas.microsoft.com/office/drawing/2014/main" id="{14EDAFD3-ACFF-DA60-D46E-91AEA516F45E}"/>
                </a:ext>
              </a:extLst>
            </p:cNvPr>
            <p:cNvSpPr>
              <a:spLocks/>
            </p:cNvSpPr>
            <p:nvPr/>
          </p:nvSpPr>
          <p:spPr bwMode="auto">
            <a:xfrm>
              <a:off x="6417404" y="3730781"/>
              <a:ext cx="650902" cy="697066"/>
            </a:xfrm>
            <a:custGeom>
              <a:avLst/>
              <a:gdLst>
                <a:gd name="T0" fmla="*/ 5 w 2113"/>
                <a:gd name="T1" fmla="*/ 43 h 2269"/>
                <a:gd name="T2" fmla="*/ 28 w 2113"/>
                <a:gd name="T3" fmla="*/ 31 h 2269"/>
                <a:gd name="T4" fmla="*/ 58 w 2113"/>
                <a:gd name="T5" fmla="*/ 33 h 2269"/>
                <a:gd name="T6" fmla="*/ 79 w 2113"/>
                <a:gd name="T7" fmla="*/ 19 h 2269"/>
                <a:gd name="T8" fmla="*/ 110 w 2113"/>
                <a:gd name="T9" fmla="*/ 16 h 2269"/>
                <a:gd name="T10" fmla="*/ 148 w 2113"/>
                <a:gd name="T11" fmla="*/ 3 h 2269"/>
                <a:gd name="T12" fmla="*/ 171 w 2113"/>
                <a:gd name="T13" fmla="*/ 0 h 2269"/>
                <a:gd name="T14" fmla="*/ 179 w 2113"/>
                <a:gd name="T15" fmla="*/ 26 h 2269"/>
                <a:gd name="T16" fmla="*/ 191 w 2113"/>
                <a:gd name="T17" fmla="*/ 45 h 2269"/>
                <a:gd name="T18" fmla="*/ 214 w 2113"/>
                <a:gd name="T19" fmla="*/ 54 h 2269"/>
                <a:gd name="T20" fmla="*/ 219 w 2113"/>
                <a:gd name="T21" fmla="*/ 72 h 2269"/>
                <a:gd name="T22" fmla="*/ 247 w 2113"/>
                <a:gd name="T23" fmla="*/ 83 h 2269"/>
                <a:gd name="T24" fmla="*/ 270 w 2113"/>
                <a:gd name="T25" fmla="*/ 97 h 2269"/>
                <a:gd name="T26" fmla="*/ 289 w 2113"/>
                <a:gd name="T27" fmla="*/ 116 h 2269"/>
                <a:gd name="T28" fmla="*/ 316 w 2113"/>
                <a:gd name="T29" fmla="*/ 129 h 2269"/>
                <a:gd name="T30" fmla="*/ 355 w 2113"/>
                <a:gd name="T31" fmla="*/ 163 h 2269"/>
                <a:gd name="T32" fmla="*/ 350 w 2113"/>
                <a:gd name="T33" fmla="*/ 180 h 2269"/>
                <a:gd name="T34" fmla="*/ 377 w 2113"/>
                <a:gd name="T35" fmla="*/ 204 h 2269"/>
                <a:gd name="T36" fmla="*/ 401 w 2113"/>
                <a:gd name="T37" fmla="*/ 231 h 2269"/>
                <a:gd name="T38" fmla="*/ 384 w 2113"/>
                <a:gd name="T39" fmla="*/ 263 h 2269"/>
                <a:gd name="T40" fmla="*/ 377 w 2113"/>
                <a:gd name="T41" fmla="*/ 303 h 2269"/>
                <a:gd name="T42" fmla="*/ 384 w 2113"/>
                <a:gd name="T43" fmla="*/ 334 h 2269"/>
                <a:gd name="T44" fmla="*/ 388 w 2113"/>
                <a:gd name="T45" fmla="*/ 367 h 2269"/>
                <a:gd name="T46" fmla="*/ 367 w 2113"/>
                <a:gd name="T47" fmla="*/ 378 h 2269"/>
                <a:gd name="T48" fmla="*/ 344 w 2113"/>
                <a:gd name="T49" fmla="*/ 373 h 2269"/>
                <a:gd name="T50" fmla="*/ 334 w 2113"/>
                <a:gd name="T51" fmla="*/ 388 h 2269"/>
                <a:gd name="T52" fmla="*/ 334 w 2113"/>
                <a:gd name="T53" fmla="*/ 402 h 2269"/>
                <a:gd name="T54" fmla="*/ 329 w 2113"/>
                <a:gd name="T55" fmla="*/ 417 h 2269"/>
                <a:gd name="T56" fmla="*/ 318 w 2113"/>
                <a:gd name="T57" fmla="*/ 409 h 2269"/>
                <a:gd name="T58" fmla="*/ 284 w 2113"/>
                <a:gd name="T59" fmla="*/ 414 h 2269"/>
                <a:gd name="T60" fmla="*/ 216 w 2113"/>
                <a:gd name="T61" fmla="*/ 417 h 2269"/>
                <a:gd name="T62" fmla="*/ 162 w 2113"/>
                <a:gd name="T63" fmla="*/ 426 h 2269"/>
                <a:gd name="T64" fmla="*/ 116 w 2113"/>
                <a:gd name="T65" fmla="*/ 430 h 2269"/>
                <a:gd name="T66" fmla="*/ 96 w 2113"/>
                <a:gd name="T67" fmla="*/ 423 h 2269"/>
                <a:gd name="T68" fmla="*/ 81 w 2113"/>
                <a:gd name="T69" fmla="*/ 409 h 2269"/>
                <a:gd name="T70" fmla="*/ 88 w 2113"/>
                <a:gd name="T71" fmla="*/ 380 h 2269"/>
                <a:gd name="T72" fmla="*/ 80 w 2113"/>
                <a:gd name="T73" fmla="*/ 356 h 2269"/>
                <a:gd name="T74" fmla="*/ 76 w 2113"/>
                <a:gd name="T75" fmla="*/ 326 h 2269"/>
                <a:gd name="T76" fmla="*/ 73 w 2113"/>
                <a:gd name="T77" fmla="*/ 305 h 2269"/>
                <a:gd name="T78" fmla="*/ 79 w 2113"/>
                <a:gd name="T79" fmla="*/ 274 h 2269"/>
                <a:gd name="T80" fmla="*/ 47 w 2113"/>
                <a:gd name="T81" fmla="*/ 218 h 2269"/>
                <a:gd name="T82" fmla="*/ 33 w 2113"/>
                <a:gd name="T83" fmla="*/ 162 h 2269"/>
                <a:gd name="T84" fmla="*/ 14 w 2113"/>
                <a:gd name="T85" fmla="*/ 95 h 2269"/>
                <a:gd name="T86" fmla="*/ 0 w 2113"/>
                <a:gd name="T87" fmla="*/ 70 h 2269"/>
                <a:gd name="T88" fmla="*/ 5 w 2113"/>
                <a:gd name="T89" fmla="*/ 43 h 2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13" h="2269">
                  <a:moveTo>
                    <a:pt x="26" y="225"/>
                  </a:moveTo>
                  <a:lnTo>
                    <a:pt x="150" y="164"/>
                  </a:lnTo>
                  <a:lnTo>
                    <a:pt x="308" y="176"/>
                  </a:lnTo>
                  <a:lnTo>
                    <a:pt x="416" y="102"/>
                  </a:lnTo>
                  <a:lnTo>
                    <a:pt x="579" y="82"/>
                  </a:lnTo>
                  <a:lnTo>
                    <a:pt x="781" y="18"/>
                  </a:lnTo>
                  <a:lnTo>
                    <a:pt x="899" y="0"/>
                  </a:lnTo>
                  <a:lnTo>
                    <a:pt x="943" y="139"/>
                  </a:lnTo>
                  <a:lnTo>
                    <a:pt x="1009" y="238"/>
                  </a:lnTo>
                  <a:lnTo>
                    <a:pt x="1128" y="283"/>
                  </a:lnTo>
                  <a:lnTo>
                    <a:pt x="1153" y="379"/>
                  </a:lnTo>
                  <a:lnTo>
                    <a:pt x="1302" y="439"/>
                  </a:lnTo>
                  <a:lnTo>
                    <a:pt x="1421" y="512"/>
                  </a:lnTo>
                  <a:lnTo>
                    <a:pt x="1521" y="612"/>
                  </a:lnTo>
                  <a:lnTo>
                    <a:pt x="1663" y="679"/>
                  </a:lnTo>
                  <a:lnTo>
                    <a:pt x="1873" y="859"/>
                  </a:lnTo>
                  <a:lnTo>
                    <a:pt x="1843" y="949"/>
                  </a:lnTo>
                  <a:lnTo>
                    <a:pt x="1987" y="1079"/>
                  </a:lnTo>
                  <a:lnTo>
                    <a:pt x="2113" y="1219"/>
                  </a:lnTo>
                  <a:lnTo>
                    <a:pt x="2024" y="1390"/>
                  </a:lnTo>
                  <a:lnTo>
                    <a:pt x="1987" y="1600"/>
                  </a:lnTo>
                  <a:lnTo>
                    <a:pt x="2024" y="1764"/>
                  </a:lnTo>
                  <a:lnTo>
                    <a:pt x="2042" y="1938"/>
                  </a:lnTo>
                  <a:lnTo>
                    <a:pt x="1933" y="1993"/>
                  </a:lnTo>
                  <a:lnTo>
                    <a:pt x="1813" y="1969"/>
                  </a:lnTo>
                  <a:lnTo>
                    <a:pt x="1759" y="2048"/>
                  </a:lnTo>
                  <a:lnTo>
                    <a:pt x="1759" y="2121"/>
                  </a:lnTo>
                  <a:lnTo>
                    <a:pt x="1731" y="2203"/>
                  </a:lnTo>
                  <a:lnTo>
                    <a:pt x="1677" y="2158"/>
                  </a:lnTo>
                  <a:lnTo>
                    <a:pt x="1494" y="2185"/>
                  </a:lnTo>
                  <a:lnTo>
                    <a:pt x="1137" y="2203"/>
                  </a:lnTo>
                  <a:lnTo>
                    <a:pt x="854" y="2249"/>
                  </a:lnTo>
                  <a:lnTo>
                    <a:pt x="613" y="2269"/>
                  </a:lnTo>
                  <a:lnTo>
                    <a:pt x="506" y="2231"/>
                  </a:lnTo>
                  <a:lnTo>
                    <a:pt x="426" y="2156"/>
                  </a:lnTo>
                  <a:lnTo>
                    <a:pt x="464" y="2007"/>
                  </a:lnTo>
                  <a:lnTo>
                    <a:pt x="423" y="1877"/>
                  </a:lnTo>
                  <a:lnTo>
                    <a:pt x="402" y="1718"/>
                  </a:lnTo>
                  <a:lnTo>
                    <a:pt x="383" y="1610"/>
                  </a:lnTo>
                  <a:lnTo>
                    <a:pt x="416" y="1448"/>
                  </a:lnTo>
                  <a:lnTo>
                    <a:pt x="246" y="1148"/>
                  </a:lnTo>
                  <a:lnTo>
                    <a:pt x="173" y="857"/>
                  </a:lnTo>
                  <a:lnTo>
                    <a:pt x="72" y="500"/>
                  </a:lnTo>
                  <a:lnTo>
                    <a:pt x="0" y="369"/>
                  </a:lnTo>
                  <a:lnTo>
                    <a:pt x="26" y="225"/>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0" name="Florida">
              <a:extLst>
                <a:ext uri="{FF2B5EF4-FFF2-40B4-BE49-F238E27FC236}">
                  <a16:creationId xmlns:a16="http://schemas.microsoft.com/office/drawing/2014/main" id="{8EE895B4-502F-4AF0-A15B-FD4D981A4B0B}"/>
                </a:ext>
              </a:extLst>
            </p:cNvPr>
            <p:cNvSpPr>
              <a:spLocks/>
            </p:cNvSpPr>
            <p:nvPr/>
          </p:nvSpPr>
          <p:spPr bwMode="auto">
            <a:xfrm>
              <a:off x="6243721" y="4325719"/>
              <a:ext cx="1098906" cy="857553"/>
            </a:xfrm>
            <a:custGeom>
              <a:avLst/>
              <a:gdLst>
                <a:gd name="T0" fmla="*/ 33 w 3573"/>
                <a:gd name="T1" fmla="*/ 131 h 2793"/>
                <a:gd name="T2" fmla="*/ 62 w 3573"/>
                <a:gd name="T3" fmla="*/ 131 h 2793"/>
                <a:gd name="T4" fmla="*/ 118 w 3573"/>
                <a:gd name="T5" fmla="*/ 129 h 2793"/>
                <a:gd name="T6" fmla="*/ 175 w 3573"/>
                <a:gd name="T7" fmla="*/ 153 h 2793"/>
                <a:gd name="T8" fmla="*/ 221 w 3573"/>
                <a:gd name="T9" fmla="*/ 160 h 2793"/>
                <a:gd name="T10" fmla="*/ 257 w 3573"/>
                <a:gd name="T11" fmla="*/ 136 h 2793"/>
                <a:gd name="T12" fmla="*/ 301 w 3573"/>
                <a:gd name="T13" fmla="*/ 113 h 2793"/>
                <a:gd name="T14" fmla="*/ 339 w 3573"/>
                <a:gd name="T15" fmla="*/ 148 h 2793"/>
                <a:gd name="T16" fmla="*/ 380 w 3573"/>
                <a:gd name="T17" fmla="*/ 177 h 2793"/>
                <a:gd name="T18" fmla="*/ 414 w 3573"/>
                <a:gd name="T19" fmla="*/ 220 h 2793"/>
                <a:gd name="T20" fmla="*/ 419 w 3573"/>
                <a:gd name="T21" fmla="*/ 266 h 2793"/>
                <a:gd name="T22" fmla="*/ 426 w 3573"/>
                <a:gd name="T23" fmla="*/ 308 h 2793"/>
                <a:gd name="T24" fmla="*/ 448 w 3573"/>
                <a:gd name="T25" fmla="*/ 296 h 2793"/>
                <a:gd name="T26" fmla="*/ 448 w 3573"/>
                <a:gd name="T27" fmla="*/ 319 h 2793"/>
                <a:gd name="T28" fmla="*/ 461 w 3573"/>
                <a:gd name="T29" fmla="*/ 369 h 2793"/>
                <a:gd name="T30" fmla="*/ 500 w 3573"/>
                <a:gd name="T31" fmla="*/ 370 h 2793"/>
                <a:gd name="T32" fmla="*/ 537 w 3573"/>
                <a:gd name="T33" fmla="*/ 429 h 2793"/>
                <a:gd name="T34" fmla="*/ 551 w 3573"/>
                <a:gd name="T35" fmla="*/ 472 h 2793"/>
                <a:gd name="T36" fmla="*/ 596 w 3573"/>
                <a:gd name="T37" fmla="*/ 501 h 2793"/>
                <a:gd name="T38" fmla="*/ 602 w 3573"/>
                <a:gd name="T39" fmla="*/ 529 h 2793"/>
                <a:gd name="T40" fmla="*/ 638 w 3573"/>
                <a:gd name="T41" fmla="*/ 525 h 2793"/>
                <a:gd name="T42" fmla="*/ 659 w 3573"/>
                <a:gd name="T43" fmla="*/ 518 h 2793"/>
                <a:gd name="T44" fmla="*/ 662 w 3573"/>
                <a:gd name="T45" fmla="*/ 474 h 2793"/>
                <a:gd name="T46" fmla="*/ 677 w 3573"/>
                <a:gd name="T47" fmla="*/ 429 h 2793"/>
                <a:gd name="T48" fmla="*/ 670 w 3573"/>
                <a:gd name="T49" fmla="*/ 353 h 2793"/>
                <a:gd name="T50" fmla="*/ 591 w 3573"/>
                <a:gd name="T51" fmla="*/ 222 h 2793"/>
                <a:gd name="T52" fmla="*/ 591 w 3573"/>
                <a:gd name="T53" fmla="*/ 188 h 2793"/>
                <a:gd name="T54" fmla="*/ 613 w 3573"/>
                <a:gd name="T55" fmla="*/ 227 h 2793"/>
                <a:gd name="T56" fmla="*/ 596 w 3573"/>
                <a:gd name="T57" fmla="*/ 182 h 2793"/>
                <a:gd name="T58" fmla="*/ 551 w 3573"/>
                <a:gd name="T59" fmla="*/ 137 h 2793"/>
                <a:gd name="T60" fmla="*/ 528 w 3573"/>
                <a:gd name="T61" fmla="*/ 93 h 2793"/>
                <a:gd name="T62" fmla="*/ 513 w 3573"/>
                <a:gd name="T63" fmla="*/ 43 h 2793"/>
                <a:gd name="T64" fmla="*/ 492 w 3573"/>
                <a:gd name="T65" fmla="*/ 50 h 2793"/>
                <a:gd name="T66" fmla="*/ 483 w 3573"/>
                <a:gd name="T67" fmla="*/ 69 h 2793"/>
                <a:gd name="T68" fmla="*/ 494 w 3573"/>
                <a:gd name="T69" fmla="*/ 18 h 2793"/>
                <a:gd name="T70" fmla="*/ 474 w 3573"/>
                <a:gd name="T71" fmla="*/ 10 h 2793"/>
                <a:gd name="T72" fmla="*/ 441 w 3573"/>
                <a:gd name="T73" fmla="*/ 21 h 2793"/>
                <a:gd name="T74" fmla="*/ 435 w 3573"/>
                <a:gd name="T75" fmla="*/ 51 h 2793"/>
                <a:gd name="T76" fmla="*/ 388 w 3573"/>
                <a:gd name="T77" fmla="*/ 47 h 2793"/>
                <a:gd name="T78" fmla="*/ 271 w 3573"/>
                <a:gd name="T79" fmla="*/ 59 h 2793"/>
                <a:gd name="T80" fmla="*/ 204 w 3573"/>
                <a:gd name="T81" fmla="*/ 56 h 2793"/>
                <a:gd name="T82" fmla="*/ 124 w 3573"/>
                <a:gd name="T83" fmla="*/ 56 h 2793"/>
                <a:gd name="T84" fmla="*/ 37 w 3573"/>
                <a:gd name="T85" fmla="*/ 78 h 2793"/>
                <a:gd name="T86" fmla="*/ 0 w 3573"/>
                <a:gd name="T87" fmla="*/ 110 h 27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573" h="2793">
                  <a:moveTo>
                    <a:pt x="32" y="756"/>
                  </a:moveTo>
                  <a:lnTo>
                    <a:pt x="176" y="693"/>
                  </a:lnTo>
                  <a:lnTo>
                    <a:pt x="206" y="633"/>
                  </a:lnTo>
                  <a:lnTo>
                    <a:pt x="326" y="693"/>
                  </a:lnTo>
                  <a:lnTo>
                    <a:pt x="441" y="616"/>
                  </a:lnTo>
                  <a:lnTo>
                    <a:pt x="621" y="682"/>
                  </a:lnTo>
                  <a:lnTo>
                    <a:pt x="795" y="646"/>
                  </a:lnTo>
                  <a:lnTo>
                    <a:pt x="921" y="808"/>
                  </a:lnTo>
                  <a:lnTo>
                    <a:pt x="1016" y="873"/>
                  </a:lnTo>
                  <a:lnTo>
                    <a:pt x="1166" y="843"/>
                  </a:lnTo>
                  <a:lnTo>
                    <a:pt x="1269" y="820"/>
                  </a:lnTo>
                  <a:lnTo>
                    <a:pt x="1359" y="718"/>
                  </a:lnTo>
                  <a:lnTo>
                    <a:pt x="1443" y="628"/>
                  </a:lnTo>
                  <a:lnTo>
                    <a:pt x="1587" y="598"/>
                  </a:lnTo>
                  <a:lnTo>
                    <a:pt x="1676" y="663"/>
                  </a:lnTo>
                  <a:lnTo>
                    <a:pt x="1791" y="784"/>
                  </a:lnTo>
                  <a:lnTo>
                    <a:pt x="1827" y="873"/>
                  </a:lnTo>
                  <a:lnTo>
                    <a:pt x="2007" y="934"/>
                  </a:lnTo>
                  <a:lnTo>
                    <a:pt x="2127" y="994"/>
                  </a:lnTo>
                  <a:lnTo>
                    <a:pt x="2187" y="1162"/>
                  </a:lnTo>
                  <a:lnTo>
                    <a:pt x="2187" y="1263"/>
                  </a:lnTo>
                  <a:lnTo>
                    <a:pt x="2211" y="1402"/>
                  </a:lnTo>
                  <a:lnTo>
                    <a:pt x="2211" y="1516"/>
                  </a:lnTo>
                  <a:lnTo>
                    <a:pt x="2247" y="1624"/>
                  </a:lnTo>
                  <a:lnTo>
                    <a:pt x="2289" y="1582"/>
                  </a:lnTo>
                  <a:lnTo>
                    <a:pt x="2367" y="1563"/>
                  </a:lnTo>
                  <a:lnTo>
                    <a:pt x="2391" y="1636"/>
                  </a:lnTo>
                  <a:lnTo>
                    <a:pt x="2367" y="1683"/>
                  </a:lnTo>
                  <a:lnTo>
                    <a:pt x="2349" y="1786"/>
                  </a:lnTo>
                  <a:lnTo>
                    <a:pt x="2433" y="1948"/>
                  </a:lnTo>
                  <a:lnTo>
                    <a:pt x="2565" y="2050"/>
                  </a:lnTo>
                  <a:lnTo>
                    <a:pt x="2637" y="1953"/>
                  </a:lnTo>
                  <a:lnTo>
                    <a:pt x="2715" y="2152"/>
                  </a:lnTo>
                  <a:lnTo>
                    <a:pt x="2835" y="2266"/>
                  </a:lnTo>
                  <a:lnTo>
                    <a:pt x="2883" y="2404"/>
                  </a:lnTo>
                  <a:lnTo>
                    <a:pt x="2907" y="2493"/>
                  </a:lnTo>
                  <a:lnTo>
                    <a:pt x="3057" y="2493"/>
                  </a:lnTo>
                  <a:lnTo>
                    <a:pt x="3147" y="2643"/>
                  </a:lnTo>
                  <a:lnTo>
                    <a:pt x="3237" y="2703"/>
                  </a:lnTo>
                  <a:lnTo>
                    <a:pt x="3177" y="2793"/>
                  </a:lnTo>
                  <a:lnTo>
                    <a:pt x="3267" y="2793"/>
                  </a:lnTo>
                  <a:lnTo>
                    <a:pt x="3369" y="2770"/>
                  </a:lnTo>
                  <a:lnTo>
                    <a:pt x="3387" y="2703"/>
                  </a:lnTo>
                  <a:lnTo>
                    <a:pt x="3477" y="2733"/>
                  </a:lnTo>
                  <a:lnTo>
                    <a:pt x="3537" y="2583"/>
                  </a:lnTo>
                  <a:lnTo>
                    <a:pt x="3495" y="2500"/>
                  </a:lnTo>
                  <a:lnTo>
                    <a:pt x="3549" y="2428"/>
                  </a:lnTo>
                  <a:lnTo>
                    <a:pt x="3573" y="2266"/>
                  </a:lnTo>
                  <a:lnTo>
                    <a:pt x="3573" y="2086"/>
                  </a:lnTo>
                  <a:lnTo>
                    <a:pt x="3537" y="1863"/>
                  </a:lnTo>
                  <a:lnTo>
                    <a:pt x="3387" y="1503"/>
                  </a:lnTo>
                  <a:lnTo>
                    <a:pt x="3117" y="1173"/>
                  </a:lnTo>
                  <a:lnTo>
                    <a:pt x="3027" y="993"/>
                  </a:lnTo>
                  <a:lnTo>
                    <a:pt x="3117" y="993"/>
                  </a:lnTo>
                  <a:lnTo>
                    <a:pt x="3183" y="1096"/>
                  </a:lnTo>
                  <a:lnTo>
                    <a:pt x="3237" y="1198"/>
                  </a:lnTo>
                  <a:lnTo>
                    <a:pt x="3273" y="1198"/>
                  </a:lnTo>
                  <a:lnTo>
                    <a:pt x="3147" y="963"/>
                  </a:lnTo>
                  <a:lnTo>
                    <a:pt x="3021" y="832"/>
                  </a:lnTo>
                  <a:lnTo>
                    <a:pt x="2907" y="723"/>
                  </a:lnTo>
                  <a:lnTo>
                    <a:pt x="2865" y="604"/>
                  </a:lnTo>
                  <a:lnTo>
                    <a:pt x="2787" y="490"/>
                  </a:lnTo>
                  <a:lnTo>
                    <a:pt x="2733" y="370"/>
                  </a:lnTo>
                  <a:lnTo>
                    <a:pt x="2709" y="226"/>
                  </a:lnTo>
                  <a:lnTo>
                    <a:pt x="2637" y="183"/>
                  </a:lnTo>
                  <a:lnTo>
                    <a:pt x="2595" y="262"/>
                  </a:lnTo>
                  <a:lnTo>
                    <a:pt x="2643" y="448"/>
                  </a:lnTo>
                  <a:lnTo>
                    <a:pt x="2547" y="364"/>
                  </a:lnTo>
                  <a:lnTo>
                    <a:pt x="2547" y="213"/>
                  </a:lnTo>
                  <a:lnTo>
                    <a:pt x="2607" y="93"/>
                  </a:lnTo>
                  <a:lnTo>
                    <a:pt x="2609" y="0"/>
                  </a:lnTo>
                  <a:lnTo>
                    <a:pt x="2499" y="55"/>
                  </a:lnTo>
                  <a:lnTo>
                    <a:pt x="2379" y="31"/>
                  </a:lnTo>
                  <a:lnTo>
                    <a:pt x="2325" y="112"/>
                  </a:lnTo>
                  <a:lnTo>
                    <a:pt x="2325" y="184"/>
                  </a:lnTo>
                  <a:lnTo>
                    <a:pt x="2298" y="268"/>
                  </a:lnTo>
                  <a:lnTo>
                    <a:pt x="2246" y="220"/>
                  </a:lnTo>
                  <a:lnTo>
                    <a:pt x="2049" y="249"/>
                  </a:lnTo>
                  <a:lnTo>
                    <a:pt x="1703" y="265"/>
                  </a:lnTo>
                  <a:lnTo>
                    <a:pt x="1430" y="310"/>
                  </a:lnTo>
                  <a:lnTo>
                    <a:pt x="1185" y="333"/>
                  </a:lnTo>
                  <a:lnTo>
                    <a:pt x="1076" y="295"/>
                  </a:lnTo>
                  <a:lnTo>
                    <a:pt x="992" y="220"/>
                  </a:lnTo>
                  <a:lnTo>
                    <a:pt x="653" y="297"/>
                  </a:lnTo>
                  <a:lnTo>
                    <a:pt x="329" y="400"/>
                  </a:lnTo>
                  <a:lnTo>
                    <a:pt x="195" y="414"/>
                  </a:lnTo>
                  <a:lnTo>
                    <a:pt x="2" y="459"/>
                  </a:lnTo>
                  <a:lnTo>
                    <a:pt x="0" y="580"/>
                  </a:lnTo>
                  <a:lnTo>
                    <a:pt x="32" y="756"/>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51" name="Delaware">
              <a:extLst>
                <a:ext uri="{FF2B5EF4-FFF2-40B4-BE49-F238E27FC236}">
                  <a16:creationId xmlns:a16="http://schemas.microsoft.com/office/drawing/2014/main" id="{F96B971C-115B-964E-5210-D44FFD6AA449}"/>
                </a:ext>
              </a:extLst>
            </p:cNvPr>
            <p:cNvSpPr>
              <a:spLocks/>
            </p:cNvSpPr>
            <p:nvPr/>
          </p:nvSpPr>
          <p:spPr bwMode="auto">
            <a:xfrm>
              <a:off x="7410802" y="2745163"/>
              <a:ext cx="134725" cy="186425"/>
            </a:xfrm>
            <a:custGeom>
              <a:avLst/>
              <a:gdLst>
                <a:gd name="T0" fmla="*/ 64 w 438"/>
                <a:gd name="T1" fmla="*/ 107 h 605"/>
                <a:gd name="T2" fmla="*/ 78 w 438"/>
                <a:gd name="T3" fmla="*/ 105 h 605"/>
                <a:gd name="T4" fmla="*/ 83 w 438"/>
                <a:gd name="T5" fmla="*/ 79 h 605"/>
                <a:gd name="T6" fmla="*/ 66 w 438"/>
                <a:gd name="T7" fmla="*/ 62 h 605"/>
                <a:gd name="T8" fmla="*/ 49 w 438"/>
                <a:gd name="T9" fmla="*/ 49 h 605"/>
                <a:gd name="T10" fmla="*/ 33 w 438"/>
                <a:gd name="T11" fmla="*/ 31 h 605"/>
                <a:gd name="T12" fmla="*/ 22 w 438"/>
                <a:gd name="T13" fmla="*/ 0 h 605"/>
                <a:gd name="T14" fmla="*/ 0 w 438"/>
                <a:gd name="T15" fmla="*/ 2 h 605"/>
                <a:gd name="T16" fmla="*/ 7 w 438"/>
                <a:gd name="T17" fmla="*/ 19 h 605"/>
                <a:gd name="T18" fmla="*/ 15 w 438"/>
                <a:gd name="T19" fmla="*/ 33 h 605"/>
                <a:gd name="T20" fmla="*/ 19 w 438"/>
                <a:gd name="T21" fmla="*/ 52 h 605"/>
                <a:gd name="T22" fmla="*/ 26 w 438"/>
                <a:gd name="T23" fmla="*/ 63 h 605"/>
                <a:gd name="T24" fmla="*/ 31 w 438"/>
                <a:gd name="T25" fmla="*/ 82 h 605"/>
                <a:gd name="T26" fmla="*/ 40 w 438"/>
                <a:gd name="T27" fmla="*/ 104 h 605"/>
                <a:gd name="T28" fmla="*/ 45 w 438"/>
                <a:gd name="T29" fmla="*/ 115 h 605"/>
                <a:gd name="T30" fmla="*/ 64 w 438"/>
                <a:gd name="T31" fmla="*/ 107 h 6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8" h="605">
                  <a:moveTo>
                    <a:pt x="336" y="563"/>
                  </a:moveTo>
                  <a:lnTo>
                    <a:pt x="410" y="552"/>
                  </a:lnTo>
                  <a:lnTo>
                    <a:pt x="438" y="415"/>
                  </a:lnTo>
                  <a:lnTo>
                    <a:pt x="348" y="325"/>
                  </a:lnTo>
                  <a:lnTo>
                    <a:pt x="258" y="258"/>
                  </a:lnTo>
                  <a:lnTo>
                    <a:pt x="174" y="162"/>
                  </a:lnTo>
                  <a:lnTo>
                    <a:pt x="117" y="0"/>
                  </a:lnTo>
                  <a:lnTo>
                    <a:pt x="0" y="12"/>
                  </a:lnTo>
                  <a:lnTo>
                    <a:pt x="35" y="101"/>
                  </a:lnTo>
                  <a:lnTo>
                    <a:pt x="78" y="176"/>
                  </a:lnTo>
                  <a:lnTo>
                    <a:pt x="102" y="272"/>
                  </a:lnTo>
                  <a:lnTo>
                    <a:pt x="137" y="333"/>
                  </a:lnTo>
                  <a:lnTo>
                    <a:pt x="164" y="432"/>
                  </a:lnTo>
                  <a:lnTo>
                    <a:pt x="210" y="549"/>
                  </a:lnTo>
                  <a:lnTo>
                    <a:pt x="240" y="605"/>
                  </a:lnTo>
                  <a:lnTo>
                    <a:pt x="336" y="563"/>
                  </a:lnTo>
                  <a:close/>
                </a:path>
              </a:pathLst>
            </a:custGeom>
            <a:solidFill>
              <a:srgbClr val="BFCAD2"/>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2" name="Connecticut">
              <a:extLst>
                <a:ext uri="{FF2B5EF4-FFF2-40B4-BE49-F238E27FC236}">
                  <a16:creationId xmlns:a16="http://schemas.microsoft.com/office/drawing/2014/main" id="{9BCDDAC3-E3D4-2000-5795-3C405E5C2DCC}"/>
                </a:ext>
              </a:extLst>
            </p:cNvPr>
            <p:cNvSpPr>
              <a:spLocks/>
            </p:cNvSpPr>
            <p:nvPr/>
          </p:nvSpPr>
          <p:spPr bwMode="auto">
            <a:xfrm>
              <a:off x="7561759" y="2244248"/>
              <a:ext cx="215886" cy="192909"/>
            </a:xfrm>
            <a:custGeom>
              <a:avLst/>
              <a:gdLst>
                <a:gd name="T0" fmla="*/ 34 w 700"/>
                <a:gd name="T1" fmla="*/ 119 h 630"/>
                <a:gd name="T2" fmla="*/ 93 w 700"/>
                <a:gd name="T3" fmla="*/ 80 h 630"/>
                <a:gd name="T4" fmla="*/ 133 w 700"/>
                <a:gd name="T5" fmla="*/ 55 h 630"/>
                <a:gd name="T6" fmla="*/ 130 w 700"/>
                <a:gd name="T7" fmla="*/ 24 h 630"/>
                <a:gd name="T8" fmla="*/ 104 w 700"/>
                <a:gd name="T9" fmla="*/ 0 h 630"/>
                <a:gd name="T10" fmla="*/ 0 w 700"/>
                <a:gd name="T11" fmla="*/ 52 h 630"/>
                <a:gd name="T12" fmla="*/ 6 w 700"/>
                <a:gd name="T13" fmla="*/ 73 h 630"/>
                <a:gd name="T14" fmla="*/ 23 w 700"/>
                <a:gd name="T15" fmla="*/ 87 h 630"/>
                <a:gd name="T16" fmla="*/ 25 w 700"/>
                <a:gd name="T17" fmla="*/ 108 h 630"/>
                <a:gd name="T18" fmla="*/ 34 w 700"/>
                <a:gd name="T19" fmla="*/ 119 h 6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0" h="630">
                  <a:moveTo>
                    <a:pt x="181" y="630"/>
                  </a:moveTo>
                  <a:lnTo>
                    <a:pt x="490" y="421"/>
                  </a:lnTo>
                  <a:lnTo>
                    <a:pt x="700" y="293"/>
                  </a:lnTo>
                  <a:lnTo>
                    <a:pt x="682" y="128"/>
                  </a:lnTo>
                  <a:lnTo>
                    <a:pt x="545" y="0"/>
                  </a:lnTo>
                  <a:lnTo>
                    <a:pt x="0" y="276"/>
                  </a:lnTo>
                  <a:lnTo>
                    <a:pt x="31" y="388"/>
                  </a:lnTo>
                  <a:lnTo>
                    <a:pt x="120" y="463"/>
                  </a:lnTo>
                  <a:lnTo>
                    <a:pt x="130" y="570"/>
                  </a:lnTo>
                  <a:lnTo>
                    <a:pt x="181" y="630"/>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3" name="Colorado">
              <a:extLst>
                <a:ext uri="{FF2B5EF4-FFF2-40B4-BE49-F238E27FC236}">
                  <a16:creationId xmlns:a16="http://schemas.microsoft.com/office/drawing/2014/main" id="{8EC4B773-9808-94EF-034E-108E83CB22C3}"/>
                </a:ext>
              </a:extLst>
            </p:cNvPr>
            <p:cNvSpPr>
              <a:spLocks/>
            </p:cNvSpPr>
            <p:nvPr/>
          </p:nvSpPr>
          <p:spPr bwMode="auto">
            <a:xfrm>
              <a:off x="3425849" y="3027231"/>
              <a:ext cx="886267" cy="671128"/>
            </a:xfrm>
            <a:custGeom>
              <a:avLst/>
              <a:gdLst>
                <a:gd name="T0" fmla="*/ 43 w 2886"/>
                <a:gd name="T1" fmla="*/ 0 h 2181"/>
                <a:gd name="T2" fmla="*/ 21 w 2886"/>
                <a:gd name="T3" fmla="*/ 141 h 2181"/>
                <a:gd name="T4" fmla="*/ 0 w 2886"/>
                <a:gd name="T5" fmla="*/ 388 h 2181"/>
                <a:gd name="T6" fmla="*/ 215 w 2886"/>
                <a:gd name="T7" fmla="*/ 404 h 2181"/>
                <a:gd name="T8" fmla="*/ 386 w 2886"/>
                <a:gd name="T9" fmla="*/ 412 h 2181"/>
                <a:gd name="T10" fmla="*/ 536 w 2886"/>
                <a:gd name="T11" fmla="*/ 414 h 2181"/>
                <a:gd name="T12" fmla="*/ 535 w 2886"/>
                <a:gd name="T13" fmla="*/ 196 h 2181"/>
                <a:gd name="T14" fmla="*/ 546 w 2886"/>
                <a:gd name="T15" fmla="*/ 112 h 2181"/>
                <a:gd name="T16" fmla="*/ 543 w 2886"/>
                <a:gd name="T17" fmla="*/ 80 h 2181"/>
                <a:gd name="T18" fmla="*/ 540 w 2886"/>
                <a:gd name="T19" fmla="*/ 51 h 2181"/>
                <a:gd name="T20" fmla="*/ 543 w 2886"/>
                <a:gd name="T21" fmla="*/ 28 h 2181"/>
                <a:gd name="T22" fmla="*/ 519 w 2886"/>
                <a:gd name="T23" fmla="*/ 32 h 2181"/>
                <a:gd name="T24" fmla="*/ 396 w 2886"/>
                <a:gd name="T25" fmla="*/ 30 h 2181"/>
                <a:gd name="T26" fmla="*/ 72 w 2886"/>
                <a:gd name="T27" fmla="*/ 2 h 2181"/>
                <a:gd name="T28" fmla="*/ 43 w 2886"/>
                <a:gd name="T29" fmla="*/ 0 h 2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86" h="2181">
                  <a:moveTo>
                    <a:pt x="227" y="0"/>
                  </a:moveTo>
                  <a:lnTo>
                    <a:pt x="110" y="741"/>
                  </a:lnTo>
                  <a:lnTo>
                    <a:pt x="0" y="2044"/>
                  </a:lnTo>
                  <a:lnTo>
                    <a:pt x="1134" y="2128"/>
                  </a:lnTo>
                  <a:lnTo>
                    <a:pt x="2040" y="2170"/>
                  </a:lnTo>
                  <a:lnTo>
                    <a:pt x="2835" y="2181"/>
                  </a:lnTo>
                  <a:lnTo>
                    <a:pt x="2826" y="1035"/>
                  </a:lnTo>
                  <a:lnTo>
                    <a:pt x="2886" y="591"/>
                  </a:lnTo>
                  <a:lnTo>
                    <a:pt x="2868" y="423"/>
                  </a:lnTo>
                  <a:lnTo>
                    <a:pt x="2856" y="267"/>
                  </a:lnTo>
                  <a:lnTo>
                    <a:pt x="2868" y="147"/>
                  </a:lnTo>
                  <a:lnTo>
                    <a:pt x="2745" y="169"/>
                  </a:lnTo>
                  <a:lnTo>
                    <a:pt x="2093" y="157"/>
                  </a:lnTo>
                  <a:lnTo>
                    <a:pt x="380" y="12"/>
                  </a:lnTo>
                  <a:lnTo>
                    <a:pt x="227" y="0"/>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4" name="California">
              <a:extLst>
                <a:ext uri="{FF2B5EF4-FFF2-40B4-BE49-F238E27FC236}">
                  <a16:creationId xmlns:a16="http://schemas.microsoft.com/office/drawing/2014/main" id="{D3E2A7FC-76BA-EFEC-8AD7-BD67CE4C5933}"/>
                </a:ext>
              </a:extLst>
            </p:cNvPr>
            <p:cNvSpPr>
              <a:spLocks/>
            </p:cNvSpPr>
            <p:nvPr/>
          </p:nvSpPr>
          <p:spPr bwMode="auto">
            <a:xfrm>
              <a:off x="1650069" y="2503621"/>
              <a:ext cx="1074557" cy="1716727"/>
            </a:xfrm>
            <a:custGeom>
              <a:avLst/>
              <a:gdLst>
                <a:gd name="T0" fmla="*/ 42 w 3498"/>
                <a:gd name="T1" fmla="*/ 24 h 5586"/>
                <a:gd name="T2" fmla="*/ 38 w 3498"/>
                <a:gd name="T3" fmla="*/ 71 h 5586"/>
                <a:gd name="T4" fmla="*/ 0 w 3498"/>
                <a:gd name="T5" fmla="*/ 138 h 5586"/>
                <a:gd name="T6" fmla="*/ 23 w 3498"/>
                <a:gd name="T7" fmla="*/ 193 h 5586"/>
                <a:gd name="T8" fmla="*/ 25 w 3498"/>
                <a:gd name="T9" fmla="*/ 248 h 5586"/>
                <a:gd name="T10" fmla="*/ 28 w 3498"/>
                <a:gd name="T11" fmla="*/ 341 h 5586"/>
                <a:gd name="T12" fmla="*/ 47 w 3498"/>
                <a:gd name="T13" fmla="*/ 399 h 5586"/>
                <a:gd name="T14" fmla="*/ 64 w 3498"/>
                <a:gd name="T15" fmla="*/ 430 h 5586"/>
                <a:gd name="T16" fmla="*/ 91 w 3498"/>
                <a:gd name="T17" fmla="*/ 390 h 5586"/>
                <a:gd name="T18" fmla="*/ 92 w 3498"/>
                <a:gd name="T19" fmla="*/ 425 h 5586"/>
                <a:gd name="T20" fmla="*/ 72 w 3498"/>
                <a:gd name="T21" fmla="*/ 452 h 5586"/>
                <a:gd name="T22" fmla="*/ 61 w 3498"/>
                <a:gd name="T23" fmla="*/ 486 h 5586"/>
                <a:gd name="T24" fmla="*/ 111 w 3498"/>
                <a:gd name="T25" fmla="*/ 538 h 5586"/>
                <a:gd name="T26" fmla="*/ 90 w 3498"/>
                <a:gd name="T27" fmla="*/ 569 h 5586"/>
                <a:gd name="T28" fmla="*/ 124 w 3498"/>
                <a:gd name="T29" fmla="*/ 637 h 5586"/>
                <a:gd name="T30" fmla="*/ 152 w 3498"/>
                <a:gd name="T31" fmla="*/ 708 h 5586"/>
                <a:gd name="T32" fmla="*/ 156 w 3498"/>
                <a:gd name="T33" fmla="*/ 783 h 5586"/>
                <a:gd name="T34" fmla="*/ 235 w 3498"/>
                <a:gd name="T35" fmla="*/ 820 h 5586"/>
                <a:gd name="T36" fmla="*/ 288 w 3498"/>
                <a:gd name="T37" fmla="*/ 862 h 5586"/>
                <a:gd name="T38" fmla="*/ 322 w 3498"/>
                <a:gd name="T39" fmla="*/ 879 h 5586"/>
                <a:gd name="T40" fmla="*/ 351 w 3498"/>
                <a:gd name="T41" fmla="*/ 918 h 5586"/>
                <a:gd name="T42" fmla="*/ 385 w 3498"/>
                <a:gd name="T43" fmla="*/ 959 h 5586"/>
                <a:gd name="T44" fmla="*/ 395 w 3498"/>
                <a:gd name="T45" fmla="*/ 1023 h 5586"/>
                <a:gd name="T46" fmla="*/ 441 w 3498"/>
                <a:gd name="T47" fmla="*/ 1040 h 5586"/>
                <a:gd name="T48" fmla="*/ 503 w 3498"/>
                <a:gd name="T49" fmla="*/ 1049 h 5586"/>
                <a:gd name="T50" fmla="*/ 594 w 3498"/>
                <a:gd name="T51" fmla="*/ 1059 h 5586"/>
                <a:gd name="T52" fmla="*/ 612 w 3498"/>
                <a:gd name="T53" fmla="*/ 1027 h 5586"/>
                <a:gd name="T54" fmla="*/ 612 w 3498"/>
                <a:gd name="T55" fmla="*/ 983 h 5586"/>
                <a:gd name="T56" fmla="*/ 623 w 3498"/>
                <a:gd name="T57" fmla="*/ 953 h 5586"/>
                <a:gd name="T58" fmla="*/ 646 w 3498"/>
                <a:gd name="T59" fmla="*/ 919 h 5586"/>
                <a:gd name="T60" fmla="*/ 657 w 3498"/>
                <a:gd name="T61" fmla="*/ 919 h 5586"/>
                <a:gd name="T62" fmla="*/ 640 w 3498"/>
                <a:gd name="T63" fmla="*/ 867 h 5586"/>
                <a:gd name="T64" fmla="*/ 561 w 3498"/>
                <a:gd name="T65" fmla="*/ 737 h 5586"/>
                <a:gd name="T66" fmla="*/ 402 w 3498"/>
                <a:gd name="T67" fmla="*/ 513 h 5586"/>
                <a:gd name="T68" fmla="*/ 295 w 3498"/>
                <a:gd name="T69" fmla="*/ 367 h 5586"/>
                <a:gd name="T70" fmla="*/ 84 w 3498"/>
                <a:gd name="T71" fmla="*/ 9 h 5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98" h="5586">
                  <a:moveTo>
                    <a:pt x="284" y="0"/>
                  </a:moveTo>
                  <a:lnTo>
                    <a:pt x="222" y="126"/>
                  </a:lnTo>
                  <a:lnTo>
                    <a:pt x="292" y="225"/>
                  </a:lnTo>
                  <a:lnTo>
                    <a:pt x="202" y="375"/>
                  </a:lnTo>
                  <a:lnTo>
                    <a:pt x="202" y="555"/>
                  </a:lnTo>
                  <a:lnTo>
                    <a:pt x="0" y="726"/>
                  </a:lnTo>
                  <a:lnTo>
                    <a:pt x="36" y="906"/>
                  </a:lnTo>
                  <a:lnTo>
                    <a:pt x="120" y="1020"/>
                  </a:lnTo>
                  <a:lnTo>
                    <a:pt x="142" y="1125"/>
                  </a:lnTo>
                  <a:lnTo>
                    <a:pt x="132" y="1308"/>
                  </a:lnTo>
                  <a:lnTo>
                    <a:pt x="72" y="1560"/>
                  </a:lnTo>
                  <a:lnTo>
                    <a:pt x="150" y="1800"/>
                  </a:lnTo>
                  <a:lnTo>
                    <a:pt x="262" y="1965"/>
                  </a:lnTo>
                  <a:lnTo>
                    <a:pt x="246" y="2106"/>
                  </a:lnTo>
                  <a:lnTo>
                    <a:pt x="262" y="2265"/>
                  </a:lnTo>
                  <a:lnTo>
                    <a:pt x="336" y="2268"/>
                  </a:lnTo>
                  <a:lnTo>
                    <a:pt x="408" y="2166"/>
                  </a:lnTo>
                  <a:lnTo>
                    <a:pt x="480" y="2058"/>
                  </a:lnTo>
                  <a:lnTo>
                    <a:pt x="516" y="2118"/>
                  </a:lnTo>
                  <a:lnTo>
                    <a:pt x="486" y="2244"/>
                  </a:lnTo>
                  <a:lnTo>
                    <a:pt x="442" y="2385"/>
                  </a:lnTo>
                  <a:lnTo>
                    <a:pt x="382" y="2385"/>
                  </a:lnTo>
                  <a:lnTo>
                    <a:pt x="366" y="2466"/>
                  </a:lnTo>
                  <a:lnTo>
                    <a:pt x="322" y="2565"/>
                  </a:lnTo>
                  <a:lnTo>
                    <a:pt x="492" y="2742"/>
                  </a:lnTo>
                  <a:lnTo>
                    <a:pt x="588" y="2838"/>
                  </a:lnTo>
                  <a:lnTo>
                    <a:pt x="592" y="2926"/>
                  </a:lnTo>
                  <a:lnTo>
                    <a:pt x="474" y="3000"/>
                  </a:lnTo>
                  <a:lnTo>
                    <a:pt x="606" y="3180"/>
                  </a:lnTo>
                  <a:lnTo>
                    <a:pt x="654" y="3360"/>
                  </a:lnTo>
                  <a:lnTo>
                    <a:pt x="768" y="3564"/>
                  </a:lnTo>
                  <a:lnTo>
                    <a:pt x="802" y="3736"/>
                  </a:lnTo>
                  <a:lnTo>
                    <a:pt x="892" y="3856"/>
                  </a:lnTo>
                  <a:lnTo>
                    <a:pt x="822" y="4128"/>
                  </a:lnTo>
                  <a:lnTo>
                    <a:pt x="1042" y="4246"/>
                  </a:lnTo>
                  <a:lnTo>
                    <a:pt x="1242" y="4326"/>
                  </a:lnTo>
                  <a:lnTo>
                    <a:pt x="1372" y="4456"/>
                  </a:lnTo>
                  <a:lnTo>
                    <a:pt x="1522" y="4546"/>
                  </a:lnTo>
                  <a:lnTo>
                    <a:pt x="1612" y="4546"/>
                  </a:lnTo>
                  <a:lnTo>
                    <a:pt x="1702" y="4636"/>
                  </a:lnTo>
                  <a:lnTo>
                    <a:pt x="1702" y="4756"/>
                  </a:lnTo>
                  <a:lnTo>
                    <a:pt x="1854" y="4842"/>
                  </a:lnTo>
                  <a:lnTo>
                    <a:pt x="1962" y="4944"/>
                  </a:lnTo>
                  <a:lnTo>
                    <a:pt x="2033" y="5056"/>
                  </a:lnTo>
                  <a:lnTo>
                    <a:pt x="2063" y="5236"/>
                  </a:lnTo>
                  <a:lnTo>
                    <a:pt x="2088" y="5394"/>
                  </a:lnTo>
                  <a:lnTo>
                    <a:pt x="2123" y="5506"/>
                  </a:lnTo>
                  <a:lnTo>
                    <a:pt x="2328" y="5484"/>
                  </a:lnTo>
                  <a:lnTo>
                    <a:pt x="2466" y="5532"/>
                  </a:lnTo>
                  <a:lnTo>
                    <a:pt x="2658" y="5532"/>
                  </a:lnTo>
                  <a:lnTo>
                    <a:pt x="2856" y="5544"/>
                  </a:lnTo>
                  <a:lnTo>
                    <a:pt x="3138" y="5586"/>
                  </a:lnTo>
                  <a:lnTo>
                    <a:pt x="3233" y="5536"/>
                  </a:lnTo>
                  <a:lnTo>
                    <a:pt x="3233" y="5416"/>
                  </a:lnTo>
                  <a:lnTo>
                    <a:pt x="3192" y="5292"/>
                  </a:lnTo>
                  <a:lnTo>
                    <a:pt x="3234" y="5184"/>
                  </a:lnTo>
                  <a:lnTo>
                    <a:pt x="3323" y="5116"/>
                  </a:lnTo>
                  <a:lnTo>
                    <a:pt x="3293" y="5026"/>
                  </a:lnTo>
                  <a:lnTo>
                    <a:pt x="3348" y="4950"/>
                  </a:lnTo>
                  <a:lnTo>
                    <a:pt x="3413" y="4846"/>
                  </a:lnTo>
                  <a:lnTo>
                    <a:pt x="3473" y="4846"/>
                  </a:lnTo>
                  <a:lnTo>
                    <a:pt x="3498" y="4770"/>
                  </a:lnTo>
                  <a:lnTo>
                    <a:pt x="3384" y="4572"/>
                  </a:lnTo>
                  <a:lnTo>
                    <a:pt x="3353" y="4396"/>
                  </a:lnTo>
                  <a:lnTo>
                    <a:pt x="2963" y="3886"/>
                  </a:lnTo>
                  <a:lnTo>
                    <a:pt x="2453" y="3226"/>
                  </a:lnTo>
                  <a:lnTo>
                    <a:pt x="2124" y="2706"/>
                  </a:lnTo>
                  <a:lnTo>
                    <a:pt x="1702" y="2175"/>
                  </a:lnTo>
                  <a:lnTo>
                    <a:pt x="1560" y="1938"/>
                  </a:lnTo>
                  <a:lnTo>
                    <a:pt x="1822" y="474"/>
                  </a:lnTo>
                  <a:lnTo>
                    <a:pt x="444" y="45"/>
                  </a:lnTo>
                  <a:lnTo>
                    <a:pt x="284" y="0"/>
                  </a:lnTo>
                  <a:close/>
                </a:path>
              </a:pathLst>
            </a:custGeom>
            <a:solidFill>
              <a:schemeClr val="accent1">
                <a:lumMod val="50000"/>
                <a:lumOff val="50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55" name="Arkansas">
              <a:extLst>
                <a:ext uri="{FF2B5EF4-FFF2-40B4-BE49-F238E27FC236}">
                  <a16:creationId xmlns:a16="http://schemas.microsoft.com/office/drawing/2014/main" id="{27724EB7-F086-D66F-1F32-1A8168B6F436}"/>
                </a:ext>
              </a:extLst>
            </p:cNvPr>
            <p:cNvSpPr>
              <a:spLocks/>
            </p:cNvSpPr>
            <p:nvPr/>
          </p:nvSpPr>
          <p:spPr bwMode="auto">
            <a:xfrm>
              <a:off x="5253570" y="3665937"/>
              <a:ext cx="613569" cy="619253"/>
            </a:xfrm>
            <a:custGeom>
              <a:avLst/>
              <a:gdLst>
                <a:gd name="T0" fmla="*/ 0 w 1990"/>
                <a:gd name="T1" fmla="*/ 45 h 2015"/>
                <a:gd name="T2" fmla="*/ 215 w 1990"/>
                <a:gd name="T3" fmla="*/ 18 h 2015"/>
                <a:gd name="T4" fmla="*/ 273 w 1990"/>
                <a:gd name="T5" fmla="*/ 12 h 2015"/>
                <a:gd name="T6" fmla="*/ 331 w 1990"/>
                <a:gd name="T7" fmla="*/ 0 h 2015"/>
                <a:gd name="T8" fmla="*/ 342 w 1990"/>
                <a:gd name="T9" fmla="*/ 12 h 2015"/>
                <a:gd name="T10" fmla="*/ 325 w 1990"/>
                <a:gd name="T11" fmla="*/ 34 h 2015"/>
                <a:gd name="T12" fmla="*/ 337 w 1990"/>
                <a:gd name="T13" fmla="*/ 46 h 2015"/>
                <a:gd name="T14" fmla="*/ 357 w 1990"/>
                <a:gd name="T15" fmla="*/ 54 h 2015"/>
                <a:gd name="T16" fmla="*/ 376 w 1990"/>
                <a:gd name="T17" fmla="*/ 45 h 2015"/>
                <a:gd name="T18" fmla="*/ 378 w 1990"/>
                <a:gd name="T19" fmla="*/ 63 h 2015"/>
                <a:gd name="T20" fmla="*/ 367 w 1990"/>
                <a:gd name="T21" fmla="*/ 77 h 2015"/>
                <a:gd name="T22" fmla="*/ 366 w 1990"/>
                <a:gd name="T23" fmla="*/ 94 h 2015"/>
                <a:gd name="T24" fmla="*/ 355 w 1990"/>
                <a:gd name="T25" fmla="*/ 106 h 2015"/>
                <a:gd name="T26" fmla="*/ 350 w 1990"/>
                <a:gd name="T27" fmla="*/ 143 h 2015"/>
                <a:gd name="T28" fmla="*/ 338 w 1990"/>
                <a:gd name="T29" fmla="*/ 163 h 2015"/>
                <a:gd name="T30" fmla="*/ 322 w 1990"/>
                <a:gd name="T31" fmla="*/ 209 h 2015"/>
                <a:gd name="T32" fmla="*/ 301 w 1990"/>
                <a:gd name="T33" fmla="*/ 238 h 2015"/>
                <a:gd name="T34" fmla="*/ 293 w 1990"/>
                <a:gd name="T35" fmla="*/ 274 h 2015"/>
                <a:gd name="T36" fmla="*/ 296 w 1990"/>
                <a:gd name="T37" fmla="*/ 329 h 2015"/>
                <a:gd name="T38" fmla="*/ 293 w 1990"/>
                <a:gd name="T39" fmla="*/ 359 h 2015"/>
                <a:gd name="T40" fmla="*/ 249 w 1990"/>
                <a:gd name="T41" fmla="*/ 365 h 2015"/>
                <a:gd name="T42" fmla="*/ 190 w 1990"/>
                <a:gd name="T43" fmla="*/ 365 h 2015"/>
                <a:gd name="T44" fmla="*/ 115 w 1990"/>
                <a:gd name="T45" fmla="*/ 368 h 2015"/>
                <a:gd name="T46" fmla="*/ 65 w 1990"/>
                <a:gd name="T47" fmla="*/ 382 h 2015"/>
                <a:gd name="T48" fmla="*/ 58 w 1990"/>
                <a:gd name="T49" fmla="*/ 363 h 2015"/>
                <a:gd name="T50" fmla="*/ 63 w 1990"/>
                <a:gd name="T51" fmla="*/ 344 h 2015"/>
                <a:gd name="T52" fmla="*/ 56 w 1990"/>
                <a:gd name="T53" fmla="*/ 322 h 2015"/>
                <a:gd name="T54" fmla="*/ 17 w 1990"/>
                <a:gd name="T55" fmla="*/ 322 h 2015"/>
                <a:gd name="T56" fmla="*/ 17 w 1990"/>
                <a:gd name="T57" fmla="*/ 168 h 2015"/>
                <a:gd name="T58" fmla="*/ 4 w 1990"/>
                <a:gd name="T59" fmla="*/ 110 h 2015"/>
                <a:gd name="T60" fmla="*/ 0 w 1990"/>
                <a:gd name="T61" fmla="*/ 71 h 2015"/>
                <a:gd name="T62" fmla="*/ 0 w 1990"/>
                <a:gd name="T63" fmla="*/ 45 h 20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90" h="2015">
                  <a:moveTo>
                    <a:pt x="2" y="240"/>
                  </a:moveTo>
                  <a:lnTo>
                    <a:pt x="1130" y="93"/>
                  </a:lnTo>
                  <a:lnTo>
                    <a:pt x="1435" y="62"/>
                  </a:lnTo>
                  <a:lnTo>
                    <a:pt x="1742" y="0"/>
                  </a:lnTo>
                  <a:lnTo>
                    <a:pt x="1798" y="61"/>
                  </a:lnTo>
                  <a:lnTo>
                    <a:pt x="1711" y="179"/>
                  </a:lnTo>
                  <a:lnTo>
                    <a:pt x="1775" y="243"/>
                  </a:lnTo>
                  <a:lnTo>
                    <a:pt x="1877" y="287"/>
                  </a:lnTo>
                  <a:lnTo>
                    <a:pt x="1979" y="240"/>
                  </a:lnTo>
                  <a:lnTo>
                    <a:pt x="1990" y="334"/>
                  </a:lnTo>
                  <a:lnTo>
                    <a:pt x="1934" y="406"/>
                  </a:lnTo>
                  <a:lnTo>
                    <a:pt x="1926" y="494"/>
                  </a:lnTo>
                  <a:lnTo>
                    <a:pt x="1870" y="558"/>
                  </a:lnTo>
                  <a:lnTo>
                    <a:pt x="1842" y="756"/>
                  </a:lnTo>
                  <a:lnTo>
                    <a:pt x="1782" y="862"/>
                  </a:lnTo>
                  <a:lnTo>
                    <a:pt x="1694" y="1102"/>
                  </a:lnTo>
                  <a:lnTo>
                    <a:pt x="1582" y="1254"/>
                  </a:lnTo>
                  <a:lnTo>
                    <a:pt x="1542" y="1446"/>
                  </a:lnTo>
                  <a:lnTo>
                    <a:pt x="1558" y="1734"/>
                  </a:lnTo>
                  <a:lnTo>
                    <a:pt x="1542" y="1894"/>
                  </a:lnTo>
                  <a:lnTo>
                    <a:pt x="1310" y="1926"/>
                  </a:lnTo>
                  <a:lnTo>
                    <a:pt x="1002" y="1926"/>
                  </a:lnTo>
                  <a:lnTo>
                    <a:pt x="607" y="1942"/>
                  </a:lnTo>
                  <a:lnTo>
                    <a:pt x="342" y="2015"/>
                  </a:lnTo>
                  <a:lnTo>
                    <a:pt x="303" y="1913"/>
                  </a:lnTo>
                  <a:lnTo>
                    <a:pt x="333" y="1814"/>
                  </a:lnTo>
                  <a:lnTo>
                    <a:pt x="297" y="1697"/>
                  </a:lnTo>
                  <a:lnTo>
                    <a:pt x="92" y="1701"/>
                  </a:lnTo>
                  <a:lnTo>
                    <a:pt x="92" y="888"/>
                  </a:lnTo>
                  <a:lnTo>
                    <a:pt x="21" y="578"/>
                  </a:lnTo>
                  <a:lnTo>
                    <a:pt x="0" y="377"/>
                  </a:lnTo>
                  <a:lnTo>
                    <a:pt x="2" y="240"/>
                  </a:lnTo>
                  <a:close/>
                </a:path>
              </a:pathLst>
            </a:custGeom>
            <a:solidFill>
              <a:schemeClr val="accent3">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6" name="Arizona">
              <a:extLst>
                <a:ext uri="{FF2B5EF4-FFF2-40B4-BE49-F238E27FC236}">
                  <a16:creationId xmlns:a16="http://schemas.microsoft.com/office/drawing/2014/main" id="{8A888697-B472-971D-374E-E6B4975D3EBD}"/>
                </a:ext>
              </a:extLst>
            </p:cNvPr>
            <p:cNvSpPr>
              <a:spLocks/>
            </p:cNvSpPr>
            <p:nvPr/>
          </p:nvSpPr>
          <p:spPr bwMode="auto">
            <a:xfrm>
              <a:off x="2614249" y="3563810"/>
              <a:ext cx="811599" cy="980755"/>
            </a:xfrm>
            <a:custGeom>
              <a:avLst/>
              <a:gdLst>
                <a:gd name="T0" fmla="*/ 116 w 2635"/>
                <a:gd name="T1" fmla="*/ 0 h 3189"/>
                <a:gd name="T2" fmla="*/ 500 w 2635"/>
                <a:gd name="T3" fmla="*/ 57 h 3189"/>
                <a:gd name="T4" fmla="*/ 458 w 2635"/>
                <a:gd name="T5" fmla="*/ 605 h 3189"/>
                <a:gd name="T6" fmla="*/ 396 w 2635"/>
                <a:gd name="T7" fmla="*/ 596 h 3189"/>
                <a:gd name="T8" fmla="*/ 334 w 2635"/>
                <a:gd name="T9" fmla="*/ 593 h 3189"/>
                <a:gd name="T10" fmla="*/ 289 w 2635"/>
                <a:gd name="T11" fmla="*/ 585 h 3189"/>
                <a:gd name="T12" fmla="*/ 105 w 2635"/>
                <a:gd name="T13" fmla="*/ 477 h 3189"/>
                <a:gd name="T14" fmla="*/ 20 w 2635"/>
                <a:gd name="T15" fmla="*/ 434 h 3189"/>
                <a:gd name="T16" fmla="*/ 3 w 2635"/>
                <a:gd name="T17" fmla="*/ 411 h 3189"/>
                <a:gd name="T18" fmla="*/ 0 w 2635"/>
                <a:gd name="T19" fmla="*/ 405 h 3189"/>
                <a:gd name="T20" fmla="*/ 18 w 2635"/>
                <a:gd name="T21" fmla="*/ 396 h 3189"/>
                <a:gd name="T22" fmla="*/ 18 w 2635"/>
                <a:gd name="T23" fmla="*/ 373 h 3189"/>
                <a:gd name="T24" fmla="*/ 10 w 2635"/>
                <a:gd name="T25" fmla="*/ 350 h 3189"/>
                <a:gd name="T26" fmla="*/ 18 w 2635"/>
                <a:gd name="T27" fmla="*/ 329 h 3189"/>
                <a:gd name="T28" fmla="*/ 35 w 2635"/>
                <a:gd name="T29" fmla="*/ 316 h 3189"/>
                <a:gd name="T30" fmla="*/ 30 w 2635"/>
                <a:gd name="T31" fmla="*/ 299 h 3189"/>
                <a:gd name="T32" fmla="*/ 39 w 2635"/>
                <a:gd name="T33" fmla="*/ 286 h 3189"/>
                <a:gd name="T34" fmla="*/ 52 w 2635"/>
                <a:gd name="T35" fmla="*/ 265 h 3189"/>
                <a:gd name="T36" fmla="*/ 64 w 2635"/>
                <a:gd name="T37" fmla="*/ 265 h 3189"/>
                <a:gd name="T38" fmla="*/ 68 w 2635"/>
                <a:gd name="T39" fmla="*/ 250 h 3189"/>
                <a:gd name="T40" fmla="*/ 47 w 2635"/>
                <a:gd name="T41" fmla="*/ 213 h 3189"/>
                <a:gd name="T42" fmla="*/ 41 w 2635"/>
                <a:gd name="T43" fmla="*/ 180 h 3189"/>
                <a:gd name="T44" fmla="*/ 34 w 2635"/>
                <a:gd name="T45" fmla="*/ 170 h 3189"/>
                <a:gd name="T46" fmla="*/ 47 w 2635"/>
                <a:gd name="T47" fmla="*/ 153 h 3189"/>
                <a:gd name="T48" fmla="*/ 49 w 2635"/>
                <a:gd name="T49" fmla="*/ 130 h 3189"/>
                <a:gd name="T50" fmla="*/ 42 w 2635"/>
                <a:gd name="T51" fmla="*/ 98 h 3189"/>
                <a:gd name="T52" fmla="*/ 43 w 2635"/>
                <a:gd name="T53" fmla="*/ 82 h 3189"/>
                <a:gd name="T54" fmla="*/ 58 w 2635"/>
                <a:gd name="T55" fmla="*/ 73 h 3189"/>
                <a:gd name="T56" fmla="*/ 78 w 2635"/>
                <a:gd name="T57" fmla="*/ 79 h 3189"/>
                <a:gd name="T58" fmla="*/ 105 w 2635"/>
                <a:gd name="T59" fmla="*/ 87 h 3189"/>
                <a:gd name="T60" fmla="*/ 100 w 2635"/>
                <a:gd name="T61" fmla="*/ 61 h 3189"/>
                <a:gd name="T62" fmla="*/ 110 w 2635"/>
                <a:gd name="T63" fmla="*/ 48 h 3189"/>
                <a:gd name="T64" fmla="*/ 110 w 2635"/>
                <a:gd name="T65" fmla="*/ 23 h 3189"/>
                <a:gd name="T66" fmla="*/ 114 w 2635"/>
                <a:gd name="T67" fmla="*/ 6 h 3189"/>
                <a:gd name="T68" fmla="*/ 116 w 2635"/>
                <a:gd name="T69" fmla="*/ 0 h 3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35" h="3189">
                  <a:moveTo>
                    <a:pt x="609" y="0"/>
                  </a:moveTo>
                  <a:lnTo>
                    <a:pt x="2635" y="300"/>
                  </a:lnTo>
                  <a:lnTo>
                    <a:pt x="2416" y="3189"/>
                  </a:lnTo>
                  <a:lnTo>
                    <a:pt x="2089" y="3144"/>
                  </a:lnTo>
                  <a:lnTo>
                    <a:pt x="1759" y="3126"/>
                  </a:lnTo>
                  <a:lnTo>
                    <a:pt x="1525" y="3084"/>
                  </a:lnTo>
                  <a:lnTo>
                    <a:pt x="553" y="2514"/>
                  </a:lnTo>
                  <a:lnTo>
                    <a:pt x="106" y="2289"/>
                  </a:lnTo>
                  <a:lnTo>
                    <a:pt x="16" y="2169"/>
                  </a:lnTo>
                  <a:lnTo>
                    <a:pt x="0" y="2135"/>
                  </a:lnTo>
                  <a:lnTo>
                    <a:pt x="96" y="2088"/>
                  </a:lnTo>
                  <a:lnTo>
                    <a:pt x="94" y="1964"/>
                  </a:lnTo>
                  <a:lnTo>
                    <a:pt x="54" y="1844"/>
                  </a:lnTo>
                  <a:lnTo>
                    <a:pt x="96" y="1736"/>
                  </a:lnTo>
                  <a:lnTo>
                    <a:pt x="187" y="1665"/>
                  </a:lnTo>
                  <a:lnTo>
                    <a:pt x="157" y="1575"/>
                  </a:lnTo>
                  <a:lnTo>
                    <a:pt x="205" y="1509"/>
                  </a:lnTo>
                  <a:lnTo>
                    <a:pt x="276" y="1397"/>
                  </a:lnTo>
                  <a:lnTo>
                    <a:pt x="337" y="1395"/>
                  </a:lnTo>
                  <a:lnTo>
                    <a:pt x="360" y="1319"/>
                  </a:lnTo>
                  <a:lnTo>
                    <a:pt x="249" y="1124"/>
                  </a:lnTo>
                  <a:lnTo>
                    <a:pt x="217" y="948"/>
                  </a:lnTo>
                  <a:lnTo>
                    <a:pt x="178" y="897"/>
                  </a:lnTo>
                  <a:lnTo>
                    <a:pt x="249" y="809"/>
                  </a:lnTo>
                  <a:lnTo>
                    <a:pt x="258" y="687"/>
                  </a:lnTo>
                  <a:lnTo>
                    <a:pt x="223" y="515"/>
                  </a:lnTo>
                  <a:lnTo>
                    <a:pt x="228" y="431"/>
                  </a:lnTo>
                  <a:lnTo>
                    <a:pt x="307" y="384"/>
                  </a:lnTo>
                  <a:lnTo>
                    <a:pt x="411" y="414"/>
                  </a:lnTo>
                  <a:lnTo>
                    <a:pt x="553" y="461"/>
                  </a:lnTo>
                  <a:lnTo>
                    <a:pt x="528" y="320"/>
                  </a:lnTo>
                  <a:lnTo>
                    <a:pt x="582" y="252"/>
                  </a:lnTo>
                  <a:lnTo>
                    <a:pt x="582" y="122"/>
                  </a:lnTo>
                  <a:lnTo>
                    <a:pt x="603" y="32"/>
                  </a:lnTo>
                  <a:lnTo>
                    <a:pt x="609" y="0"/>
                  </a:lnTo>
                  <a:close/>
                </a:path>
              </a:pathLst>
            </a:custGeom>
            <a:solidFill>
              <a:schemeClr val="accent1">
                <a:lumMod val="25000"/>
                <a:lumOff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7" name="Alaska">
              <a:extLst>
                <a:ext uri="{FF2B5EF4-FFF2-40B4-BE49-F238E27FC236}">
                  <a16:creationId xmlns:a16="http://schemas.microsoft.com/office/drawing/2014/main" id="{DF42E096-179A-7B88-E65B-B07814F526D4}"/>
                </a:ext>
              </a:extLst>
            </p:cNvPr>
            <p:cNvSpPr>
              <a:spLocks/>
            </p:cNvSpPr>
            <p:nvPr/>
          </p:nvSpPr>
          <p:spPr bwMode="auto">
            <a:xfrm>
              <a:off x="691098" y="4112771"/>
              <a:ext cx="1176664" cy="1346033"/>
            </a:xfrm>
            <a:custGeom>
              <a:avLst/>
              <a:gdLst>
                <a:gd name="T0" fmla="*/ 2656 w 3826"/>
                <a:gd name="T1" fmla="*/ 2761 h 4380"/>
                <a:gd name="T2" fmla="*/ 2806 w 3826"/>
                <a:gd name="T3" fmla="*/ 2911 h 4380"/>
                <a:gd name="T4" fmla="*/ 2866 w 3826"/>
                <a:gd name="T5" fmla="*/ 3241 h 4380"/>
                <a:gd name="T6" fmla="*/ 3166 w 3826"/>
                <a:gd name="T7" fmla="*/ 3991 h 4380"/>
                <a:gd name="T8" fmla="*/ 3264 w 3826"/>
                <a:gd name="T9" fmla="*/ 4315 h 4380"/>
                <a:gd name="T10" fmla="*/ 3118 w 3826"/>
                <a:gd name="T11" fmla="*/ 4315 h 4380"/>
                <a:gd name="T12" fmla="*/ 3099 w 3826"/>
                <a:gd name="T13" fmla="*/ 4069 h 4380"/>
                <a:gd name="T14" fmla="*/ 2898 w 3826"/>
                <a:gd name="T15" fmla="*/ 3931 h 4380"/>
                <a:gd name="T16" fmla="*/ 2990 w 3826"/>
                <a:gd name="T17" fmla="*/ 4169 h 4380"/>
                <a:gd name="T18" fmla="*/ 2862 w 3826"/>
                <a:gd name="T19" fmla="*/ 4361 h 4380"/>
                <a:gd name="T20" fmla="*/ 2807 w 3826"/>
                <a:gd name="T21" fmla="*/ 3950 h 4380"/>
                <a:gd name="T22" fmla="*/ 2807 w 3826"/>
                <a:gd name="T23" fmla="*/ 3602 h 4380"/>
                <a:gd name="T24" fmla="*/ 2746 w 3826"/>
                <a:gd name="T25" fmla="*/ 3361 h 4380"/>
                <a:gd name="T26" fmla="*/ 2688 w 3826"/>
                <a:gd name="T27" fmla="*/ 3090 h 4380"/>
                <a:gd name="T28" fmla="*/ 2416 w 3826"/>
                <a:gd name="T29" fmla="*/ 2731 h 4380"/>
                <a:gd name="T30" fmla="*/ 2286 w 3826"/>
                <a:gd name="T31" fmla="*/ 2533 h 4380"/>
                <a:gd name="T32" fmla="*/ 2094 w 3826"/>
                <a:gd name="T33" fmla="*/ 2286 h 4380"/>
                <a:gd name="T34" fmla="*/ 1847 w 3826"/>
                <a:gd name="T35" fmla="*/ 2331 h 4380"/>
                <a:gd name="T36" fmla="*/ 1545 w 3826"/>
                <a:gd name="T37" fmla="*/ 2322 h 4380"/>
                <a:gd name="T38" fmla="*/ 1664 w 3826"/>
                <a:gd name="T39" fmla="*/ 2157 h 4380"/>
                <a:gd name="T40" fmla="*/ 1929 w 3826"/>
                <a:gd name="T41" fmla="*/ 2148 h 4380"/>
                <a:gd name="T42" fmla="*/ 1947 w 3826"/>
                <a:gd name="T43" fmla="*/ 2010 h 4380"/>
                <a:gd name="T44" fmla="*/ 1655 w 3826"/>
                <a:gd name="T45" fmla="*/ 2029 h 4380"/>
                <a:gd name="T46" fmla="*/ 1362 w 3826"/>
                <a:gd name="T47" fmla="*/ 2065 h 4380"/>
                <a:gd name="T48" fmla="*/ 1234 w 3826"/>
                <a:gd name="T49" fmla="*/ 2249 h 4380"/>
                <a:gd name="T50" fmla="*/ 946 w 3826"/>
                <a:gd name="T51" fmla="*/ 2221 h 4380"/>
                <a:gd name="T52" fmla="*/ 128 w 3826"/>
                <a:gd name="T53" fmla="*/ 1965 h 4380"/>
                <a:gd name="T54" fmla="*/ 9 w 3826"/>
                <a:gd name="T55" fmla="*/ 1764 h 4380"/>
                <a:gd name="T56" fmla="*/ 357 w 3826"/>
                <a:gd name="T57" fmla="*/ 1956 h 4380"/>
                <a:gd name="T58" fmla="*/ 649 w 3826"/>
                <a:gd name="T59" fmla="*/ 2047 h 4380"/>
                <a:gd name="T60" fmla="*/ 933 w 3826"/>
                <a:gd name="T61" fmla="*/ 2001 h 4380"/>
                <a:gd name="T62" fmla="*/ 987 w 3826"/>
                <a:gd name="T63" fmla="*/ 1846 h 4380"/>
                <a:gd name="T64" fmla="*/ 905 w 3826"/>
                <a:gd name="T65" fmla="*/ 1709 h 4380"/>
                <a:gd name="T66" fmla="*/ 750 w 3826"/>
                <a:gd name="T67" fmla="*/ 1608 h 4380"/>
                <a:gd name="T68" fmla="*/ 826 w 3826"/>
                <a:gd name="T69" fmla="*/ 1410 h 4380"/>
                <a:gd name="T70" fmla="*/ 759 w 3826"/>
                <a:gd name="T71" fmla="*/ 1233 h 4380"/>
                <a:gd name="T72" fmla="*/ 796 w 3826"/>
                <a:gd name="T73" fmla="*/ 1020 h 4380"/>
                <a:gd name="T74" fmla="*/ 1006 w 3826"/>
                <a:gd name="T75" fmla="*/ 776 h 4380"/>
                <a:gd name="T76" fmla="*/ 1306 w 3826"/>
                <a:gd name="T77" fmla="*/ 720 h 4380"/>
                <a:gd name="T78" fmla="*/ 1472 w 3826"/>
                <a:gd name="T79" fmla="*/ 895 h 4380"/>
                <a:gd name="T80" fmla="*/ 1673 w 3826"/>
                <a:gd name="T81" fmla="*/ 913 h 4380"/>
                <a:gd name="T82" fmla="*/ 1710 w 3826"/>
                <a:gd name="T83" fmla="*/ 758 h 4380"/>
                <a:gd name="T84" fmla="*/ 1518 w 3826"/>
                <a:gd name="T85" fmla="*/ 602 h 4380"/>
                <a:gd name="T86" fmla="*/ 1546 w 3826"/>
                <a:gd name="T87" fmla="*/ 270 h 4380"/>
                <a:gd name="T88" fmla="*/ 1755 w 3826"/>
                <a:gd name="T89" fmla="*/ 273 h 4380"/>
                <a:gd name="T90" fmla="*/ 1846 w 3826"/>
                <a:gd name="T91" fmla="*/ 480 h 4380"/>
                <a:gd name="T92" fmla="*/ 2130 w 3826"/>
                <a:gd name="T93" fmla="*/ 657 h 4380"/>
                <a:gd name="T94" fmla="*/ 2139 w 3826"/>
                <a:gd name="T95" fmla="*/ 511 h 4380"/>
                <a:gd name="T96" fmla="*/ 2116 w 3826"/>
                <a:gd name="T97" fmla="*/ 270 h 4380"/>
                <a:gd name="T98" fmla="*/ 2139 w 3826"/>
                <a:gd name="T99" fmla="*/ 81 h 4380"/>
                <a:gd name="T100" fmla="*/ 2386 w 3826"/>
                <a:gd name="T101" fmla="*/ 120 h 4380"/>
                <a:gd name="T102" fmla="*/ 2679 w 3826"/>
                <a:gd name="T103" fmla="*/ 63 h 4380"/>
                <a:gd name="T104" fmla="*/ 2872 w 3826"/>
                <a:gd name="T105" fmla="*/ 207 h 4380"/>
                <a:gd name="T106" fmla="*/ 3032 w 3826"/>
                <a:gd name="T107" fmla="*/ 231 h 4380"/>
                <a:gd name="T108" fmla="*/ 3184 w 3826"/>
                <a:gd name="T109" fmla="*/ 399 h 4380"/>
                <a:gd name="T110" fmla="*/ 3368 w 3826"/>
                <a:gd name="T111" fmla="*/ 551 h 4380"/>
                <a:gd name="T112" fmla="*/ 3474 w 3826"/>
                <a:gd name="T113" fmla="*/ 666 h 4380"/>
                <a:gd name="T114" fmla="*/ 3685 w 3826"/>
                <a:gd name="T115" fmla="*/ 950 h 4380"/>
                <a:gd name="T116" fmla="*/ 3826 w 3826"/>
                <a:gd name="T117" fmla="*/ 1170 h 4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26" h="4380">
                  <a:moveTo>
                    <a:pt x="3826" y="1170"/>
                  </a:moveTo>
                  <a:lnTo>
                    <a:pt x="2656" y="2760"/>
                  </a:lnTo>
                  <a:lnTo>
                    <a:pt x="2706" y="2861"/>
                  </a:lnTo>
                  <a:lnTo>
                    <a:pt x="2806" y="2910"/>
                  </a:lnTo>
                  <a:lnTo>
                    <a:pt x="2807" y="3135"/>
                  </a:lnTo>
                  <a:lnTo>
                    <a:pt x="2866" y="3240"/>
                  </a:lnTo>
                  <a:lnTo>
                    <a:pt x="3072" y="3217"/>
                  </a:lnTo>
                  <a:lnTo>
                    <a:pt x="3166" y="3990"/>
                  </a:lnTo>
                  <a:lnTo>
                    <a:pt x="3256" y="4140"/>
                  </a:lnTo>
                  <a:lnTo>
                    <a:pt x="3264" y="4314"/>
                  </a:lnTo>
                  <a:lnTo>
                    <a:pt x="3166" y="4380"/>
                  </a:lnTo>
                  <a:lnTo>
                    <a:pt x="3118" y="4314"/>
                  </a:lnTo>
                  <a:lnTo>
                    <a:pt x="3154" y="4223"/>
                  </a:lnTo>
                  <a:lnTo>
                    <a:pt x="3099" y="4068"/>
                  </a:lnTo>
                  <a:lnTo>
                    <a:pt x="3008" y="3885"/>
                  </a:lnTo>
                  <a:lnTo>
                    <a:pt x="2898" y="3930"/>
                  </a:lnTo>
                  <a:lnTo>
                    <a:pt x="2953" y="4004"/>
                  </a:lnTo>
                  <a:lnTo>
                    <a:pt x="2990" y="4168"/>
                  </a:lnTo>
                  <a:lnTo>
                    <a:pt x="2981" y="4269"/>
                  </a:lnTo>
                  <a:lnTo>
                    <a:pt x="2862" y="4360"/>
                  </a:lnTo>
                  <a:lnTo>
                    <a:pt x="2862" y="4058"/>
                  </a:lnTo>
                  <a:lnTo>
                    <a:pt x="2807" y="3949"/>
                  </a:lnTo>
                  <a:lnTo>
                    <a:pt x="2798" y="3802"/>
                  </a:lnTo>
                  <a:lnTo>
                    <a:pt x="2807" y="3601"/>
                  </a:lnTo>
                  <a:lnTo>
                    <a:pt x="2834" y="3428"/>
                  </a:lnTo>
                  <a:lnTo>
                    <a:pt x="2746" y="3360"/>
                  </a:lnTo>
                  <a:lnTo>
                    <a:pt x="2743" y="3199"/>
                  </a:lnTo>
                  <a:lnTo>
                    <a:pt x="2688" y="3089"/>
                  </a:lnTo>
                  <a:lnTo>
                    <a:pt x="2566" y="2880"/>
                  </a:lnTo>
                  <a:lnTo>
                    <a:pt x="2416" y="2730"/>
                  </a:lnTo>
                  <a:lnTo>
                    <a:pt x="2286" y="2623"/>
                  </a:lnTo>
                  <a:lnTo>
                    <a:pt x="2286" y="2532"/>
                  </a:lnTo>
                  <a:lnTo>
                    <a:pt x="2203" y="2431"/>
                  </a:lnTo>
                  <a:lnTo>
                    <a:pt x="2094" y="2285"/>
                  </a:lnTo>
                  <a:lnTo>
                    <a:pt x="1984" y="2394"/>
                  </a:lnTo>
                  <a:lnTo>
                    <a:pt x="1847" y="2330"/>
                  </a:lnTo>
                  <a:lnTo>
                    <a:pt x="1666" y="2340"/>
                  </a:lnTo>
                  <a:lnTo>
                    <a:pt x="1545" y="2321"/>
                  </a:lnTo>
                  <a:lnTo>
                    <a:pt x="1582" y="2248"/>
                  </a:lnTo>
                  <a:lnTo>
                    <a:pt x="1664" y="2157"/>
                  </a:lnTo>
                  <a:lnTo>
                    <a:pt x="1846" y="2070"/>
                  </a:lnTo>
                  <a:lnTo>
                    <a:pt x="1929" y="2148"/>
                  </a:lnTo>
                  <a:lnTo>
                    <a:pt x="2026" y="2070"/>
                  </a:lnTo>
                  <a:lnTo>
                    <a:pt x="1947" y="2010"/>
                  </a:lnTo>
                  <a:lnTo>
                    <a:pt x="1786" y="2010"/>
                  </a:lnTo>
                  <a:lnTo>
                    <a:pt x="1655" y="2029"/>
                  </a:lnTo>
                  <a:lnTo>
                    <a:pt x="1554" y="2093"/>
                  </a:lnTo>
                  <a:lnTo>
                    <a:pt x="1362" y="2065"/>
                  </a:lnTo>
                  <a:lnTo>
                    <a:pt x="1353" y="2175"/>
                  </a:lnTo>
                  <a:lnTo>
                    <a:pt x="1234" y="2248"/>
                  </a:lnTo>
                  <a:lnTo>
                    <a:pt x="1051" y="2212"/>
                  </a:lnTo>
                  <a:lnTo>
                    <a:pt x="946" y="2220"/>
                  </a:lnTo>
                  <a:lnTo>
                    <a:pt x="496" y="2160"/>
                  </a:lnTo>
                  <a:lnTo>
                    <a:pt x="128" y="1965"/>
                  </a:lnTo>
                  <a:lnTo>
                    <a:pt x="0" y="1882"/>
                  </a:lnTo>
                  <a:lnTo>
                    <a:pt x="9" y="1764"/>
                  </a:lnTo>
                  <a:lnTo>
                    <a:pt x="210" y="1919"/>
                  </a:lnTo>
                  <a:lnTo>
                    <a:pt x="357" y="1956"/>
                  </a:lnTo>
                  <a:lnTo>
                    <a:pt x="466" y="2040"/>
                  </a:lnTo>
                  <a:lnTo>
                    <a:pt x="649" y="2047"/>
                  </a:lnTo>
                  <a:lnTo>
                    <a:pt x="766" y="2010"/>
                  </a:lnTo>
                  <a:lnTo>
                    <a:pt x="933" y="2001"/>
                  </a:lnTo>
                  <a:lnTo>
                    <a:pt x="1036" y="1920"/>
                  </a:lnTo>
                  <a:lnTo>
                    <a:pt x="987" y="1846"/>
                  </a:lnTo>
                  <a:lnTo>
                    <a:pt x="887" y="1818"/>
                  </a:lnTo>
                  <a:lnTo>
                    <a:pt x="905" y="1709"/>
                  </a:lnTo>
                  <a:lnTo>
                    <a:pt x="896" y="1590"/>
                  </a:lnTo>
                  <a:lnTo>
                    <a:pt x="750" y="1608"/>
                  </a:lnTo>
                  <a:lnTo>
                    <a:pt x="676" y="1530"/>
                  </a:lnTo>
                  <a:lnTo>
                    <a:pt x="826" y="1410"/>
                  </a:lnTo>
                  <a:lnTo>
                    <a:pt x="878" y="1316"/>
                  </a:lnTo>
                  <a:lnTo>
                    <a:pt x="759" y="1233"/>
                  </a:lnTo>
                  <a:lnTo>
                    <a:pt x="736" y="1110"/>
                  </a:lnTo>
                  <a:lnTo>
                    <a:pt x="796" y="1020"/>
                  </a:lnTo>
                  <a:lnTo>
                    <a:pt x="887" y="904"/>
                  </a:lnTo>
                  <a:lnTo>
                    <a:pt x="1006" y="776"/>
                  </a:lnTo>
                  <a:lnTo>
                    <a:pt x="1189" y="794"/>
                  </a:lnTo>
                  <a:lnTo>
                    <a:pt x="1306" y="720"/>
                  </a:lnTo>
                  <a:lnTo>
                    <a:pt x="1335" y="849"/>
                  </a:lnTo>
                  <a:lnTo>
                    <a:pt x="1472" y="895"/>
                  </a:lnTo>
                  <a:lnTo>
                    <a:pt x="1546" y="930"/>
                  </a:lnTo>
                  <a:lnTo>
                    <a:pt x="1673" y="913"/>
                  </a:lnTo>
                  <a:lnTo>
                    <a:pt x="1756" y="810"/>
                  </a:lnTo>
                  <a:lnTo>
                    <a:pt x="1710" y="758"/>
                  </a:lnTo>
                  <a:lnTo>
                    <a:pt x="1600" y="685"/>
                  </a:lnTo>
                  <a:lnTo>
                    <a:pt x="1518" y="602"/>
                  </a:lnTo>
                  <a:lnTo>
                    <a:pt x="1456" y="480"/>
                  </a:lnTo>
                  <a:lnTo>
                    <a:pt x="1546" y="270"/>
                  </a:lnTo>
                  <a:lnTo>
                    <a:pt x="1637" y="246"/>
                  </a:lnTo>
                  <a:lnTo>
                    <a:pt x="1755" y="273"/>
                  </a:lnTo>
                  <a:lnTo>
                    <a:pt x="1966" y="360"/>
                  </a:lnTo>
                  <a:lnTo>
                    <a:pt x="1846" y="480"/>
                  </a:lnTo>
                  <a:lnTo>
                    <a:pt x="2026" y="630"/>
                  </a:lnTo>
                  <a:lnTo>
                    <a:pt x="2130" y="657"/>
                  </a:lnTo>
                  <a:lnTo>
                    <a:pt x="2206" y="600"/>
                  </a:lnTo>
                  <a:lnTo>
                    <a:pt x="2139" y="511"/>
                  </a:lnTo>
                  <a:lnTo>
                    <a:pt x="2075" y="429"/>
                  </a:lnTo>
                  <a:lnTo>
                    <a:pt x="2116" y="270"/>
                  </a:lnTo>
                  <a:lnTo>
                    <a:pt x="2167" y="182"/>
                  </a:lnTo>
                  <a:lnTo>
                    <a:pt x="2139" y="81"/>
                  </a:lnTo>
                  <a:lnTo>
                    <a:pt x="2296" y="0"/>
                  </a:lnTo>
                  <a:lnTo>
                    <a:pt x="2386" y="120"/>
                  </a:lnTo>
                  <a:lnTo>
                    <a:pt x="2552" y="127"/>
                  </a:lnTo>
                  <a:lnTo>
                    <a:pt x="2679" y="63"/>
                  </a:lnTo>
                  <a:lnTo>
                    <a:pt x="2843" y="127"/>
                  </a:lnTo>
                  <a:lnTo>
                    <a:pt x="2872" y="207"/>
                  </a:lnTo>
                  <a:lnTo>
                    <a:pt x="2971" y="145"/>
                  </a:lnTo>
                  <a:lnTo>
                    <a:pt x="3032" y="231"/>
                  </a:lnTo>
                  <a:lnTo>
                    <a:pt x="3136" y="210"/>
                  </a:lnTo>
                  <a:lnTo>
                    <a:pt x="3184" y="399"/>
                  </a:lnTo>
                  <a:lnTo>
                    <a:pt x="3286" y="420"/>
                  </a:lnTo>
                  <a:lnTo>
                    <a:pt x="3368" y="551"/>
                  </a:lnTo>
                  <a:lnTo>
                    <a:pt x="3346" y="648"/>
                  </a:lnTo>
                  <a:lnTo>
                    <a:pt x="3474" y="666"/>
                  </a:lnTo>
                  <a:lnTo>
                    <a:pt x="3493" y="813"/>
                  </a:lnTo>
                  <a:lnTo>
                    <a:pt x="3685" y="950"/>
                  </a:lnTo>
                  <a:lnTo>
                    <a:pt x="3785" y="1050"/>
                  </a:lnTo>
                  <a:lnTo>
                    <a:pt x="3826" y="1170"/>
                  </a:lnTo>
                  <a:close/>
                </a:path>
              </a:pathLst>
            </a:custGeom>
            <a:solidFill>
              <a:schemeClr val="accent1">
                <a:lumMod val="10000"/>
                <a:lumOff val="9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58" name="Alabama">
              <a:extLst>
                <a:ext uri="{FF2B5EF4-FFF2-40B4-BE49-F238E27FC236}">
                  <a16:creationId xmlns:a16="http://schemas.microsoft.com/office/drawing/2014/main" id="{D798849D-68B4-4783-CFC4-AFA9CC3B914F}"/>
                </a:ext>
              </a:extLst>
            </p:cNvPr>
            <p:cNvSpPr>
              <a:spLocks/>
            </p:cNvSpPr>
            <p:nvPr/>
          </p:nvSpPr>
          <p:spPr bwMode="auto">
            <a:xfrm>
              <a:off x="6052184" y="3798866"/>
              <a:ext cx="508061" cy="789468"/>
            </a:xfrm>
            <a:custGeom>
              <a:avLst/>
              <a:gdLst>
                <a:gd name="T0" fmla="*/ 0 w 1649"/>
                <a:gd name="T1" fmla="*/ 44 h 2568"/>
                <a:gd name="T2" fmla="*/ 19 w 1649"/>
                <a:gd name="T3" fmla="*/ 96 h 2568"/>
                <a:gd name="T4" fmla="*/ 18 w 1649"/>
                <a:gd name="T5" fmla="*/ 141 h 2568"/>
                <a:gd name="T6" fmla="*/ 27 w 1649"/>
                <a:gd name="T7" fmla="*/ 212 h 2568"/>
                <a:gd name="T8" fmla="*/ 35 w 1649"/>
                <a:gd name="T9" fmla="*/ 326 h 2568"/>
                <a:gd name="T10" fmla="*/ 48 w 1649"/>
                <a:gd name="T11" fmla="*/ 432 h 2568"/>
                <a:gd name="T12" fmla="*/ 46 w 1649"/>
                <a:gd name="T13" fmla="*/ 471 h 2568"/>
                <a:gd name="T14" fmla="*/ 41 w 1649"/>
                <a:gd name="T15" fmla="*/ 482 h 2568"/>
                <a:gd name="T16" fmla="*/ 72 w 1649"/>
                <a:gd name="T17" fmla="*/ 469 h 2568"/>
                <a:gd name="T18" fmla="*/ 78 w 1649"/>
                <a:gd name="T19" fmla="*/ 446 h 2568"/>
                <a:gd name="T20" fmla="*/ 90 w 1649"/>
                <a:gd name="T21" fmla="*/ 461 h 2568"/>
                <a:gd name="T22" fmla="*/ 97 w 1649"/>
                <a:gd name="T23" fmla="*/ 478 h 2568"/>
                <a:gd name="T24" fmla="*/ 116 w 1649"/>
                <a:gd name="T25" fmla="*/ 487 h 2568"/>
                <a:gd name="T26" fmla="*/ 123 w 1649"/>
                <a:gd name="T27" fmla="*/ 469 h 2568"/>
                <a:gd name="T28" fmla="*/ 117 w 1649"/>
                <a:gd name="T29" fmla="*/ 435 h 2568"/>
                <a:gd name="T30" fmla="*/ 117 w 1649"/>
                <a:gd name="T31" fmla="*/ 412 h 2568"/>
                <a:gd name="T32" fmla="*/ 154 w 1649"/>
                <a:gd name="T33" fmla="*/ 404 h 2568"/>
                <a:gd name="T34" fmla="*/ 179 w 1649"/>
                <a:gd name="T35" fmla="*/ 401 h 2568"/>
                <a:gd name="T36" fmla="*/ 242 w 1649"/>
                <a:gd name="T37" fmla="*/ 381 h 2568"/>
                <a:gd name="T38" fmla="*/ 305 w 1649"/>
                <a:gd name="T39" fmla="*/ 366 h 2568"/>
                <a:gd name="T40" fmla="*/ 313 w 1649"/>
                <a:gd name="T41" fmla="*/ 338 h 2568"/>
                <a:gd name="T42" fmla="*/ 305 w 1649"/>
                <a:gd name="T43" fmla="*/ 314 h 2568"/>
                <a:gd name="T44" fmla="*/ 301 w 1649"/>
                <a:gd name="T45" fmla="*/ 281 h 2568"/>
                <a:gd name="T46" fmla="*/ 298 w 1649"/>
                <a:gd name="T47" fmla="*/ 262 h 2568"/>
                <a:gd name="T48" fmla="*/ 304 w 1649"/>
                <a:gd name="T49" fmla="*/ 232 h 2568"/>
                <a:gd name="T50" fmla="*/ 293 w 1649"/>
                <a:gd name="T51" fmla="*/ 212 h 2568"/>
                <a:gd name="T52" fmla="*/ 272 w 1649"/>
                <a:gd name="T53" fmla="*/ 176 h 2568"/>
                <a:gd name="T54" fmla="*/ 260 w 1649"/>
                <a:gd name="T55" fmla="*/ 127 h 2568"/>
                <a:gd name="T56" fmla="*/ 239 w 1649"/>
                <a:gd name="T57" fmla="*/ 52 h 2568"/>
                <a:gd name="T58" fmla="*/ 225 w 1649"/>
                <a:gd name="T59" fmla="*/ 27 h 2568"/>
                <a:gd name="T60" fmla="*/ 229 w 1649"/>
                <a:gd name="T61" fmla="*/ 0 h 2568"/>
                <a:gd name="T62" fmla="*/ 195 w 1649"/>
                <a:gd name="T63" fmla="*/ 1 h 2568"/>
                <a:gd name="T64" fmla="*/ 159 w 1649"/>
                <a:gd name="T65" fmla="*/ 13 h 2568"/>
                <a:gd name="T66" fmla="*/ 132 w 1649"/>
                <a:gd name="T67" fmla="*/ 17 h 2568"/>
                <a:gd name="T68" fmla="*/ 93 w 1649"/>
                <a:gd name="T69" fmla="*/ 28 h 2568"/>
                <a:gd name="T70" fmla="*/ 68 w 1649"/>
                <a:gd name="T71" fmla="*/ 33 h 2568"/>
                <a:gd name="T72" fmla="*/ 65 w 1649"/>
                <a:gd name="T73" fmla="*/ 20 h 2568"/>
                <a:gd name="T74" fmla="*/ 64 w 1649"/>
                <a:gd name="T75" fmla="*/ 20 h 2568"/>
                <a:gd name="T76" fmla="*/ 52 w 1649"/>
                <a:gd name="T77" fmla="*/ 17 h 2568"/>
                <a:gd name="T78" fmla="*/ 38 w 1649"/>
                <a:gd name="T79" fmla="*/ 27 h 2568"/>
                <a:gd name="T80" fmla="*/ 19 w 1649"/>
                <a:gd name="T81" fmla="*/ 22 h 2568"/>
                <a:gd name="T82" fmla="*/ 14 w 1649"/>
                <a:gd name="T83" fmla="*/ 34 h 2568"/>
                <a:gd name="T84" fmla="*/ 0 w 1649"/>
                <a:gd name="T85" fmla="*/ 44 h 25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49" h="2568">
                  <a:moveTo>
                    <a:pt x="0" y="234"/>
                  </a:moveTo>
                  <a:lnTo>
                    <a:pt x="99" y="506"/>
                  </a:lnTo>
                  <a:lnTo>
                    <a:pt x="95" y="741"/>
                  </a:lnTo>
                  <a:lnTo>
                    <a:pt x="141" y="1116"/>
                  </a:lnTo>
                  <a:lnTo>
                    <a:pt x="185" y="1721"/>
                  </a:lnTo>
                  <a:lnTo>
                    <a:pt x="255" y="2280"/>
                  </a:lnTo>
                  <a:lnTo>
                    <a:pt x="243" y="2483"/>
                  </a:lnTo>
                  <a:lnTo>
                    <a:pt x="216" y="2544"/>
                  </a:lnTo>
                  <a:lnTo>
                    <a:pt x="379" y="2472"/>
                  </a:lnTo>
                  <a:lnTo>
                    <a:pt x="409" y="2352"/>
                  </a:lnTo>
                  <a:lnTo>
                    <a:pt x="473" y="2432"/>
                  </a:lnTo>
                  <a:lnTo>
                    <a:pt x="513" y="2520"/>
                  </a:lnTo>
                  <a:lnTo>
                    <a:pt x="609" y="2568"/>
                  </a:lnTo>
                  <a:lnTo>
                    <a:pt x="649" y="2472"/>
                  </a:lnTo>
                  <a:lnTo>
                    <a:pt x="619" y="2292"/>
                  </a:lnTo>
                  <a:lnTo>
                    <a:pt x="619" y="2172"/>
                  </a:lnTo>
                  <a:lnTo>
                    <a:pt x="809" y="2128"/>
                  </a:lnTo>
                  <a:lnTo>
                    <a:pt x="945" y="2112"/>
                  </a:lnTo>
                  <a:lnTo>
                    <a:pt x="1273" y="2008"/>
                  </a:lnTo>
                  <a:lnTo>
                    <a:pt x="1609" y="1932"/>
                  </a:lnTo>
                  <a:lnTo>
                    <a:pt x="1649" y="1784"/>
                  </a:lnTo>
                  <a:lnTo>
                    <a:pt x="1609" y="1656"/>
                  </a:lnTo>
                  <a:lnTo>
                    <a:pt x="1585" y="1480"/>
                  </a:lnTo>
                  <a:lnTo>
                    <a:pt x="1569" y="1384"/>
                  </a:lnTo>
                  <a:lnTo>
                    <a:pt x="1601" y="1224"/>
                  </a:lnTo>
                  <a:lnTo>
                    <a:pt x="1545" y="1120"/>
                  </a:lnTo>
                  <a:lnTo>
                    <a:pt x="1433" y="928"/>
                  </a:lnTo>
                  <a:lnTo>
                    <a:pt x="1369" y="672"/>
                  </a:lnTo>
                  <a:lnTo>
                    <a:pt x="1257" y="272"/>
                  </a:lnTo>
                  <a:lnTo>
                    <a:pt x="1185" y="144"/>
                  </a:lnTo>
                  <a:lnTo>
                    <a:pt x="1209" y="0"/>
                  </a:lnTo>
                  <a:lnTo>
                    <a:pt x="1029" y="5"/>
                  </a:lnTo>
                  <a:lnTo>
                    <a:pt x="839" y="71"/>
                  </a:lnTo>
                  <a:lnTo>
                    <a:pt x="696" y="90"/>
                  </a:lnTo>
                  <a:lnTo>
                    <a:pt x="489" y="149"/>
                  </a:lnTo>
                  <a:lnTo>
                    <a:pt x="356" y="174"/>
                  </a:lnTo>
                  <a:lnTo>
                    <a:pt x="341" y="107"/>
                  </a:lnTo>
                  <a:lnTo>
                    <a:pt x="339" y="108"/>
                  </a:lnTo>
                  <a:lnTo>
                    <a:pt x="276" y="90"/>
                  </a:lnTo>
                  <a:lnTo>
                    <a:pt x="201" y="143"/>
                  </a:lnTo>
                  <a:lnTo>
                    <a:pt x="99" y="117"/>
                  </a:lnTo>
                  <a:lnTo>
                    <a:pt x="72" y="177"/>
                  </a:lnTo>
                  <a:lnTo>
                    <a:pt x="0" y="234"/>
                  </a:lnTo>
                  <a:close/>
                </a:path>
              </a:pathLst>
            </a:custGeom>
            <a:solidFill>
              <a:schemeClr val="accent3">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grpSp>
      <p:grpSp>
        <p:nvGrpSpPr>
          <p:cNvPr id="59" name="State Abbreviations">
            <a:extLst>
              <a:ext uri="{FF2B5EF4-FFF2-40B4-BE49-F238E27FC236}">
                <a16:creationId xmlns:a16="http://schemas.microsoft.com/office/drawing/2014/main" id="{80DBD824-2456-4129-8493-83E0E7521B73}"/>
              </a:ext>
            </a:extLst>
          </p:cNvPr>
          <p:cNvGrpSpPr/>
          <p:nvPr/>
        </p:nvGrpSpPr>
        <p:grpSpPr>
          <a:xfrm>
            <a:off x="4796193" y="1648190"/>
            <a:ext cx="6795181" cy="3856487"/>
            <a:chOff x="1311242" y="1561331"/>
            <a:chExt cx="6795181" cy="3856487"/>
          </a:xfrm>
        </p:grpSpPr>
        <p:sp>
          <p:nvSpPr>
            <p:cNvPr id="60" name="Wyoming">
              <a:extLst>
                <a:ext uri="{FF2B5EF4-FFF2-40B4-BE49-F238E27FC236}">
                  <a16:creationId xmlns:a16="http://schemas.microsoft.com/office/drawing/2014/main" id="{241C6D5D-3887-8B31-0EB2-F4E97427F6D3}"/>
                </a:ext>
              </a:extLst>
            </p:cNvPr>
            <p:cNvSpPr>
              <a:spLocks noChangeArrowheads="1"/>
            </p:cNvSpPr>
            <p:nvPr/>
          </p:nvSpPr>
          <p:spPr bwMode="auto">
            <a:xfrm>
              <a:off x="3539104" y="2579688"/>
              <a:ext cx="34970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WY</a:t>
              </a:r>
            </a:p>
          </p:txBody>
        </p:sp>
        <p:sp>
          <p:nvSpPr>
            <p:cNvPr id="61" name="Wisconsin">
              <a:extLst>
                <a:ext uri="{FF2B5EF4-FFF2-40B4-BE49-F238E27FC236}">
                  <a16:creationId xmlns:a16="http://schemas.microsoft.com/office/drawing/2014/main" id="{890269E1-9A1B-0E62-1911-6885168348A9}"/>
                </a:ext>
              </a:extLst>
            </p:cNvPr>
            <p:cNvSpPr>
              <a:spLocks noChangeArrowheads="1"/>
            </p:cNvSpPr>
            <p:nvPr/>
          </p:nvSpPr>
          <p:spPr bwMode="auto">
            <a:xfrm>
              <a:off x="5484686" y="2363788"/>
              <a:ext cx="32886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WI</a:t>
              </a:r>
            </a:p>
          </p:txBody>
        </p:sp>
        <p:sp>
          <p:nvSpPr>
            <p:cNvPr id="62" name="West Virginia">
              <a:extLst>
                <a:ext uri="{FF2B5EF4-FFF2-40B4-BE49-F238E27FC236}">
                  <a16:creationId xmlns:a16="http://schemas.microsoft.com/office/drawing/2014/main" id="{5999E530-3C68-3235-F847-BEB90C475DC1}"/>
                </a:ext>
              </a:extLst>
            </p:cNvPr>
            <p:cNvSpPr>
              <a:spLocks noChangeArrowheads="1"/>
            </p:cNvSpPr>
            <p:nvPr/>
          </p:nvSpPr>
          <p:spPr bwMode="auto">
            <a:xfrm>
              <a:off x="6695688" y="2991447"/>
              <a:ext cx="35611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WV</a:t>
              </a:r>
            </a:p>
          </p:txBody>
        </p:sp>
        <p:sp>
          <p:nvSpPr>
            <p:cNvPr id="63" name="Washington">
              <a:extLst>
                <a:ext uri="{FF2B5EF4-FFF2-40B4-BE49-F238E27FC236}">
                  <a16:creationId xmlns:a16="http://schemas.microsoft.com/office/drawing/2014/main" id="{66849D7C-963E-5A91-33C7-5D2555A3A019}"/>
                </a:ext>
              </a:extLst>
            </p:cNvPr>
            <p:cNvSpPr>
              <a:spLocks noChangeArrowheads="1"/>
            </p:cNvSpPr>
            <p:nvPr/>
          </p:nvSpPr>
          <p:spPr bwMode="auto">
            <a:xfrm>
              <a:off x="2244451" y="1735138"/>
              <a:ext cx="35932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WA</a:t>
              </a:r>
            </a:p>
          </p:txBody>
        </p:sp>
        <p:sp>
          <p:nvSpPr>
            <p:cNvPr id="460" name="Virginia">
              <a:extLst>
                <a:ext uri="{FF2B5EF4-FFF2-40B4-BE49-F238E27FC236}">
                  <a16:creationId xmlns:a16="http://schemas.microsoft.com/office/drawing/2014/main" id="{278D512D-8069-E5E0-54C4-9C0BBFB5B4B4}"/>
                </a:ext>
              </a:extLst>
            </p:cNvPr>
            <p:cNvSpPr>
              <a:spLocks noChangeArrowheads="1"/>
            </p:cNvSpPr>
            <p:nvPr/>
          </p:nvSpPr>
          <p:spPr bwMode="auto">
            <a:xfrm>
              <a:off x="7036747" y="3028704"/>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VA</a:t>
              </a:r>
            </a:p>
          </p:txBody>
        </p:sp>
        <p:sp>
          <p:nvSpPr>
            <p:cNvPr id="461" name="Vermont">
              <a:extLst>
                <a:ext uri="{FF2B5EF4-FFF2-40B4-BE49-F238E27FC236}">
                  <a16:creationId xmlns:a16="http://schemas.microsoft.com/office/drawing/2014/main" id="{E255BCFC-44B6-406F-D085-BA7A19121201}"/>
                </a:ext>
              </a:extLst>
            </p:cNvPr>
            <p:cNvSpPr>
              <a:spLocks noChangeArrowheads="1"/>
            </p:cNvSpPr>
            <p:nvPr/>
          </p:nvSpPr>
          <p:spPr bwMode="auto">
            <a:xfrm>
              <a:off x="7372826" y="183692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VT</a:t>
              </a:r>
            </a:p>
          </p:txBody>
        </p:sp>
        <p:sp>
          <p:nvSpPr>
            <p:cNvPr id="462" name="Utah">
              <a:extLst>
                <a:ext uri="{FF2B5EF4-FFF2-40B4-BE49-F238E27FC236}">
                  <a16:creationId xmlns:a16="http://schemas.microsoft.com/office/drawing/2014/main" id="{9E98E6B2-DDE9-DA1F-B3F2-BBD739EB52A4}"/>
                </a:ext>
              </a:extLst>
            </p:cNvPr>
            <p:cNvSpPr>
              <a:spLocks noChangeArrowheads="1"/>
            </p:cNvSpPr>
            <p:nvPr/>
          </p:nvSpPr>
          <p:spPr bwMode="auto">
            <a:xfrm>
              <a:off x="3032839" y="3155950"/>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UT</a:t>
              </a:r>
            </a:p>
          </p:txBody>
        </p:sp>
        <p:sp>
          <p:nvSpPr>
            <p:cNvPr id="463" name="Texas">
              <a:extLst>
                <a:ext uri="{FF2B5EF4-FFF2-40B4-BE49-F238E27FC236}">
                  <a16:creationId xmlns:a16="http://schemas.microsoft.com/office/drawing/2014/main" id="{919D80A2-35C3-99C0-545B-563978EA832D}"/>
                </a:ext>
              </a:extLst>
            </p:cNvPr>
            <p:cNvSpPr>
              <a:spLocks noChangeArrowheads="1"/>
            </p:cNvSpPr>
            <p:nvPr/>
          </p:nvSpPr>
          <p:spPr bwMode="auto">
            <a:xfrm>
              <a:off x="4479938" y="4379913"/>
              <a:ext cx="30001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X</a:t>
              </a:r>
            </a:p>
          </p:txBody>
        </p:sp>
        <p:sp>
          <p:nvSpPr>
            <p:cNvPr id="464" name="Tennessee">
              <a:extLst>
                <a:ext uri="{FF2B5EF4-FFF2-40B4-BE49-F238E27FC236}">
                  <a16:creationId xmlns:a16="http://schemas.microsoft.com/office/drawing/2014/main" id="{BEDCEBD1-8A70-DDFB-6247-DA84AB38CAE6}"/>
                </a:ext>
              </a:extLst>
            </p:cNvPr>
            <p:cNvSpPr>
              <a:spLocks noChangeArrowheads="1"/>
            </p:cNvSpPr>
            <p:nvPr/>
          </p:nvSpPr>
          <p:spPr bwMode="auto">
            <a:xfrm>
              <a:off x="6056209" y="3587750"/>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TN</a:t>
              </a:r>
            </a:p>
          </p:txBody>
        </p:sp>
        <p:sp>
          <p:nvSpPr>
            <p:cNvPr id="465" name="South Dakota">
              <a:extLst>
                <a:ext uri="{FF2B5EF4-FFF2-40B4-BE49-F238E27FC236}">
                  <a16:creationId xmlns:a16="http://schemas.microsoft.com/office/drawing/2014/main" id="{CD2AF31D-E881-B4FB-F514-71CFFCE684CB}"/>
                </a:ext>
              </a:extLst>
            </p:cNvPr>
            <p:cNvSpPr>
              <a:spLocks noChangeArrowheads="1"/>
            </p:cNvSpPr>
            <p:nvPr/>
          </p:nvSpPr>
          <p:spPr bwMode="auto">
            <a:xfrm>
              <a:off x="4352904" y="2490652"/>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D</a:t>
              </a:r>
            </a:p>
          </p:txBody>
        </p:sp>
        <p:sp>
          <p:nvSpPr>
            <p:cNvPr id="466" name="South Carolina">
              <a:extLst>
                <a:ext uri="{FF2B5EF4-FFF2-40B4-BE49-F238E27FC236}">
                  <a16:creationId xmlns:a16="http://schemas.microsoft.com/office/drawing/2014/main" id="{9E14238C-A8CC-B148-0513-DE7DD558040E}"/>
                </a:ext>
              </a:extLst>
            </p:cNvPr>
            <p:cNvSpPr>
              <a:spLocks noChangeArrowheads="1"/>
            </p:cNvSpPr>
            <p:nvPr/>
          </p:nvSpPr>
          <p:spPr bwMode="auto">
            <a:xfrm>
              <a:off x="6840538" y="3659188"/>
              <a:ext cx="325438"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SC</a:t>
              </a:r>
            </a:p>
          </p:txBody>
        </p:sp>
        <p:sp>
          <p:nvSpPr>
            <p:cNvPr id="467" name="Rhode Island">
              <a:extLst>
                <a:ext uri="{FF2B5EF4-FFF2-40B4-BE49-F238E27FC236}">
                  <a16:creationId xmlns:a16="http://schemas.microsoft.com/office/drawing/2014/main" id="{BFD4D673-BAD4-FA73-BBBF-5A7121BDAB5E}"/>
                </a:ext>
              </a:extLst>
            </p:cNvPr>
            <p:cNvSpPr>
              <a:spLocks noChangeArrowheads="1"/>
            </p:cNvSpPr>
            <p:nvPr/>
          </p:nvSpPr>
          <p:spPr bwMode="auto">
            <a:xfrm>
              <a:off x="7833663" y="2301875"/>
              <a:ext cx="2727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I</a:t>
              </a:r>
            </a:p>
          </p:txBody>
        </p:sp>
        <p:sp>
          <p:nvSpPr>
            <p:cNvPr id="468" name="Pennsylvania">
              <a:extLst>
                <a:ext uri="{FF2B5EF4-FFF2-40B4-BE49-F238E27FC236}">
                  <a16:creationId xmlns:a16="http://schemas.microsoft.com/office/drawing/2014/main" id="{D4E0F2FC-1140-29F0-34BF-1DE05A78D18F}"/>
                </a:ext>
              </a:extLst>
            </p:cNvPr>
            <p:cNvSpPr>
              <a:spLocks noChangeArrowheads="1"/>
            </p:cNvSpPr>
            <p:nvPr/>
          </p:nvSpPr>
          <p:spPr bwMode="auto">
            <a:xfrm>
              <a:off x="6979914" y="2527085"/>
              <a:ext cx="31764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A</a:t>
              </a:r>
            </a:p>
          </p:txBody>
        </p:sp>
        <p:sp>
          <p:nvSpPr>
            <p:cNvPr id="469" name="Oregon">
              <a:extLst>
                <a:ext uri="{FF2B5EF4-FFF2-40B4-BE49-F238E27FC236}">
                  <a16:creationId xmlns:a16="http://schemas.microsoft.com/office/drawing/2014/main" id="{11EF7958-0F67-FF95-A320-02B7AB08DB17}"/>
                </a:ext>
              </a:extLst>
            </p:cNvPr>
            <p:cNvSpPr>
              <a:spLocks noChangeArrowheads="1"/>
            </p:cNvSpPr>
            <p:nvPr/>
          </p:nvSpPr>
          <p:spPr bwMode="auto">
            <a:xfrm>
              <a:off x="2096953" y="2219325"/>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OR</a:t>
              </a:r>
            </a:p>
          </p:txBody>
        </p:sp>
        <p:sp>
          <p:nvSpPr>
            <p:cNvPr id="470" name="Oklahoma">
              <a:extLst>
                <a:ext uri="{FF2B5EF4-FFF2-40B4-BE49-F238E27FC236}">
                  <a16:creationId xmlns:a16="http://schemas.microsoft.com/office/drawing/2014/main" id="{87088F20-34B6-2E1F-6DB6-CA264EBB5DF6}"/>
                </a:ext>
              </a:extLst>
            </p:cNvPr>
            <p:cNvSpPr>
              <a:spLocks noChangeArrowheads="1"/>
            </p:cNvSpPr>
            <p:nvPr/>
          </p:nvSpPr>
          <p:spPr bwMode="auto">
            <a:xfrm>
              <a:off x="4759985" y="3803650"/>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OK</a:t>
              </a:r>
            </a:p>
          </p:txBody>
        </p:sp>
        <p:sp>
          <p:nvSpPr>
            <p:cNvPr id="471" name="Ohio">
              <a:extLst>
                <a:ext uri="{FF2B5EF4-FFF2-40B4-BE49-F238E27FC236}">
                  <a16:creationId xmlns:a16="http://schemas.microsoft.com/office/drawing/2014/main" id="{FBE72C22-11FB-E7EB-86AE-3B3E62ABD66D}"/>
                </a:ext>
              </a:extLst>
            </p:cNvPr>
            <p:cNvSpPr>
              <a:spLocks noChangeArrowheads="1"/>
            </p:cNvSpPr>
            <p:nvPr/>
          </p:nvSpPr>
          <p:spPr bwMode="auto">
            <a:xfrm>
              <a:off x="6342668" y="2795588"/>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OH</a:t>
              </a:r>
            </a:p>
          </p:txBody>
        </p:sp>
        <p:sp>
          <p:nvSpPr>
            <p:cNvPr id="472" name="North Dakota">
              <a:extLst>
                <a:ext uri="{FF2B5EF4-FFF2-40B4-BE49-F238E27FC236}">
                  <a16:creationId xmlns:a16="http://schemas.microsoft.com/office/drawing/2014/main" id="{B46BCF4E-A6B4-8393-FD5A-626F8A221383}"/>
                </a:ext>
              </a:extLst>
            </p:cNvPr>
            <p:cNvSpPr>
              <a:spLocks noChangeArrowheads="1"/>
            </p:cNvSpPr>
            <p:nvPr/>
          </p:nvSpPr>
          <p:spPr bwMode="auto">
            <a:xfrm>
              <a:off x="4323407" y="2003425"/>
              <a:ext cx="33367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D</a:t>
              </a:r>
            </a:p>
          </p:txBody>
        </p:sp>
        <p:sp>
          <p:nvSpPr>
            <p:cNvPr id="473" name="North Carolina">
              <a:extLst>
                <a:ext uri="{FF2B5EF4-FFF2-40B4-BE49-F238E27FC236}">
                  <a16:creationId xmlns:a16="http://schemas.microsoft.com/office/drawing/2014/main" id="{3C2E0DE7-6DE3-9B09-C763-7392D3F4A5E8}"/>
                </a:ext>
              </a:extLst>
            </p:cNvPr>
            <p:cNvSpPr>
              <a:spLocks noChangeArrowheads="1"/>
            </p:cNvSpPr>
            <p:nvPr/>
          </p:nvSpPr>
          <p:spPr bwMode="auto">
            <a:xfrm>
              <a:off x="6983413" y="3371850"/>
              <a:ext cx="3429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NC</a:t>
              </a:r>
            </a:p>
          </p:txBody>
        </p:sp>
        <p:sp>
          <p:nvSpPr>
            <p:cNvPr id="474" name="New York">
              <a:extLst>
                <a:ext uri="{FF2B5EF4-FFF2-40B4-BE49-F238E27FC236}">
                  <a16:creationId xmlns:a16="http://schemas.microsoft.com/office/drawing/2014/main" id="{1FD01791-3839-DDB2-4BB8-EF0F0DFC718F}"/>
                </a:ext>
              </a:extLst>
            </p:cNvPr>
            <p:cNvSpPr>
              <a:spLocks noChangeArrowheads="1"/>
            </p:cNvSpPr>
            <p:nvPr/>
          </p:nvSpPr>
          <p:spPr bwMode="auto">
            <a:xfrm>
              <a:off x="7175373" y="2139822"/>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Y</a:t>
              </a:r>
            </a:p>
          </p:txBody>
        </p:sp>
        <p:sp>
          <p:nvSpPr>
            <p:cNvPr id="475" name="New Mexico">
              <a:extLst>
                <a:ext uri="{FF2B5EF4-FFF2-40B4-BE49-F238E27FC236}">
                  <a16:creationId xmlns:a16="http://schemas.microsoft.com/office/drawing/2014/main" id="{57352EDF-4AD7-81B8-A8A0-5275BF31DD30}"/>
                </a:ext>
              </a:extLst>
            </p:cNvPr>
            <p:cNvSpPr>
              <a:spLocks noChangeArrowheads="1"/>
            </p:cNvSpPr>
            <p:nvPr/>
          </p:nvSpPr>
          <p:spPr bwMode="auto">
            <a:xfrm>
              <a:off x="3600450" y="3876675"/>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M</a:t>
              </a:r>
            </a:p>
          </p:txBody>
        </p:sp>
        <p:sp>
          <p:nvSpPr>
            <p:cNvPr id="476" name="New Jersey">
              <a:extLst>
                <a:ext uri="{FF2B5EF4-FFF2-40B4-BE49-F238E27FC236}">
                  <a16:creationId xmlns:a16="http://schemas.microsoft.com/office/drawing/2014/main" id="{452530B8-BD56-D8E2-44F1-2D2D2493EC25}"/>
                </a:ext>
              </a:extLst>
            </p:cNvPr>
            <p:cNvSpPr>
              <a:spLocks noChangeArrowheads="1"/>
            </p:cNvSpPr>
            <p:nvPr/>
          </p:nvSpPr>
          <p:spPr bwMode="auto">
            <a:xfrm>
              <a:off x="7384740" y="2530870"/>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J</a:t>
              </a:r>
            </a:p>
          </p:txBody>
        </p:sp>
        <p:sp>
          <p:nvSpPr>
            <p:cNvPr id="477" name="New Hampshire">
              <a:extLst>
                <a:ext uri="{FF2B5EF4-FFF2-40B4-BE49-F238E27FC236}">
                  <a16:creationId xmlns:a16="http://schemas.microsoft.com/office/drawing/2014/main" id="{E4CACD5E-56AB-802A-30D4-A7498F090A7B}"/>
                </a:ext>
              </a:extLst>
            </p:cNvPr>
            <p:cNvSpPr>
              <a:spLocks noChangeArrowheads="1"/>
            </p:cNvSpPr>
            <p:nvPr/>
          </p:nvSpPr>
          <p:spPr bwMode="auto">
            <a:xfrm>
              <a:off x="7512652" y="1945961"/>
              <a:ext cx="33367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H</a:t>
              </a:r>
            </a:p>
          </p:txBody>
        </p:sp>
        <p:sp>
          <p:nvSpPr>
            <p:cNvPr id="478" name="Nevada">
              <a:extLst>
                <a:ext uri="{FF2B5EF4-FFF2-40B4-BE49-F238E27FC236}">
                  <a16:creationId xmlns:a16="http://schemas.microsoft.com/office/drawing/2014/main" id="{ECDC9990-6C0B-EFC2-4EB3-88CAB6D9CECB}"/>
                </a:ext>
              </a:extLst>
            </p:cNvPr>
            <p:cNvSpPr>
              <a:spLocks noChangeArrowheads="1"/>
            </p:cNvSpPr>
            <p:nvPr/>
          </p:nvSpPr>
          <p:spPr bwMode="auto">
            <a:xfrm>
              <a:off x="2385901" y="3011488"/>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V</a:t>
              </a:r>
            </a:p>
          </p:txBody>
        </p:sp>
        <p:sp>
          <p:nvSpPr>
            <p:cNvPr id="479" name="Nebraska">
              <a:extLst>
                <a:ext uri="{FF2B5EF4-FFF2-40B4-BE49-F238E27FC236}">
                  <a16:creationId xmlns:a16="http://schemas.microsoft.com/office/drawing/2014/main" id="{DDB08379-115C-6C5B-FC5C-80D2D6D56D79}"/>
                </a:ext>
              </a:extLst>
            </p:cNvPr>
            <p:cNvSpPr>
              <a:spLocks noChangeArrowheads="1"/>
            </p:cNvSpPr>
            <p:nvPr/>
          </p:nvSpPr>
          <p:spPr bwMode="auto">
            <a:xfrm>
              <a:off x="4400462" y="2867025"/>
              <a:ext cx="32085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E</a:t>
              </a:r>
            </a:p>
          </p:txBody>
        </p:sp>
        <p:sp>
          <p:nvSpPr>
            <p:cNvPr id="480" name="Montana">
              <a:extLst>
                <a:ext uri="{FF2B5EF4-FFF2-40B4-BE49-F238E27FC236}">
                  <a16:creationId xmlns:a16="http://schemas.microsoft.com/office/drawing/2014/main" id="{F9287CDF-39C5-2742-1096-ECD1A3372496}"/>
                </a:ext>
              </a:extLst>
            </p:cNvPr>
            <p:cNvSpPr>
              <a:spLocks noChangeArrowheads="1"/>
            </p:cNvSpPr>
            <p:nvPr/>
          </p:nvSpPr>
          <p:spPr bwMode="auto">
            <a:xfrm>
              <a:off x="3321710" y="2003425"/>
              <a:ext cx="33046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T</a:t>
              </a:r>
            </a:p>
          </p:txBody>
        </p:sp>
        <p:sp>
          <p:nvSpPr>
            <p:cNvPr id="481" name="Missouri">
              <a:extLst>
                <a:ext uri="{FF2B5EF4-FFF2-40B4-BE49-F238E27FC236}">
                  <a16:creationId xmlns:a16="http://schemas.microsoft.com/office/drawing/2014/main" id="{8294E387-D28E-E081-3D86-9422431E0D27}"/>
                </a:ext>
              </a:extLst>
            </p:cNvPr>
            <p:cNvSpPr>
              <a:spLocks noChangeArrowheads="1"/>
            </p:cNvSpPr>
            <p:nvPr/>
          </p:nvSpPr>
          <p:spPr bwMode="auto">
            <a:xfrm>
              <a:off x="5256213" y="3300413"/>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O</a:t>
              </a:r>
            </a:p>
          </p:txBody>
        </p:sp>
        <p:sp>
          <p:nvSpPr>
            <p:cNvPr id="482" name="Mississippi">
              <a:extLst>
                <a:ext uri="{FF2B5EF4-FFF2-40B4-BE49-F238E27FC236}">
                  <a16:creationId xmlns:a16="http://schemas.microsoft.com/office/drawing/2014/main" id="{10C25329-5205-D620-0F17-7A28DACFE157}"/>
                </a:ext>
              </a:extLst>
            </p:cNvPr>
            <p:cNvSpPr>
              <a:spLocks noChangeArrowheads="1"/>
            </p:cNvSpPr>
            <p:nvPr/>
          </p:nvSpPr>
          <p:spPr bwMode="auto">
            <a:xfrm>
              <a:off x="5759450" y="4092575"/>
              <a:ext cx="3524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MS</a:t>
              </a:r>
            </a:p>
          </p:txBody>
        </p:sp>
        <p:sp>
          <p:nvSpPr>
            <p:cNvPr id="483" name="Minnesota">
              <a:extLst>
                <a:ext uri="{FF2B5EF4-FFF2-40B4-BE49-F238E27FC236}">
                  <a16:creationId xmlns:a16="http://schemas.microsoft.com/office/drawing/2014/main" id="{91EAC715-57FE-8A0F-C3BA-C9FFB0DE6F06}"/>
                </a:ext>
              </a:extLst>
            </p:cNvPr>
            <p:cNvSpPr>
              <a:spLocks noChangeArrowheads="1"/>
            </p:cNvSpPr>
            <p:nvPr/>
          </p:nvSpPr>
          <p:spPr bwMode="auto">
            <a:xfrm>
              <a:off x="4914900" y="2147888"/>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N</a:t>
              </a:r>
            </a:p>
          </p:txBody>
        </p:sp>
        <p:sp>
          <p:nvSpPr>
            <p:cNvPr id="484" name="Michigan">
              <a:extLst>
                <a:ext uri="{FF2B5EF4-FFF2-40B4-BE49-F238E27FC236}">
                  <a16:creationId xmlns:a16="http://schemas.microsoft.com/office/drawing/2014/main" id="{8CC7FE0D-2CF9-6B0E-FB38-91384678C79B}"/>
                </a:ext>
              </a:extLst>
            </p:cNvPr>
            <p:cNvSpPr>
              <a:spLocks noChangeArrowheads="1"/>
            </p:cNvSpPr>
            <p:nvPr/>
          </p:nvSpPr>
          <p:spPr bwMode="auto">
            <a:xfrm>
              <a:off x="6078481" y="2425700"/>
              <a:ext cx="31443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MI</a:t>
              </a:r>
            </a:p>
          </p:txBody>
        </p:sp>
        <p:sp>
          <p:nvSpPr>
            <p:cNvPr id="485" name="Massachusetts">
              <a:extLst>
                <a:ext uri="{FF2B5EF4-FFF2-40B4-BE49-F238E27FC236}">
                  <a16:creationId xmlns:a16="http://schemas.microsoft.com/office/drawing/2014/main" id="{31D236F4-AC12-B43A-ED38-A79867A3EFD4}"/>
                </a:ext>
              </a:extLst>
            </p:cNvPr>
            <p:cNvSpPr>
              <a:spLocks noChangeArrowheads="1"/>
            </p:cNvSpPr>
            <p:nvPr/>
          </p:nvSpPr>
          <p:spPr bwMode="auto">
            <a:xfrm>
              <a:off x="7737286" y="1941513"/>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a:t>
              </a:r>
            </a:p>
          </p:txBody>
        </p:sp>
        <p:sp>
          <p:nvSpPr>
            <p:cNvPr id="486" name="Maryland">
              <a:extLst>
                <a:ext uri="{FF2B5EF4-FFF2-40B4-BE49-F238E27FC236}">
                  <a16:creationId xmlns:a16="http://schemas.microsoft.com/office/drawing/2014/main" id="{79FE460D-30A8-CA8D-FE80-CF3DAEDFC7B6}"/>
                </a:ext>
              </a:extLst>
            </p:cNvPr>
            <p:cNvSpPr>
              <a:spLocks noChangeArrowheads="1"/>
            </p:cNvSpPr>
            <p:nvPr/>
          </p:nvSpPr>
          <p:spPr bwMode="auto">
            <a:xfrm>
              <a:off x="7679047" y="2873274"/>
              <a:ext cx="34810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D</a:t>
              </a:r>
            </a:p>
          </p:txBody>
        </p:sp>
        <p:sp>
          <p:nvSpPr>
            <p:cNvPr id="487" name="Maine">
              <a:extLst>
                <a:ext uri="{FF2B5EF4-FFF2-40B4-BE49-F238E27FC236}">
                  <a16:creationId xmlns:a16="http://schemas.microsoft.com/office/drawing/2014/main" id="{FFE6FB9C-8D36-768A-8400-D7FF6A053F53}"/>
                </a:ext>
              </a:extLst>
            </p:cNvPr>
            <p:cNvSpPr>
              <a:spLocks noChangeArrowheads="1"/>
            </p:cNvSpPr>
            <p:nvPr/>
          </p:nvSpPr>
          <p:spPr bwMode="auto">
            <a:xfrm>
              <a:off x="7648085" y="1561331"/>
              <a:ext cx="33527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E</a:t>
              </a:r>
            </a:p>
          </p:txBody>
        </p:sp>
        <p:sp>
          <p:nvSpPr>
            <p:cNvPr id="488" name="Lousiana">
              <a:extLst>
                <a:ext uri="{FF2B5EF4-FFF2-40B4-BE49-F238E27FC236}">
                  <a16:creationId xmlns:a16="http://schemas.microsoft.com/office/drawing/2014/main" id="{9CA6F231-6882-C7E1-7951-4AD298859F9C}"/>
                </a:ext>
              </a:extLst>
            </p:cNvPr>
            <p:cNvSpPr>
              <a:spLocks noChangeArrowheads="1"/>
            </p:cNvSpPr>
            <p:nvPr/>
          </p:nvSpPr>
          <p:spPr bwMode="auto">
            <a:xfrm>
              <a:off x="5400627" y="4379913"/>
              <a:ext cx="31283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Verdana" pitchFamily="34" charset="0"/>
                  <a:ea typeface="+mn-ea"/>
                  <a:cs typeface="+mn-cs"/>
                </a:rPr>
                <a:t>LA</a:t>
              </a:r>
            </a:p>
          </p:txBody>
        </p:sp>
        <p:sp>
          <p:nvSpPr>
            <p:cNvPr id="489" name="Kentucky">
              <a:extLst>
                <a:ext uri="{FF2B5EF4-FFF2-40B4-BE49-F238E27FC236}">
                  <a16:creationId xmlns:a16="http://schemas.microsoft.com/office/drawing/2014/main" id="{310674B4-A1EB-7CD0-08C7-2FBCD1CA30F7}"/>
                </a:ext>
              </a:extLst>
            </p:cNvPr>
            <p:cNvSpPr>
              <a:spLocks noChangeArrowheads="1"/>
            </p:cNvSpPr>
            <p:nvPr/>
          </p:nvSpPr>
          <p:spPr bwMode="auto">
            <a:xfrm>
              <a:off x="6287029" y="3234249"/>
              <a:ext cx="31764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KY</a:t>
              </a:r>
            </a:p>
          </p:txBody>
        </p:sp>
        <p:sp>
          <p:nvSpPr>
            <p:cNvPr id="490" name="Kansas">
              <a:extLst>
                <a:ext uri="{FF2B5EF4-FFF2-40B4-BE49-F238E27FC236}">
                  <a16:creationId xmlns:a16="http://schemas.microsoft.com/office/drawing/2014/main" id="{3ED05611-5D44-2D8D-601C-6E180AE0AC4E}"/>
                </a:ext>
              </a:extLst>
            </p:cNvPr>
            <p:cNvSpPr>
              <a:spLocks noChangeArrowheads="1"/>
            </p:cNvSpPr>
            <p:nvPr/>
          </p:nvSpPr>
          <p:spPr bwMode="auto">
            <a:xfrm>
              <a:off x="4547361" y="33004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KS</a:t>
              </a:r>
            </a:p>
          </p:txBody>
        </p:sp>
        <p:sp>
          <p:nvSpPr>
            <p:cNvPr id="491" name="Iowa">
              <a:extLst>
                <a:ext uri="{FF2B5EF4-FFF2-40B4-BE49-F238E27FC236}">
                  <a16:creationId xmlns:a16="http://schemas.microsoft.com/office/drawing/2014/main" id="{6D6DC833-14B3-5C7A-EE7E-F323B84D54C5}"/>
                </a:ext>
              </a:extLst>
            </p:cNvPr>
            <p:cNvSpPr>
              <a:spLocks noChangeArrowheads="1"/>
            </p:cNvSpPr>
            <p:nvPr/>
          </p:nvSpPr>
          <p:spPr bwMode="auto">
            <a:xfrm>
              <a:off x="5132509" y="2743200"/>
              <a:ext cx="2775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A</a:t>
              </a:r>
            </a:p>
          </p:txBody>
        </p:sp>
        <p:sp>
          <p:nvSpPr>
            <p:cNvPr id="492" name="Indiana">
              <a:extLst>
                <a:ext uri="{FF2B5EF4-FFF2-40B4-BE49-F238E27FC236}">
                  <a16:creationId xmlns:a16="http://schemas.microsoft.com/office/drawing/2014/main" id="{E5C6FB50-8CB6-76F0-1EF3-5B7002E0BA3D}"/>
                </a:ext>
              </a:extLst>
            </p:cNvPr>
            <p:cNvSpPr>
              <a:spLocks noChangeArrowheads="1"/>
            </p:cNvSpPr>
            <p:nvPr/>
          </p:nvSpPr>
          <p:spPr bwMode="auto">
            <a:xfrm>
              <a:off x="6036490" y="292100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N</a:t>
              </a:r>
            </a:p>
          </p:txBody>
        </p:sp>
        <p:sp>
          <p:nvSpPr>
            <p:cNvPr id="493" name="Illinois">
              <a:extLst>
                <a:ext uri="{FF2B5EF4-FFF2-40B4-BE49-F238E27FC236}">
                  <a16:creationId xmlns:a16="http://schemas.microsoft.com/office/drawing/2014/main" id="{91DCC7F1-29FF-EF96-5F9B-0DA8F543B85F}"/>
                </a:ext>
              </a:extLst>
            </p:cNvPr>
            <p:cNvSpPr>
              <a:spLocks noChangeArrowheads="1"/>
            </p:cNvSpPr>
            <p:nvPr/>
          </p:nvSpPr>
          <p:spPr bwMode="auto">
            <a:xfrm>
              <a:off x="5705636" y="2940050"/>
              <a:ext cx="26955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L</a:t>
              </a:r>
            </a:p>
          </p:txBody>
        </p:sp>
        <p:sp>
          <p:nvSpPr>
            <p:cNvPr id="494" name="Idaho">
              <a:extLst>
                <a:ext uri="{FF2B5EF4-FFF2-40B4-BE49-F238E27FC236}">
                  <a16:creationId xmlns:a16="http://schemas.microsoft.com/office/drawing/2014/main" id="{C15EE65B-8F7A-5D35-336D-5B30E78975DA}"/>
                </a:ext>
              </a:extLst>
            </p:cNvPr>
            <p:cNvSpPr>
              <a:spLocks noChangeArrowheads="1"/>
            </p:cNvSpPr>
            <p:nvPr/>
          </p:nvSpPr>
          <p:spPr bwMode="auto">
            <a:xfrm>
              <a:off x="2805164" y="2354263"/>
              <a:ext cx="29199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D</a:t>
              </a:r>
            </a:p>
          </p:txBody>
        </p:sp>
        <p:sp>
          <p:nvSpPr>
            <p:cNvPr id="495" name="Hawaii">
              <a:extLst>
                <a:ext uri="{FF2B5EF4-FFF2-40B4-BE49-F238E27FC236}">
                  <a16:creationId xmlns:a16="http://schemas.microsoft.com/office/drawing/2014/main" id="{9CBCCE61-DE3C-4C70-8A6F-91EF3F6E9E0C}"/>
                </a:ext>
              </a:extLst>
            </p:cNvPr>
            <p:cNvSpPr>
              <a:spLocks noChangeArrowheads="1"/>
            </p:cNvSpPr>
            <p:nvPr/>
          </p:nvSpPr>
          <p:spPr bwMode="auto">
            <a:xfrm>
              <a:off x="2885237" y="5202409"/>
              <a:ext cx="29520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HI</a:t>
              </a:r>
            </a:p>
          </p:txBody>
        </p:sp>
        <p:sp>
          <p:nvSpPr>
            <p:cNvPr id="496" name="Georgia">
              <a:extLst>
                <a:ext uri="{FF2B5EF4-FFF2-40B4-BE49-F238E27FC236}">
                  <a16:creationId xmlns:a16="http://schemas.microsoft.com/office/drawing/2014/main" id="{1E78A54E-40B9-AB02-927E-ACC8B3AF5F3A}"/>
                </a:ext>
              </a:extLst>
            </p:cNvPr>
            <p:cNvSpPr>
              <a:spLocks noChangeArrowheads="1"/>
            </p:cNvSpPr>
            <p:nvPr/>
          </p:nvSpPr>
          <p:spPr bwMode="auto">
            <a:xfrm>
              <a:off x="6480175" y="3948113"/>
              <a:ext cx="34607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GA</a:t>
              </a:r>
            </a:p>
          </p:txBody>
        </p:sp>
        <p:sp>
          <p:nvSpPr>
            <p:cNvPr id="497" name="Florida">
              <a:extLst>
                <a:ext uri="{FF2B5EF4-FFF2-40B4-BE49-F238E27FC236}">
                  <a16:creationId xmlns:a16="http://schemas.microsoft.com/office/drawing/2014/main" id="{D6B9C729-EE98-A45A-D29B-1BF0EE14D32F}"/>
                </a:ext>
              </a:extLst>
            </p:cNvPr>
            <p:cNvSpPr>
              <a:spLocks noChangeArrowheads="1"/>
            </p:cNvSpPr>
            <p:nvPr/>
          </p:nvSpPr>
          <p:spPr bwMode="auto">
            <a:xfrm>
              <a:off x="6847687" y="4524375"/>
              <a:ext cx="30161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FL</a:t>
              </a:r>
            </a:p>
          </p:txBody>
        </p:sp>
        <p:sp>
          <p:nvSpPr>
            <p:cNvPr id="498" name="Delaware">
              <a:extLst>
                <a:ext uri="{FF2B5EF4-FFF2-40B4-BE49-F238E27FC236}">
                  <a16:creationId xmlns:a16="http://schemas.microsoft.com/office/drawing/2014/main" id="{89A492AB-F543-02C0-03E6-F590CB452E44}"/>
                </a:ext>
              </a:extLst>
            </p:cNvPr>
            <p:cNvSpPr>
              <a:spLocks noChangeArrowheads="1"/>
            </p:cNvSpPr>
            <p:nvPr/>
          </p:nvSpPr>
          <p:spPr bwMode="auto">
            <a:xfrm>
              <a:off x="7545071" y="2763114"/>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E</a:t>
              </a:r>
            </a:p>
          </p:txBody>
        </p:sp>
        <p:sp>
          <p:nvSpPr>
            <p:cNvPr id="499" name="Connecticut">
              <a:extLst>
                <a:ext uri="{FF2B5EF4-FFF2-40B4-BE49-F238E27FC236}">
                  <a16:creationId xmlns:a16="http://schemas.microsoft.com/office/drawing/2014/main" id="{30974719-27EB-72BC-CB60-64D492A5A733}"/>
                </a:ext>
              </a:extLst>
            </p:cNvPr>
            <p:cNvSpPr>
              <a:spLocks noChangeArrowheads="1"/>
            </p:cNvSpPr>
            <p:nvPr/>
          </p:nvSpPr>
          <p:spPr bwMode="auto">
            <a:xfrm>
              <a:off x="7732194" y="240694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T</a:t>
              </a:r>
            </a:p>
          </p:txBody>
        </p:sp>
        <p:sp>
          <p:nvSpPr>
            <p:cNvPr id="500" name="Colorado">
              <a:extLst>
                <a:ext uri="{FF2B5EF4-FFF2-40B4-BE49-F238E27FC236}">
                  <a16:creationId xmlns:a16="http://schemas.microsoft.com/office/drawing/2014/main" id="{09EAB4A9-852D-7E1F-9D62-D86DD01783FA}"/>
                </a:ext>
              </a:extLst>
            </p:cNvPr>
            <p:cNvSpPr>
              <a:spLocks noChangeArrowheads="1"/>
            </p:cNvSpPr>
            <p:nvPr/>
          </p:nvSpPr>
          <p:spPr bwMode="auto">
            <a:xfrm>
              <a:off x="3679707" y="3227388"/>
              <a:ext cx="32726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O</a:t>
              </a:r>
            </a:p>
          </p:txBody>
        </p:sp>
        <p:sp>
          <p:nvSpPr>
            <p:cNvPr id="501" name="California">
              <a:extLst>
                <a:ext uri="{FF2B5EF4-FFF2-40B4-BE49-F238E27FC236}">
                  <a16:creationId xmlns:a16="http://schemas.microsoft.com/office/drawing/2014/main" id="{55F2DB6E-0F69-D717-342B-E286156D9E04}"/>
                </a:ext>
              </a:extLst>
            </p:cNvPr>
            <p:cNvSpPr>
              <a:spLocks noChangeArrowheads="1"/>
            </p:cNvSpPr>
            <p:nvPr/>
          </p:nvSpPr>
          <p:spPr bwMode="auto">
            <a:xfrm>
              <a:off x="1880567" y="3254225"/>
              <a:ext cx="32085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A</a:t>
              </a:r>
            </a:p>
          </p:txBody>
        </p:sp>
        <p:sp>
          <p:nvSpPr>
            <p:cNvPr id="502" name="Arkansas">
              <a:extLst>
                <a:ext uri="{FF2B5EF4-FFF2-40B4-BE49-F238E27FC236}">
                  <a16:creationId xmlns:a16="http://schemas.microsoft.com/office/drawing/2014/main" id="{1F55CA46-80DD-0BCD-4E88-671D3146C1D7}"/>
                </a:ext>
              </a:extLst>
            </p:cNvPr>
            <p:cNvSpPr>
              <a:spLocks noChangeArrowheads="1"/>
            </p:cNvSpPr>
            <p:nvPr/>
          </p:nvSpPr>
          <p:spPr bwMode="auto">
            <a:xfrm>
              <a:off x="5343483" y="3803650"/>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R</a:t>
              </a:r>
            </a:p>
          </p:txBody>
        </p:sp>
        <p:sp>
          <p:nvSpPr>
            <p:cNvPr id="503" name="Arizona">
              <a:extLst>
                <a:ext uri="{FF2B5EF4-FFF2-40B4-BE49-F238E27FC236}">
                  <a16:creationId xmlns:a16="http://schemas.microsoft.com/office/drawing/2014/main" id="{9A805E72-0558-3738-D751-FCAB94EC1C6B}"/>
                </a:ext>
              </a:extLst>
            </p:cNvPr>
            <p:cNvSpPr>
              <a:spLocks noChangeArrowheads="1"/>
            </p:cNvSpPr>
            <p:nvPr/>
          </p:nvSpPr>
          <p:spPr bwMode="auto">
            <a:xfrm>
              <a:off x="2886789" y="3876675"/>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Z</a:t>
              </a:r>
            </a:p>
          </p:txBody>
        </p:sp>
        <p:sp>
          <p:nvSpPr>
            <p:cNvPr id="504" name="Alaska">
              <a:extLst>
                <a:ext uri="{FF2B5EF4-FFF2-40B4-BE49-F238E27FC236}">
                  <a16:creationId xmlns:a16="http://schemas.microsoft.com/office/drawing/2014/main" id="{7A4742A1-02B3-6989-0B37-45DE92CF87FB}"/>
                </a:ext>
              </a:extLst>
            </p:cNvPr>
            <p:cNvSpPr>
              <a:spLocks noChangeArrowheads="1"/>
            </p:cNvSpPr>
            <p:nvPr/>
          </p:nvSpPr>
          <p:spPr bwMode="auto">
            <a:xfrm>
              <a:off x="1311242" y="43799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K</a:t>
              </a:r>
            </a:p>
          </p:txBody>
        </p:sp>
        <p:sp>
          <p:nvSpPr>
            <p:cNvPr id="505" name="Alabama">
              <a:extLst>
                <a:ext uri="{FF2B5EF4-FFF2-40B4-BE49-F238E27FC236}">
                  <a16:creationId xmlns:a16="http://schemas.microsoft.com/office/drawing/2014/main" id="{1468DE52-DB67-272D-46E0-20F19E6AC0E0}"/>
                </a:ext>
              </a:extLst>
            </p:cNvPr>
            <p:cNvSpPr>
              <a:spLocks noChangeArrowheads="1"/>
            </p:cNvSpPr>
            <p:nvPr/>
          </p:nvSpPr>
          <p:spPr bwMode="auto">
            <a:xfrm>
              <a:off x="6134915" y="401955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AL</a:t>
              </a:r>
            </a:p>
          </p:txBody>
        </p:sp>
        <p:cxnSp>
          <p:nvCxnSpPr>
            <p:cNvPr id="506" name="Straight Connector 505">
              <a:extLst>
                <a:ext uri="{FF2B5EF4-FFF2-40B4-BE49-F238E27FC236}">
                  <a16:creationId xmlns:a16="http://schemas.microsoft.com/office/drawing/2014/main" id="{960EC755-7CA7-FDC7-4755-04D67B0D8E7A}"/>
                </a:ext>
              </a:extLst>
            </p:cNvPr>
            <p:cNvCxnSpPr/>
            <p:nvPr/>
          </p:nvCxnSpPr>
          <p:spPr>
            <a:xfrm flipH="1">
              <a:off x="7832468" y="2097228"/>
              <a:ext cx="80513" cy="101319"/>
            </a:xfrm>
            <a:prstGeom prst="line">
              <a:avLst/>
            </a:prstGeom>
          </p:spPr>
          <p:style>
            <a:lnRef idx="1">
              <a:schemeClr val="accent1"/>
            </a:lnRef>
            <a:fillRef idx="0">
              <a:schemeClr val="accent1"/>
            </a:fillRef>
            <a:effectRef idx="0">
              <a:schemeClr val="accent1"/>
            </a:effectRef>
            <a:fontRef idx="minor">
              <a:schemeClr val="tx1"/>
            </a:fontRef>
          </p:style>
        </p:cxnSp>
        <p:cxnSp>
          <p:nvCxnSpPr>
            <p:cNvPr id="507" name="Straight Connector 506">
              <a:extLst>
                <a:ext uri="{FF2B5EF4-FFF2-40B4-BE49-F238E27FC236}">
                  <a16:creationId xmlns:a16="http://schemas.microsoft.com/office/drawing/2014/main" id="{F6349F6F-B4A2-43D9-F880-FCD059A217FB}"/>
                </a:ext>
              </a:extLst>
            </p:cNvPr>
            <p:cNvCxnSpPr>
              <a:cxnSpLocks/>
            </p:cNvCxnSpPr>
            <p:nvPr/>
          </p:nvCxnSpPr>
          <p:spPr>
            <a:xfrm flipH="1" flipV="1">
              <a:off x="7795844" y="2277310"/>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8" name="Straight Connector 507">
              <a:extLst>
                <a:ext uri="{FF2B5EF4-FFF2-40B4-BE49-F238E27FC236}">
                  <a16:creationId xmlns:a16="http://schemas.microsoft.com/office/drawing/2014/main" id="{2FC29DA4-8526-53DE-0288-6AAF4743F8C7}"/>
                </a:ext>
              </a:extLst>
            </p:cNvPr>
            <p:cNvCxnSpPr>
              <a:cxnSpLocks/>
            </p:cNvCxnSpPr>
            <p:nvPr/>
          </p:nvCxnSpPr>
          <p:spPr>
            <a:xfrm flipH="1" flipV="1">
              <a:off x="7736219" y="2331983"/>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9" name="Straight Connector 508">
              <a:extLst>
                <a:ext uri="{FF2B5EF4-FFF2-40B4-BE49-F238E27FC236}">
                  <a16:creationId xmlns:a16="http://schemas.microsoft.com/office/drawing/2014/main" id="{5BD238FA-2E6C-99FA-825C-0B23F9573E0A}"/>
                </a:ext>
              </a:extLst>
            </p:cNvPr>
            <p:cNvCxnSpPr>
              <a:cxnSpLocks/>
            </p:cNvCxnSpPr>
            <p:nvPr/>
          </p:nvCxnSpPr>
          <p:spPr>
            <a:xfrm flipH="1" flipV="1">
              <a:off x="7485360" y="2853151"/>
              <a:ext cx="124715" cy="31801"/>
            </a:xfrm>
            <a:prstGeom prst="line">
              <a:avLst/>
            </a:prstGeom>
          </p:spPr>
          <p:style>
            <a:lnRef idx="1">
              <a:schemeClr val="accent1"/>
            </a:lnRef>
            <a:fillRef idx="0">
              <a:schemeClr val="accent1"/>
            </a:fillRef>
            <a:effectRef idx="0">
              <a:schemeClr val="accent1"/>
            </a:effectRef>
            <a:fontRef idx="minor">
              <a:schemeClr val="tx1"/>
            </a:fontRef>
          </p:style>
        </p:cxnSp>
        <p:cxnSp>
          <p:nvCxnSpPr>
            <p:cNvPr id="510" name="Straight Connector 509">
              <a:extLst>
                <a:ext uri="{FF2B5EF4-FFF2-40B4-BE49-F238E27FC236}">
                  <a16:creationId xmlns:a16="http://schemas.microsoft.com/office/drawing/2014/main" id="{BA15C1F7-C936-8669-0927-3621FFAE29D2}"/>
                </a:ext>
              </a:extLst>
            </p:cNvPr>
            <p:cNvCxnSpPr>
              <a:cxnSpLocks/>
            </p:cNvCxnSpPr>
            <p:nvPr/>
          </p:nvCxnSpPr>
          <p:spPr>
            <a:xfrm flipH="1" flipV="1">
              <a:off x="7303670" y="2814282"/>
              <a:ext cx="464918" cy="177093"/>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616247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 name="Object 153" hidden="1">
            <a:extLst>
              <a:ext uri="{FF2B5EF4-FFF2-40B4-BE49-F238E27FC236}">
                <a16:creationId xmlns:a16="http://schemas.microsoft.com/office/drawing/2014/main" id="{787FCFAC-C695-423D-B579-568E067AF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54" name="Object 153" hidden="1">
                        <a:extLst>
                          <a:ext uri="{FF2B5EF4-FFF2-40B4-BE49-F238E27FC236}">
                            <a16:creationId xmlns:a16="http://schemas.microsoft.com/office/drawing/2014/main" id="{787FCFAC-C695-423D-B579-568E067AF9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AA7FD5-0EF7-4A66-ACE1-DF2D35F5A918}"/>
              </a:ext>
            </a:extLst>
          </p:cNvPr>
          <p:cNvSpPr>
            <a:spLocks noGrp="1"/>
          </p:cNvSpPr>
          <p:nvPr>
            <p:ph type="title"/>
          </p:nvPr>
        </p:nvSpPr>
        <p:spPr>
          <a:xfrm>
            <a:off x="609602" y="0"/>
            <a:ext cx="9406376" cy="1143000"/>
          </a:xfrm>
        </p:spPr>
        <p:txBody>
          <a:bodyPr vert="horz"/>
          <a:lstStyle/>
          <a:p>
            <a:r>
              <a:rPr lang="en-US" sz="3600" dirty="0">
                <a:solidFill>
                  <a:srgbClr val="3A4972"/>
                </a:solidFill>
                <a:latin typeface="Georgia" panose="02040502050405020303" pitchFamily="18" charset="0"/>
              </a:rPr>
              <a:t>Nearly 420 Hospitals Vulnerable to Closure</a:t>
            </a:r>
          </a:p>
        </p:txBody>
      </p:sp>
      <p:grpSp>
        <p:nvGrpSpPr>
          <p:cNvPr id="133" name="Group 132">
            <a:extLst>
              <a:ext uri="{FF2B5EF4-FFF2-40B4-BE49-F238E27FC236}">
                <a16:creationId xmlns:a16="http://schemas.microsoft.com/office/drawing/2014/main" id="{08530696-EBFF-4BF6-A031-A286F4A47D65}"/>
              </a:ext>
            </a:extLst>
          </p:cNvPr>
          <p:cNvGrpSpPr/>
          <p:nvPr/>
        </p:nvGrpSpPr>
        <p:grpSpPr>
          <a:xfrm>
            <a:off x="5439660" y="5765468"/>
            <a:ext cx="5678508" cy="668125"/>
            <a:chOff x="647403" y="5834035"/>
            <a:chExt cx="5678508" cy="668125"/>
          </a:xfrm>
        </p:grpSpPr>
        <p:sp>
          <p:nvSpPr>
            <p:cNvPr id="134" name="TextBox 133">
              <a:extLst>
                <a:ext uri="{FF2B5EF4-FFF2-40B4-BE49-F238E27FC236}">
                  <a16:creationId xmlns:a16="http://schemas.microsoft.com/office/drawing/2014/main" id="{5BBFB064-EDE0-4A2E-9ED4-C7A8232EA083}"/>
                </a:ext>
              </a:extLst>
            </p:cNvPr>
            <p:cNvSpPr txBox="1"/>
            <p:nvPr/>
          </p:nvSpPr>
          <p:spPr>
            <a:xfrm>
              <a:off x="1015155" y="6255939"/>
              <a:ext cx="4842163" cy="246221"/>
            </a:xfrm>
            <a:prstGeom prst="rect">
              <a:avLst/>
            </a:prstGeom>
            <a:noFill/>
          </p:spPr>
          <p:txBody>
            <a:bodyPr wrap="square" rtlCol="0">
              <a:spAutoFit/>
            </a:bodyPr>
            <a:lstStyle/>
            <a:p>
              <a:pPr algn="ctr"/>
              <a:r>
                <a:rPr lang="en-US" sz="1000" dirty="0">
                  <a:latin typeface="+mj-lt"/>
                  <a:ea typeface="Verdana" panose="020B0604030504040204" pitchFamily="34" charset="0"/>
                  <a:cs typeface="Verdana" panose="020B0604030504040204" pitchFamily="34" charset="0"/>
                </a:rPr>
                <a:t>Percentage of State Rural Hospitals Determined to be Vulnerable </a:t>
              </a:r>
            </a:p>
          </p:txBody>
        </p:sp>
        <p:grpSp>
          <p:nvGrpSpPr>
            <p:cNvPr id="135" name="Group 134">
              <a:extLst>
                <a:ext uri="{FF2B5EF4-FFF2-40B4-BE49-F238E27FC236}">
                  <a16:creationId xmlns:a16="http://schemas.microsoft.com/office/drawing/2014/main" id="{92695D6D-A1A7-4DB4-B3F8-BC32D8F91265}"/>
                </a:ext>
              </a:extLst>
            </p:cNvPr>
            <p:cNvGrpSpPr/>
            <p:nvPr/>
          </p:nvGrpSpPr>
          <p:grpSpPr>
            <a:xfrm>
              <a:off x="647403" y="5834035"/>
              <a:ext cx="5678508" cy="336537"/>
              <a:chOff x="647403" y="5834035"/>
              <a:chExt cx="5678508" cy="336537"/>
            </a:xfrm>
          </p:grpSpPr>
          <p:grpSp>
            <p:nvGrpSpPr>
              <p:cNvPr id="136" name="Group 135">
                <a:extLst>
                  <a:ext uri="{FF2B5EF4-FFF2-40B4-BE49-F238E27FC236}">
                    <a16:creationId xmlns:a16="http://schemas.microsoft.com/office/drawing/2014/main" id="{D3436F12-88D3-4182-9930-41566469462A}"/>
                  </a:ext>
                </a:extLst>
              </p:cNvPr>
              <p:cNvGrpSpPr/>
              <p:nvPr/>
            </p:nvGrpSpPr>
            <p:grpSpPr>
              <a:xfrm>
                <a:off x="1362252" y="6092304"/>
                <a:ext cx="2767796" cy="73890"/>
                <a:chOff x="1360264" y="6239165"/>
                <a:chExt cx="2767796" cy="73890"/>
              </a:xfrm>
            </p:grpSpPr>
            <p:sp>
              <p:nvSpPr>
                <p:cNvPr id="149" name="Rectangle 148">
                  <a:extLst>
                    <a:ext uri="{FF2B5EF4-FFF2-40B4-BE49-F238E27FC236}">
                      <a16:creationId xmlns:a16="http://schemas.microsoft.com/office/drawing/2014/main" id="{76F6D632-B942-414D-B79A-A3C9EE7B21C9}"/>
                    </a:ext>
                  </a:extLst>
                </p:cNvPr>
                <p:cNvSpPr/>
                <p:nvPr/>
              </p:nvSpPr>
              <p:spPr>
                <a:xfrm>
                  <a:off x="1360264" y="6239165"/>
                  <a:ext cx="485368" cy="73890"/>
                </a:xfrm>
                <a:prstGeom prst="rect">
                  <a:avLst/>
                </a:prstGeom>
                <a:solidFill>
                  <a:srgbClr val="FFD9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50" name="Rectangle 149">
                  <a:extLst>
                    <a:ext uri="{FF2B5EF4-FFF2-40B4-BE49-F238E27FC236}">
                      <a16:creationId xmlns:a16="http://schemas.microsoft.com/office/drawing/2014/main" id="{92BDBFB7-C49E-4252-B5B6-FBD9148DD2BC}"/>
                    </a:ext>
                  </a:extLst>
                </p:cNvPr>
                <p:cNvSpPr/>
                <p:nvPr/>
              </p:nvSpPr>
              <p:spPr>
                <a:xfrm>
                  <a:off x="2122867" y="6239165"/>
                  <a:ext cx="485368" cy="73890"/>
                </a:xfrm>
                <a:prstGeom prst="rect">
                  <a:avLst/>
                </a:prstGeom>
                <a:solidFill>
                  <a:srgbClr val="FF97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51" name="Rectangle 150">
                  <a:extLst>
                    <a:ext uri="{FF2B5EF4-FFF2-40B4-BE49-F238E27FC236}">
                      <a16:creationId xmlns:a16="http://schemas.microsoft.com/office/drawing/2014/main" id="{16E93AC7-2CEA-47A8-9F5B-8EB8661C9ACE}"/>
                    </a:ext>
                  </a:extLst>
                </p:cNvPr>
                <p:cNvSpPr/>
                <p:nvPr/>
              </p:nvSpPr>
              <p:spPr>
                <a:xfrm>
                  <a:off x="2885470" y="6239165"/>
                  <a:ext cx="485368" cy="73890"/>
                </a:xfrm>
                <a:prstGeom prst="rect">
                  <a:avLst/>
                </a:prstGeom>
                <a:solidFill>
                  <a:srgbClr val="FF57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52" name="Rectangle 151">
                  <a:extLst>
                    <a:ext uri="{FF2B5EF4-FFF2-40B4-BE49-F238E27FC236}">
                      <a16:creationId xmlns:a16="http://schemas.microsoft.com/office/drawing/2014/main" id="{AEED3A5C-B031-40B5-85A8-BB0DD6379AF6}"/>
                    </a:ext>
                  </a:extLst>
                </p:cNvPr>
                <p:cNvSpPr/>
                <p:nvPr/>
              </p:nvSpPr>
              <p:spPr>
                <a:xfrm>
                  <a:off x="3642692" y="6239165"/>
                  <a:ext cx="485368" cy="73890"/>
                </a:xfrm>
                <a:prstGeom prst="rect">
                  <a:avLst/>
                </a:prstGeom>
                <a:solidFill>
                  <a:srgbClr val="DE00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grpSp>
          <p:sp>
            <p:nvSpPr>
              <p:cNvPr id="137" name="Rectangle 136">
                <a:extLst>
                  <a:ext uri="{FF2B5EF4-FFF2-40B4-BE49-F238E27FC236}">
                    <a16:creationId xmlns:a16="http://schemas.microsoft.com/office/drawing/2014/main" id="{8DED6230-01EF-40BB-918C-4546CEC87CF3}"/>
                  </a:ext>
                </a:extLst>
              </p:cNvPr>
              <p:cNvSpPr/>
              <p:nvPr/>
            </p:nvSpPr>
            <p:spPr>
              <a:xfrm>
                <a:off x="4363977" y="6096682"/>
                <a:ext cx="485368" cy="73890"/>
              </a:xfrm>
              <a:prstGeom prst="rect">
                <a:avLst/>
              </a:prstGeom>
              <a:solidFill>
                <a:srgbClr val="9600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38" name="TextBox 137">
                <a:extLst>
                  <a:ext uri="{FF2B5EF4-FFF2-40B4-BE49-F238E27FC236}">
                    <a16:creationId xmlns:a16="http://schemas.microsoft.com/office/drawing/2014/main" id="{4A204DD7-5DEE-48BC-9835-254786B22078}"/>
                  </a:ext>
                </a:extLst>
              </p:cNvPr>
              <p:cNvSpPr txBox="1"/>
              <p:nvPr/>
            </p:nvSpPr>
            <p:spPr>
              <a:xfrm>
                <a:off x="1254929" y="5836800"/>
                <a:ext cx="746142" cy="246221"/>
              </a:xfrm>
              <a:prstGeom prst="rect">
                <a:avLst/>
              </a:prstGeom>
              <a:noFill/>
            </p:spPr>
            <p:txBody>
              <a:bodyPr wrap="square" rtlCol="0">
                <a:spAutoFit/>
              </a:bodyPr>
              <a:lstStyle/>
              <a:p>
                <a:pPr algn="ctr"/>
                <a:r>
                  <a:rPr lang="en-US" sz="1000" dirty="0">
                    <a:solidFill>
                      <a:prstClr val="black"/>
                    </a:solidFill>
                    <a:latin typeface="Segoe UI"/>
                    <a:ea typeface="Verdana" panose="020B0604030504040204" pitchFamily="34" charset="0"/>
                    <a:cs typeface="Verdana" panose="020B0604030504040204" pitchFamily="34" charset="0"/>
                  </a:rPr>
                  <a:t>1%—9%</a:t>
                </a:r>
              </a:p>
            </p:txBody>
          </p:sp>
          <p:sp>
            <p:nvSpPr>
              <p:cNvPr id="139" name="TextBox 138">
                <a:extLst>
                  <a:ext uri="{FF2B5EF4-FFF2-40B4-BE49-F238E27FC236}">
                    <a16:creationId xmlns:a16="http://schemas.microsoft.com/office/drawing/2014/main" id="{63D57017-E810-441A-8547-9CE7A6EE1FA9}"/>
                  </a:ext>
                </a:extLst>
              </p:cNvPr>
              <p:cNvSpPr txBox="1"/>
              <p:nvPr/>
            </p:nvSpPr>
            <p:spPr>
              <a:xfrm>
                <a:off x="1962792" y="5841230"/>
                <a:ext cx="823937" cy="246221"/>
              </a:xfrm>
              <a:prstGeom prst="rect">
                <a:avLst/>
              </a:prstGeom>
              <a:noFill/>
            </p:spPr>
            <p:txBody>
              <a:bodyPr wrap="square" rtlCol="0">
                <a:spAutoFit/>
              </a:bodyPr>
              <a:lstStyle/>
              <a:p>
                <a:pPr algn="ctr"/>
                <a:r>
                  <a:rPr lang="en-US" sz="1000" dirty="0">
                    <a:solidFill>
                      <a:prstClr val="black"/>
                    </a:solidFill>
                    <a:latin typeface="Segoe UI"/>
                    <a:ea typeface="Verdana" panose="020B0604030504040204" pitchFamily="34" charset="0"/>
                    <a:cs typeface="Verdana" panose="020B0604030504040204" pitchFamily="34" charset="0"/>
                  </a:rPr>
                  <a:t>10%—15%</a:t>
                </a:r>
              </a:p>
            </p:txBody>
          </p:sp>
          <p:sp>
            <p:nvSpPr>
              <p:cNvPr id="140" name="TextBox 139">
                <a:extLst>
                  <a:ext uri="{FF2B5EF4-FFF2-40B4-BE49-F238E27FC236}">
                    <a16:creationId xmlns:a16="http://schemas.microsoft.com/office/drawing/2014/main" id="{78359192-110A-4D8B-9371-A53BDEE590C2}"/>
                  </a:ext>
                </a:extLst>
              </p:cNvPr>
              <p:cNvSpPr txBox="1"/>
              <p:nvPr/>
            </p:nvSpPr>
            <p:spPr>
              <a:xfrm>
                <a:off x="2728261" y="5841230"/>
                <a:ext cx="804219" cy="246221"/>
              </a:xfrm>
              <a:prstGeom prst="rect">
                <a:avLst/>
              </a:prstGeom>
              <a:noFill/>
            </p:spPr>
            <p:txBody>
              <a:bodyPr wrap="square" rtlCol="0">
                <a:spAutoFit/>
              </a:bodyPr>
              <a:lstStyle/>
              <a:p>
                <a:pPr algn="ctr"/>
                <a:r>
                  <a:rPr lang="en-US" sz="1000" dirty="0">
                    <a:solidFill>
                      <a:prstClr val="black"/>
                    </a:solidFill>
                    <a:latin typeface="Segoe UI"/>
                    <a:ea typeface="Verdana" panose="020B0604030504040204" pitchFamily="34" charset="0"/>
                    <a:cs typeface="Verdana" panose="020B0604030504040204" pitchFamily="34" charset="0"/>
                  </a:rPr>
                  <a:t>16%—20%</a:t>
                </a:r>
              </a:p>
            </p:txBody>
          </p:sp>
          <p:sp>
            <p:nvSpPr>
              <p:cNvPr id="141" name="TextBox 140">
                <a:extLst>
                  <a:ext uri="{FF2B5EF4-FFF2-40B4-BE49-F238E27FC236}">
                    <a16:creationId xmlns:a16="http://schemas.microsoft.com/office/drawing/2014/main" id="{E5E634FB-E527-45CB-8C3B-6D7E3E4BA9A0}"/>
                  </a:ext>
                </a:extLst>
              </p:cNvPr>
              <p:cNvSpPr txBox="1"/>
              <p:nvPr/>
            </p:nvSpPr>
            <p:spPr>
              <a:xfrm>
                <a:off x="3487228" y="5845042"/>
                <a:ext cx="804219" cy="246221"/>
              </a:xfrm>
              <a:prstGeom prst="rect">
                <a:avLst/>
              </a:prstGeom>
              <a:noFill/>
            </p:spPr>
            <p:txBody>
              <a:bodyPr wrap="square" rtlCol="0">
                <a:spAutoFit/>
              </a:bodyPr>
              <a:lstStyle/>
              <a:p>
                <a:pPr algn="ctr"/>
                <a:r>
                  <a:rPr lang="en-US" sz="1000" dirty="0">
                    <a:solidFill>
                      <a:prstClr val="black"/>
                    </a:solidFill>
                    <a:latin typeface="Segoe UI"/>
                    <a:ea typeface="Verdana" panose="020B0604030504040204" pitchFamily="34" charset="0"/>
                    <a:cs typeface="Verdana" panose="020B0604030504040204" pitchFamily="34" charset="0"/>
                  </a:rPr>
                  <a:t>21%—25%</a:t>
                </a:r>
              </a:p>
            </p:txBody>
          </p:sp>
          <p:sp>
            <p:nvSpPr>
              <p:cNvPr id="142" name="Rectangle 141">
                <a:extLst>
                  <a:ext uri="{FF2B5EF4-FFF2-40B4-BE49-F238E27FC236}">
                    <a16:creationId xmlns:a16="http://schemas.microsoft.com/office/drawing/2014/main" id="{2DC1FB72-425F-4CE5-9683-5A5ED1BB35D1}"/>
                  </a:ext>
                </a:extLst>
              </p:cNvPr>
              <p:cNvSpPr/>
              <p:nvPr/>
            </p:nvSpPr>
            <p:spPr>
              <a:xfrm>
                <a:off x="647403" y="6091263"/>
                <a:ext cx="485368" cy="73890"/>
              </a:xfrm>
              <a:prstGeom prst="rect">
                <a:avLst/>
              </a:prstGeom>
              <a:solidFill>
                <a:srgbClr val="BFCAD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43" name="TextBox 142">
                <a:extLst>
                  <a:ext uri="{FF2B5EF4-FFF2-40B4-BE49-F238E27FC236}">
                    <a16:creationId xmlns:a16="http://schemas.microsoft.com/office/drawing/2014/main" id="{A394674E-3B37-41E0-8A1D-512E33F4547C}"/>
                  </a:ext>
                </a:extLst>
              </p:cNvPr>
              <p:cNvSpPr txBox="1"/>
              <p:nvPr/>
            </p:nvSpPr>
            <p:spPr>
              <a:xfrm>
                <a:off x="689815" y="5845983"/>
                <a:ext cx="485368"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0</a:t>
                </a:r>
              </a:p>
            </p:txBody>
          </p:sp>
          <p:sp>
            <p:nvSpPr>
              <p:cNvPr id="144" name="TextBox 143">
                <a:extLst>
                  <a:ext uri="{FF2B5EF4-FFF2-40B4-BE49-F238E27FC236}">
                    <a16:creationId xmlns:a16="http://schemas.microsoft.com/office/drawing/2014/main" id="{71F22537-9B71-4A2E-8A62-BDB58457F833}"/>
                  </a:ext>
                </a:extLst>
              </p:cNvPr>
              <p:cNvSpPr txBox="1"/>
              <p:nvPr/>
            </p:nvSpPr>
            <p:spPr>
              <a:xfrm>
                <a:off x="4204323" y="5834035"/>
                <a:ext cx="791102" cy="246221"/>
              </a:xfrm>
              <a:prstGeom prst="rect">
                <a:avLst/>
              </a:prstGeom>
              <a:noFill/>
            </p:spPr>
            <p:txBody>
              <a:bodyPr wrap="square" rtlCol="0">
                <a:spAutoFit/>
              </a:bodyPr>
              <a:lstStyle/>
              <a:p>
                <a:pPr algn="ctr"/>
                <a:r>
                  <a:rPr lang="en-US" sz="1000" dirty="0">
                    <a:solidFill>
                      <a:prstClr val="black"/>
                    </a:solidFill>
                    <a:latin typeface="Segoe UI"/>
                    <a:ea typeface="Verdana" panose="020B0604030504040204" pitchFamily="34" charset="0"/>
                    <a:cs typeface="Verdana" panose="020B0604030504040204" pitchFamily="34" charset="0"/>
                  </a:rPr>
                  <a:t>26%—30%</a:t>
                </a:r>
              </a:p>
            </p:txBody>
          </p:sp>
          <p:sp>
            <p:nvSpPr>
              <p:cNvPr id="145" name="Rectangle 144">
                <a:extLst>
                  <a:ext uri="{FF2B5EF4-FFF2-40B4-BE49-F238E27FC236}">
                    <a16:creationId xmlns:a16="http://schemas.microsoft.com/office/drawing/2014/main" id="{CF6BE70D-834B-4AEA-9CE8-8FEFAFCBFC55}"/>
                  </a:ext>
                </a:extLst>
              </p:cNvPr>
              <p:cNvSpPr/>
              <p:nvPr/>
            </p:nvSpPr>
            <p:spPr>
              <a:xfrm>
                <a:off x="5016456" y="6088044"/>
                <a:ext cx="485368" cy="73890"/>
              </a:xfrm>
              <a:prstGeom prst="rect">
                <a:avLst/>
              </a:prstGeom>
              <a:solidFill>
                <a:srgbClr val="6400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46" name="TextBox 145">
                <a:extLst>
                  <a:ext uri="{FF2B5EF4-FFF2-40B4-BE49-F238E27FC236}">
                    <a16:creationId xmlns:a16="http://schemas.microsoft.com/office/drawing/2014/main" id="{95645E6F-07BE-46D8-ADBF-A334D342BA86}"/>
                  </a:ext>
                </a:extLst>
              </p:cNvPr>
              <p:cNvSpPr txBox="1"/>
              <p:nvPr/>
            </p:nvSpPr>
            <p:spPr>
              <a:xfrm>
                <a:off x="4869566" y="5834532"/>
                <a:ext cx="791102" cy="246221"/>
              </a:xfrm>
              <a:prstGeom prst="rect">
                <a:avLst/>
              </a:prstGeom>
              <a:noFill/>
            </p:spPr>
            <p:txBody>
              <a:bodyPr wrap="square" rtlCol="0">
                <a:spAutoFit/>
              </a:bodyPr>
              <a:lstStyle/>
              <a:p>
                <a:pPr algn="ctr"/>
                <a:r>
                  <a:rPr lang="en-US" sz="1000" dirty="0">
                    <a:solidFill>
                      <a:prstClr val="black"/>
                    </a:solidFill>
                    <a:latin typeface="Segoe UI"/>
                    <a:ea typeface="Verdana" panose="020B0604030504040204" pitchFamily="34" charset="0"/>
                    <a:cs typeface="Verdana" panose="020B0604030504040204" pitchFamily="34" charset="0"/>
                  </a:rPr>
                  <a:t>31%—40%</a:t>
                </a:r>
              </a:p>
            </p:txBody>
          </p:sp>
          <p:sp>
            <p:nvSpPr>
              <p:cNvPr id="147" name="Rectangle 146">
                <a:extLst>
                  <a:ext uri="{FF2B5EF4-FFF2-40B4-BE49-F238E27FC236}">
                    <a16:creationId xmlns:a16="http://schemas.microsoft.com/office/drawing/2014/main" id="{05A077A8-5938-451E-826A-52EDBDB1563E}"/>
                  </a:ext>
                </a:extLst>
              </p:cNvPr>
              <p:cNvSpPr/>
              <p:nvPr/>
            </p:nvSpPr>
            <p:spPr>
              <a:xfrm>
                <a:off x="5680842" y="6091263"/>
                <a:ext cx="485368" cy="73890"/>
              </a:xfrm>
              <a:prstGeom prst="rect">
                <a:avLst/>
              </a:prstGeom>
              <a:solidFill>
                <a:srgbClr val="4200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48" name="TextBox 147">
                <a:extLst>
                  <a:ext uri="{FF2B5EF4-FFF2-40B4-BE49-F238E27FC236}">
                    <a16:creationId xmlns:a16="http://schemas.microsoft.com/office/drawing/2014/main" id="{608B98BF-8EBD-4B4D-9B7D-93D16F2F9F7A}"/>
                  </a:ext>
                </a:extLst>
              </p:cNvPr>
              <p:cNvSpPr txBox="1"/>
              <p:nvPr/>
            </p:nvSpPr>
            <p:spPr>
              <a:xfrm>
                <a:off x="5548383" y="5841229"/>
                <a:ext cx="777528" cy="246221"/>
              </a:xfrm>
              <a:prstGeom prst="rect">
                <a:avLst/>
              </a:prstGeom>
              <a:noFill/>
            </p:spPr>
            <p:txBody>
              <a:bodyPr wrap="square" rtlCol="0">
                <a:spAutoFit/>
              </a:bodyPr>
              <a:lstStyle/>
              <a:p>
                <a:pPr algn="ctr"/>
                <a:r>
                  <a:rPr lang="en-US" sz="1000" dirty="0">
                    <a:solidFill>
                      <a:prstClr val="black"/>
                    </a:solidFill>
                    <a:latin typeface="Segoe UI"/>
                    <a:ea typeface="Verdana" panose="020B0604030504040204" pitchFamily="34" charset="0"/>
                    <a:cs typeface="Verdana" panose="020B0604030504040204" pitchFamily="34" charset="0"/>
                  </a:rPr>
                  <a:t>41%+</a:t>
                </a:r>
              </a:p>
            </p:txBody>
          </p:sp>
        </p:grpSp>
      </p:grpSp>
      <p:sp>
        <p:nvSpPr>
          <p:cNvPr id="161" name="TextBox 160">
            <a:extLst>
              <a:ext uri="{FF2B5EF4-FFF2-40B4-BE49-F238E27FC236}">
                <a16:creationId xmlns:a16="http://schemas.microsoft.com/office/drawing/2014/main" id="{B87EECB4-EAB9-430A-93CC-E58663F64CA9}"/>
              </a:ext>
            </a:extLst>
          </p:cNvPr>
          <p:cNvSpPr txBox="1"/>
          <p:nvPr/>
        </p:nvSpPr>
        <p:spPr>
          <a:xfrm>
            <a:off x="497242" y="1940985"/>
            <a:ext cx="3383925" cy="621452"/>
          </a:xfrm>
          <a:prstGeom prst="rect">
            <a:avLst/>
          </a:prstGeom>
          <a:noFill/>
        </p:spPr>
        <p:txBody>
          <a:bodyPr wrap="square" rtlCol="0">
            <a:spAutoFit/>
          </a:bodyPr>
          <a:lstStyle/>
          <a:p>
            <a:pPr algn="l">
              <a:lnSpc>
                <a:spcPct val="112000"/>
              </a:lnSpc>
              <a:buClr>
                <a:schemeClr val="accent1"/>
              </a:buClr>
              <a:buSzPct val="70000"/>
            </a:pPr>
            <a:r>
              <a:rPr lang="en-US" sz="1600" b="1" dirty="0">
                <a:solidFill>
                  <a:srgbClr val="C00000"/>
                </a:solidFill>
                <a:latin typeface="+mj-lt"/>
                <a:ea typeface="Verdana" panose="020B0604030504040204" pitchFamily="34" charset="0"/>
                <a:cs typeface="Segoe UI" panose="020B0502040204020203" pitchFamily="34" charset="0"/>
              </a:rPr>
              <a:t>418</a:t>
            </a:r>
            <a:r>
              <a:rPr lang="en-US" sz="1600" b="1" dirty="0">
                <a:solidFill>
                  <a:srgbClr val="00294C"/>
                </a:solidFill>
                <a:latin typeface="+mj-lt"/>
                <a:ea typeface="Verdana" panose="020B0604030504040204" pitchFamily="34" charset="0"/>
                <a:cs typeface="Segoe UI" panose="020B0502040204020203" pitchFamily="34" charset="0"/>
              </a:rPr>
              <a:t> </a:t>
            </a:r>
            <a:r>
              <a:rPr lang="en-US" sz="1600" dirty="0">
                <a:solidFill>
                  <a:srgbClr val="00294C"/>
                </a:solidFill>
                <a:latin typeface="+mj-lt"/>
                <a:ea typeface="Verdana" panose="020B0604030504040204" pitchFamily="34" charset="0"/>
                <a:cs typeface="Segoe UI" panose="020B0502040204020203" pitchFamily="34" charset="0"/>
              </a:rPr>
              <a:t>rural hospitals across America are </a:t>
            </a:r>
            <a:r>
              <a:rPr lang="en-US" sz="1600" b="1" dirty="0">
                <a:solidFill>
                  <a:srgbClr val="C00000"/>
                </a:solidFill>
                <a:latin typeface="+mj-lt"/>
                <a:ea typeface="Verdana" panose="020B0604030504040204" pitchFamily="34" charset="0"/>
                <a:cs typeface="Segoe UI" panose="020B0502040204020203" pitchFamily="34" charset="0"/>
              </a:rPr>
              <a:t>vulnerable to closure</a:t>
            </a:r>
            <a:r>
              <a:rPr lang="en-US" sz="1600" dirty="0">
                <a:solidFill>
                  <a:srgbClr val="00294C"/>
                </a:solidFill>
                <a:latin typeface="+mj-lt"/>
                <a:ea typeface="Verdana" panose="020B0604030504040204" pitchFamily="34" charset="0"/>
                <a:cs typeface="Segoe UI" panose="020B0502040204020203" pitchFamily="34" charset="0"/>
              </a:rPr>
              <a:t>. </a:t>
            </a:r>
          </a:p>
        </p:txBody>
      </p:sp>
      <p:sp>
        <p:nvSpPr>
          <p:cNvPr id="169" name="TextBox 168">
            <a:extLst>
              <a:ext uri="{FF2B5EF4-FFF2-40B4-BE49-F238E27FC236}">
                <a16:creationId xmlns:a16="http://schemas.microsoft.com/office/drawing/2014/main" id="{8A2E8FA8-A7E3-48A2-811F-17CD0DCDC568}"/>
              </a:ext>
            </a:extLst>
          </p:cNvPr>
          <p:cNvSpPr txBox="1"/>
          <p:nvPr/>
        </p:nvSpPr>
        <p:spPr>
          <a:xfrm>
            <a:off x="430341" y="3236016"/>
            <a:ext cx="3669136" cy="897233"/>
          </a:xfrm>
          <a:prstGeom prst="rect">
            <a:avLst/>
          </a:prstGeom>
          <a:noFill/>
        </p:spPr>
        <p:txBody>
          <a:bodyPr wrap="square" rtlCol="0">
            <a:spAutoFit/>
          </a:bodyPr>
          <a:lstStyle/>
          <a:p>
            <a:pPr algn="l">
              <a:lnSpc>
                <a:spcPct val="112000"/>
              </a:lnSpc>
              <a:buClr>
                <a:schemeClr val="accent1"/>
              </a:buClr>
              <a:buSzPct val="70000"/>
            </a:pPr>
            <a:r>
              <a:rPr lang="en-US" sz="1600" dirty="0">
                <a:solidFill>
                  <a:srgbClr val="00294C"/>
                </a:solidFill>
                <a:latin typeface="+mj-lt"/>
                <a:ea typeface="Verdana" panose="020B0604030504040204" pitchFamily="34" charset="0"/>
                <a:cs typeface="Segoe UI" panose="020B0502040204020203" pitchFamily="34" charset="0"/>
              </a:rPr>
              <a:t>Across </a:t>
            </a:r>
            <a:r>
              <a:rPr lang="en-US" sz="1600" b="1" dirty="0">
                <a:solidFill>
                  <a:srgbClr val="00294C"/>
                </a:solidFill>
                <a:latin typeface="+mj-lt"/>
                <a:ea typeface="Verdana" panose="020B0604030504040204" pitchFamily="34" charset="0"/>
                <a:cs typeface="Segoe UI" panose="020B0502040204020203" pitchFamily="34" charset="0"/>
              </a:rPr>
              <a:t>16 states</a:t>
            </a:r>
            <a:r>
              <a:rPr lang="en-US" sz="1600" dirty="0">
                <a:solidFill>
                  <a:srgbClr val="00294C"/>
                </a:solidFill>
                <a:latin typeface="+mj-lt"/>
                <a:ea typeface="Verdana" panose="020B0604030504040204" pitchFamily="34" charset="0"/>
                <a:cs typeface="Segoe UI" panose="020B0502040204020203" pitchFamily="34" charset="0"/>
              </a:rPr>
              <a:t>, the </a:t>
            </a:r>
            <a:r>
              <a:rPr lang="en-US" sz="1600" b="1" dirty="0">
                <a:solidFill>
                  <a:srgbClr val="00294C"/>
                </a:solidFill>
                <a:latin typeface="+mj-lt"/>
                <a:ea typeface="Verdana" panose="020B0604030504040204" pitchFamily="34" charset="0"/>
                <a:cs typeface="Segoe UI" panose="020B0502040204020203" pitchFamily="34" charset="0"/>
              </a:rPr>
              <a:t>percentage</a:t>
            </a:r>
            <a:r>
              <a:rPr lang="en-US" sz="1600" dirty="0">
                <a:solidFill>
                  <a:srgbClr val="00294C"/>
                </a:solidFill>
                <a:latin typeface="+mj-lt"/>
                <a:ea typeface="Verdana" panose="020B0604030504040204" pitchFamily="34" charset="0"/>
                <a:cs typeface="Segoe UI" panose="020B0502040204020203" pitchFamily="34" charset="0"/>
              </a:rPr>
              <a:t> of rural hospitals </a:t>
            </a:r>
            <a:r>
              <a:rPr lang="en-US" sz="1600" b="1" dirty="0">
                <a:solidFill>
                  <a:srgbClr val="00294C"/>
                </a:solidFill>
                <a:latin typeface="+mj-lt"/>
                <a:ea typeface="Verdana" panose="020B0604030504040204" pitchFamily="34" charset="0"/>
                <a:cs typeface="Segoe UI" panose="020B0502040204020203" pitchFamily="34" charset="0"/>
              </a:rPr>
              <a:t>vulnerable to closure is 26% or higher</a:t>
            </a:r>
            <a:r>
              <a:rPr lang="en-US" sz="1600" dirty="0">
                <a:solidFill>
                  <a:srgbClr val="00294C"/>
                </a:solidFill>
                <a:latin typeface="+mj-lt"/>
                <a:ea typeface="Verdana" panose="020B0604030504040204" pitchFamily="34" charset="0"/>
                <a:cs typeface="Segoe UI" panose="020B0502040204020203" pitchFamily="34" charset="0"/>
              </a:rPr>
              <a:t>. </a:t>
            </a:r>
          </a:p>
        </p:txBody>
      </p:sp>
      <p:sp>
        <p:nvSpPr>
          <p:cNvPr id="170" name="TextBox 169">
            <a:extLst>
              <a:ext uri="{FF2B5EF4-FFF2-40B4-BE49-F238E27FC236}">
                <a16:creationId xmlns:a16="http://schemas.microsoft.com/office/drawing/2014/main" id="{E7B58E1F-2975-4DB9-A5B4-5ED1515C322D}"/>
              </a:ext>
            </a:extLst>
          </p:cNvPr>
          <p:cNvSpPr txBox="1"/>
          <p:nvPr/>
        </p:nvSpPr>
        <p:spPr>
          <a:xfrm>
            <a:off x="479173" y="4745806"/>
            <a:ext cx="3413612" cy="897233"/>
          </a:xfrm>
          <a:prstGeom prst="rect">
            <a:avLst/>
          </a:prstGeom>
          <a:noFill/>
        </p:spPr>
        <p:txBody>
          <a:bodyPr wrap="square" rtlCol="0">
            <a:spAutoFit/>
          </a:bodyPr>
          <a:lstStyle/>
          <a:p>
            <a:pPr algn="l">
              <a:lnSpc>
                <a:spcPct val="112000"/>
              </a:lnSpc>
              <a:buClr>
                <a:schemeClr val="accent1"/>
              </a:buClr>
              <a:buSzPct val="70000"/>
            </a:pPr>
            <a:r>
              <a:rPr lang="en-US" sz="1600" b="1" dirty="0">
                <a:solidFill>
                  <a:srgbClr val="00294C"/>
                </a:solidFill>
                <a:latin typeface="+mj-lt"/>
                <a:ea typeface="Verdana" panose="020B0604030504040204" pitchFamily="34" charset="0"/>
                <a:cs typeface="Segoe UI" panose="020B0502040204020203" pitchFamily="34" charset="0"/>
              </a:rPr>
              <a:t>Non-expansion states </a:t>
            </a:r>
            <a:r>
              <a:rPr lang="en-US" sz="1600" dirty="0">
                <a:solidFill>
                  <a:srgbClr val="00294C"/>
                </a:solidFill>
                <a:latin typeface="+mj-lt"/>
                <a:ea typeface="Verdana" panose="020B0604030504040204" pitchFamily="34" charset="0"/>
                <a:cs typeface="Segoe UI" panose="020B0502040204020203" pitchFamily="34" charset="0"/>
              </a:rPr>
              <a:t>are home to </a:t>
            </a:r>
            <a:r>
              <a:rPr lang="en-US" sz="1600" b="1" dirty="0">
                <a:solidFill>
                  <a:srgbClr val="00294C"/>
                </a:solidFill>
                <a:latin typeface="+mj-lt"/>
                <a:ea typeface="Verdana" panose="020B0604030504040204" pitchFamily="34" charset="0"/>
                <a:cs typeface="Segoe UI" panose="020B0502040204020203" pitchFamily="34" charset="0"/>
              </a:rPr>
              <a:t>nearly 200 </a:t>
            </a:r>
            <a:r>
              <a:rPr lang="en-US" sz="1600" dirty="0">
                <a:solidFill>
                  <a:srgbClr val="00294C"/>
                </a:solidFill>
                <a:latin typeface="+mj-lt"/>
                <a:ea typeface="Verdana" panose="020B0604030504040204" pitchFamily="34" charset="0"/>
                <a:cs typeface="Segoe UI" panose="020B0502040204020203" pitchFamily="34" charset="0"/>
              </a:rPr>
              <a:t>vulnerable rural hospitals. </a:t>
            </a:r>
          </a:p>
        </p:txBody>
      </p:sp>
      <p:cxnSp>
        <p:nvCxnSpPr>
          <p:cNvPr id="167" name="Straight Connector 166">
            <a:extLst>
              <a:ext uri="{FF2B5EF4-FFF2-40B4-BE49-F238E27FC236}">
                <a16:creationId xmlns:a16="http://schemas.microsoft.com/office/drawing/2014/main" id="{C394CECA-62E6-4693-86B7-B01AF4DEBAF4}"/>
              </a:ext>
            </a:extLst>
          </p:cNvPr>
          <p:cNvCxnSpPr/>
          <p:nvPr/>
        </p:nvCxnSpPr>
        <p:spPr>
          <a:xfrm>
            <a:off x="834657" y="2904946"/>
            <a:ext cx="2605548" cy="0"/>
          </a:xfrm>
          <a:prstGeom prst="line">
            <a:avLst/>
          </a:prstGeom>
          <a:ln/>
        </p:spPr>
        <p:style>
          <a:lnRef idx="1">
            <a:schemeClr val="accent3"/>
          </a:lnRef>
          <a:fillRef idx="0">
            <a:schemeClr val="accent3"/>
          </a:fillRef>
          <a:effectRef idx="0">
            <a:schemeClr val="accent3"/>
          </a:effectRef>
          <a:fontRef idx="minor">
            <a:schemeClr val="tx1"/>
          </a:fontRef>
        </p:style>
      </p:cxnSp>
      <p:cxnSp>
        <p:nvCxnSpPr>
          <p:cNvPr id="168" name="Straight Connector 167">
            <a:extLst>
              <a:ext uri="{FF2B5EF4-FFF2-40B4-BE49-F238E27FC236}">
                <a16:creationId xmlns:a16="http://schemas.microsoft.com/office/drawing/2014/main" id="{468B8B37-48E4-4001-B2D9-C4C1F14DBA8F}"/>
              </a:ext>
            </a:extLst>
          </p:cNvPr>
          <p:cNvCxnSpPr/>
          <p:nvPr/>
        </p:nvCxnSpPr>
        <p:spPr>
          <a:xfrm>
            <a:off x="834657" y="4492855"/>
            <a:ext cx="2605548" cy="0"/>
          </a:xfrm>
          <a:prstGeom prst="line">
            <a:avLst/>
          </a:prstGeom>
          <a:ln/>
        </p:spPr>
        <p:style>
          <a:lnRef idx="1">
            <a:schemeClr val="accent3"/>
          </a:lnRef>
          <a:fillRef idx="0">
            <a:schemeClr val="accent3"/>
          </a:fillRef>
          <a:effectRef idx="0">
            <a:schemeClr val="accent3"/>
          </a:effectRef>
          <a:fontRef idx="minor">
            <a:schemeClr val="tx1"/>
          </a:fontRef>
        </p:style>
      </p:cxnSp>
      <p:grpSp>
        <p:nvGrpSpPr>
          <p:cNvPr id="224" name="State Shapes">
            <a:extLst>
              <a:ext uri="{FF2B5EF4-FFF2-40B4-BE49-F238E27FC236}">
                <a16:creationId xmlns:a16="http://schemas.microsoft.com/office/drawing/2014/main" id="{161D77B2-222F-4CD1-9A9C-B62046C3B585}"/>
              </a:ext>
            </a:extLst>
          </p:cNvPr>
          <p:cNvGrpSpPr/>
          <p:nvPr/>
        </p:nvGrpSpPr>
        <p:grpSpPr>
          <a:xfrm>
            <a:off x="4094548" y="1454100"/>
            <a:ext cx="7460222" cy="4266691"/>
            <a:chOff x="609598" y="1367242"/>
            <a:chExt cx="7460222" cy="4266691"/>
          </a:xfrm>
        </p:grpSpPr>
        <p:sp>
          <p:nvSpPr>
            <p:cNvPr id="283" name="Freeform 43">
              <a:extLst>
                <a:ext uri="{FF2B5EF4-FFF2-40B4-BE49-F238E27FC236}">
                  <a16:creationId xmlns:a16="http://schemas.microsoft.com/office/drawing/2014/main" id="{6D7DABA7-4756-459C-A6A9-5F6553B4A19C}"/>
                </a:ext>
              </a:extLst>
            </p:cNvPr>
            <p:cNvSpPr>
              <a:spLocks/>
            </p:cNvSpPr>
            <p:nvPr/>
          </p:nvSpPr>
          <p:spPr bwMode="auto">
            <a:xfrm>
              <a:off x="7584483" y="2390146"/>
              <a:ext cx="191537" cy="160488"/>
            </a:xfrm>
            <a:custGeom>
              <a:avLst/>
              <a:gdLst>
                <a:gd name="T0" fmla="*/ 11 w 622"/>
                <a:gd name="T1" fmla="*/ 61 h 519"/>
                <a:gd name="T2" fmla="*/ 28 w 622"/>
                <a:gd name="T3" fmla="*/ 46 h 519"/>
                <a:gd name="T4" fmla="*/ 53 w 622"/>
                <a:gd name="T5" fmla="*/ 36 h 519"/>
                <a:gd name="T6" fmla="*/ 83 w 622"/>
                <a:gd name="T7" fmla="*/ 19 h 519"/>
                <a:gd name="T8" fmla="*/ 101 w 622"/>
                <a:gd name="T9" fmla="*/ 6 h 519"/>
                <a:gd name="T10" fmla="*/ 115 w 622"/>
                <a:gd name="T11" fmla="*/ 0 h 519"/>
                <a:gd name="T12" fmla="*/ 118 w 622"/>
                <a:gd name="T13" fmla="*/ 6 h 519"/>
                <a:gd name="T14" fmla="*/ 111 w 622"/>
                <a:gd name="T15" fmla="*/ 16 h 519"/>
                <a:gd name="T16" fmla="*/ 85 w 622"/>
                <a:gd name="T17" fmla="*/ 39 h 519"/>
                <a:gd name="T18" fmla="*/ 50 w 622"/>
                <a:gd name="T19" fmla="*/ 68 h 519"/>
                <a:gd name="T20" fmla="*/ 27 w 622"/>
                <a:gd name="T21" fmla="*/ 84 h 519"/>
                <a:gd name="T22" fmla="*/ 17 w 622"/>
                <a:gd name="T23" fmla="*/ 94 h 519"/>
                <a:gd name="T24" fmla="*/ 2 w 622"/>
                <a:gd name="T25" fmla="*/ 99 h 519"/>
                <a:gd name="T26" fmla="*/ 0 w 622"/>
                <a:gd name="T27" fmla="*/ 84 h 519"/>
                <a:gd name="T28" fmla="*/ 11 w 622"/>
                <a:gd name="T29" fmla="*/ 61 h 5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2" h="519">
                  <a:moveTo>
                    <a:pt x="60" y="322"/>
                  </a:moveTo>
                  <a:lnTo>
                    <a:pt x="147" y="240"/>
                  </a:lnTo>
                  <a:lnTo>
                    <a:pt x="281" y="187"/>
                  </a:lnTo>
                  <a:lnTo>
                    <a:pt x="435" y="101"/>
                  </a:lnTo>
                  <a:lnTo>
                    <a:pt x="531" y="34"/>
                  </a:lnTo>
                  <a:lnTo>
                    <a:pt x="608" y="0"/>
                  </a:lnTo>
                  <a:lnTo>
                    <a:pt x="622" y="34"/>
                  </a:lnTo>
                  <a:lnTo>
                    <a:pt x="584" y="82"/>
                  </a:lnTo>
                  <a:lnTo>
                    <a:pt x="450" y="202"/>
                  </a:lnTo>
                  <a:lnTo>
                    <a:pt x="262" y="355"/>
                  </a:lnTo>
                  <a:lnTo>
                    <a:pt x="142" y="442"/>
                  </a:lnTo>
                  <a:lnTo>
                    <a:pt x="89" y="495"/>
                  </a:lnTo>
                  <a:lnTo>
                    <a:pt x="8" y="519"/>
                  </a:lnTo>
                  <a:lnTo>
                    <a:pt x="0" y="442"/>
                  </a:lnTo>
                  <a:lnTo>
                    <a:pt x="60" y="322"/>
                  </a:lnTo>
                  <a:close/>
                </a:path>
              </a:pathLst>
            </a:custGeom>
            <a:solidFill>
              <a:srgbClr val="FF0005"/>
            </a:solidFill>
            <a:ln w="6350" cmpd="sng">
              <a:solidFill>
                <a:schemeClr val="bg1"/>
              </a:solidFill>
              <a:prstDash val="solid"/>
              <a:round/>
              <a:headEnd/>
              <a:tailEnd/>
            </a:ln>
            <a:effectLst/>
          </p:spPr>
          <p:txBody>
            <a:bodyPr/>
            <a:lstStyle/>
            <a:p>
              <a:pPr fontAlgn="base">
                <a:spcBef>
                  <a:spcPct val="0"/>
                </a:spcBef>
                <a:spcAft>
                  <a:spcPct val="0"/>
                </a:spcAft>
              </a:pPr>
              <a:endParaRPr lang="zh-CN" altLang="en-US" b="1" kern="0">
                <a:solidFill>
                  <a:srgbClr val="FF0005"/>
                </a:solidFill>
                <a:latin typeface="Arial" charset="0"/>
              </a:endParaRPr>
            </a:p>
          </p:txBody>
        </p:sp>
        <p:sp>
          <p:nvSpPr>
            <p:cNvPr id="284" name="Freeform 45">
              <a:extLst>
                <a:ext uri="{FF2B5EF4-FFF2-40B4-BE49-F238E27FC236}">
                  <a16:creationId xmlns:a16="http://schemas.microsoft.com/office/drawing/2014/main" id="{CF888AF8-DC04-48B3-A009-A436CDF2D5B5}"/>
                </a:ext>
              </a:extLst>
            </p:cNvPr>
            <p:cNvSpPr>
              <a:spLocks/>
            </p:cNvSpPr>
            <p:nvPr/>
          </p:nvSpPr>
          <p:spPr bwMode="auto">
            <a:xfrm>
              <a:off x="5581456" y="1965422"/>
              <a:ext cx="672004" cy="311248"/>
            </a:xfrm>
            <a:custGeom>
              <a:avLst/>
              <a:gdLst>
                <a:gd name="T0" fmla="*/ 0 w 2182"/>
                <a:gd name="T1" fmla="*/ 106 h 1010"/>
                <a:gd name="T2" fmla="*/ 28 w 2182"/>
                <a:gd name="T3" fmla="*/ 92 h 1010"/>
                <a:gd name="T4" fmla="*/ 59 w 2182"/>
                <a:gd name="T5" fmla="*/ 67 h 1010"/>
                <a:gd name="T6" fmla="*/ 77 w 2182"/>
                <a:gd name="T7" fmla="*/ 47 h 1010"/>
                <a:gd name="T8" fmla="*/ 104 w 2182"/>
                <a:gd name="T9" fmla="*/ 17 h 1010"/>
                <a:gd name="T10" fmla="*/ 147 w 2182"/>
                <a:gd name="T11" fmla="*/ 0 h 1010"/>
                <a:gd name="T12" fmla="*/ 148 w 2182"/>
                <a:gd name="T13" fmla="*/ 20 h 1010"/>
                <a:gd name="T14" fmla="*/ 132 w 2182"/>
                <a:gd name="T15" fmla="*/ 30 h 1010"/>
                <a:gd name="T16" fmla="*/ 113 w 2182"/>
                <a:gd name="T17" fmla="*/ 39 h 1010"/>
                <a:gd name="T18" fmla="*/ 120 w 2182"/>
                <a:gd name="T19" fmla="*/ 52 h 1010"/>
                <a:gd name="T20" fmla="*/ 117 w 2182"/>
                <a:gd name="T21" fmla="*/ 55 h 1010"/>
                <a:gd name="T22" fmla="*/ 121 w 2182"/>
                <a:gd name="T23" fmla="*/ 69 h 1010"/>
                <a:gd name="T24" fmla="*/ 141 w 2182"/>
                <a:gd name="T25" fmla="*/ 57 h 1010"/>
                <a:gd name="T26" fmla="*/ 160 w 2182"/>
                <a:gd name="T27" fmla="*/ 56 h 1010"/>
                <a:gd name="T28" fmla="*/ 190 w 2182"/>
                <a:gd name="T29" fmla="*/ 78 h 1010"/>
                <a:gd name="T30" fmla="*/ 213 w 2182"/>
                <a:gd name="T31" fmla="*/ 77 h 1010"/>
                <a:gd name="T32" fmla="*/ 233 w 2182"/>
                <a:gd name="T33" fmla="*/ 86 h 1010"/>
                <a:gd name="T34" fmla="*/ 249 w 2182"/>
                <a:gd name="T35" fmla="*/ 78 h 1010"/>
                <a:gd name="T36" fmla="*/ 259 w 2182"/>
                <a:gd name="T37" fmla="*/ 69 h 1010"/>
                <a:gd name="T38" fmla="*/ 282 w 2182"/>
                <a:gd name="T39" fmla="*/ 53 h 1010"/>
                <a:gd name="T40" fmla="*/ 311 w 2182"/>
                <a:gd name="T41" fmla="*/ 43 h 1010"/>
                <a:gd name="T42" fmla="*/ 327 w 2182"/>
                <a:gd name="T43" fmla="*/ 36 h 1010"/>
                <a:gd name="T44" fmla="*/ 335 w 2182"/>
                <a:gd name="T45" fmla="*/ 53 h 1010"/>
                <a:gd name="T46" fmla="*/ 345 w 2182"/>
                <a:gd name="T47" fmla="*/ 69 h 1010"/>
                <a:gd name="T48" fmla="*/ 366 w 2182"/>
                <a:gd name="T49" fmla="*/ 68 h 1010"/>
                <a:gd name="T50" fmla="*/ 382 w 2182"/>
                <a:gd name="T51" fmla="*/ 59 h 1010"/>
                <a:gd name="T52" fmla="*/ 406 w 2182"/>
                <a:gd name="T53" fmla="*/ 62 h 1010"/>
                <a:gd name="T54" fmla="*/ 414 w 2182"/>
                <a:gd name="T55" fmla="*/ 78 h 1010"/>
                <a:gd name="T56" fmla="*/ 414 w 2182"/>
                <a:gd name="T57" fmla="*/ 95 h 1010"/>
                <a:gd name="T58" fmla="*/ 404 w 2182"/>
                <a:gd name="T59" fmla="*/ 88 h 1010"/>
                <a:gd name="T60" fmla="*/ 388 w 2182"/>
                <a:gd name="T61" fmla="*/ 86 h 1010"/>
                <a:gd name="T62" fmla="*/ 371 w 2182"/>
                <a:gd name="T63" fmla="*/ 103 h 1010"/>
                <a:gd name="T64" fmla="*/ 354 w 2182"/>
                <a:gd name="T65" fmla="*/ 95 h 1010"/>
                <a:gd name="T66" fmla="*/ 338 w 2182"/>
                <a:gd name="T67" fmla="*/ 92 h 1010"/>
                <a:gd name="T68" fmla="*/ 319 w 2182"/>
                <a:gd name="T69" fmla="*/ 95 h 1010"/>
                <a:gd name="T70" fmla="*/ 302 w 2182"/>
                <a:gd name="T71" fmla="*/ 112 h 1010"/>
                <a:gd name="T72" fmla="*/ 268 w 2182"/>
                <a:gd name="T73" fmla="*/ 138 h 1010"/>
                <a:gd name="T74" fmla="*/ 259 w 2182"/>
                <a:gd name="T75" fmla="*/ 155 h 1010"/>
                <a:gd name="T76" fmla="*/ 250 w 2182"/>
                <a:gd name="T77" fmla="*/ 155 h 1010"/>
                <a:gd name="T78" fmla="*/ 250 w 2182"/>
                <a:gd name="T79" fmla="*/ 138 h 1010"/>
                <a:gd name="T80" fmla="*/ 234 w 2182"/>
                <a:gd name="T81" fmla="*/ 133 h 1010"/>
                <a:gd name="T82" fmla="*/ 224 w 2182"/>
                <a:gd name="T83" fmla="*/ 135 h 1010"/>
                <a:gd name="T84" fmla="*/ 220 w 2182"/>
                <a:gd name="T85" fmla="*/ 145 h 1010"/>
                <a:gd name="T86" fmla="*/ 213 w 2182"/>
                <a:gd name="T87" fmla="*/ 174 h 1010"/>
                <a:gd name="T88" fmla="*/ 194 w 2182"/>
                <a:gd name="T89" fmla="*/ 192 h 1010"/>
                <a:gd name="T90" fmla="*/ 176 w 2182"/>
                <a:gd name="T91" fmla="*/ 174 h 1010"/>
                <a:gd name="T92" fmla="*/ 175 w 2182"/>
                <a:gd name="T93" fmla="*/ 162 h 1010"/>
                <a:gd name="T94" fmla="*/ 147 w 2182"/>
                <a:gd name="T95" fmla="*/ 140 h 1010"/>
                <a:gd name="T96" fmla="*/ 113 w 2182"/>
                <a:gd name="T97" fmla="*/ 146 h 1010"/>
                <a:gd name="T98" fmla="*/ 108 w 2182"/>
                <a:gd name="T99" fmla="*/ 134 h 1010"/>
                <a:gd name="T100" fmla="*/ 84 w 2182"/>
                <a:gd name="T101" fmla="*/ 135 h 1010"/>
                <a:gd name="T102" fmla="*/ 61 w 2182"/>
                <a:gd name="T103" fmla="*/ 134 h 1010"/>
                <a:gd name="T104" fmla="*/ 28 w 2182"/>
                <a:gd name="T105" fmla="*/ 134 h 1010"/>
                <a:gd name="T106" fmla="*/ 11 w 2182"/>
                <a:gd name="T107" fmla="*/ 121 h 1010"/>
                <a:gd name="T108" fmla="*/ 0 w 2182"/>
                <a:gd name="T109" fmla="*/ 106 h 10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2" h="1010">
                  <a:moveTo>
                    <a:pt x="0" y="557"/>
                  </a:moveTo>
                  <a:lnTo>
                    <a:pt x="148" y="482"/>
                  </a:lnTo>
                  <a:lnTo>
                    <a:pt x="310" y="350"/>
                  </a:lnTo>
                  <a:lnTo>
                    <a:pt x="406" y="248"/>
                  </a:lnTo>
                  <a:lnTo>
                    <a:pt x="549" y="90"/>
                  </a:lnTo>
                  <a:lnTo>
                    <a:pt x="776" y="0"/>
                  </a:lnTo>
                  <a:lnTo>
                    <a:pt x="778" y="104"/>
                  </a:lnTo>
                  <a:lnTo>
                    <a:pt x="694" y="158"/>
                  </a:lnTo>
                  <a:lnTo>
                    <a:pt x="598" y="206"/>
                  </a:lnTo>
                  <a:lnTo>
                    <a:pt x="634" y="272"/>
                  </a:lnTo>
                  <a:lnTo>
                    <a:pt x="616" y="290"/>
                  </a:lnTo>
                  <a:lnTo>
                    <a:pt x="640" y="363"/>
                  </a:lnTo>
                  <a:lnTo>
                    <a:pt x="742" y="302"/>
                  </a:lnTo>
                  <a:lnTo>
                    <a:pt x="844" y="297"/>
                  </a:lnTo>
                  <a:lnTo>
                    <a:pt x="1003" y="408"/>
                  </a:lnTo>
                  <a:lnTo>
                    <a:pt x="1120" y="404"/>
                  </a:lnTo>
                  <a:lnTo>
                    <a:pt x="1229" y="453"/>
                  </a:lnTo>
                  <a:lnTo>
                    <a:pt x="1312" y="410"/>
                  </a:lnTo>
                  <a:lnTo>
                    <a:pt x="1366" y="362"/>
                  </a:lnTo>
                  <a:lnTo>
                    <a:pt x="1486" y="278"/>
                  </a:lnTo>
                  <a:lnTo>
                    <a:pt x="1638" y="227"/>
                  </a:lnTo>
                  <a:lnTo>
                    <a:pt x="1726" y="188"/>
                  </a:lnTo>
                  <a:lnTo>
                    <a:pt x="1768" y="278"/>
                  </a:lnTo>
                  <a:lnTo>
                    <a:pt x="1819" y="363"/>
                  </a:lnTo>
                  <a:lnTo>
                    <a:pt x="1930" y="356"/>
                  </a:lnTo>
                  <a:lnTo>
                    <a:pt x="2014" y="308"/>
                  </a:lnTo>
                  <a:lnTo>
                    <a:pt x="2140" y="326"/>
                  </a:lnTo>
                  <a:lnTo>
                    <a:pt x="2182" y="408"/>
                  </a:lnTo>
                  <a:lnTo>
                    <a:pt x="2182" y="499"/>
                  </a:lnTo>
                  <a:lnTo>
                    <a:pt x="2128" y="464"/>
                  </a:lnTo>
                  <a:lnTo>
                    <a:pt x="2046" y="453"/>
                  </a:lnTo>
                  <a:lnTo>
                    <a:pt x="1955" y="544"/>
                  </a:lnTo>
                  <a:lnTo>
                    <a:pt x="1865" y="499"/>
                  </a:lnTo>
                  <a:lnTo>
                    <a:pt x="1780" y="482"/>
                  </a:lnTo>
                  <a:lnTo>
                    <a:pt x="1683" y="499"/>
                  </a:lnTo>
                  <a:lnTo>
                    <a:pt x="1592" y="589"/>
                  </a:lnTo>
                  <a:lnTo>
                    <a:pt x="1411" y="725"/>
                  </a:lnTo>
                  <a:lnTo>
                    <a:pt x="1366" y="816"/>
                  </a:lnTo>
                  <a:lnTo>
                    <a:pt x="1320" y="816"/>
                  </a:lnTo>
                  <a:lnTo>
                    <a:pt x="1320" y="725"/>
                  </a:lnTo>
                  <a:lnTo>
                    <a:pt x="1234" y="698"/>
                  </a:lnTo>
                  <a:lnTo>
                    <a:pt x="1180" y="710"/>
                  </a:lnTo>
                  <a:lnTo>
                    <a:pt x="1162" y="764"/>
                  </a:lnTo>
                  <a:lnTo>
                    <a:pt x="1120" y="914"/>
                  </a:lnTo>
                  <a:lnTo>
                    <a:pt x="1020" y="1010"/>
                  </a:lnTo>
                  <a:lnTo>
                    <a:pt x="928" y="914"/>
                  </a:lnTo>
                  <a:lnTo>
                    <a:pt x="924" y="853"/>
                  </a:lnTo>
                  <a:lnTo>
                    <a:pt x="777" y="736"/>
                  </a:lnTo>
                  <a:lnTo>
                    <a:pt x="598" y="767"/>
                  </a:lnTo>
                  <a:lnTo>
                    <a:pt x="568" y="707"/>
                  </a:lnTo>
                  <a:lnTo>
                    <a:pt x="442" y="710"/>
                  </a:lnTo>
                  <a:lnTo>
                    <a:pt x="321" y="703"/>
                  </a:lnTo>
                  <a:lnTo>
                    <a:pt x="147" y="706"/>
                  </a:lnTo>
                  <a:lnTo>
                    <a:pt x="58" y="637"/>
                  </a:lnTo>
                  <a:lnTo>
                    <a:pt x="0" y="557"/>
                  </a:lnTo>
                  <a:close/>
                </a:path>
              </a:pathLst>
            </a:custGeom>
            <a:solidFill>
              <a:srgbClr val="FFD9DA"/>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285" name="Freeform 56">
              <a:extLst>
                <a:ext uri="{FF2B5EF4-FFF2-40B4-BE49-F238E27FC236}">
                  <a16:creationId xmlns:a16="http://schemas.microsoft.com/office/drawing/2014/main" id="{E6BC2989-BB6A-4AF1-A664-867F4AC46523}"/>
                </a:ext>
              </a:extLst>
            </p:cNvPr>
            <p:cNvSpPr>
              <a:spLocks/>
            </p:cNvSpPr>
            <p:nvPr/>
          </p:nvSpPr>
          <p:spPr bwMode="auto">
            <a:xfrm>
              <a:off x="7480598" y="2970494"/>
              <a:ext cx="61682" cy="116719"/>
            </a:xfrm>
            <a:custGeom>
              <a:avLst/>
              <a:gdLst>
                <a:gd name="T0" fmla="*/ 1 w 198"/>
                <a:gd name="T1" fmla="*/ 4 h 384"/>
                <a:gd name="T2" fmla="*/ 16 w 198"/>
                <a:gd name="T3" fmla="*/ 3 h 384"/>
                <a:gd name="T4" fmla="*/ 32 w 198"/>
                <a:gd name="T5" fmla="*/ 0 h 384"/>
                <a:gd name="T6" fmla="*/ 38 w 198"/>
                <a:gd name="T7" fmla="*/ 24 h 384"/>
                <a:gd name="T8" fmla="*/ 37 w 198"/>
                <a:gd name="T9" fmla="*/ 45 h 384"/>
                <a:gd name="T10" fmla="*/ 30 w 198"/>
                <a:gd name="T11" fmla="*/ 61 h 384"/>
                <a:gd name="T12" fmla="*/ 24 w 198"/>
                <a:gd name="T13" fmla="*/ 70 h 384"/>
                <a:gd name="T14" fmla="*/ 18 w 198"/>
                <a:gd name="T15" fmla="*/ 72 h 384"/>
                <a:gd name="T16" fmla="*/ 10 w 198"/>
                <a:gd name="T17" fmla="*/ 59 h 384"/>
                <a:gd name="T18" fmla="*/ 6 w 198"/>
                <a:gd name="T19" fmla="*/ 41 h 384"/>
                <a:gd name="T20" fmla="*/ 0 w 198"/>
                <a:gd name="T21" fmla="*/ 27 h 384"/>
                <a:gd name="T22" fmla="*/ 1 w 198"/>
                <a:gd name="T23" fmla="*/ 4 h 3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8" h="384">
                  <a:moveTo>
                    <a:pt x="3" y="20"/>
                  </a:moveTo>
                  <a:lnTo>
                    <a:pt x="84" y="18"/>
                  </a:lnTo>
                  <a:lnTo>
                    <a:pt x="168" y="0"/>
                  </a:lnTo>
                  <a:lnTo>
                    <a:pt x="198" y="126"/>
                  </a:lnTo>
                  <a:lnTo>
                    <a:pt x="192" y="240"/>
                  </a:lnTo>
                  <a:lnTo>
                    <a:pt x="156" y="324"/>
                  </a:lnTo>
                  <a:lnTo>
                    <a:pt x="125" y="372"/>
                  </a:lnTo>
                  <a:lnTo>
                    <a:pt x="96" y="384"/>
                  </a:lnTo>
                  <a:lnTo>
                    <a:pt x="54" y="312"/>
                  </a:lnTo>
                  <a:lnTo>
                    <a:pt x="30" y="216"/>
                  </a:lnTo>
                  <a:lnTo>
                    <a:pt x="0" y="144"/>
                  </a:lnTo>
                  <a:lnTo>
                    <a:pt x="3" y="20"/>
                  </a:lnTo>
                  <a:close/>
                </a:path>
              </a:pathLst>
            </a:custGeom>
            <a:solidFill>
              <a:srgbClr val="BFCAD2"/>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286" name="Rectangle 62">
              <a:extLst>
                <a:ext uri="{FF2B5EF4-FFF2-40B4-BE49-F238E27FC236}">
                  <a16:creationId xmlns:a16="http://schemas.microsoft.com/office/drawing/2014/main" id="{9EB4B024-3780-42BA-A5EC-547DE70F46A1}"/>
                </a:ext>
              </a:extLst>
            </p:cNvPr>
            <p:cNvSpPr>
              <a:spLocks noChangeArrowheads="1"/>
            </p:cNvSpPr>
            <p:nvPr/>
          </p:nvSpPr>
          <p:spPr bwMode="auto">
            <a:xfrm>
              <a:off x="609598" y="4072830"/>
              <a:ext cx="1641055" cy="1561103"/>
            </a:xfrm>
            <a:prstGeom prst="rect">
              <a:avLst/>
            </a:prstGeom>
            <a:noFill/>
            <a:ln w="3175" cmpd="sng">
              <a:solidFill>
                <a:schemeClr val="bg1"/>
              </a:solidFill>
              <a:prstDash val="solid"/>
              <a:round/>
              <a:headEnd/>
              <a:tailEnd/>
            </a:ln>
            <a:effectLst/>
            <a:extLst>
              <a:ext uri="{909E8E84-426E-40DD-AFC4-6F175D3DCCD1}">
                <a14:hiddenFill xmlns:a14="http://schemas.microsoft.com/office/drawing/2010/main">
                  <a:solidFill>
                    <a:schemeClr val="accent1"/>
                  </a:solidFill>
                </a14:hiddenFill>
              </a:ext>
            </a:extLst>
          </p:spPr>
          <p:txBody>
            <a:bodyPr/>
            <a:lstStyle/>
            <a:p>
              <a:endParaRPr lang="zh-CN" altLang="en-US" kern="0">
                <a:solidFill>
                  <a:sysClr val="windowText" lastClr="000000"/>
                </a:solidFill>
              </a:endParaRPr>
            </a:p>
          </p:txBody>
        </p:sp>
        <p:sp>
          <p:nvSpPr>
            <p:cNvPr id="288" name="Wyoming">
              <a:extLst>
                <a:ext uri="{FF2B5EF4-FFF2-40B4-BE49-F238E27FC236}">
                  <a16:creationId xmlns:a16="http://schemas.microsoft.com/office/drawing/2014/main" id="{396A25BA-7CB2-4A9F-B1A2-6A7EB21D6479}"/>
                </a:ext>
              </a:extLst>
            </p:cNvPr>
            <p:cNvSpPr>
              <a:spLocks/>
            </p:cNvSpPr>
            <p:nvPr/>
          </p:nvSpPr>
          <p:spPr bwMode="auto">
            <a:xfrm>
              <a:off x="3240803" y="2390146"/>
              <a:ext cx="847310" cy="687339"/>
            </a:xfrm>
            <a:custGeom>
              <a:avLst/>
              <a:gdLst>
                <a:gd name="T0" fmla="*/ 0 w 2757"/>
                <a:gd name="T1" fmla="*/ 382 h 2235"/>
                <a:gd name="T2" fmla="*/ 96 w 2757"/>
                <a:gd name="T3" fmla="*/ 388 h 2235"/>
                <a:gd name="T4" fmla="*/ 157 w 2757"/>
                <a:gd name="T5" fmla="*/ 394 h 2235"/>
                <a:gd name="T6" fmla="*/ 510 w 2757"/>
                <a:gd name="T7" fmla="*/ 424 h 2235"/>
                <a:gd name="T8" fmla="*/ 522 w 2757"/>
                <a:gd name="T9" fmla="*/ 39 h 2235"/>
                <a:gd name="T10" fmla="*/ 156 w 2757"/>
                <a:gd name="T11" fmla="*/ 11 h 2235"/>
                <a:gd name="T12" fmla="*/ 45 w 2757"/>
                <a:gd name="T13" fmla="*/ 0 h 2235"/>
                <a:gd name="T14" fmla="*/ 35 w 2757"/>
                <a:gd name="T15" fmla="*/ 35 h 2235"/>
                <a:gd name="T16" fmla="*/ 8 w 2757"/>
                <a:gd name="T17" fmla="*/ 291 h 2235"/>
                <a:gd name="T18" fmla="*/ 3 w 2757"/>
                <a:gd name="T19" fmla="*/ 334 h 2235"/>
                <a:gd name="T20" fmla="*/ 0 w 2757"/>
                <a:gd name="T21" fmla="*/ 382 h 22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57" h="2235">
                  <a:moveTo>
                    <a:pt x="0" y="2014"/>
                  </a:moveTo>
                  <a:lnTo>
                    <a:pt x="508" y="2044"/>
                  </a:lnTo>
                  <a:lnTo>
                    <a:pt x="828" y="2078"/>
                  </a:lnTo>
                  <a:lnTo>
                    <a:pt x="2696" y="2235"/>
                  </a:lnTo>
                  <a:lnTo>
                    <a:pt x="2757" y="208"/>
                  </a:lnTo>
                  <a:lnTo>
                    <a:pt x="824" y="60"/>
                  </a:lnTo>
                  <a:lnTo>
                    <a:pt x="238" y="0"/>
                  </a:lnTo>
                  <a:lnTo>
                    <a:pt x="185" y="184"/>
                  </a:lnTo>
                  <a:lnTo>
                    <a:pt x="44" y="1536"/>
                  </a:lnTo>
                  <a:lnTo>
                    <a:pt x="16" y="1760"/>
                  </a:lnTo>
                  <a:lnTo>
                    <a:pt x="0" y="2014"/>
                  </a:lnTo>
                  <a:close/>
                </a:path>
              </a:pathLst>
            </a:custGeom>
            <a:solidFill>
              <a:srgbClr val="960004"/>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289" name="Wisconsin">
              <a:extLst>
                <a:ext uri="{FF2B5EF4-FFF2-40B4-BE49-F238E27FC236}">
                  <a16:creationId xmlns:a16="http://schemas.microsoft.com/office/drawing/2014/main" id="{9053269C-D5CA-4FD4-8A1D-0912164C032D}"/>
                </a:ext>
              </a:extLst>
            </p:cNvPr>
            <p:cNvSpPr>
              <a:spLocks/>
            </p:cNvSpPr>
            <p:nvPr/>
          </p:nvSpPr>
          <p:spPr bwMode="auto">
            <a:xfrm>
              <a:off x="5300642" y="2101593"/>
              <a:ext cx="676874" cy="666266"/>
            </a:xfrm>
            <a:custGeom>
              <a:avLst/>
              <a:gdLst>
                <a:gd name="T0" fmla="*/ 51 w 2202"/>
                <a:gd name="T1" fmla="*/ 13 h 2170"/>
                <a:gd name="T2" fmla="*/ 28 w 2202"/>
                <a:gd name="T3" fmla="*/ 41 h 2170"/>
                <a:gd name="T4" fmla="*/ 40 w 2202"/>
                <a:gd name="T5" fmla="*/ 76 h 2170"/>
                <a:gd name="T6" fmla="*/ 19 w 2202"/>
                <a:gd name="T7" fmla="*/ 103 h 2170"/>
                <a:gd name="T8" fmla="*/ 0 w 2202"/>
                <a:gd name="T9" fmla="*/ 126 h 2170"/>
                <a:gd name="T10" fmla="*/ 23 w 2202"/>
                <a:gd name="T11" fmla="*/ 155 h 2170"/>
                <a:gd name="T12" fmla="*/ 19 w 2202"/>
                <a:gd name="T13" fmla="*/ 196 h 2170"/>
                <a:gd name="T14" fmla="*/ 11 w 2202"/>
                <a:gd name="T15" fmla="*/ 217 h 2170"/>
                <a:gd name="T16" fmla="*/ 30 w 2202"/>
                <a:gd name="T17" fmla="*/ 226 h 2170"/>
                <a:gd name="T18" fmla="*/ 56 w 2202"/>
                <a:gd name="T19" fmla="*/ 223 h 2170"/>
                <a:gd name="T20" fmla="*/ 95 w 2202"/>
                <a:gd name="T21" fmla="*/ 257 h 2170"/>
                <a:gd name="T22" fmla="*/ 153 w 2202"/>
                <a:gd name="T23" fmla="*/ 297 h 2170"/>
                <a:gd name="T24" fmla="*/ 142 w 2202"/>
                <a:gd name="T25" fmla="*/ 326 h 2170"/>
                <a:gd name="T26" fmla="*/ 154 w 2202"/>
                <a:gd name="T27" fmla="*/ 341 h 2170"/>
                <a:gd name="T28" fmla="*/ 154 w 2202"/>
                <a:gd name="T29" fmla="*/ 367 h 2170"/>
                <a:gd name="T30" fmla="*/ 162 w 2202"/>
                <a:gd name="T31" fmla="*/ 391 h 2170"/>
                <a:gd name="T32" fmla="*/ 186 w 2202"/>
                <a:gd name="T33" fmla="*/ 402 h 2170"/>
                <a:gd name="T34" fmla="*/ 204 w 2202"/>
                <a:gd name="T35" fmla="*/ 411 h 2170"/>
                <a:gd name="T36" fmla="*/ 400 w 2202"/>
                <a:gd name="T37" fmla="*/ 381 h 2170"/>
                <a:gd name="T38" fmla="*/ 400 w 2202"/>
                <a:gd name="T39" fmla="*/ 341 h 2170"/>
                <a:gd name="T40" fmla="*/ 383 w 2202"/>
                <a:gd name="T41" fmla="*/ 324 h 2170"/>
                <a:gd name="T42" fmla="*/ 380 w 2202"/>
                <a:gd name="T43" fmla="*/ 294 h 2170"/>
                <a:gd name="T44" fmla="*/ 383 w 2202"/>
                <a:gd name="T45" fmla="*/ 267 h 2170"/>
                <a:gd name="T46" fmla="*/ 389 w 2202"/>
                <a:gd name="T47" fmla="*/ 256 h 2170"/>
                <a:gd name="T48" fmla="*/ 383 w 2202"/>
                <a:gd name="T49" fmla="*/ 227 h 2170"/>
                <a:gd name="T50" fmla="*/ 389 w 2202"/>
                <a:gd name="T51" fmla="*/ 205 h 2170"/>
                <a:gd name="T52" fmla="*/ 389 w 2202"/>
                <a:gd name="T53" fmla="*/ 188 h 2170"/>
                <a:gd name="T54" fmla="*/ 417 w 2202"/>
                <a:gd name="T55" fmla="*/ 125 h 2170"/>
                <a:gd name="T56" fmla="*/ 411 w 2202"/>
                <a:gd name="T57" fmla="*/ 108 h 2170"/>
                <a:gd name="T58" fmla="*/ 400 w 2202"/>
                <a:gd name="T59" fmla="*/ 125 h 2170"/>
                <a:gd name="T60" fmla="*/ 389 w 2202"/>
                <a:gd name="T61" fmla="*/ 142 h 2170"/>
                <a:gd name="T62" fmla="*/ 383 w 2202"/>
                <a:gd name="T63" fmla="*/ 159 h 2170"/>
                <a:gd name="T64" fmla="*/ 355 w 2202"/>
                <a:gd name="T65" fmla="*/ 199 h 2170"/>
                <a:gd name="T66" fmla="*/ 355 w 2202"/>
                <a:gd name="T67" fmla="*/ 176 h 2170"/>
                <a:gd name="T68" fmla="*/ 356 w 2202"/>
                <a:gd name="T69" fmla="*/ 155 h 2170"/>
                <a:gd name="T70" fmla="*/ 368 w 2202"/>
                <a:gd name="T71" fmla="*/ 135 h 2170"/>
                <a:gd name="T72" fmla="*/ 366 w 2202"/>
                <a:gd name="T73" fmla="*/ 108 h 2170"/>
                <a:gd name="T74" fmla="*/ 349 w 2202"/>
                <a:gd name="T75" fmla="*/ 91 h 2170"/>
                <a:gd name="T76" fmla="*/ 348 w 2202"/>
                <a:gd name="T77" fmla="*/ 79 h 2170"/>
                <a:gd name="T78" fmla="*/ 320 w 2202"/>
                <a:gd name="T79" fmla="*/ 57 h 2170"/>
                <a:gd name="T80" fmla="*/ 286 w 2202"/>
                <a:gd name="T81" fmla="*/ 63 h 2170"/>
                <a:gd name="T82" fmla="*/ 281 w 2202"/>
                <a:gd name="T83" fmla="*/ 51 h 2170"/>
                <a:gd name="T84" fmla="*/ 260 w 2202"/>
                <a:gd name="T85" fmla="*/ 52 h 2170"/>
                <a:gd name="T86" fmla="*/ 233 w 2202"/>
                <a:gd name="T87" fmla="*/ 50 h 2170"/>
                <a:gd name="T88" fmla="*/ 201 w 2202"/>
                <a:gd name="T89" fmla="*/ 51 h 2170"/>
                <a:gd name="T90" fmla="*/ 184 w 2202"/>
                <a:gd name="T91" fmla="*/ 38 h 2170"/>
                <a:gd name="T92" fmla="*/ 173 w 2202"/>
                <a:gd name="T93" fmla="*/ 23 h 2170"/>
                <a:gd name="T94" fmla="*/ 127 w 2202"/>
                <a:gd name="T95" fmla="*/ 23 h 2170"/>
                <a:gd name="T96" fmla="*/ 122 w 2202"/>
                <a:gd name="T97" fmla="*/ 0 h 2170"/>
                <a:gd name="T98" fmla="*/ 70 w 2202"/>
                <a:gd name="T99" fmla="*/ 23 h 2170"/>
                <a:gd name="T100" fmla="*/ 51 w 2202"/>
                <a:gd name="T101" fmla="*/ 13 h 21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2" h="2170">
                  <a:moveTo>
                    <a:pt x="267" y="70"/>
                  </a:moveTo>
                  <a:lnTo>
                    <a:pt x="150" y="216"/>
                  </a:lnTo>
                  <a:lnTo>
                    <a:pt x="209" y="400"/>
                  </a:lnTo>
                  <a:lnTo>
                    <a:pt x="102" y="544"/>
                  </a:lnTo>
                  <a:lnTo>
                    <a:pt x="0" y="667"/>
                  </a:lnTo>
                  <a:lnTo>
                    <a:pt x="119" y="820"/>
                  </a:lnTo>
                  <a:lnTo>
                    <a:pt x="102" y="1035"/>
                  </a:lnTo>
                  <a:lnTo>
                    <a:pt x="59" y="1146"/>
                  </a:lnTo>
                  <a:lnTo>
                    <a:pt x="158" y="1195"/>
                  </a:lnTo>
                  <a:lnTo>
                    <a:pt x="297" y="1177"/>
                  </a:lnTo>
                  <a:lnTo>
                    <a:pt x="501" y="1359"/>
                  </a:lnTo>
                  <a:lnTo>
                    <a:pt x="809" y="1567"/>
                  </a:lnTo>
                  <a:lnTo>
                    <a:pt x="750" y="1723"/>
                  </a:lnTo>
                  <a:lnTo>
                    <a:pt x="814" y="1802"/>
                  </a:lnTo>
                  <a:lnTo>
                    <a:pt x="814" y="1938"/>
                  </a:lnTo>
                  <a:lnTo>
                    <a:pt x="854" y="2066"/>
                  </a:lnTo>
                  <a:lnTo>
                    <a:pt x="982" y="2122"/>
                  </a:lnTo>
                  <a:lnTo>
                    <a:pt x="1078" y="2170"/>
                  </a:lnTo>
                  <a:lnTo>
                    <a:pt x="2112" y="2010"/>
                  </a:lnTo>
                  <a:lnTo>
                    <a:pt x="2112" y="1800"/>
                  </a:lnTo>
                  <a:lnTo>
                    <a:pt x="2022" y="1710"/>
                  </a:lnTo>
                  <a:lnTo>
                    <a:pt x="2006" y="1554"/>
                  </a:lnTo>
                  <a:lnTo>
                    <a:pt x="2022" y="1410"/>
                  </a:lnTo>
                  <a:lnTo>
                    <a:pt x="2052" y="1350"/>
                  </a:lnTo>
                  <a:lnTo>
                    <a:pt x="2022" y="1200"/>
                  </a:lnTo>
                  <a:lnTo>
                    <a:pt x="2052" y="1080"/>
                  </a:lnTo>
                  <a:lnTo>
                    <a:pt x="2052" y="990"/>
                  </a:lnTo>
                  <a:lnTo>
                    <a:pt x="2202" y="660"/>
                  </a:lnTo>
                  <a:lnTo>
                    <a:pt x="2172" y="570"/>
                  </a:lnTo>
                  <a:lnTo>
                    <a:pt x="2112" y="660"/>
                  </a:lnTo>
                  <a:lnTo>
                    <a:pt x="2052" y="750"/>
                  </a:lnTo>
                  <a:lnTo>
                    <a:pt x="2022" y="840"/>
                  </a:lnTo>
                  <a:lnTo>
                    <a:pt x="1872" y="1050"/>
                  </a:lnTo>
                  <a:lnTo>
                    <a:pt x="1872" y="930"/>
                  </a:lnTo>
                  <a:lnTo>
                    <a:pt x="1878" y="818"/>
                  </a:lnTo>
                  <a:lnTo>
                    <a:pt x="1942" y="714"/>
                  </a:lnTo>
                  <a:lnTo>
                    <a:pt x="1932" y="570"/>
                  </a:lnTo>
                  <a:lnTo>
                    <a:pt x="1842" y="480"/>
                  </a:lnTo>
                  <a:lnTo>
                    <a:pt x="1838" y="418"/>
                  </a:lnTo>
                  <a:lnTo>
                    <a:pt x="1692" y="300"/>
                  </a:lnTo>
                  <a:lnTo>
                    <a:pt x="1512" y="330"/>
                  </a:lnTo>
                  <a:lnTo>
                    <a:pt x="1482" y="270"/>
                  </a:lnTo>
                  <a:lnTo>
                    <a:pt x="1374" y="274"/>
                  </a:lnTo>
                  <a:lnTo>
                    <a:pt x="1230" y="266"/>
                  </a:lnTo>
                  <a:lnTo>
                    <a:pt x="1062" y="270"/>
                  </a:lnTo>
                  <a:lnTo>
                    <a:pt x="974" y="202"/>
                  </a:lnTo>
                  <a:lnTo>
                    <a:pt x="912" y="120"/>
                  </a:lnTo>
                  <a:lnTo>
                    <a:pt x="672" y="120"/>
                  </a:lnTo>
                  <a:lnTo>
                    <a:pt x="642" y="0"/>
                  </a:lnTo>
                  <a:lnTo>
                    <a:pt x="372" y="120"/>
                  </a:lnTo>
                  <a:lnTo>
                    <a:pt x="267" y="70"/>
                  </a:lnTo>
                  <a:close/>
                </a:path>
              </a:pathLst>
            </a:custGeom>
            <a:solidFill>
              <a:srgbClr val="FF575B"/>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290" name="West Virginia">
              <a:extLst>
                <a:ext uri="{FF2B5EF4-FFF2-40B4-BE49-F238E27FC236}">
                  <a16:creationId xmlns:a16="http://schemas.microsoft.com/office/drawing/2014/main" id="{6224DA94-02E1-4585-A54A-29324B6754A4}"/>
                </a:ext>
              </a:extLst>
            </p:cNvPr>
            <p:cNvSpPr>
              <a:spLocks/>
            </p:cNvSpPr>
            <p:nvPr/>
          </p:nvSpPr>
          <p:spPr bwMode="auto">
            <a:xfrm>
              <a:off x="6664130" y="2805142"/>
              <a:ext cx="550264" cy="538200"/>
            </a:xfrm>
            <a:custGeom>
              <a:avLst/>
              <a:gdLst>
                <a:gd name="T0" fmla="*/ 100 w 1790"/>
                <a:gd name="T1" fmla="*/ 5 h 1751"/>
                <a:gd name="T2" fmla="*/ 113 w 1790"/>
                <a:gd name="T3" fmla="*/ 0 h 1751"/>
                <a:gd name="T4" fmla="*/ 118 w 1790"/>
                <a:gd name="T5" fmla="*/ 52 h 1751"/>
                <a:gd name="T6" fmla="*/ 130 w 1790"/>
                <a:gd name="T7" fmla="*/ 72 h 1751"/>
                <a:gd name="T8" fmla="*/ 166 w 1790"/>
                <a:gd name="T9" fmla="*/ 65 h 1751"/>
                <a:gd name="T10" fmla="*/ 187 w 1790"/>
                <a:gd name="T11" fmla="*/ 49 h 1751"/>
                <a:gd name="T12" fmla="*/ 204 w 1790"/>
                <a:gd name="T13" fmla="*/ 49 h 1751"/>
                <a:gd name="T14" fmla="*/ 209 w 1790"/>
                <a:gd name="T15" fmla="*/ 78 h 1751"/>
                <a:gd name="T16" fmla="*/ 221 w 1790"/>
                <a:gd name="T17" fmla="*/ 78 h 1751"/>
                <a:gd name="T18" fmla="*/ 239 w 1790"/>
                <a:gd name="T19" fmla="*/ 58 h 1751"/>
                <a:gd name="T20" fmla="*/ 259 w 1790"/>
                <a:gd name="T21" fmla="*/ 46 h 1751"/>
                <a:gd name="T22" fmla="*/ 280 w 1790"/>
                <a:gd name="T23" fmla="*/ 42 h 1751"/>
                <a:gd name="T24" fmla="*/ 289 w 1790"/>
                <a:gd name="T25" fmla="*/ 27 h 1751"/>
                <a:gd name="T26" fmla="*/ 302 w 1790"/>
                <a:gd name="T27" fmla="*/ 21 h 1751"/>
                <a:gd name="T28" fmla="*/ 318 w 1790"/>
                <a:gd name="T29" fmla="*/ 32 h 1751"/>
                <a:gd name="T30" fmla="*/ 339 w 1790"/>
                <a:gd name="T31" fmla="*/ 40 h 1751"/>
                <a:gd name="T32" fmla="*/ 321 w 1790"/>
                <a:gd name="T33" fmla="*/ 61 h 1751"/>
                <a:gd name="T34" fmla="*/ 295 w 1790"/>
                <a:gd name="T35" fmla="*/ 62 h 1751"/>
                <a:gd name="T36" fmla="*/ 287 w 1790"/>
                <a:gd name="T37" fmla="*/ 74 h 1751"/>
                <a:gd name="T38" fmla="*/ 279 w 1790"/>
                <a:gd name="T39" fmla="*/ 100 h 1751"/>
                <a:gd name="T40" fmla="*/ 225 w 1790"/>
                <a:gd name="T41" fmla="*/ 188 h 1751"/>
                <a:gd name="T42" fmla="*/ 203 w 1790"/>
                <a:gd name="T43" fmla="*/ 206 h 1751"/>
                <a:gd name="T44" fmla="*/ 187 w 1790"/>
                <a:gd name="T45" fmla="*/ 245 h 1751"/>
                <a:gd name="T46" fmla="*/ 191 w 1790"/>
                <a:gd name="T47" fmla="*/ 268 h 1751"/>
                <a:gd name="T48" fmla="*/ 185 w 1790"/>
                <a:gd name="T49" fmla="*/ 286 h 1751"/>
                <a:gd name="T50" fmla="*/ 149 w 1790"/>
                <a:gd name="T51" fmla="*/ 303 h 1751"/>
                <a:gd name="T52" fmla="*/ 121 w 1790"/>
                <a:gd name="T53" fmla="*/ 317 h 1751"/>
                <a:gd name="T54" fmla="*/ 106 w 1790"/>
                <a:gd name="T55" fmla="*/ 332 h 1751"/>
                <a:gd name="T56" fmla="*/ 92 w 1790"/>
                <a:gd name="T57" fmla="*/ 327 h 1751"/>
                <a:gd name="T58" fmla="*/ 80 w 1790"/>
                <a:gd name="T59" fmla="*/ 312 h 1751"/>
                <a:gd name="T60" fmla="*/ 59 w 1790"/>
                <a:gd name="T61" fmla="*/ 314 h 1751"/>
                <a:gd name="T62" fmla="*/ 35 w 1790"/>
                <a:gd name="T63" fmla="*/ 296 h 1751"/>
                <a:gd name="T64" fmla="*/ 15 w 1790"/>
                <a:gd name="T65" fmla="*/ 279 h 1751"/>
                <a:gd name="T66" fmla="*/ 11 w 1790"/>
                <a:gd name="T67" fmla="*/ 245 h 1751"/>
                <a:gd name="T68" fmla="*/ 0 w 1790"/>
                <a:gd name="T69" fmla="*/ 233 h 1751"/>
                <a:gd name="T70" fmla="*/ 23 w 1790"/>
                <a:gd name="T71" fmla="*/ 210 h 1751"/>
                <a:gd name="T72" fmla="*/ 28 w 1790"/>
                <a:gd name="T73" fmla="*/ 191 h 1751"/>
                <a:gd name="T74" fmla="*/ 28 w 1790"/>
                <a:gd name="T75" fmla="*/ 165 h 1751"/>
                <a:gd name="T76" fmla="*/ 47 w 1790"/>
                <a:gd name="T77" fmla="*/ 168 h 1751"/>
                <a:gd name="T78" fmla="*/ 54 w 1790"/>
                <a:gd name="T79" fmla="*/ 150 h 1751"/>
                <a:gd name="T80" fmla="*/ 52 w 1790"/>
                <a:gd name="T81" fmla="*/ 131 h 1751"/>
                <a:gd name="T82" fmla="*/ 71 w 1790"/>
                <a:gd name="T83" fmla="*/ 117 h 1751"/>
                <a:gd name="T84" fmla="*/ 91 w 1790"/>
                <a:gd name="T85" fmla="*/ 90 h 1751"/>
                <a:gd name="T86" fmla="*/ 103 w 1790"/>
                <a:gd name="T87" fmla="*/ 56 h 1751"/>
                <a:gd name="T88" fmla="*/ 100 w 1790"/>
                <a:gd name="T89" fmla="*/ 5 h 17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90" h="1751">
                  <a:moveTo>
                    <a:pt x="527" y="24"/>
                  </a:moveTo>
                  <a:lnTo>
                    <a:pt x="599" y="0"/>
                  </a:lnTo>
                  <a:lnTo>
                    <a:pt x="623" y="272"/>
                  </a:lnTo>
                  <a:lnTo>
                    <a:pt x="686" y="380"/>
                  </a:lnTo>
                  <a:lnTo>
                    <a:pt x="879" y="344"/>
                  </a:lnTo>
                  <a:lnTo>
                    <a:pt x="986" y="260"/>
                  </a:lnTo>
                  <a:lnTo>
                    <a:pt x="1076" y="260"/>
                  </a:lnTo>
                  <a:lnTo>
                    <a:pt x="1106" y="410"/>
                  </a:lnTo>
                  <a:lnTo>
                    <a:pt x="1166" y="410"/>
                  </a:lnTo>
                  <a:lnTo>
                    <a:pt x="1262" y="304"/>
                  </a:lnTo>
                  <a:lnTo>
                    <a:pt x="1366" y="240"/>
                  </a:lnTo>
                  <a:lnTo>
                    <a:pt x="1478" y="224"/>
                  </a:lnTo>
                  <a:lnTo>
                    <a:pt x="1526" y="140"/>
                  </a:lnTo>
                  <a:lnTo>
                    <a:pt x="1595" y="113"/>
                  </a:lnTo>
                  <a:lnTo>
                    <a:pt x="1678" y="168"/>
                  </a:lnTo>
                  <a:lnTo>
                    <a:pt x="1790" y="213"/>
                  </a:lnTo>
                  <a:lnTo>
                    <a:pt x="1694" y="320"/>
                  </a:lnTo>
                  <a:lnTo>
                    <a:pt x="1560" y="325"/>
                  </a:lnTo>
                  <a:lnTo>
                    <a:pt x="1513" y="391"/>
                  </a:lnTo>
                  <a:lnTo>
                    <a:pt x="1471" y="525"/>
                  </a:lnTo>
                  <a:lnTo>
                    <a:pt x="1190" y="991"/>
                  </a:lnTo>
                  <a:lnTo>
                    <a:pt x="1070" y="1087"/>
                  </a:lnTo>
                  <a:lnTo>
                    <a:pt x="987" y="1291"/>
                  </a:lnTo>
                  <a:lnTo>
                    <a:pt x="1007" y="1414"/>
                  </a:lnTo>
                  <a:lnTo>
                    <a:pt x="976" y="1510"/>
                  </a:lnTo>
                  <a:lnTo>
                    <a:pt x="786" y="1597"/>
                  </a:lnTo>
                  <a:lnTo>
                    <a:pt x="639" y="1672"/>
                  </a:lnTo>
                  <a:lnTo>
                    <a:pt x="561" y="1751"/>
                  </a:lnTo>
                  <a:lnTo>
                    <a:pt x="486" y="1726"/>
                  </a:lnTo>
                  <a:lnTo>
                    <a:pt x="423" y="1648"/>
                  </a:lnTo>
                  <a:lnTo>
                    <a:pt x="309" y="1654"/>
                  </a:lnTo>
                  <a:lnTo>
                    <a:pt x="186" y="1562"/>
                  </a:lnTo>
                  <a:lnTo>
                    <a:pt x="77" y="1471"/>
                  </a:lnTo>
                  <a:lnTo>
                    <a:pt x="56" y="1292"/>
                  </a:lnTo>
                  <a:lnTo>
                    <a:pt x="0" y="1228"/>
                  </a:lnTo>
                  <a:lnTo>
                    <a:pt x="123" y="1109"/>
                  </a:lnTo>
                  <a:lnTo>
                    <a:pt x="150" y="1007"/>
                  </a:lnTo>
                  <a:lnTo>
                    <a:pt x="150" y="872"/>
                  </a:lnTo>
                  <a:lnTo>
                    <a:pt x="248" y="886"/>
                  </a:lnTo>
                  <a:lnTo>
                    <a:pt x="287" y="792"/>
                  </a:lnTo>
                  <a:lnTo>
                    <a:pt x="273" y="690"/>
                  </a:lnTo>
                  <a:lnTo>
                    <a:pt x="374" y="615"/>
                  </a:lnTo>
                  <a:lnTo>
                    <a:pt x="483" y="476"/>
                  </a:lnTo>
                  <a:lnTo>
                    <a:pt x="543" y="294"/>
                  </a:lnTo>
                  <a:lnTo>
                    <a:pt x="527" y="24"/>
                  </a:lnTo>
                  <a:close/>
                </a:path>
              </a:pathLst>
            </a:custGeom>
            <a:solidFill>
              <a:srgbClr val="FFD9DA"/>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291" name="Washington DC">
              <a:extLst>
                <a:ext uri="{FF2B5EF4-FFF2-40B4-BE49-F238E27FC236}">
                  <a16:creationId xmlns:a16="http://schemas.microsoft.com/office/drawing/2014/main" id="{16ECCF1D-C995-4766-8410-7530988956C7}"/>
                </a:ext>
              </a:extLst>
            </p:cNvPr>
            <p:cNvSpPr>
              <a:spLocks/>
            </p:cNvSpPr>
            <p:nvPr/>
          </p:nvSpPr>
          <p:spPr bwMode="auto">
            <a:xfrm>
              <a:off x="7237119" y="2868365"/>
              <a:ext cx="38956" cy="35664"/>
            </a:xfrm>
            <a:custGeom>
              <a:avLst/>
              <a:gdLst>
                <a:gd name="T0" fmla="*/ 0 w 51"/>
                <a:gd name="T1" fmla="*/ 8 h 51"/>
                <a:gd name="T2" fmla="*/ 10 w 51"/>
                <a:gd name="T3" fmla="*/ 0 h 51"/>
                <a:gd name="T4" fmla="*/ 24 w 51"/>
                <a:gd name="T5" fmla="*/ 10 h 51"/>
                <a:gd name="T6" fmla="*/ 10 w 51"/>
                <a:gd name="T7" fmla="*/ 22 h 51"/>
                <a:gd name="T8" fmla="*/ 10 w 51"/>
                <a:gd name="T9" fmla="*/ 16 h 51"/>
                <a:gd name="T10" fmla="*/ 9 w 51"/>
                <a:gd name="T11" fmla="*/ 13 h 51"/>
                <a:gd name="T12" fmla="*/ 6 w 51"/>
                <a:gd name="T13" fmla="*/ 10 h 51"/>
                <a:gd name="T14" fmla="*/ 0 w 51"/>
                <a:gd name="T15" fmla="*/ 8 h 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51">
                  <a:moveTo>
                    <a:pt x="0" y="18"/>
                  </a:moveTo>
                  <a:lnTo>
                    <a:pt x="21" y="0"/>
                  </a:lnTo>
                  <a:lnTo>
                    <a:pt x="51" y="24"/>
                  </a:lnTo>
                  <a:lnTo>
                    <a:pt x="22" y="51"/>
                  </a:lnTo>
                  <a:lnTo>
                    <a:pt x="22" y="38"/>
                  </a:lnTo>
                  <a:lnTo>
                    <a:pt x="20" y="29"/>
                  </a:lnTo>
                  <a:lnTo>
                    <a:pt x="12" y="23"/>
                  </a:lnTo>
                  <a:lnTo>
                    <a:pt x="0" y="18"/>
                  </a:lnTo>
                  <a:close/>
                </a:path>
              </a:pathLst>
            </a:custGeom>
            <a:solidFill>
              <a:schemeClr val="bg1"/>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292" name="Washington">
              <a:extLst>
                <a:ext uri="{FF2B5EF4-FFF2-40B4-BE49-F238E27FC236}">
                  <a16:creationId xmlns:a16="http://schemas.microsoft.com/office/drawing/2014/main" id="{4AA1D69D-606B-4807-BCB3-1A8903ECB7D1}"/>
                </a:ext>
              </a:extLst>
            </p:cNvPr>
            <p:cNvSpPr>
              <a:spLocks/>
            </p:cNvSpPr>
            <p:nvPr/>
          </p:nvSpPr>
          <p:spPr bwMode="auto">
            <a:xfrm>
              <a:off x="1953607" y="1530972"/>
              <a:ext cx="827831" cy="603043"/>
            </a:xfrm>
            <a:custGeom>
              <a:avLst/>
              <a:gdLst>
                <a:gd name="T0" fmla="*/ 17 w 2687"/>
                <a:gd name="T1" fmla="*/ 25 h 1962"/>
                <a:gd name="T2" fmla="*/ 0 w 2687"/>
                <a:gd name="T3" fmla="*/ 48 h 1962"/>
                <a:gd name="T4" fmla="*/ 11 w 2687"/>
                <a:gd name="T5" fmla="*/ 93 h 1962"/>
                <a:gd name="T6" fmla="*/ 15 w 2687"/>
                <a:gd name="T7" fmla="*/ 130 h 1962"/>
                <a:gd name="T8" fmla="*/ 6 w 2687"/>
                <a:gd name="T9" fmla="*/ 150 h 1962"/>
                <a:gd name="T10" fmla="*/ 22 w 2687"/>
                <a:gd name="T11" fmla="*/ 166 h 1962"/>
                <a:gd name="T12" fmla="*/ 6 w 2687"/>
                <a:gd name="T13" fmla="*/ 173 h 1962"/>
                <a:gd name="T14" fmla="*/ 23 w 2687"/>
                <a:gd name="T15" fmla="*/ 196 h 1962"/>
                <a:gd name="T16" fmla="*/ 0 w 2687"/>
                <a:gd name="T17" fmla="*/ 213 h 1962"/>
                <a:gd name="T18" fmla="*/ 6 w 2687"/>
                <a:gd name="T19" fmla="*/ 230 h 1962"/>
                <a:gd name="T20" fmla="*/ 28 w 2687"/>
                <a:gd name="T21" fmla="*/ 236 h 1962"/>
                <a:gd name="T22" fmla="*/ 47 w 2687"/>
                <a:gd name="T23" fmla="*/ 246 h 1962"/>
                <a:gd name="T24" fmla="*/ 63 w 2687"/>
                <a:gd name="T25" fmla="*/ 264 h 1962"/>
                <a:gd name="T26" fmla="*/ 74 w 2687"/>
                <a:gd name="T27" fmla="*/ 309 h 1962"/>
                <a:gd name="T28" fmla="*/ 106 w 2687"/>
                <a:gd name="T29" fmla="*/ 310 h 1962"/>
                <a:gd name="T30" fmla="*/ 142 w 2687"/>
                <a:gd name="T31" fmla="*/ 309 h 1962"/>
                <a:gd name="T32" fmla="*/ 171 w 2687"/>
                <a:gd name="T33" fmla="*/ 338 h 1962"/>
                <a:gd name="T34" fmla="*/ 194 w 2687"/>
                <a:gd name="T35" fmla="*/ 321 h 1962"/>
                <a:gd name="T36" fmla="*/ 233 w 2687"/>
                <a:gd name="T37" fmla="*/ 344 h 1962"/>
                <a:gd name="T38" fmla="*/ 285 w 2687"/>
                <a:gd name="T39" fmla="*/ 338 h 1962"/>
                <a:gd name="T40" fmla="*/ 302 w 2687"/>
                <a:gd name="T41" fmla="*/ 349 h 1962"/>
                <a:gd name="T42" fmla="*/ 322 w 2687"/>
                <a:gd name="T43" fmla="*/ 341 h 1962"/>
                <a:gd name="T44" fmla="*/ 352 w 2687"/>
                <a:gd name="T45" fmla="*/ 341 h 1962"/>
                <a:gd name="T46" fmla="*/ 371 w 2687"/>
                <a:gd name="T47" fmla="*/ 354 h 1962"/>
                <a:gd name="T48" fmla="*/ 427 w 2687"/>
                <a:gd name="T49" fmla="*/ 372 h 1962"/>
                <a:gd name="T50" fmla="*/ 456 w 2687"/>
                <a:gd name="T51" fmla="*/ 372 h 1962"/>
                <a:gd name="T52" fmla="*/ 456 w 2687"/>
                <a:gd name="T53" fmla="*/ 338 h 1962"/>
                <a:gd name="T54" fmla="*/ 467 w 2687"/>
                <a:gd name="T55" fmla="*/ 298 h 1962"/>
                <a:gd name="T56" fmla="*/ 478 w 2687"/>
                <a:gd name="T57" fmla="*/ 258 h 1962"/>
                <a:gd name="T58" fmla="*/ 484 w 2687"/>
                <a:gd name="T59" fmla="*/ 232 h 1962"/>
                <a:gd name="T60" fmla="*/ 482 w 2687"/>
                <a:gd name="T61" fmla="*/ 196 h 1962"/>
                <a:gd name="T62" fmla="*/ 494 w 2687"/>
                <a:gd name="T63" fmla="*/ 159 h 1962"/>
                <a:gd name="T64" fmla="*/ 501 w 2687"/>
                <a:gd name="T65" fmla="*/ 120 h 1962"/>
                <a:gd name="T66" fmla="*/ 510 w 2687"/>
                <a:gd name="T67" fmla="*/ 102 h 1962"/>
                <a:gd name="T68" fmla="*/ 439 w 2687"/>
                <a:gd name="T69" fmla="*/ 78 h 1962"/>
                <a:gd name="T70" fmla="*/ 389 w 2687"/>
                <a:gd name="T71" fmla="*/ 66 h 1962"/>
                <a:gd name="T72" fmla="*/ 321 w 2687"/>
                <a:gd name="T73" fmla="*/ 54 h 1962"/>
                <a:gd name="T74" fmla="*/ 234 w 2687"/>
                <a:gd name="T75" fmla="*/ 35 h 1962"/>
                <a:gd name="T76" fmla="*/ 137 w 2687"/>
                <a:gd name="T77" fmla="*/ 0 h 1962"/>
                <a:gd name="T78" fmla="*/ 144 w 2687"/>
                <a:gd name="T79" fmla="*/ 26 h 1962"/>
                <a:gd name="T80" fmla="*/ 165 w 2687"/>
                <a:gd name="T81" fmla="*/ 42 h 1962"/>
                <a:gd name="T82" fmla="*/ 142 w 2687"/>
                <a:gd name="T83" fmla="*/ 53 h 1962"/>
                <a:gd name="T84" fmla="*/ 159 w 2687"/>
                <a:gd name="T85" fmla="*/ 71 h 1962"/>
                <a:gd name="T86" fmla="*/ 154 w 2687"/>
                <a:gd name="T87" fmla="*/ 116 h 1962"/>
                <a:gd name="T88" fmla="*/ 137 w 2687"/>
                <a:gd name="T89" fmla="*/ 162 h 1962"/>
                <a:gd name="T90" fmla="*/ 108 w 2687"/>
                <a:gd name="T91" fmla="*/ 179 h 1962"/>
                <a:gd name="T92" fmla="*/ 120 w 2687"/>
                <a:gd name="T93" fmla="*/ 156 h 1962"/>
                <a:gd name="T94" fmla="*/ 125 w 2687"/>
                <a:gd name="T95" fmla="*/ 156 h 1962"/>
                <a:gd name="T96" fmla="*/ 125 w 2687"/>
                <a:gd name="T97" fmla="*/ 110 h 1962"/>
                <a:gd name="T98" fmla="*/ 114 w 2687"/>
                <a:gd name="T99" fmla="*/ 105 h 1962"/>
                <a:gd name="T100" fmla="*/ 125 w 2687"/>
                <a:gd name="T101" fmla="*/ 93 h 1962"/>
                <a:gd name="T102" fmla="*/ 104 w 2687"/>
                <a:gd name="T103" fmla="*/ 73 h 1962"/>
                <a:gd name="T104" fmla="*/ 80 w 2687"/>
                <a:gd name="T105" fmla="*/ 62 h 1962"/>
                <a:gd name="T106" fmla="*/ 54 w 2687"/>
                <a:gd name="T107" fmla="*/ 50 h 1962"/>
                <a:gd name="T108" fmla="*/ 17 w 2687"/>
                <a:gd name="T109" fmla="*/ 25 h 19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87" h="1962">
                  <a:moveTo>
                    <a:pt x="90" y="132"/>
                  </a:moveTo>
                  <a:lnTo>
                    <a:pt x="0" y="252"/>
                  </a:lnTo>
                  <a:lnTo>
                    <a:pt x="60" y="492"/>
                  </a:lnTo>
                  <a:lnTo>
                    <a:pt x="81" y="686"/>
                  </a:lnTo>
                  <a:lnTo>
                    <a:pt x="30" y="792"/>
                  </a:lnTo>
                  <a:lnTo>
                    <a:pt x="118" y="878"/>
                  </a:lnTo>
                  <a:lnTo>
                    <a:pt x="30" y="912"/>
                  </a:lnTo>
                  <a:lnTo>
                    <a:pt x="120" y="1032"/>
                  </a:lnTo>
                  <a:lnTo>
                    <a:pt x="0" y="1122"/>
                  </a:lnTo>
                  <a:lnTo>
                    <a:pt x="30" y="1212"/>
                  </a:lnTo>
                  <a:lnTo>
                    <a:pt x="145" y="1243"/>
                  </a:lnTo>
                  <a:lnTo>
                    <a:pt x="246" y="1298"/>
                  </a:lnTo>
                  <a:lnTo>
                    <a:pt x="330" y="1392"/>
                  </a:lnTo>
                  <a:lnTo>
                    <a:pt x="390" y="1632"/>
                  </a:lnTo>
                  <a:lnTo>
                    <a:pt x="556" y="1637"/>
                  </a:lnTo>
                  <a:lnTo>
                    <a:pt x="750" y="1632"/>
                  </a:lnTo>
                  <a:lnTo>
                    <a:pt x="900" y="1782"/>
                  </a:lnTo>
                  <a:lnTo>
                    <a:pt x="1020" y="1692"/>
                  </a:lnTo>
                  <a:lnTo>
                    <a:pt x="1230" y="1812"/>
                  </a:lnTo>
                  <a:lnTo>
                    <a:pt x="1501" y="1782"/>
                  </a:lnTo>
                  <a:lnTo>
                    <a:pt x="1591" y="1842"/>
                  </a:lnTo>
                  <a:lnTo>
                    <a:pt x="1699" y="1801"/>
                  </a:lnTo>
                  <a:lnTo>
                    <a:pt x="1855" y="1801"/>
                  </a:lnTo>
                  <a:lnTo>
                    <a:pt x="1955" y="1865"/>
                  </a:lnTo>
                  <a:lnTo>
                    <a:pt x="2251" y="1962"/>
                  </a:lnTo>
                  <a:lnTo>
                    <a:pt x="2401" y="1962"/>
                  </a:lnTo>
                  <a:lnTo>
                    <a:pt x="2401" y="1782"/>
                  </a:lnTo>
                  <a:lnTo>
                    <a:pt x="2461" y="1572"/>
                  </a:lnTo>
                  <a:lnTo>
                    <a:pt x="2521" y="1362"/>
                  </a:lnTo>
                  <a:lnTo>
                    <a:pt x="2550" y="1225"/>
                  </a:lnTo>
                  <a:lnTo>
                    <a:pt x="2540" y="1033"/>
                  </a:lnTo>
                  <a:lnTo>
                    <a:pt x="2604" y="841"/>
                  </a:lnTo>
                  <a:lnTo>
                    <a:pt x="2641" y="631"/>
                  </a:lnTo>
                  <a:lnTo>
                    <a:pt x="2687" y="539"/>
                  </a:lnTo>
                  <a:lnTo>
                    <a:pt x="2312" y="411"/>
                  </a:lnTo>
                  <a:lnTo>
                    <a:pt x="2047" y="347"/>
                  </a:lnTo>
                  <a:lnTo>
                    <a:pt x="1690" y="283"/>
                  </a:lnTo>
                  <a:lnTo>
                    <a:pt x="1233" y="183"/>
                  </a:lnTo>
                  <a:lnTo>
                    <a:pt x="721" y="0"/>
                  </a:lnTo>
                  <a:lnTo>
                    <a:pt x="758" y="137"/>
                  </a:lnTo>
                  <a:lnTo>
                    <a:pt x="870" y="222"/>
                  </a:lnTo>
                  <a:lnTo>
                    <a:pt x="750" y="282"/>
                  </a:lnTo>
                  <a:lnTo>
                    <a:pt x="840" y="372"/>
                  </a:lnTo>
                  <a:lnTo>
                    <a:pt x="810" y="612"/>
                  </a:lnTo>
                  <a:lnTo>
                    <a:pt x="720" y="852"/>
                  </a:lnTo>
                  <a:lnTo>
                    <a:pt x="570" y="942"/>
                  </a:lnTo>
                  <a:lnTo>
                    <a:pt x="630" y="822"/>
                  </a:lnTo>
                  <a:lnTo>
                    <a:pt x="660" y="822"/>
                  </a:lnTo>
                  <a:lnTo>
                    <a:pt x="660" y="582"/>
                  </a:lnTo>
                  <a:lnTo>
                    <a:pt x="600" y="552"/>
                  </a:lnTo>
                  <a:lnTo>
                    <a:pt x="660" y="492"/>
                  </a:lnTo>
                  <a:lnTo>
                    <a:pt x="547" y="384"/>
                  </a:lnTo>
                  <a:lnTo>
                    <a:pt x="419" y="329"/>
                  </a:lnTo>
                  <a:lnTo>
                    <a:pt x="282" y="265"/>
                  </a:lnTo>
                  <a:lnTo>
                    <a:pt x="90" y="132"/>
                  </a:lnTo>
                  <a:close/>
                </a:path>
              </a:pathLst>
            </a:custGeom>
            <a:solidFill>
              <a:srgbClr val="BFCAD2"/>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293" name="Virgina">
              <a:extLst>
                <a:ext uri="{FF2B5EF4-FFF2-40B4-BE49-F238E27FC236}">
                  <a16:creationId xmlns:a16="http://schemas.microsoft.com/office/drawing/2014/main" id="{CE08100D-18BE-43D9-BD74-B3EB2B4FB3BE}"/>
                </a:ext>
              </a:extLst>
            </p:cNvPr>
            <p:cNvSpPr>
              <a:spLocks/>
            </p:cNvSpPr>
            <p:nvPr/>
          </p:nvSpPr>
          <p:spPr bwMode="auto">
            <a:xfrm>
              <a:off x="6703086" y="2869987"/>
              <a:ext cx="809976" cy="594938"/>
            </a:xfrm>
            <a:custGeom>
              <a:avLst/>
              <a:gdLst>
                <a:gd name="T0" fmla="*/ 10 w 2495"/>
                <a:gd name="T1" fmla="*/ 256 h 1836"/>
                <a:gd name="T2" fmla="*/ 35 w 2495"/>
                <a:gd name="T3" fmla="*/ 274 h 1836"/>
                <a:gd name="T4" fmla="*/ 55 w 2495"/>
                <a:gd name="T5" fmla="*/ 272 h 1836"/>
                <a:gd name="T6" fmla="*/ 68 w 2495"/>
                <a:gd name="T7" fmla="*/ 288 h 1836"/>
                <a:gd name="T8" fmla="*/ 82 w 2495"/>
                <a:gd name="T9" fmla="*/ 292 h 1836"/>
                <a:gd name="T10" fmla="*/ 97 w 2495"/>
                <a:gd name="T11" fmla="*/ 277 h 1836"/>
                <a:gd name="T12" fmla="*/ 127 w 2495"/>
                <a:gd name="T13" fmla="*/ 262 h 1836"/>
                <a:gd name="T14" fmla="*/ 161 w 2495"/>
                <a:gd name="T15" fmla="*/ 247 h 1836"/>
                <a:gd name="T16" fmla="*/ 167 w 2495"/>
                <a:gd name="T17" fmla="*/ 228 h 1836"/>
                <a:gd name="T18" fmla="*/ 162 w 2495"/>
                <a:gd name="T19" fmla="*/ 205 h 1836"/>
                <a:gd name="T20" fmla="*/ 179 w 2495"/>
                <a:gd name="T21" fmla="*/ 166 h 1836"/>
                <a:gd name="T22" fmla="*/ 202 w 2495"/>
                <a:gd name="T23" fmla="*/ 148 h 1836"/>
                <a:gd name="T24" fmla="*/ 229 w 2495"/>
                <a:gd name="T25" fmla="*/ 102 h 1836"/>
                <a:gd name="T26" fmla="*/ 255 w 2495"/>
                <a:gd name="T27" fmla="*/ 60 h 1836"/>
                <a:gd name="T28" fmla="*/ 262 w 2495"/>
                <a:gd name="T29" fmla="*/ 34 h 1836"/>
                <a:gd name="T30" fmla="*/ 272 w 2495"/>
                <a:gd name="T31" fmla="*/ 22 h 1836"/>
                <a:gd name="T32" fmla="*/ 297 w 2495"/>
                <a:gd name="T33" fmla="*/ 20 h 1836"/>
                <a:gd name="T34" fmla="*/ 315 w 2495"/>
                <a:gd name="T35" fmla="*/ 0 h 1836"/>
                <a:gd name="T36" fmla="*/ 339 w 2495"/>
                <a:gd name="T37" fmla="*/ 11 h 1836"/>
                <a:gd name="T38" fmla="*/ 340 w 2495"/>
                <a:gd name="T39" fmla="*/ 16 h 1836"/>
                <a:gd name="T40" fmla="*/ 340 w 2495"/>
                <a:gd name="T41" fmla="*/ 21 h 1836"/>
                <a:gd name="T42" fmla="*/ 338 w 2495"/>
                <a:gd name="T43" fmla="*/ 37 h 1836"/>
                <a:gd name="T44" fmla="*/ 350 w 2495"/>
                <a:gd name="T45" fmla="*/ 57 h 1836"/>
                <a:gd name="T46" fmla="*/ 407 w 2495"/>
                <a:gd name="T47" fmla="*/ 91 h 1836"/>
                <a:gd name="T48" fmla="*/ 431 w 2495"/>
                <a:gd name="T49" fmla="*/ 87 h 1836"/>
                <a:gd name="T50" fmla="*/ 452 w 2495"/>
                <a:gd name="T51" fmla="*/ 108 h 1836"/>
                <a:gd name="T52" fmla="*/ 447 w 2495"/>
                <a:gd name="T53" fmla="*/ 119 h 1836"/>
                <a:gd name="T54" fmla="*/ 424 w 2495"/>
                <a:gd name="T55" fmla="*/ 108 h 1836"/>
                <a:gd name="T56" fmla="*/ 418 w 2495"/>
                <a:gd name="T57" fmla="*/ 131 h 1836"/>
                <a:gd name="T58" fmla="*/ 458 w 2495"/>
                <a:gd name="T59" fmla="*/ 142 h 1836"/>
                <a:gd name="T60" fmla="*/ 464 w 2495"/>
                <a:gd name="T61" fmla="*/ 171 h 1836"/>
                <a:gd name="T62" fmla="*/ 447 w 2495"/>
                <a:gd name="T63" fmla="*/ 188 h 1836"/>
                <a:gd name="T64" fmla="*/ 482 w 2495"/>
                <a:gd name="T65" fmla="*/ 193 h 1836"/>
                <a:gd name="T66" fmla="*/ 499 w 2495"/>
                <a:gd name="T67" fmla="*/ 193 h 1836"/>
                <a:gd name="T68" fmla="*/ 493 w 2495"/>
                <a:gd name="T69" fmla="*/ 217 h 1836"/>
                <a:gd name="T70" fmla="*/ 457 w 2495"/>
                <a:gd name="T71" fmla="*/ 234 h 1836"/>
                <a:gd name="T72" fmla="*/ 414 w 2495"/>
                <a:gd name="T73" fmla="*/ 240 h 1836"/>
                <a:gd name="T74" fmla="*/ 255 w 2495"/>
                <a:gd name="T75" fmla="*/ 287 h 1836"/>
                <a:gd name="T76" fmla="*/ 181 w 2495"/>
                <a:gd name="T77" fmla="*/ 318 h 1836"/>
                <a:gd name="T78" fmla="*/ 80 w 2495"/>
                <a:gd name="T79" fmla="*/ 346 h 1836"/>
                <a:gd name="T80" fmla="*/ 54 w 2495"/>
                <a:gd name="T81" fmla="*/ 359 h 1836"/>
                <a:gd name="T82" fmla="*/ 7 w 2495"/>
                <a:gd name="T83" fmla="*/ 367 h 1836"/>
                <a:gd name="T84" fmla="*/ 11 w 2495"/>
                <a:gd name="T85" fmla="*/ 350 h 1836"/>
                <a:gd name="T86" fmla="*/ 0 w 2495"/>
                <a:gd name="T87" fmla="*/ 324 h 1836"/>
                <a:gd name="T88" fmla="*/ 12 w 2495"/>
                <a:gd name="T89" fmla="*/ 303 h 1836"/>
                <a:gd name="T90" fmla="*/ 13 w 2495"/>
                <a:gd name="T91" fmla="*/ 280 h 1836"/>
                <a:gd name="T92" fmla="*/ 10 w 2495"/>
                <a:gd name="T93" fmla="*/ 256 h 18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5" h="1836">
                  <a:moveTo>
                    <a:pt x="51" y="1279"/>
                  </a:moveTo>
                  <a:lnTo>
                    <a:pt x="175" y="1371"/>
                  </a:lnTo>
                  <a:lnTo>
                    <a:pt x="277" y="1363"/>
                  </a:lnTo>
                  <a:lnTo>
                    <a:pt x="339" y="1440"/>
                  </a:lnTo>
                  <a:lnTo>
                    <a:pt x="411" y="1462"/>
                  </a:lnTo>
                  <a:lnTo>
                    <a:pt x="486" y="1386"/>
                  </a:lnTo>
                  <a:lnTo>
                    <a:pt x="637" y="1310"/>
                  </a:lnTo>
                  <a:lnTo>
                    <a:pt x="804" y="1234"/>
                  </a:lnTo>
                  <a:lnTo>
                    <a:pt x="835" y="1143"/>
                  </a:lnTo>
                  <a:lnTo>
                    <a:pt x="811" y="1026"/>
                  </a:lnTo>
                  <a:lnTo>
                    <a:pt x="895" y="831"/>
                  </a:lnTo>
                  <a:lnTo>
                    <a:pt x="1010" y="740"/>
                  </a:lnTo>
                  <a:lnTo>
                    <a:pt x="1146" y="512"/>
                  </a:lnTo>
                  <a:lnTo>
                    <a:pt x="1275" y="299"/>
                  </a:lnTo>
                  <a:lnTo>
                    <a:pt x="1312" y="170"/>
                  </a:lnTo>
                  <a:lnTo>
                    <a:pt x="1358" y="109"/>
                  </a:lnTo>
                  <a:lnTo>
                    <a:pt x="1487" y="102"/>
                  </a:lnTo>
                  <a:lnTo>
                    <a:pt x="1574" y="0"/>
                  </a:lnTo>
                  <a:lnTo>
                    <a:pt x="1694" y="56"/>
                  </a:lnTo>
                  <a:lnTo>
                    <a:pt x="1698" y="78"/>
                  </a:lnTo>
                  <a:lnTo>
                    <a:pt x="1698" y="106"/>
                  </a:lnTo>
                  <a:lnTo>
                    <a:pt x="1692" y="185"/>
                  </a:lnTo>
                  <a:lnTo>
                    <a:pt x="1751" y="284"/>
                  </a:lnTo>
                  <a:lnTo>
                    <a:pt x="2034" y="455"/>
                  </a:lnTo>
                  <a:lnTo>
                    <a:pt x="2154" y="436"/>
                  </a:lnTo>
                  <a:lnTo>
                    <a:pt x="2262" y="540"/>
                  </a:lnTo>
                  <a:lnTo>
                    <a:pt x="2233" y="597"/>
                  </a:lnTo>
                  <a:lnTo>
                    <a:pt x="2119" y="540"/>
                  </a:lnTo>
                  <a:lnTo>
                    <a:pt x="2091" y="654"/>
                  </a:lnTo>
                  <a:lnTo>
                    <a:pt x="2290" y="711"/>
                  </a:lnTo>
                  <a:lnTo>
                    <a:pt x="2319" y="853"/>
                  </a:lnTo>
                  <a:lnTo>
                    <a:pt x="2233" y="940"/>
                  </a:lnTo>
                  <a:lnTo>
                    <a:pt x="2412" y="968"/>
                  </a:lnTo>
                  <a:lnTo>
                    <a:pt x="2495" y="968"/>
                  </a:lnTo>
                  <a:lnTo>
                    <a:pt x="2467" y="1088"/>
                  </a:lnTo>
                  <a:lnTo>
                    <a:pt x="2285" y="1173"/>
                  </a:lnTo>
                  <a:lnTo>
                    <a:pt x="2072" y="1199"/>
                  </a:lnTo>
                  <a:lnTo>
                    <a:pt x="1273" y="1436"/>
                  </a:lnTo>
                  <a:lnTo>
                    <a:pt x="904" y="1593"/>
                  </a:lnTo>
                  <a:lnTo>
                    <a:pt x="402" y="1733"/>
                  </a:lnTo>
                  <a:lnTo>
                    <a:pt x="268" y="1794"/>
                  </a:lnTo>
                  <a:lnTo>
                    <a:pt x="34" y="1836"/>
                  </a:lnTo>
                  <a:lnTo>
                    <a:pt x="54" y="1753"/>
                  </a:lnTo>
                  <a:lnTo>
                    <a:pt x="0" y="1620"/>
                  </a:lnTo>
                  <a:lnTo>
                    <a:pt x="58" y="1517"/>
                  </a:lnTo>
                  <a:lnTo>
                    <a:pt x="66" y="1400"/>
                  </a:lnTo>
                  <a:lnTo>
                    <a:pt x="51" y="1279"/>
                  </a:lnTo>
                  <a:close/>
                </a:path>
              </a:pathLst>
            </a:custGeom>
            <a:solidFill>
              <a:srgbClr val="FF9799"/>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294" name="Vermont">
              <a:extLst>
                <a:ext uri="{FF2B5EF4-FFF2-40B4-BE49-F238E27FC236}">
                  <a16:creationId xmlns:a16="http://schemas.microsoft.com/office/drawing/2014/main" id="{CFB8D936-E544-4CB7-9409-9AE249DA09BF}"/>
                </a:ext>
              </a:extLst>
            </p:cNvPr>
            <p:cNvSpPr>
              <a:spLocks/>
            </p:cNvSpPr>
            <p:nvPr/>
          </p:nvSpPr>
          <p:spPr bwMode="auto">
            <a:xfrm>
              <a:off x="7404309" y="1798450"/>
              <a:ext cx="227248" cy="403649"/>
            </a:xfrm>
            <a:custGeom>
              <a:avLst/>
              <a:gdLst>
                <a:gd name="T0" fmla="*/ 0 w 734"/>
                <a:gd name="T1" fmla="*/ 48 h 1311"/>
                <a:gd name="T2" fmla="*/ 68 w 734"/>
                <a:gd name="T3" fmla="*/ 27 h 1311"/>
                <a:gd name="T4" fmla="*/ 106 w 734"/>
                <a:gd name="T5" fmla="*/ 4 h 1311"/>
                <a:gd name="T6" fmla="*/ 124 w 734"/>
                <a:gd name="T7" fmla="*/ 0 h 1311"/>
                <a:gd name="T8" fmla="*/ 136 w 734"/>
                <a:gd name="T9" fmla="*/ 34 h 1311"/>
                <a:gd name="T10" fmla="*/ 140 w 734"/>
                <a:gd name="T11" fmla="*/ 56 h 1311"/>
                <a:gd name="T12" fmla="*/ 124 w 734"/>
                <a:gd name="T13" fmla="*/ 80 h 1311"/>
                <a:gd name="T14" fmla="*/ 122 w 734"/>
                <a:gd name="T15" fmla="*/ 126 h 1311"/>
                <a:gd name="T16" fmla="*/ 124 w 734"/>
                <a:gd name="T17" fmla="*/ 154 h 1311"/>
                <a:gd name="T18" fmla="*/ 126 w 734"/>
                <a:gd name="T19" fmla="*/ 182 h 1311"/>
                <a:gd name="T20" fmla="*/ 134 w 734"/>
                <a:gd name="T21" fmla="*/ 217 h 1311"/>
                <a:gd name="T22" fmla="*/ 140 w 734"/>
                <a:gd name="T23" fmla="*/ 231 h 1311"/>
                <a:gd name="T24" fmla="*/ 87 w 734"/>
                <a:gd name="T25" fmla="*/ 249 h 1311"/>
                <a:gd name="T26" fmla="*/ 77 w 734"/>
                <a:gd name="T27" fmla="*/ 219 h 1311"/>
                <a:gd name="T28" fmla="*/ 71 w 734"/>
                <a:gd name="T29" fmla="*/ 181 h 1311"/>
                <a:gd name="T30" fmla="*/ 34 w 734"/>
                <a:gd name="T31" fmla="*/ 121 h 1311"/>
                <a:gd name="T32" fmla="*/ 23 w 734"/>
                <a:gd name="T33" fmla="*/ 78 h 1311"/>
                <a:gd name="T34" fmla="*/ 16 w 734"/>
                <a:gd name="T35" fmla="*/ 60 h 1311"/>
                <a:gd name="T36" fmla="*/ 0 w 734"/>
                <a:gd name="T37" fmla="*/ 48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4" h="1311">
                  <a:moveTo>
                    <a:pt x="0" y="255"/>
                  </a:moveTo>
                  <a:lnTo>
                    <a:pt x="358" y="143"/>
                  </a:lnTo>
                  <a:lnTo>
                    <a:pt x="558" y="23"/>
                  </a:lnTo>
                  <a:lnTo>
                    <a:pt x="651" y="0"/>
                  </a:lnTo>
                  <a:lnTo>
                    <a:pt x="711" y="180"/>
                  </a:lnTo>
                  <a:lnTo>
                    <a:pt x="734" y="295"/>
                  </a:lnTo>
                  <a:lnTo>
                    <a:pt x="651" y="420"/>
                  </a:lnTo>
                  <a:lnTo>
                    <a:pt x="638" y="663"/>
                  </a:lnTo>
                  <a:lnTo>
                    <a:pt x="651" y="810"/>
                  </a:lnTo>
                  <a:lnTo>
                    <a:pt x="662" y="959"/>
                  </a:lnTo>
                  <a:lnTo>
                    <a:pt x="702" y="1143"/>
                  </a:lnTo>
                  <a:lnTo>
                    <a:pt x="734" y="1215"/>
                  </a:lnTo>
                  <a:lnTo>
                    <a:pt x="454" y="1311"/>
                  </a:lnTo>
                  <a:lnTo>
                    <a:pt x="406" y="1155"/>
                  </a:lnTo>
                  <a:lnTo>
                    <a:pt x="374" y="953"/>
                  </a:lnTo>
                  <a:lnTo>
                    <a:pt x="180" y="639"/>
                  </a:lnTo>
                  <a:lnTo>
                    <a:pt x="122" y="409"/>
                  </a:lnTo>
                  <a:lnTo>
                    <a:pt x="82" y="315"/>
                  </a:lnTo>
                  <a:lnTo>
                    <a:pt x="0" y="255"/>
                  </a:lnTo>
                  <a:close/>
                </a:path>
              </a:pathLst>
            </a:custGeom>
            <a:solidFill>
              <a:srgbClr val="FFD9DA"/>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295" name="Utah">
              <a:extLst>
                <a:ext uri="{FF2B5EF4-FFF2-40B4-BE49-F238E27FC236}">
                  <a16:creationId xmlns:a16="http://schemas.microsoft.com/office/drawing/2014/main" id="{37500BD9-4CEB-4759-AF67-FF946C8EF1C3}"/>
                </a:ext>
              </a:extLst>
            </p:cNvPr>
            <p:cNvSpPr>
              <a:spLocks/>
            </p:cNvSpPr>
            <p:nvPr/>
          </p:nvSpPr>
          <p:spPr bwMode="auto">
            <a:xfrm>
              <a:off x="2802540" y="2792174"/>
              <a:ext cx="693106" cy="864038"/>
            </a:xfrm>
            <a:custGeom>
              <a:avLst/>
              <a:gdLst>
                <a:gd name="T0" fmla="*/ 71 w 2254"/>
                <a:gd name="T1" fmla="*/ 0 h 2808"/>
                <a:gd name="T2" fmla="*/ 181 w 2254"/>
                <a:gd name="T3" fmla="*/ 16 h 2808"/>
                <a:gd name="T4" fmla="*/ 279 w 2254"/>
                <a:gd name="T5" fmla="*/ 42 h 2808"/>
                <a:gd name="T6" fmla="*/ 273 w 2254"/>
                <a:gd name="T7" fmla="*/ 81 h 2808"/>
                <a:gd name="T8" fmla="*/ 270 w 2254"/>
                <a:gd name="T9" fmla="*/ 133 h 2808"/>
                <a:gd name="T10" fmla="*/ 365 w 2254"/>
                <a:gd name="T11" fmla="*/ 139 h 2808"/>
                <a:gd name="T12" fmla="*/ 427 w 2254"/>
                <a:gd name="T13" fmla="*/ 146 h 2808"/>
                <a:gd name="T14" fmla="*/ 405 w 2254"/>
                <a:gd name="T15" fmla="*/ 284 h 2808"/>
                <a:gd name="T16" fmla="*/ 383 w 2254"/>
                <a:gd name="T17" fmla="*/ 533 h 2808"/>
                <a:gd name="T18" fmla="*/ 0 w 2254"/>
                <a:gd name="T19" fmla="*/ 476 h 2808"/>
                <a:gd name="T20" fmla="*/ 11 w 2254"/>
                <a:gd name="T21" fmla="*/ 386 h 2808"/>
                <a:gd name="T22" fmla="*/ 36 w 2254"/>
                <a:gd name="T23" fmla="*/ 231 h 2808"/>
                <a:gd name="T24" fmla="*/ 44 w 2254"/>
                <a:gd name="T25" fmla="*/ 159 h 2808"/>
                <a:gd name="T26" fmla="*/ 50 w 2254"/>
                <a:gd name="T27" fmla="*/ 95 h 2808"/>
                <a:gd name="T28" fmla="*/ 65 w 2254"/>
                <a:gd name="T29" fmla="*/ 22 h 2808"/>
                <a:gd name="T30" fmla="*/ 71 w 2254"/>
                <a:gd name="T31" fmla="*/ 0 h 28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54" h="2808">
                  <a:moveTo>
                    <a:pt x="377" y="0"/>
                  </a:moveTo>
                  <a:lnTo>
                    <a:pt x="956" y="85"/>
                  </a:lnTo>
                  <a:lnTo>
                    <a:pt x="1472" y="220"/>
                  </a:lnTo>
                  <a:lnTo>
                    <a:pt x="1441" y="428"/>
                  </a:lnTo>
                  <a:lnTo>
                    <a:pt x="1423" y="702"/>
                  </a:lnTo>
                  <a:lnTo>
                    <a:pt x="1926" y="730"/>
                  </a:lnTo>
                  <a:lnTo>
                    <a:pt x="2254" y="767"/>
                  </a:lnTo>
                  <a:lnTo>
                    <a:pt x="2136" y="1498"/>
                  </a:lnTo>
                  <a:lnTo>
                    <a:pt x="2024" y="2808"/>
                  </a:lnTo>
                  <a:lnTo>
                    <a:pt x="0" y="2509"/>
                  </a:lnTo>
                  <a:lnTo>
                    <a:pt x="56" y="2032"/>
                  </a:lnTo>
                  <a:lnTo>
                    <a:pt x="189" y="1219"/>
                  </a:lnTo>
                  <a:lnTo>
                    <a:pt x="234" y="838"/>
                  </a:lnTo>
                  <a:lnTo>
                    <a:pt x="266" y="501"/>
                  </a:lnTo>
                  <a:lnTo>
                    <a:pt x="345" y="118"/>
                  </a:lnTo>
                  <a:lnTo>
                    <a:pt x="377" y="0"/>
                  </a:lnTo>
                  <a:close/>
                </a:path>
              </a:pathLst>
            </a:custGeom>
            <a:solidFill>
              <a:srgbClr val="640002"/>
            </a:solidFill>
            <a:ln w="6350" cmpd="sng">
              <a:solidFill>
                <a:schemeClr val="bg1"/>
              </a:solidFill>
              <a:prstDash val="solid"/>
              <a:round/>
              <a:headEnd/>
              <a:tailEnd/>
            </a:ln>
            <a:effectLst/>
          </p:spPr>
          <p:txBody>
            <a:bodyPr/>
            <a:lstStyle/>
            <a:p>
              <a:endParaRPr lang="zh-CN" altLang="en-US" kern="0" dirty="0">
                <a:solidFill>
                  <a:sysClr val="windowText" lastClr="000000"/>
                </a:solidFill>
              </a:endParaRPr>
            </a:p>
          </p:txBody>
        </p:sp>
        <p:sp>
          <p:nvSpPr>
            <p:cNvPr id="296" name="Texas">
              <a:extLst>
                <a:ext uri="{FF2B5EF4-FFF2-40B4-BE49-F238E27FC236}">
                  <a16:creationId xmlns:a16="http://schemas.microsoft.com/office/drawing/2014/main" id="{C9078F4B-C348-40A0-9D6C-32E25614ECE9}"/>
                </a:ext>
              </a:extLst>
            </p:cNvPr>
            <p:cNvSpPr>
              <a:spLocks/>
            </p:cNvSpPr>
            <p:nvPr/>
          </p:nvSpPr>
          <p:spPr bwMode="auto">
            <a:xfrm>
              <a:off x="3674198" y="3772929"/>
              <a:ext cx="1770910" cy="1655126"/>
            </a:xfrm>
            <a:custGeom>
              <a:avLst/>
              <a:gdLst>
                <a:gd name="T0" fmla="*/ 11 w 5759"/>
                <a:gd name="T1" fmla="*/ 444 h 5383"/>
                <a:gd name="T2" fmla="*/ 68 w 5759"/>
                <a:gd name="T3" fmla="*/ 494 h 5383"/>
                <a:gd name="T4" fmla="*/ 108 w 5759"/>
                <a:gd name="T5" fmla="*/ 540 h 5383"/>
                <a:gd name="T6" fmla="*/ 137 w 5759"/>
                <a:gd name="T7" fmla="*/ 574 h 5383"/>
                <a:gd name="T8" fmla="*/ 163 w 5759"/>
                <a:gd name="T9" fmla="*/ 636 h 5383"/>
                <a:gd name="T10" fmla="*/ 205 w 5759"/>
                <a:gd name="T11" fmla="*/ 693 h 5383"/>
                <a:gd name="T12" fmla="*/ 271 w 5759"/>
                <a:gd name="T13" fmla="*/ 730 h 5383"/>
                <a:gd name="T14" fmla="*/ 313 w 5759"/>
                <a:gd name="T15" fmla="*/ 710 h 5383"/>
                <a:gd name="T16" fmla="*/ 353 w 5759"/>
                <a:gd name="T17" fmla="*/ 666 h 5383"/>
                <a:gd name="T18" fmla="*/ 412 w 5759"/>
                <a:gd name="T19" fmla="*/ 661 h 5383"/>
                <a:gd name="T20" fmla="*/ 488 w 5759"/>
                <a:gd name="T21" fmla="*/ 727 h 5383"/>
                <a:gd name="T22" fmla="*/ 563 w 5759"/>
                <a:gd name="T23" fmla="*/ 841 h 5383"/>
                <a:gd name="T24" fmla="*/ 606 w 5759"/>
                <a:gd name="T25" fmla="*/ 909 h 5383"/>
                <a:gd name="T26" fmla="*/ 637 w 5759"/>
                <a:gd name="T27" fmla="*/ 983 h 5383"/>
                <a:gd name="T28" fmla="*/ 745 w 5759"/>
                <a:gd name="T29" fmla="*/ 1018 h 5383"/>
                <a:gd name="T30" fmla="*/ 811 w 5759"/>
                <a:gd name="T31" fmla="*/ 1021 h 5383"/>
                <a:gd name="T32" fmla="*/ 794 w 5759"/>
                <a:gd name="T33" fmla="*/ 979 h 5383"/>
                <a:gd name="T34" fmla="*/ 768 w 5759"/>
                <a:gd name="T35" fmla="*/ 938 h 5383"/>
                <a:gd name="T36" fmla="*/ 773 w 5759"/>
                <a:gd name="T37" fmla="*/ 892 h 5383"/>
                <a:gd name="T38" fmla="*/ 777 w 5759"/>
                <a:gd name="T39" fmla="*/ 868 h 5383"/>
                <a:gd name="T40" fmla="*/ 762 w 5759"/>
                <a:gd name="T41" fmla="*/ 830 h 5383"/>
                <a:gd name="T42" fmla="*/ 779 w 5759"/>
                <a:gd name="T43" fmla="*/ 796 h 5383"/>
                <a:gd name="T44" fmla="*/ 830 w 5759"/>
                <a:gd name="T45" fmla="*/ 762 h 5383"/>
                <a:gd name="T46" fmla="*/ 859 w 5759"/>
                <a:gd name="T47" fmla="*/ 739 h 5383"/>
                <a:gd name="T48" fmla="*/ 930 w 5759"/>
                <a:gd name="T49" fmla="*/ 725 h 5383"/>
                <a:gd name="T50" fmla="*/ 955 w 5759"/>
                <a:gd name="T51" fmla="*/ 688 h 5383"/>
                <a:gd name="T52" fmla="*/ 967 w 5759"/>
                <a:gd name="T53" fmla="*/ 636 h 5383"/>
                <a:gd name="T54" fmla="*/ 1001 w 5759"/>
                <a:gd name="T55" fmla="*/ 653 h 5383"/>
                <a:gd name="T56" fmla="*/ 1080 w 5759"/>
                <a:gd name="T57" fmla="*/ 625 h 5383"/>
                <a:gd name="T58" fmla="*/ 1075 w 5759"/>
                <a:gd name="T59" fmla="*/ 523 h 5383"/>
                <a:gd name="T60" fmla="*/ 1083 w 5759"/>
                <a:gd name="T61" fmla="*/ 469 h 5383"/>
                <a:gd name="T62" fmla="*/ 1049 w 5759"/>
                <a:gd name="T63" fmla="*/ 422 h 5383"/>
                <a:gd name="T64" fmla="*/ 1038 w 5759"/>
                <a:gd name="T65" fmla="*/ 367 h 5383"/>
                <a:gd name="T66" fmla="*/ 1038 w 5759"/>
                <a:gd name="T67" fmla="*/ 317 h 5383"/>
                <a:gd name="T68" fmla="*/ 1036 w 5759"/>
                <a:gd name="T69" fmla="*/ 277 h 5383"/>
                <a:gd name="T70" fmla="*/ 991 w 5759"/>
                <a:gd name="T71" fmla="*/ 256 h 5383"/>
                <a:gd name="T72" fmla="*/ 940 w 5759"/>
                <a:gd name="T73" fmla="*/ 233 h 5383"/>
                <a:gd name="T74" fmla="*/ 895 w 5759"/>
                <a:gd name="T75" fmla="*/ 237 h 5383"/>
                <a:gd name="T76" fmla="*/ 797 w 5759"/>
                <a:gd name="T77" fmla="*/ 248 h 5383"/>
                <a:gd name="T78" fmla="*/ 744 w 5759"/>
                <a:gd name="T79" fmla="*/ 237 h 5383"/>
                <a:gd name="T80" fmla="*/ 686 w 5759"/>
                <a:gd name="T81" fmla="*/ 217 h 5383"/>
                <a:gd name="T82" fmla="*/ 611 w 5759"/>
                <a:gd name="T83" fmla="*/ 205 h 5383"/>
                <a:gd name="T84" fmla="*/ 566 w 5759"/>
                <a:gd name="T85" fmla="*/ 191 h 5383"/>
                <a:gd name="T86" fmla="*/ 535 w 5759"/>
                <a:gd name="T87" fmla="*/ 163 h 5383"/>
                <a:gd name="T88" fmla="*/ 535 w 5759"/>
                <a:gd name="T89" fmla="*/ 118 h 5383"/>
                <a:gd name="T90" fmla="*/ 539 w 5759"/>
                <a:gd name="T91" fmla="*/ 38 h 5383"/>
                <a:gd name="T92" fmla="*/ 473 w 5759"/>
                <a:gd name="T93" fmla="*/ 0 h 5383"/>
                <a:gd name="T94" fmla="*/ 305 w 5759"/>
                <a:gd name="T95" fmla="*/ 3 h 5383"/>
                <a:gd name="T96" fmla="*/ 303 w 5759"/>
                <a:gd name="T97" fmla="*/ 433 h 53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759" h="5383">
                  <a:moveTo>
                    <a:pt x="0" y="2219"/>
                  </a:moveTo>
                  <a:lnTo>
                    <a:pt x="60" y="2339"/>
                  </a:lnTo>
                  <a:lnTo>
                    <a:pt x="199" y="2439"/>
                  </a:lnTo>
                  <a:lnTo>
                    <a:pt x="361" y="2605"/>
                  </a:lnTo>
                  <a:lnTo>
                    <a:pt x="421" y="2755"/>
                  </a:lnTo>
                  <a:lnTo>
                    <a:pt x="571" y="2845"/>
                  </a:lnTo>
                  <a:lnTo>
                    <a:pt x="661" y="2875"/>
                  </a:lnTo>
                  <a:lnTo>
                    <a:pt x="721" y="3025"/>
                  </a:lnTo>
                  <a:lnTo>
                    <a:pt x="841" y="3175"/>
                  </a:lnTo>
                  <a:lnTo>
                    <a:pt x="863" y="3351"/>
                  </a:lnTo>
                  <a:lnTo>
                    <a:pt x="951" y="3519"/>
                  </a:lnTo>
                  <a:lnTo>
                    <a:pt x="1081" y="3655"/>
                  </a:lnTo>
                  <a:lnTo>
                    <a:pt x="1261" y="3685"/>
                  </a:lnTo>
                  <a:lnTo>
                    <a:pt x="1431" y="3847"/>
                  </a:lnTo>
                  <a:lnTo>
                    <a:pt x="1535" y="3815"/>
                  </a:lnTo>
                  <a:lnTo>
                    <a:pt x="1651" y="3745"/>
                  </a:lnTo>
                  <a:lnTo>
                    <a:pt x="1681" y="3595"/>
                  </a:lnTo>
                  <a:lnTo>
                    <a:pt x="1863" y="3511"/>
                  </a:lnTo>
                  <a:lnTo>
                    <a:pt x="1981" y="3415"/>
                  </a:lnTo>
                  <a:lnTo>
                    <a:pt x="2175" y="3487"/>
                  </a:lnTo>
                  <a:lnTo>
                    <a:pt x="2319" y="3567"/>
                  </a:lnTo>
                  <a:lnTo>
                    <a:pt x="2575" y="3831"/>
                  </a:lnTo>
                  <a:lnTo>
                    <a:pt x="2735" y="4095"/>
                  </a:lnTo>
                  <a:lnTo>
                    <a:pt x="2972" y="4435"/>
                  </a:lnTo>
                  <a:lnTo>
                    <a:pt x="3122" y="4555"/>
                  </a:lnTo>
                  <a:lnTo>
                    <a:pt x="3199" y="4791"/>
                  </a:lnTo>
                  <a:lnTo>
                    <a:pt x="3327" y="5023"/>
                  </a:lnTo>
                  <a:lnTo>
                    <a:pt x="3362" y="5185"/>
                  </a:lnTo>
                  <a:lnTo>
                    <a:pt x="3631" y="5279"/>
                  </a:lnTo>
                  <a:lnTo>
                    <a:pt x="3932" y="5365"/>
                  </a:lnTo>
                  <a:lnTo>
                    <a:pt x="4119" y="5383"/>
                  </a:lnTo>
                  <a:lnTo>
                    <a:pt x="4279" y="5383"/>
                  </a:lnTo>
                  <a:lnTo>
                    <a:pt x="4207" y="5271"/>
                  </a:lnTo>
                  <a:lnTo>
                    <a:pt x="4191" y="5159"/>
                  </a:lnTo>
                  <a:lnTo>
                    <a:pt x="4119" y="5079"/>
                  </a:lnTo>
                  <a:lnTo>
                    <a:pt x="4052" y="4945"/>
                  </a:lnTo>
                  <a:lnTo>
                    <a:pt x="4079" y="4839"/>
                  </a:lnTo>
                  <a:lnTo>
                    <a:pt x="4082" y="4705"/>
                  </a:lnTo>
                  <a:lnTo>
                    <a:pt x="3975" y="4639"/>
                  </a:lnTo>
                  <a:lnTo>
                    <a:pt x="4103" y="4575"/>
                  </a:lnTo>
                  <a:lnTo>
                    <a:pt x="4112" y="4435"/>
                  </a:lnTo>
                  <a:lnTo>
                    <a:pt x="4022" y="4375"/>
                  </a:lnTo>
                  <a:lnTo>
                    <a:pt x="4202" y="4345"/>
                  </a:lnTo>
                  <a:lnTo>
                    <a:pt x="4112" y="4195"/>
                  </a:lnTo>
                  <a:lnTo>
                    <a:pt x="4322" y="4165"/>
                  </a:lnTo>
                  <a:lnTo>
                    <a:pt x="4382" y="4015"/>
                  </a:lnTo>
                  <a:lnTo>
                    <a:pt x="4472" y="4015"/>
                  </a:lnTo>
                  <a:lnTo>
                    <a:pt x="4532" y="3895"/>
                  </a:lnTo>
                  <a:lnTo>
                    <a:pt x="4772" y="3895"/>
                  </a:lnTo>
                  <a:lnTo>
                    <a:pt x="4911" y="3823"/>
                  </a:lnTo>
                  <a:lnTo>
                    <a:pt x="5042" y="3745"/>
                  </a:lnTo>
                  <a:lnTo>
                    <a:pt x="5042" y="3625"/>
                  </a:lnTo>
                  <a:lnTo>
                    <a:pt x="5192" y="3535"/>
                  </a:lnTo>
                  <a:lnTo>
                    <a:pt x="5102" y="3355"/>
                  </a:lnTo>
                  <a:lnTo>
                    <a:pt x="5252" y="3325"/>
                  </a:lnTo>
                  <a:lnTo>
                    <a:pt x="5282" y="3445"/>
                  </a:lnTo>
                  <a:lnTo>
                    <a:pt x="5463" y="3391"/>
                  </a:lnTo>
                  <a:lnTo>
                    <a:pt x="5702" y="3295"/>
                  </a:lnTo>
                  <a:lnTo>
                    <a:pt x="5695" y="3031"/>
                  </a:lnTo>
                  <a:lnTo>
                    <a:pt x="5672" y="2755"/>
                  </a:lnTo>
                  <a:lnTo>
                    <a:pt x="5759" y="2671"/>
                  </a:lnTo>
                  <a:lnTo>
                    <a:pt x="5719" y="2471"/>
                  </a:lnTo>
                  <a:lnTo>
                    <a:pt x="5612" y="2305"/>
                  </a:lnTo>
                  <a:lnTo>
                    <a:pt x="5535" y="2223"/>
                  </a:lnTo>
                  <a:lnTo>
                    <a:pt x="5462" y="2035"/>
                  </a:lnTo>
                  <a:lnTo>
                    <a:pt x="5479" y="1935"/>
                  </a:lnTo>
                  <a:lnTo>
                    <a:pt x="5463" y="1799"/>
                  </a:lnTo>
                  <a:lnTo>
                    <a:pt x="5479" y="1671"/>
                  </a:lnTo>
                  <a:lnTo>
                    <a:pt x="5439" y="1559"/>
                  </a:lnTo>
                  <a:lnTo>
                    <a:pt x="5471" y="1463"/>
                  </a:lnTo>
                  <a:lnTo>
                    <a:pt x="5432" y="1345"/>
                  </a:lnTo>
                  <a:lnTo>
                    <a:pt x="5231" y="1351"/>
                  </a:lnTo>
                  <a:lnTo>
                    <a:pt x="5075" y="1317"/>
                  </a:lnTo>
                  <a:lnTo>
                    <a:pt x="4964" y="1226"/>
                  </a:lnTo>
                  <a:lnTo>
                    <a:pt x="4865" y="1271"/>
                  </a:lnTo>
                  <a:lnTo>
                    <a:pt x="4727" y="1251"/>
                  </a:lnTo>
                  <a:lnTo>
                    <a:pt x="4479" y="1350"/>
                  </a:lnTo>
                  <a:lnTo>
                    <a:pt x="4208" y="1305"/>
                  </a:lnTo>
                  <a:lnTo>
                    <a:pt x="4055" y="1319"/>
                  </a:lnTo>
                  <a:lnTo>
                    <a:pt x="3927" y="1251"/>
                  </a:lnTo>
                  <a:lnTo>
                    <a:pt x="3786" y="1287"/>
                  </a:lnTo>
                  <a:lnTo>
                    <a:pt x="3620" y="1143"/>
                  </a:lnTo>
                  <a:lnTo>
                    <a:pt x="3392" y="1179"/>
                  </a:lnTo>
                  <a:lnTo>
                    <a:pt x="3227" y="1079"/>
                  </a:lnTo>
                  <a:lnTo>
                    <a:pt x="3084" y="1068"/>
                  </a:lnTo>
                  <a:lnTo>
                    <a:pt x="2988" y="1005"/>
                  </a:lnTo>
                  <a:lnTo>
                    <a:pt x="2828" y="989"/>
                  </a:lnTo>
                  <a:lnTo>
                    <a:pt x="2823" y="858"/>
                  </a:lnTo>
                  <a:lnTo>
                    <a:pt x="2786" y="740"/>
                  </a:lnTo>
                  <a:lnTo>
                    <a:pt x="2823" y="620"/>
                  </a:lnTo>
                  <a:lnTo>
                    <a:pt x="2852" y="458"/>
                  </a:lnTo>
                  <a:lnTo>
                    <a:pt x="2843" y="198"/>
                  </a:lnTo>
                  <a:lnTo>
                    <a:pt x="2825" y="0"/>
                  </a:lnTo>
                  <a:lnTo>
                    <a:pt x="2498" y="0"/>
                  </a:lnTo>
                  <a:lnTo>
                    <a:pt x="2156" y="9"/>
                  </a:lnTo>
                  <a:lnTo>
                    <a:pt x="1611" y="18"/>
                  </a:lnTo>
                  <a:lnTo>
                    <a:pt x="1629" y="1167"/>
                  </a:lnTo>
                  <a:lnTo>
                    <a:pt x="1598" y="2282"/>
                  </a:lnTo>
                  <a:lnTo>
                    <a:pt x="0" y="2219"/>
                  </a:lnTo>
                  <a:close/>
                </a:path>
              </a:pathLst>
            </a:custGeom>
            <a:solidFill>
              <a:srgbClr val="960004"/>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297" name="Tennessee">
              <a:extLst>
                <a:ext uri="{FF2B5EF4-FFF2-40B4-BE49-F238E27FC236}">
                  <a16:creationId xmlns:a16="http://schemas.microsoft.com/office/drawing/2014/main" id="{9E4C40B6-9640-46F2-9116-B26AB49C2391}"/>
                </a:ext>
              </a:extLst>
            </p:cNvPr>
            <p:cNvSpPr>
              <a:spLocks/>
            </p:cNvSpPr>
            <p:nvPr/>
          </p:nvSpPr>
          <p:spPr bwMode="auto">
            <a:xfrm>
              <a:off x="5820066" y="3430881"/>
              <a:ext cx="1014499" cy="465251"/>
            </a:xfrm>
            <a:custGeom>
              <a:avLst/>
              <a:gdLst>
                <a:gd name="T0" fmla="*/ 27 w 3296"/>
                <a:gd name="T1" fmla="*/ 190 h 1514"/>
                <a:gd name="T2" fmla="*/ 28 w 3296"/>
                <a:gd name="T3" fmla="*/ 207 h 1514"/>
                <a:gd name="T4" fmla="*/ 17 w 3296"/>
                <a:gd name="T5" fmla="*/ 222 h 1514"/>
                <a:gd name="T6" fmla="*/ 16 w 3296"/>
                <a:gd name="T7" fmla="*/ 238 h 1514"/>
                <a:gd name="T8" fmla="*/ 5 w 3296"/>
                <a:gd name="T9" fmla="*/ 250 h 1514"/>
                <a:gd name="T10" fmla="*/ 0 w 3296"/>
                <a:gd name="T11" fmla="*/ 287 h 1514"/>
                <a:gd name="T12" fmla="*/ 10 w 3296"/>
                <a:gd name="T13" fmla="*/ 286 h 1514"/>
                <a:gd name="T14" fmla="*/ 44 w 3296"/>
                <a:gd name="T15" fmla="*/ 280 h 1514"/>
                <a:gd name="T16" fmla="*/ 77 w 3296"/>
                <a:gd name="T17" fmla="*/ 277 h 1514"/>
                <a:gd name="T18" fmla="*/ 97 w 3296"/>
                <a:gd name="T19" fmla="*/ 273 h 1514"/>
                <a:gd name="T20" fmla="*/ 114 w 3296"/>
                <a:gd name="T21" fmla="*/ 273 h 1514"/>
                <a:gd name="T22" fmla="*/ 143 w 3296"/>
                <a:gd name="T23" fmla="*/ 272 h 1514"/>
                <a:gd name="T24" fmla="*/ 157 w 3296"/>
                <a:gd name="T25" fmla="*/ 261 h 1514"/>
                <a:gd name="T26" fmla="*/ 162 w 3296"/>
                <a:gd name="T27" fmla="*/ 250 h 1514"/>
                <a:gd name="T28" fmla="*/ 181 w 3296"/>
                <a:gd name="T29" fmla="*/ 255 h 1514"/>
                <a:gd name="T30" fmla="*/ 196 w 3296"/>
                <a:gd name="T31" fmla="*/ 244 h 1514"/>
                <a:gd name="T32" fmla="*/ 208 w 3296"/>
                <a:gd name="T33" fmla="*/ 248 h 1514"/>
                <a:gd name="T34" fmla="*/ 211 w 3296"/>
                <a:gd name="T35" fmla="*/ 260 h 1514"/>
                <a:gd name="T36" fmla="*/ 236 w 3296"/>
                <a:gd name="T37" fmla="*/ 256 h 1514"/>
                <a:gd name="T38" fmla="*/ 275 w 3296"/>
                <a:gd name="T39" fmla="*/ 244 h 1514"/>
                <a:gd name="T40" fmla="*/ 302 w 3296"/>
                <a:gd name="T41" fmla="*/ 241 h 1514"/>
                <a:gd name="T42" fmla="*/ 338 w 3296"/>
                <a:gd name="T43" fmla="*/ 228 h 1514"/>
                <a:gd name="T44" fmla="*/ 373 w 3296"/>
                <a:gd name="T45" fmla="*/ 227 h 1514"/>
                <a:gd name="T46" fmla="*/ 396 w 3296"/>
                <a:gd name="T47" fmla="*/ 216 h 1514"/>
                <a:gd name="T48" fmla="*/ 426 w 3296"/>
                <a:gd name="T49" fmla="*/ 218 h 1514"/>
                <a:gd name="T50" fmla="*/ 447 w 3296"/>
                <a:gd name="T51" fmla="*/ 204 h 1514"/>
                <a:gd name="T52" fmla="*/ 447 w 3296"/>
                <a:gd name="T53" fmla="*/ 176 h 1514"/>
                <a:gd name="T54" fmla="*/ 464 w 3296"/>
                <a:gd name="T55" fmla="*/ 171 h 1514"/>
                <a:gd name="T56" fmla="*/ 479 w 3296"/>
                <a:gd name="T57" fmla="*/ 146 h 1514"/>
                <a:gd name="T58" fmla="*/ 550 w 3296"/>
                <a:gd name="T59" fmla="*/ 92 h 1514"/>
                <a:gd name="T60" fmla="*/ 543 w 3296"/>
                <a:gd name="T61" fmla="*/ 74 h 1514"/>
                <a:gd name="T62" fmla="*/ 612 w 3296"/>
                <a:gd name="T63" fmla="*/ 39 h 1514"/>
                <a:gd name="T64" fmla="*/ 625 w 3296"/>
                <a:gd name="T65" fmla="*/ 21 h 1514"/>
                <a:gd name="T66" fmla="*/ 624 w 3296"/>
                <a:gd name="T67" fmla="*/ 0 h 1514"/>
                <a:gd name="T68" fmla="*/ 598 w 3296"/>
                <a:gd name="T69" fmla="*/ 12 h 1514"/>
                <a:gd name="T70" fmla="*/ 551 w 3296"/>
                <a:gd name="T71" fmla="*/ 20 h 1514"/>
                <a:gd name="T72" fmla="*/ 491 w 3296"/>
                <a:gd name="T73" fmla="*/ 35 h 1514"/>
                <a:gd name="T74" fmla="*/ 450 w 3296"/>
                <a:gd name="T75" fmla="*/ 46 h 1514"/>
                <a:gd name="T76" fmla="*/ 396 w 3296"/>
                <a:gd name="T77" fmla="*/ 55 h 1514"/>
                <a:gd name="T78" fmla="*/ 352 w 3296"/>
                <a:gd name="T79" fmla="*/ 61 h 1514"/>
                <a:gd name="T80" fmla="*/ 279 w 3296"/>
                <a:gd name="T81" fmla="*/ 76 h 1514"/>
                <a:gd name="T82" fmla="*/ 228 w 3296"/>
                <a:gd name="T83" fmla="*/ 92 h 1514"/>
                <a:gd name="T84" fmla="*/ 193 w 3296"/>
                <a:gd name="T85" fmla="*/ 91 h 1514"/>
                <a:gd name="T86" fmla="*/ 131 w 3296"/>
                <a:gd name="T87" fmla="*/ 116 h 1514"/>
                <a:gd name="T88" fmla="*/ 104 w 3296"/>
                <a:gd name="T89" fmla="*/ 117 h 1514"/>
                <a:gd name="T90" fmla="*/ 82 w 3296"/>
                <a:gd name="T91" fmla="*/ 123 h 1514"/>
                <a:gd name="T92" fmla="*/ 60 w 3296"/>
                <a:gd name="T93" fmla="*/ 120 h 1514"/>
                <a:gd name="T94" fmla="*/ 43 w 3296"/>
                <a:gd name="T95" fmla="*/ 127 h 1514"/>
                <a:gd name="T96" fmla="*/ 36 w 3296"/>
                <a:gd name="T97" fmla="*/ 144 h 1514"/>
                <a:gd name="T98" fmla="*/ 27 w 3296"/>
                <a:gd name="T99" fmla="*/ 162 h 1514"/>
                <a:gd name="T100" fmla="*/ 32 w 3296"/>
                <a:gd name="T101" fmla="*/ 179 h 1514"/>
                <a:gd name="T102" fmla="*/ 27 w 3296"/>
                <a:gd name="T103" fmla="*/ 190 h 15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6" h="1514">
                  <a:moveTo>
                    <a:pt x="140" y="1004"/>
                  </a:moveTo>
                  <a:lnTo>
                    <a:pt x="150" y="1093"/>
                  </a:lnTo>
                  <a:lnTo>
                    <a:pt x="92" y="1169"/>
                  </a:lnTo>
                  <a:lnTo>
                    <a:pt x="86" y="1255"/>
                  </a:lnTo>
                  <a:lnTo>
                    <a:pt x="29" y="1321"/>
                  </a:lnTo>
                  <a:lnTo>
                    <a:pt x="0" y="1514"/>
                  </a:lnTo>
                  <a:lnTo>
                    <a:pt x="51" y="1511"/>
                  </a:lnTo>
                  <a:lnTo>
                    <a:pt x="231" y="1475"/>
                  </a:lnTo>
                  <a:lnTo>
                    <a:pt x="405" y="1463"/>
                  </a:lnTo>
                  <a:lnTo>
                    <a:pt x="513" y="1439"/>
                  </a:lnTo>
                  <a:lnTo>
                    <a:pt x="603" y="1439"/>
                  </a:lnTo>
                  <a:lnTo>
                    <a:pt x="753" y="1433"/>
                  </a:lnTo>
                  <a:lnTo>
                    <a:pt x="826" y="1378"/>
                  </a:lnTo>
                  <a:lnTo>
                    <a:pt x="856" y="1318"/>
                  </a:lnTo>
                  <a:lnTo>
                    <a:pt x="957" y="1343"/>
                  </a:lnTo>
                  <a:lnTo>
                    <a:pt x="1036" y="1288"/>
                  </a:lnTo>
                  <a:lnTo>
                    <a:pt x="1095" y="1307"/>
                  </a:lnTo>
                  <a:lnTo>
                    <a:pt x="1113" y="1373"/>
                  </a:lnTo>
                  <a:lnTo>
                    <a:pt x="1246" y="1348"/>
                  </a:lnTo>
                  <a:lnTo>
                    <a:pt x="1449" y="1289"/>
                  </a:lnTo>
                  <a:lnTo>
                    <a:pt x="1593" y="1271"/>
                  </a:lnTo>
                  <a:lnTo>
                    <a:pt x="1784" y="1205"/>
                  </a:lnTo>
                  <a:lnTo>
                    <a:pt x="1965" y="1198"/>
                  </a:lnTo>
                  <a:lnTo>
                    <a:pt x="2090" y="1139"/>
                  </a:lnTo>
                  <a:lnTo>
                    <a:pt x="2246" y="1151"/>
                  </a:lnTo>
                  <a:lnTo>
                    <a:pt x="2355" y="1078"/>
                  </a:lnTo>
                  <a:lnTo>
                    <a:pt x="2357" y="931"/>
                  </a:lnTo>
                  <a:lnTo>
                    <a:pt x="2445" y="903"/>
                  </a:lnTo>
                  <a:lnTo>
                    <a:pt x="2528" y="769"/>
                  </a:lnTo>
                  <a:lnTo>
                    <a:pt x="2900" y="483"/>
                  </a:lnTo>
                  <a:lnTo>
                    <a:pt x="2865" y="388"/>
                  </a:lnTo>
                  <a:lnTo>
                    <a:pt x="3225" y="208"/>
                  </a:lnTo>
                  <a:lnTo>
                    <a:pt x="3296" y="113"/>
                  </a:lnTo>
                  <a:lnTo>
                    <a:pt x="3293" y="0"/>
                  </a:lnTo>
                  <a:lnTo>
                    <a:pt x="3152" y="65"/>
                  </a:lnTo>
                  <a:lnTo>
                    <a:pt x="2906" y="107"/>
                  </a:lnTo>
                  <a:lnTo>
                    <a:pt x="2590" y="182"/>
                  </a:lnTo>
                  <a:lnTo>
                    <a:pt x="2372" y="245"/>
                  </a:lnTo>
                  <a:lnTo>
                    <a:pt x="2086" y="292"/>
                  </a:lnTo>
                  <a:lnTo>
                    <a:pt x="1856" y="322"/>
                  </a:lnTo>
                  <a:lnTo>
                    <a:pt x="1472" y="400"/>
                  </a:lnTo>
                  <a:lnTo>
                    <a:pt x="1200" y="485"/>
                  </a:lnTo>
                  <a:lnTo>
                    <a:pt x="1017" y="479"/>
                  </a:lnTo>
                  <a:lnTo>
                    <a:pt x="689" y="613"/>
                  </a:lnTo>
                  <a:lnTo>
                    <a:pt x="549" y="617"/>
                  </a:lnTo>
                  <a:lnTo>
                    <a:pt x="435" y="649"/>
                  </a:lnTo>
                  <a:lnTo>
                    <a:pt x="315" y="632"/>
                  </a:lnTo>
                  <a:lnTo>
                    <a:pt x="228" y="671"/>
                  </a:lnTo>
                  <a:lnTo>
                    <a:pt x="189" y="761"/>
                  </a:lnTo>
                  <a:lnTo>
                    <a:pt x="140" y="853"/>
                  </a:lnTo>
                  <a:lnTo>
                    <a:pt x="170" y="943"/>
                  </a:lnTo>
                  <a:lnTo>
                    <a:pt x="140" y="1004"/>
                  </a:lnTo>
                  <a:close/>
                </a:path>
              </a:pathLst>
            </a:custGeom>
            <a:solidFill>
              <a:srgbClr val="420002"/>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298" name="South Dakota">
              <a:extLst>
                <a:ext uri="{FF2B5EF4-FFF2-40B4-BE49-F238E27FC236}">
                  <a16:creationId xmlns:a16="http://schemas.microsoft.com/office/drawing/2014/main" id="{596DDE2A-BCE6-48D5-9FA6-EF44F730685A}"/>
                </a:ext>
              </a:extLst>
            </p:cNvPr>
            <p:cNvSpPr>
              <a:spLocks/>
            </p:cNvSpPr>
            <p:nvPr/>
          </p:nvSpPr>
          <p:spPr bwMode="auto">
            <a:xfrm>
              <a:off x="4079997" y="2307470"/>
              <a:ext cx="868411" cy="512263"/>
            </a:xfrm>
            <a:custGeom>
              <a:avLst/>
              <a:gdLst>
                <a:gd name="T0" fmla="*/ 0 w 2822"/>
                <a:gd name="T1" fmla="*/ 276 h 1670"/>
                <a:gd name="T2" fmla="*/ 108 w 2822"/>
                <a:gd name="T3" fmla="*/ 285 h 1670"/>
                <a:gd name="T4" fmla="*/ 217 w 2822"/>
                <a:gd name="T5" fmla="*/ 286 h 1670"/>
                <a:gd name="T6" fmla="*/ 295 w 2822"/>
                <a:gd name="T7" fmla="*/ 285 h 1670"/>
                <a:gd name="T8" fmla="*/ 349 w 2822"/>
                <a:gd name="T9" fmla="*/ 283 h 1670"/>
                <a:gd name="T10" fmla="*/ 376 w 2822"/>
                <a:gd name="T11" fmla="*/ 281 h 1670"/>
                <a:gd name="T12" fmla="*/ 422 w 2822"/>
                <a:gd name="T13" fmla="*/ 298 h 1670"/>
                <a:gd name="T14" fmla="*/ 439 w 2822"/>
                <a:gd name="T15" fmla="*/ 286 h 1670"/>
                <a:gd name="T16" fmla="*/ 473 w 2822"/>
                <a:gd name="T17" fmla="*/ 286 h 1670"/>
                <a:gd name="T18" fmla="*/ 485 w 2822"/>
                <a:gd name="T19" fmla="*/ 303 h 1670"/>
                <a:gd name="T20" fmla="*/ 535 w 2822"/>
                <a:gd name="T21" fmla="*/ 316 h 1670"/>
                <a:gd name="T22" fmla="*/ 535 w 2822"/>
                <a:gd name="T23" fmla="*/ 259 h 1670"/>
                <a:gd name="T24" fmla="*/ 528 w 2822"/>
                <a:gd name="T25" fmla="*/ 233 h 1670"/>
                <a:gd name="T26" fmla="*/ 533 w 2822"/>
                <a:gd name="T27" fmla="*/ 181 h 1670"/>
                <a:gd name="T28" fmla="*/ 526 w 2822"/>
                <a:gd name="T29" fmla="*/ 72 h 1670"/>
                <a:gd name="T30" fmla="*/ 502 w 2822"/>
                <a:gd name="T31" fmla="*/ 43 h 1670"/>
                <a:gd name="T32" fmla="*/ 509 w 2822"/>
                <a:gd name="T33" fmla="*/ 22 h 1670"/>
                <a:gd name="T34" fmla="*/ 507 w 2822"/>
                <a:gd name="T35" fmla="*/ 0 h 1670"/>
                <a:gd name="T36" fmla="*/ 388 w 2822"/>
                <a:gd name="T37" fmla="*/ 3 h 1670"/>
                <a:gd name="T38" fmla="*/ 10 w 2822"/>
                <a:gd name="T39" fmla="*/ 10 h 1670"/>
                <a:gd name="T40" fmla="*/ 5 w 2822"/>
                <a:gd name="T41" fmla="*/ 90 h 1670"/>
                <a:gd name="T42" fmla="*/ 0 w 2822"/>
                <a:gd name="T43" fmla="*/ 276 h 16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22" h="1670">
                  <a:moveTo>
                    <a:pt x="0" y="1456"/>
                  </a:moveTo>
                  <a:lnTo>
                    <a:pt x="570" y="1505"/>
                  </a:lnTo>
                  <a:lnTo>
                    <a:pt x="1143" y="1513"/>
                  </a:lnTo>
                  <a:lnTo>
                    <a:pt x="1558" y="1505"/>
                  </a:lnTo>
                  <a:lnTo>
                    <a:pt x="1842" y="1496"/>
                  </a:lnTo>
                  <a:lnTo>
                    <a:pt x="1985" y="1483"/>
                  </a:lnTo>
                  <a:lnTo>
                    <a:pt x="2225" y="1573"/>
                  </a:lnTo>
                  <a:lnTo>
                    <a:pt x="2315" y="1513"/>
                  </a:lnTo>
                  <a:lnTo>
                    <a:pt x="2496" y="1513"/>
                  </a:lnTo>
                  <a:lnTo>
                    <a:pt x="2556" y="1603"/>
                  </a:lnTo>
                  <a:lnTo>
                    <a:pt x="2822" y="1670"/>
                  </a:lnTo>
                  <a:lnTo>
                    <a:pt x="2822" y="1369"/>
                  </a:lnTo>
                  <a:lnTo>
                    <a:pt x="2785" y="1232"/>
                  </a:lnTo>
                  <a:lnTo>
                    <a:pt x="2813" y="957"/>
                  </a:lnTo>
                  <a:lnTo>
                    <a:pt x="2776" y="382"/>
                  </a:lnTo>
                  <a:lnTo>
                    <a:pt x="2646" y="226"/>
                  </a:lnTo>
                  <a:lnTo>
                    <a:pt x="2685" y="118"/>
                  </a:lnTo>
                  <a:lnTo>
                    <a:pt x="2674" y="0"/>
                  </a:lnTo>
                  <a:lnTo>
                    <a:pt x="2045" y="16"/>
                  </a:lnTo>
                  <a:lnTo>
                    <a:pt x="54" y="54"/>
                  </a:lnTo>
                  <a:lnTo>
                    <a:pt x="28" y="476"/>
                  </a:lnTo>
                  <a:lnTo>
                    <a:pt x="0" y="1456"/>
                  </a:lnTo>
                  <a:close/>
                </a:path>
              </a:pathLst>
            </a:custGeom>
            <a:solidFill>
              <a:srgbClr val="640002"/>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299" name="South Carolina">
              <a:extLst>
                <a:ext uri="{FF2B5EF4-FFF2-40B4-BE49-F238E27FC236}">
                  <a16:creationId xmlns:a16="http://schemas.microsoft.com/office/drawing/2014/main" id="{7CB13354-7B5D-4F94-ADC4-46157D246228}"/>
                </a:ext>
              </a:extLst>
            </p:cNvPr>
            <p:cNvSpPr>
              <a:spLocks/>
            </p:cNvSpPr>
            <p:nvPr/>
          </p:nvSpPr>
          <p:spPr bwMode="auto">
            <a:xfrm>
              <a:off x="6694971" y="3618926"/>
              <a:ext cx="608699" cy="486324"/>
            </a:xfrm>
            <a:custGeom>
              <a:avLst/>
              <a:gdLst>
                <a:gd name="T0" fmla="*/ 0 w 1978"/>
                <a:gd name="T1" fmla="*/ 68 h 1580"/>
                <a:gd name="T2" fmla="*/ 67 w 1978"/>
                <a:gd name="T3" fmla="*/ 37 h 1580"/>
                <a:gd name="T4" fmla="*/ 114 w 1978"/>
                <a:gd name="T5" fmla="*/ 23 h 1580"/>
                <a:gd name="T6" fmla="*/ 150 w 1978"/>
                <a:gd name="T7" fmla="*/ 13 h 1580"/>
                <a:gd name="T8" fmla="*/ 182 w 1978"/>
                <a:gd name="T9" fmla="*/ 17 h 1580"/>
                <a:gd name="T10" fmla="*/ 199 w 1978"/>
                <a:gd name="T11" fmla="*/ 34 h 1580"/>
                <a:gd name="T12" fmla="*/ 234 w 1978"/>
                <a:gd name="T13" fmla="*/ 23 h 1580"/>
                <a:gd name="T14" fmla="*/ 279 w 1978"/>
                <a:gd name="T15" fmla="*/ 0 h 1580"/>
                <a:gd name="T16" fmla="*/ 325 w 1978"/>
                <a:gd name="T17" fmla="*/ 40 h 1580"/>
                <a:gd name="T18" fmla="*/ 364 w 1978"/>
                <a:gd name="T19" fmla="*/ 63 h 1580"/>
                <a:gd name="T20" fmla="*/ 375 w 1978"/>
                <a:gd name="T21" fmla="*/ 85 h 1580"/>
                <a:gd name="T22" fmla="*/ 359 w 1978"/>
                <a:gd name="T23" fmla="*/ 119 h 1580"/>
                <a:gd name="T24" fmla="*/ 330 w 1978"/>
                <a:gd name="T25" fmla="*/ 148 h 1580"/>
                <a:gd name="T26" fmla="*/ 330 w 1978"/>
                <a:gd name="T27" fmla="*/ 176 h 1580"/>
                <a:gd name="T28" fmla="*/ 307 w 1978"/>
                <a:gd name="T29" fmla="*/ 193 h 1580"/>
                <a:gd name="T30" fmla="*/ 296 w 1978"/>
                <a:gd name="T31" fmla="*/ 222 h 1580"/>
                <a:gd name="T32" fmla="*/ 273 w 1978"/>
                <a:gd name="T33" fmla="*/ 249 h 1580"/>
                <a:gd name="T34" fmla="*/ 247 w 1978"/>
                <a:gd name="T35" fmla="*/ 246 h 1580"/>
                <a:gd name="T36" fmla="*/ 237 w 1978"/>
                <a:gd name="T37" fmla="*/ 257 h 1580"/>
                <a:gd name="T38" fmla="*/ 234 w 1978"/>
                <a:gd name="T39" fmla="*/ 275 h 1580"/>
                <a:gd name="T40" fmla="*/ 230 w 1978"/>
                <a:gd name="T41" fmla="*/ 300 h 1580"/>
                <a:gd name="T42" fmla="*/ 206 w 1978"/>
                <a:gd name="T43" fmla="*/ 274 h 1580"/>
                <a:gd name="T44" fmla="*/ 178 w 1978"/>
                <a:gd name="T45" fmla="*/ 249 h 1580"/>
                <a:gd name="T46" fmla="*/ 184 w 1978"/>
                <a:gd name="T47" fmla="*/ 232 h 1580"/>
                <a:gd name="T48" fmla="*/ 145 w 1978"/>
                <a:gd name="T49" fmla="*/ 198 h 1580"/>
                <a:gd name="T50" fmla="*/ 118 w 1978"/>
                <a:gd name="T51" fmla="*/ 185 h 1580"/>
                <a:gd name="T52" fmla="*/ 99 w 1978"/>
                <a:gd name="T53" fmla="*/ 166 h 1580"/>
                <a:gd name="T54" fmla="*/ 75 w 1978"/>
                <a:gd name="T55" fmla="*/ 152 h 1580"/>
                <a:gd name="T56" fmla="*/ 48 w 1978"/>
                <a:gd name="T57" fmla="*/ 141 h 1580"/>
                <a:gd name="T58" fmla="*/ 43 w 1978"/>
                <a:gd name="T59" fmla="*/ 122 h 1580"/>
                <a:gd name="T60" fmla="*/ 21 w 1978"/>
                <a:gd name="T61" fmla="*/ 114 h 1580"/>
                <a:gd name="T62" fmla="*/ 8 w 1978"/>
                <a:gd name="T63" fmla="*/ 95 h 1580"/>
                <a:gd name="T64" fmla="*/ 0 w 1978"/>
                <a:gd name="T65" fmla="*/ 68 h 15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78" h="1580">
                  <a:moveTo>
                    <a:pt x="0" y="359"/>
                  </a:moveTo>
                  <a:lnTo>
                    <a:pt x="352" y="195"/>
                  </a:lnTo>
                  <a:lnTo>
                    <a:pt x="599" y="120"/>
                  </a:lnTo>
                  <a:lnTo>
                    <a:pt x="793" y="67"/>
                  </a:lnTo>
                  <a:lnTo>
                    <a:pt x="960" y="90"/>
                  </a:lnTo>
                  <a:lnTo>
                    <a:pt x="1050" y="180"/>
                  </a:lnTo>
                  <a:lnTo>
                    <a:pt x="1233" y="123"/>
                  </a:lnTo>
                  <a:lnTo>
                    <a:pt x="1470" y="0"/>
                  </a:lnTo>
                  <a:lnTo>
                    <a:pt x="1714" y="211"/>
                  </a:lnTo>
                  <a:lnTo>
                    <a:pt x="1921" y="330"/>
                  </a:lnTo>
                  <a:lnTo>
                    <a:pt x="1978" y="450"/>
                  </a:lnTo>
                  <a:lnTo>
                    <a:pt x="1891" y="629"/>
                  </a:lnTo>
                  <a:lnTo>
                    <a:pt x="1741" y="779"/>
                  </a:lnTo>
                  <a:lnTo>
                    <a:pt x="1741" y="929"/>
                  </a:lnTo>
                  <a:lnTo>
                    <a:pt x="1621" y="1019"/>
                  </a:lnTo>
                  <a:lnTo>
                    <a:pt x="1561" y="1169"/>
                  </a:lnTo>
                  <a:lnTo>
                    <a:pt x="1441" y="1309"/>
                  </a:lnTo>
                  <a:lnTo>
                    <a:pt x="1305" y="1297"/>
                  </a:lnTo>
                  <a:lnTo>
                    <a:pt x="1249" y="1353"/>
                  </a:lnTo>
                  <a:lnTo>
                    <a:pt x="1233" y="1449"/>
                  </a:lnTo>
                  <a:lnTo>
                    <a:pt x="1211" y="1580"/>
                  </a:lnTo>
                  <a:lnTo>
                    <a:pt x="1088" y="1442"/>
                  </a:lnTo>
                  <a:lnTo>
                    <a:pt x="941" y="1311"/>
                  </a:lnTo>
                  <a:lnTo>
                    <a:pt x="971" y="1220"/>
                  </a:lnTo>
                  <a:lnTo>
                    <a:pt x="765" y="1042"/>
                  </a:lnTo>
                  <a:lnTo>
                    <a:pt x="621" y="973"/>
                  </a:lnTo>
                  <a:lnTo>
                    <a:pt x="521" y="874"/>
                  </a:lnTo>
                  <a:lnTo>
                    <a:pt x="397" y="798"/>
                  </a:lnTo>
                  <a:lnTo>
                    <a:pt x="253" y="742"/>
                  </a:lnTo>
                  <a:lnTo>
                    <a:pt x="228" y="641"/>
                  </a:lnTo>
                  <a:lnTo>
                    <a:pt x="109" y="598"/>
                  </a:lnTo>
                  <a:lnTo>
                    <a:pt x="43" y="500"/>
                  </a:lnTo>
                  <a:lnTo>
                    <a:pt x="0" y="359"/>
                  </a:lnTo>
                  <a:close/>
                </a:path>
              </a:pathLst>
            </a:custGeom>
            <a:solidFill>
              <a:srgbClr val="640002"/>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00" name="Rhode Island">
              <a:extLst>
                <a:ext uri="{FF2B5EF4-FFF2-40B4-BE49-F238E27FC236}">
                  <a16:creationId xmlns:a16="http://schemas.microsoft.com/office/drawing/2014/main" id="{C837170B-C8AB-4A07-B9FC-D31F740FB5FD}"/>
                </a:ext>
              </a:extLst>
            </p:cNvPr>
            <p:cNvSpPr>
              <a:spLocks/>
            </p:cNvSpPr>
            <p:nvPr/>
          </p:nvSpPr>
          <p:spPr bwMode="auto">
            <a:xfrm>
              <a:off x="7728949" y="2224795"/>
              <a:ext cx="95769" cy="110234"/>
            </a:xfrm>
            <a:custGeom>
              <a:avLst/>
              <a:gdLst>
                <a:gd name="T0" fmla="*/ 0 w 314"/>
                <a:gd name="T1" fmla="*/ 13 h 363"/>
                <a:gd name="T2" fmla="*/ 42 w 314"/>
                <a:gd name="T3" fmla="*/ 0 h 363"/>
                <a:gd name="T4" fmla="*/ 59 w 314"/>
                <a:gd name="T5" fmla="*/ 32 h 363"/>
                <a:gd name="T6" fmla="*/ 51 w 314"/>
                <a:gd name="T7" fmla="*/ 36 h 363"/>
                <a:gd name="T8" fmla="*/ 45 w 314"/>
                <a:gd name="T9" fmla="*/ 53 h 363"/>
                <a:gd name="T10" fmla="*/ 29 w 314"/>
                <a:gd name="T11" fmla="*/ 68 h 363"/>
                <a:gd name="T12" fmla="*/ 26 w 314"/>
                <a:gd name="T13" fmla="*/ 37 h 363"/>
                <a:gd name="T14" fmla="*/ 0 w 314"/>
                <a:gd name="T15" fmla="*/ 13 h 3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363">
                  <a:moveTo>
                    <a:pt x="0" y="69"/>
                  </a:moveTo>
                  <a:lnTo>
                    <a:pt x="225" y="0"/>
                  </a:lnTo>
                  <a:lnTo>
                    <a:pt x="314" y="171"/>
                  </a:lnTo>
                  <a:lnTo>
                    <a:pt x="273" y="192"/>
                  </a:lnTo>
                  <a:lnTo>
                    <a:pt x="237" y="282"/>
                  </a:lnTo>
                  <a:lnTo>
                    <a:pt x="156" y="363"/>
                  </a:lnTo>
                  <a:lnTo>
                    <a:pt x="138" y="195"/>
                  </a:lnTo>
                  <a:lnTo>
                    <a:pt x="0" y="69"/>
                  </a:lnTo>
                  <a:close/>
                </a:path>
              </a:pathLst>
            </a:custGeom>
            <a:solidFill>
              <a:srgbClr val="BFCAD2"/>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01" name="Pennsylvania">
              <a:extLst>
                <a:ext uri="{FF2B5EF4-FFF2-40B4-BE49-F238E27FC236}">
                  <a16:creationId xmlns:a16="http://schemas.microsoft.com/office/drawing/2014/main" id="{B6A346CF-6A29-4115-B371-C0AD64FE7623}"/>
                </a:ext>
              </a:extLst>
            </p:cNvPr>
            <p:cNvSpPr>
              <a:spLocks/>
            </p:cNvSpPr>
            <p:nvPr/>
          </p:nvSpPr>
          <p:spPr bwMode="auto">
            <a:xfrm>
              <a:off x="6784247" y="2403115"/>
              <a:ext cx="712584" cy="518746"/>
            </a:xfrm>
            <a:custGeom>
              <a:avLst/>
              <a:gdLst>
                <a:gd name="T0" fmla="*/ 0 w 2320"/>
                <a:gd name="T1" fmla="*/ 115 h 1689"/>
                <a:gd name="T2" fmla="*/ 21 w 2320"/>
                <a:gd name="T3" fmla="*/ 97 h 1689"/>
                <a:gd name="T4" fmla="*/ 45 w 2320"/>
                <a:gd name="T5" fmla="*/ 98 h 1689"/>
                <a:gd name="T6" fmla="*/ 118 w 2320"/>
                <a:gd name="T7" fmla="*/ 74 h 1689"/>
                <a:gd name="T8" fmla="*/ 226 w 2320"/>
                <a:gd name="T9" fmla="*/ 38 h 1689"/>
                <a:gd name="T10" fmla="*/ 350 w 2320"/>
                <a:gd name="T11" fmla="*/ 0 h 1689"/>
                <a:gd name="T12" fmla="*/ 399 w 2320"/>
                <a:gd name="T13" fmla="*/ 33 h 1689"/>
                <a:gd name="T14" fmla="*/ 417 w 2320"/>
                <a:gd name="T15" fmla="*/ 41 h 1689"/>
                <a:gd name="T16" fmla="*/ 402 w 2320"/>
                <a:gd name="T17" fmla="*/ 64 h 1689"/>
                <a:gd name="T18" fmla="*/ 392 w 2320"/>
                <a:gd name="T19" fmla="*/ 92 h 1689"/>
                <a:gd name="T20" fmla="*/ 412 w 2320"/>
                <a:gd name="T21" fmla="*/ 124 h 1689"/>
                <a:gd name="T22" fmla="*/ 438 w 2320"/>
                <a:gd name="T23" fmla="*/ 143 h 1689"/>
                <a:gd name="T24" fmla="*/ 439 w 2320"/>
                <a:gd name="T25" fmla="*/ 159 h 1689"/>
                <a:gd name="T26" fmla="*/ 429 w 2320"/>
                <a:gd name="T27" fmla="*/ 177 h 1689"/>
                <a:gd name="T28" fmla="*/ 422 w 2320"/>
                <a:gd name="T29" fmla="*/ 196 h 1689"/>
                <a:gd name="T30" fmla="*/ 408 w 2320"/>
                <a:gd name="T31" fmla="*/ 211 h 1689"/>
                <a:gd name="T32" fmla="*/ 386 w 2320"/>
                <a:gd name="T33" fmla="*/ 213 h 1689"/>
                <a:gd name="T34" fmla="*/ 374 w 2320"/>
                <a:gd name="T35" fmla="*/ 221 h 1689"/>
                <a:gd name="T36" fmla="*/ 362 w 2320"/>
                <a:gd name="T37" fmla="*/ 225 h 1689"/>
                <a:gd name="T38" fmla="*/ 338 w 2320"/>
                <a:gd name="T39" fmla="*/ 224 h 1689"/>
                <a:gd name="T40" fmla="*/ 325 w 2320"/>
                <a:gd name="T41" fmla="*/ 225 h 1689"/>
                <a:gd name="T42" fmla="*/ 298 w 2320"/>
                <a:gd name="T43" fmla="*/ 237 h 1689"/>
                <a:gd name="T44" fmla="*/ 277 w 2320"/>
                <a:gd name="T45" fmla="*/ 242 h 1689"/>
                <a:gd name="T46" fmla="*/ 262 w 2320"/>
                <a:gd name="T47" fmla="*/ 259 h 1689"/>
                <a:gd name="T48" fmla="*/ 229 w 2320"/>
                <a:gd name="T49" fmla="*/ 265 h 1689"/>
                <a:gd name="T50" fmla="*/ 204 w 2320"/>
                <a:gd name="T51" fmla="*/ 274 h 1689"/>
                <a:gd name="T52" fmla="*/ 164 w 2320"/>
                <a:gd name="T53" fmla="*/ 285 h 1689"/>
                <a:gd name="T54" fmla="*/ 130 w 2320"/>
                <a:gd name="T55" fmla="*/ 297 h 1689"/>
                <a:gd name="T56" fmla="*/ 113 w 2320"/>
                <a:gd name="T57" fmla="*/ 297 h 1689"/>
                <a:gd name="T58" fmla="*/ 93 w 2320"/>
                <a:gd name="T59" fmla="*/ 313 h 1689"/>
                <a:gd name="T60" fmla="*/ 56 w 2320"/>
                <a:gd name="T61" fmla="*/ 320 h 1689"/>
                <a:gd name="T62" fmla="*/ 44 w 2320"/>
                <a:gd name="T63" fmla="*/ 300 h 1689"/>
                <a:gd name="T64" fmla="*/ 39 w 2320"/>
                <a:gd name="T65" fmla="*/ 248 h 1689"/>
                <a:gd name="T66" fmla="*/ 26 w 2320"/>
                <a:gd name="T67" fmla="*/ 252 h 1689"/>
                <a:gd name="T68" fmla="*/ 23 w 2320"/>
                <a:gd name="T69" fmla="*/ 196 h 1689"/>
                <a:gd name="T70" fmla="*/ 0 w 2320"/>
                <a:gd name="T71" fmla="*/ 115 h 16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320" h="1689">
                  <a:moveTo>
                    <a:pt x="0" y="606"/>
                  </a:moveTo>
                  <a:lnTo>
                    <a:pt x="112" y="510"/>
                  </a:lnTo>
                  <a:lnTo>
                    <a:pt x="238" y="516"/>
                  </a:lnTo>
                  <a:lnTo>
                    <a:pt x="622" y="390"/>
                  </a:lnTo>
                  <a:lnTo>
                    <a:pt x="1192" y="198"/>
                  </a:lnTo>
                  <a:lnTo>
                    <a:pt x="1852" y="0"/>
                  </a:lnTo>
                  <a:lnTo>
                    <a:pt x="2110" y="174"/>
                  </a:lnTo>
                  <a:lnTo>
                    <a:pt x="2206" y="216"/>
                  </a:lnTo>
                  <a:lnTo>
                    <a:pt x="2122" y="336"/>
                  </a:lnTo>
                  <a:lnTo>
                    <a:pt x="2071" y="486"/>
                  </a:lnTo>
                  <a:lnTo>
                    <a:pt x="2176" y="654"/>
                  </a:lnTo>
                  <a:lnTo>
                    <a:pt x="2314" y="756"/>
                  </a:lnTo>
                  <a:lnTo>
                    <a:pt x="2320" y="840"/>
                  </a:lnTo>
                  <a:lnTo>
                    <a:pt x="2266" y="935"/>
                  </a:lnTo>
                  <a:lnTo>
                    <a:pt x="2230" y="1037"/>
                  </a:lnTo>
                  <a:lnTo>
                    <a:pt x="2156" y="1115"/>
                  </a:lnTo>
                  <a:lnTo>
                    <a:pt x="2042" y="1125"/>
                  </a:lnTo>
                  <a:lnTo>
                    <a:pt x="1978" y="1167"/>
                  </a:lnTo>
                  <a:lnTo>
                    <a:pt x="1912" y="1189"/>
                  </a:lnTo>
                  <a:lnTo>
                    <a:pt x="1786" y="1181"/>
                  </a:lnTo>
                  <a:lnTo>
                    <a:pt x="1718" y="1187"/>
                  </a:lnTo>
                  <a:lnTo>
                    <a:pt x="1574" y="1251"/>
                  </a:lnTo>
                  <a:lnTo>
                    <a:pt x="1462" y="1275"/>
                  </a:lnTo>
                  <a:lnTo>
                    <a:pt x="1382" y="1367"/>
                  </a:lnTo>
                  <a:lnTo>
                    <a:pt x="1208" y="1397"/>
                  </a:lnTo>
                  <a:lnTo>
                    <a:pt x="1080" y="1445"/>
                  </a:lnTo>
                  <a:lnTo>
                    <a:pt x="866" y="1505"/>
                  </a:lnTo>
                  <a:lnTo>
                    <a:pt x="687" y="1568"/>
                  </a:lnTo>
                  <a:lnTo>
                    <a:pt x="597" y="1568"/>
                  </a:lnTo>
                  <a:lnTo>
                    <a:pt x="489" y="1653"/>
                  </a:lnTo>
                  <a:lnTo>
                    <a:pt x="297" y="1689"/>
                  </a:lnTo>
                  <a:lnTo>
                    <a:pt x="234" y="1581"/>
                  </a:lnTo>
                  <a:lnTo>
                    <a:pt x="208" y="1307"/>
                  </a:lnTo>
                  <a:lnTo>
                    <a:pt x="136" y="1329"/>
                  </a:lnTo>
                  <a:lnTo>
                    <a:pt x="122" y="1035"/>
                  </a:lnTo>
                  <a:lnTo>
                    <a:pt x="0" y="606"/>
                  </a:lnTo>
                  <a:close/>
                </a:path>
              </a:pathLst>
            </a:custGeom>
            <a:solidFill>
              <a:srgbClr val="FF9799"/>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02" name="Oregon">
              <a:extLst>
                <a:ext uri="{FF2B5EF4-FFF2-40B4-BE49-F238E27FC236}">
                  <a16:creationId xmlns:a16="http://schemas.microsoft.com/office/drawing/2014/main" id="{08D8444A-1B34-41A4-8A30-204073D5BC4A}"/>
                </a:ext>
              </a:extLst>
            </p:cNvPr>
            <p:cNvSpPr>
              <a:spLocks/>
            </p:cNvSpPr>
            <p:nvPr/>
          </p:nvSpPr>
          <p:spPr bwMode="auto">
            <a:xfrm>
              <a:off x="1721490" y="1903820"/>
              <a:ext cx="1001514" cy="820267"/>
            </a:xfrm>
            <a:custGeom>
              <a:avLst/>
              <a:gdLst>
                <a:gd name="T0" fmla="*/ 150 w 3256"/>
                <a:gd name="T1" fmla="*/ 0 h 2669"/>
                <a:gd name="T2" fmla="*/ 127 w 3256"/>
                <a:gd name="T3" fmla="*/ 29 h 2669"/>
                <a:gd name="T4" fmla="*/ 132 w 3256"/>
                <a:gd name="T5" fmla="*/ 68 h 2669"/>
                <a:gd name="T6" fmla="*/ 109 w 3256"/>
                <a:gd name="T7" fmla="*/ 85 h 2669"/>
                <a:gd name="T8" fmla="*/ 103 w 3256"/>
                <a:gd name="T9" fmla="*/ 114 h 2669"/>
                <a:gd name="T10" fmla="*/ 91 w 3256"/>
                <a:gd name="T11" fmla="*/ 139 h 2669"/>
                <a:gd name="T12" fmla="*/ 79 w 3256"/>
                <a:gd name="T13" fmla="*/ 173 h 2669"/>
                <a:gd name="T14" fmla="*/ 58 w 3256"/>
                <a:gd name="T15" fmla="*/ 207 h 2669"/>
                <a:gd name="T16" fmla="*/ 30 w 3256"/>
                <a:gd name="T17" fmla="*/ 240 h 2669"/>
                <a:gd name="T18" fmla="*/ 29 w 3256"/>
                <a:gd name="T19" fmla="*/ 263 h 2669"/>
                <a:gd name="T20" fmla="*/ 12 w 3256"/>
                <a:gd name="T21" fmla="*/ 284 h 2669"/>
                <a:gd name="T22" fmla="*/ 17 w 3256"/>
                <a:gd name="T23" fmla="*/ 325 h 2669"/>
                <a:gd name="T24" fmla="*/ 0 w 3256"/>
                <a:gd name="T25" fmla="*/ 357 h 2669"/>
                <a:gd name="T26" fmla="*/ 9 w 3256"/>
                <a:gd name="T27" fmla="*/ 370 h 2669"/>
                <a:gd name="T28" fmla="*/ 46 w 3256"/>
                <a:gd name="T29" fmla="*/ 381 h 2669"/>
                <a:gd name="T30" fmla="*/ 302 w 3256"/>
                <a:gd name="T31" fmla="*/ 460 h 2669"/>
                <a:gd name="T32" fmla="*/ 524 w 3256"/>
                <a:gd name="T33" fmla="*/ 506 h 2669"/>
                <a:gd name="T34" fmla="*/ 547 w 3256"/>
                <a:gd name="T35" fmla="*/ 352 h 2669"/>
                <a:gd name="T36" fmla="*/ 569 w 3256"/>
                <a:gd name="T37" fmla="*/ 318 h 2669"/>
                <a:gd name="T38" fmla="*/ 552 w 3256"/>
                <a:gd name="T39" fmla="*/ 296 h 2669"/>
                <a:gd name="T40" fmla="*/ 552 w 3256"/>
                <a:gd name="T41" fmla="*/ 273 h 2669"/>
                <a:gd name="T42" fmla="*/ 581 w 3256"/>
                <a:gd name="T43" fmla="*/ 256 h 2669"/>
                <a:gd name="T44" fmla="*/ 586 w 3256"/>
                <a:gd name="T45" fmla="*/ 227 h 2669"/>
                <a:gd name="T46" fmla="*/ 586 w 3256"/>
                <a:gd name="T47" fmla="*/ 222 h 2669"/>
                <a:gd name="T48" fmla="*/ 592 w 3256"/>
                <a:gd name="T49" fmla="*/ 210 h 2669"/>
                <a:gd name="T50" fmla="*/ 615 w 3256"/>
                <a:gd name="T51" fmla="*/ 205 h 2669"/>
                <a:gd name="T52" fmla="*/ 617 w 3256"/>
                <a:gd name="T53" fmla="*/ 187 h 2669"/>
                <a:gd name="T54" fmla="*/ 615 w 3256"/>
                <a:gd name="T55" fmla="*/ 165 h 2669"/>
                <a:gd name="T56" fmla="*/ 598 w 3256"/>
                <a:gd name="T57" fmla="*/ 142 h 2669"/>
                <a:gd name="T58" fmla="*/ 571 w 3256"/>
                <a:gd name="T59" fmla="*/ 142 h 2669"/>
                <a:gd name="T60" fmla="*/ 514 w 3256"/>
                <a:gd name="T61" fmla="*/ 124 h 2669"/>
                <a:gd name="T62" fmla="*/ 496 w 3256"/>
                <a:gd name="T63" fmla="*/ 111 h 2669"/>
                <a:gd name="T64" fmla="*/ 466 w 3256"/>
                <a:gd name="T65" fmla="*/ 111 h 2669"/>
                <a:gd name="T66" fmla="*/ 446 w 3256"/>
                <a:gd name="T67" fmla="*/ 119 h 2669"/>
                <a:gd name="T68" fmla="*/ 428 w 3256"/>
                <a:gd name="T69" fmla="*/ 108 h 2669"/>
                <a:gd name="T70" fmla="*/ 377 w 3256"/>
                <a:gd name="T71" fmla="*/ 114 h 2669"/>
                <a:gd name="T72" fmla="*/ 337 w 3256"/>
                <a:gd name="T73" fmla="*/ 91 h 2669"/>
                <a:gd name="T74" fmla="*/ 314 w 3256"/>
                <a:gd name="T75" fmla="*/ 108 h 2669"/>
                <a:gd name="T76" fmla="*/ 286 w 3256"/>
                <a:gd name="T77" fmla="*/ 79 h 2669"/>
                <a:gd name="T78" fmla="*/ 252 w 3256"/>
                <a:gd name="T79" fmla="*/ 80 h 2669"/>
                <a:gd name="T80" fmla="*/ 218 w 3256"/>
                <a:gd name="T81" fmla="*/ 79 h 2669"/>
                <a:gd name="T82" fmla="*/ 206 w 3256"/>
                <a:gd name="T83" fmla="*/ 34 h 2669"/>
                <a:gd name="T84" fmla="*/ 191 w 3256"/>
                <a:gd name="T85" fmla="*/ 16 h 2669"/>
                <a:gd name="T86" fmla="*/ 171 w 3256"/>
                <a:gd name="T87" fmla="*/ 5 h 2669"/>
                <a:gd name="T88" fmla="*/ 150 w 3256"/>
                <a:gd name="T89" fmla="*/ 0 h 26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56" h="2669">
                  <a:moveTo>
                    <a:pt x="789" y="0"/>
                  </a:moveTo>
                  <a:lnTo>
                    <a:pt x="672" y="155"/>
                  </a:lnTo>
                  <a:lnTo>
                    <a:pt x="694" y="359"/>
                  </a:lnTo>
                  <a:lnTo>
                    <a:pt x="574" y="449"/>
                  </a:lnTo>
                  <a:lnTo>
                    <a:pt x="544" y="599"/>
                  </a:lnTo>
                  <a:lnTo>
                    <a:pt x="480" y="731"/>
                  </a:lnTo>
                  <a:lnTo>
                    <a:pt x="416" y="915"/>
                  </a:lnTo>
                  <a:lnTo>
                    <a:pt x="304" y="1091"/>
                  </a:lnTo>
                  <a:lnTo>
                    <a:pt x="160" y="1267"/>
                  </a:lnTo>
                  <a:lnTo>
                    <a:pt x="152" y="1387"/>
                  </a:lnTo>
                  <a:lnTo>
                    <a:pt x="64" y="1499"/>
                  </a:lnTo>
                  <a:lnTo>
                    <a:pt x="88" y="1715"/>
                  </a:lnTo>
                  <a:lnTo>
                    <a:pt x="0" y="1883"/>
                  </a:lnTo>
                  <a:lnTo>
                    <a:pt x="48" y="1952"/>
                  </a:lnTo>
                  <a:lnTo>
                    <a:pt x="244" y="2009"/>
                  </a:lnTo>
                  <a:lnTo>
                    <a:pt x="1594" y="2429"/>
                  </a:lnTo>
                  <a:lnTo>
                    <a:pt x="2765" y="2669"/>
                  </a:lnTo>
                  <a:lnTo>
                    <a:pt x="2885" y="1859"/>
                  </a:lnTo>
                  <a:lnTo>
                    <a:pt x="3005" y="1679"/>
                  </a:lnTo>
                  <a:lnTo>
                    <a:pt x="2915" y="1559"/>
                  </a:lnTo>
                  <a:lnTo>
                    <a:pt x="2915" y="1439"/>
                  </a:lnTo>
                  <a:lnTo>
                    <a:pt x="3065" y="1349"/>
                  </a:lnTo>
                  <a:lnTo>
                    <a:pt x="3095" y="1199"/>
                  </a:lnTo>
                  <a:lnTo>
                    <a:pt x="3095" y="1169"/>
                  </a:lnTo>
                  <a:lnTo>
                    <a:pt x="3125" y="1109"/>
                  </a:lnTo>
                  <a:lnTo>
                    <a:pt x="3245" y="1079"/>
                  </a:lnTo>
                  <a:lnTo>
                    <a:pt x="3256" y="987"/>
                  </a:lnTo>
                  <a:lnTo>
                    <a:pt x="3245" y="869"/>
                  </a:lnTo>
                  <a:lnTo>
                    <a:pt x="3158" y="749"/>
                  </a:lnTo>
                  <a:lnTo>
                    <a:pt x="3012" y="749"/>
                  </a:lnTo>
                  <a:lnTo>
                    <a:pt x="2715" y="653"/>
                  </a:lnTo>
                  <a:lnTo>
                    <a:pt x="2615" y="587"/>
                  </a:lnTo>
                  <a:lnTo>
                    <a:pt x="2460" y="587"/>
                  </a:lnTo>
                  <a:lnTo>
                    <a:pt x="2351" y="629"/>
                  </a:lnTo>
                  <a:lnTo>
                    <a:pt x="2259" y="569"/>
                  </a:lnTo>
                  <a:lnTo>
                    <a:pt x="1989" y="599"/>
                  </a:lnTo>
                  <a:lnTo>
                    <a:pt x="1779" y="480"/>
                  </a:lnTo>
                  <a:lnTo>
                    <a:pt x="1659" y="569"/>
                  </a:lnTo>
                  <a:lnTo>
                    <a:pt x="1508" y="419"/>
                  </a:lnTo>
                  <a:lnTo>
                    <a:pt x="1331" y="423"/>
                  </a:lnTo>
                  <a:lnTo>
                    <a:pt x="1148" y="419"/>
                  </a:lnTo>
                  <a:lnTo>
                    <a:pt x="1088" y="180"/>
                  </a:lnTo>
                  <a:lnTo>
                    <a:pt x="1010" y="87"/>
                  </a:lnTo>
                  <a:lnTo>
                    <a:pt x="905" y="29"/>
                  </a:lnTo>
                  <a:lnTo>
                    <a:pt x="789" y="0"/>
                  </a:lnTo>
                  <a:close/>
                </a:path>
              </a:pathLst>
            </a:custGeom>
            <a:solidFill>
              <a:srgbClr val="FFD9DA"/>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03" name="Oklahoma">
              <a:extLst>
                <a:ext uri="{FF2B5EF4-FFF2-40B4-BE49-F238E27FC236}">
                  <a16:creationId xmlns:a16="http://schemas.microsoft.com/office/drawing/2014/main" id="{06917B0F-42CA-409E-92F4-380D74292A88}"/>
                </a:ext>
              </a:extLst>
            </p:cNvPr>
            <p:cNvSpPr>
              <a:spLocks/>
            </p:cNvSpPr>
            <p:nvPr/>
          </p:nvSpPr>
          <p:spPr bwMode="auto">
            <a:xfrm>
              <a:off x="4169273" y="3657832"/>
              <a:ext cx="1113514" cy="530095"/>
            </a:xfrm>
            <a:custGeom>
              <a:avLst/>
              <a:gdLst>
                <a:gd name="T0" fmla="*/ 3 w 3616"/>
                <a:gd name="T1" fmla="*/ 24 h 1724"/>
                <a:gd name="T2" fmla="*/ 0 w 3616"/>
                <a:gd name="T3" fmla="*/ 74 h 1724"/>
                <a:gd name="T4" fmla="*/ 109 w 3616"/>
                <a:gd name="T5" fmla="*/ 73 h 1724"/>
                <a:gd name="T6" fmla="*/ 169 w 3616"/>
                <a:gd name="T7" fmla="*/ 71 h 1724"/>
                <a:gd name="T8" fmla="*/ 231 w 3616"/>
                <a:gd name="T9" fmla="*/ 71 h 1724"/>
                <a:gd name="T10" fmla="*/ 234 w 3616"/>
                <a:gd name="T11" fmla="*/ 106 h 1724"/>
                <a:gd name="T12" fmla="*/ 235 w 3616"/>
                <a:gd name="T13" fmla="*/ 158 h 1724"/>
                <a:gd name="T14" fmla="*/ 230 w 3616"/>
                <a:gd name="T15" fmla="*/ 187 h 1724"/>
                <a:gd name="T16" fmla="*/ 223 w 3616"/>
                <a:gd name="T17" fmla="*/ 211 h 1724"/>
                <a:gd name="T18" fmla="*/ 230 w 3616"/>
                <a:gd name="T19" fmla="*/ 234 h 1724"/>
                <a:gd name="T20" fmla="*/ 231 w 3616"/>
                <a:gd name="T21" fmla="*/ 259 h 1724"/>
                <a:gd name="T22" fmla="*/ 261 w 3616"/>
                <a:gd name="T23" fmla="*/ 262 h 1724"/>
                <a:gd name="T24" fmla="*/ 280 w 3616"/>
                <a:gd name="T25" fmla="*/ 274 h 1724"/>
                <a:gd name="T26" fmla="*/ 306 w 3616"/>
                <a:gd name="T27" fmla="*/ 276 h 1724"/>
                <a:gd name="T28" fmla="*/ 338 w 3616"/>
                <a:gd name="T29" fmla="*/ 295 h 1724"/>
                <a:gd name="T30" fmla="*/ 381 w 3616"/>
                <a:gd name="T31" fmla="*/ 288 h 1724"/>
                <a:gd name="T32" fmla="*/ 412 w 3616"/>
                <a:gd name="T33" fmla="*/ 315 h 1724"/>
                <a:gd name="T34" fmla="*/ 440 w 3616"/>
                <a:gd name="T35" fmla="*/ 309 h 1724"/>
                <a:gd name="T36" fmla="*/ 464 w 3616"/>
                <a:gd name="T37" fmla="*/ 321 h 1724"/>
                <a:gd name="T38" fmla="*/ 492 w 3616"/>
                <a:gd name="T39" fmla="*/ 319 h 1724"/>
                <a:gd name="T40" fmla="*/ 544 w 3616"/>
                <a:gd name="T41" fmla="*/ 327 h 1724"/>
                <a:gd name="T42" fmla="*/ 591 w 3616"/>
                <a:gd name="T43" fmla="*/ 309 h 1724"/>
                <a:gd name="T44" fmla="*/ 617 w 3616"/>
                <a:gd name="T45" fmla="*/ 312 h 1724"/>
                <a:gd name="T46" fmla="*/ 636 w 3616"/>
                <a:gd name="T47" fmla="*/ 303 h 1724"/>
                <a:gd name="T48" fmla="*/ 657 w 3616"/>
                <a:gd name="T49" fmla="*/ 321 h 1724"/>
                <a:gd name="T50" fmla="*/ 686 w 3616"/>
                <a:gd name="T51" fmla="*/ 327 h 1724"/>
                <a:gd name="T52" fmla="*/ 686 w 3616"/>
                <a:gd name="T53" fmla="*/ 173 h 1724"/>
                <a:gd name="T54" fmla="*/ 673 w 3616"/>
                <a:gd name="T55" fmla="*/ 112 h 1724"/>
                <a:gd name="T56" fmla="*/ 669 w 3616"/>
                <a:gd name="T57" fmla="*/ 74 h 1724"/>
                <a:gd name="T58" fmla="*/ 669 w 3616"/>
                <a:gd name="T59" fmla="*/ 48 h 1724"/>
                <a:gd name="T60" fmla="*/ 664 w 3616"/>
                <a:gd name="T61" fmla="*/ 26 h 1724"/>
                <a:gd name="T62" fmla="*/ 654 w 3616"/>
                <a:gd name="T63" fmla="*/ 0 h 1724"/>
                <a:gd name="T64" fmla="*/ 587 w 3616"/>
                <a:gd name="T65" fmla="*/ 5 h 1724"/>
                <a:gd name="T66" fmla="*/ 344 w 3616"/>
                <a:gd name="T67" fmla="*/ 25 h 1724"/>
                <a:gd name="T68" fmla="*/ 219 w 3616"/>
                <a:gd name="T69" fmla="*/ 25 h 1724"/>
                <a:gd name="T70" fmla="*/ 79 w 3616"/>
                <a:gd name="T71" fmla="*/ 25 h 1724"/>
                <a:gd name="T72" fmla="*/ 3 w 3616"/>
                <a:gd name="T73" fmla="*/ 24 h 17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16" h="1724">
                  <a:moveTo>
                    <a:pt x="14" y="124"/>
                  </a:moveTo>
                  <a:lnTo>
                    <a:pt x="0" y="392"/>
                  </a:lnTo>
                  <a:lnTo>
                    <a:pt x="573" y="383"/>
                  </a:lnTo>
                  <a:lnTo>
                    <a:pt x="893" y="374"/>
                  </a:lnTo>
                  <a:lnTo>
                    <a:pt x="1215" y="374"/>
                  </a:lnTo>
                  <a:lnTo>
                    <a:pt x="1231" y="557"/>
                  </a:lnTo>
                  <a:lnTo>
                    <a:pt x="1241" y="831"/>
                  </a:lnTo>
                  <a:lnTo>
                    <a:pt x="1213" y="987"/>
                  </a:lnTo>
                  <a:lnTo>
                    <a:pt x="1177" y="1115"/>
                  </a:lnTo>
                  <a:lnTo>
                    <a:pt x="1213" y="1233"/>
                  </a:lnTo>
                  <a:lnTo>
                    <a:pt x="1215" y="1364"/>
                  </a:lnTo>
                  <a:lnTo>
                    <a:pt x="1378" y="1380"/>
                  </a:lnTo>
                  <a:lnTo>
                    <a:pt x="1478" y="1444"/>
                  </a:lnTo>
                  <a:lnTo>
                    <a:pt x="1615" y="1453"/>
                  </a:lnTo>
                  <a:lnTo>
                    <a:pt x="1780" y="1553"/>
                  </a:lnTo>
                  <a:lnTo>
                    <a:pt x="2009" y="1517"/>
                  </a:lnTo>
                  <a:lnTo>
                    <a:pt x="2173" y="1663"/>
                  </a:lnTo>
                  <a:lnTo>
                    <a:pt x="2319" y="1627"/>
                  </a:lnTo>
                  <a:lnTo>
                    <a:pt x="2446" y="1694"/>
                  </a:lnTo>
                  <a:lnTo>
                    <a:pt x="2594" y="1681"/>
                  </a:lnTo>
                  <a:lnTo>
                    <a:pt x="2866" y="1724"/>
                  </a:lnTo>
                  <a:lnTo>
                    <a:pt x="3115" y="1627"/>
                  </a:lnTo>
                  <a:lnTo>
                    <a:pt x="3252" y="1645"/>
                  </a:lnTo>
                  <a:lnTo>
                    <a:pt x="3353" y="1599"/>
                  </a:lnTo>
                  <a:lnTo>
                    <a:pt x="3462" y="1691"/>
                  </a:lnTo>
                  <a:lnTo>
                    <a:pt x="3616" y="1724"/>
                  </a:lnTo>
                  <a:lnTo>
                    <a:pt x="3616" y="914"/>
                  </a:lnTo>
                  <a:lnTo>
                    <a:pt x="3545" y="593"/>
                  </a:lnTo>
                  <a:lnTo>
                    <a:pt x="3526" y="392"/>
                  </a:lnTo>
                  <a:lnTo>
                    <a:pt x="3526" y="254"/>
                  </a:lnTo>
                  <a:lnTo>
                    <a:pt x="3499" y="136"/>
                  </a:lnTo>
                  <a:lnTo>
                    <a:pt x="3446" y="0"/>
                  </a:lnTo>
                  <a:lnTo>
                    <a:pt x="3096" y="28"/>
                  </a:lnTo>
                  <a:lnTo>
                    <a:pt x="1814" y="134"/>
                  </a:lnTo>
                  <a:lnTo>
                    <a:pt x="1155" y="134"/>
                  </a:lnTo>
                  <a:lnTo>
                    <a:pt x="416" y="130"/>
                  </a:lnTo>
                  <a:lnTo>
                    <a:pt x="14" y="124"/>
                  </a:lnTo>
                  <a:close/>
                </a:path>
              </a:pathLst>
            </a:custGeom>
            <a:solidFill>
              <a:srgbClr val="640002"/>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04" name="Ohio">
              <a:extLst>
                <a:ext uri="{FF2B5EF4-FFF2-40B4-BE49-F238E27FC236}">
                  <a16:creationId xmlns:a16="http://schemas.microsoft.com/office/drawing/2014/main" id="{0607BFCD-E20E-4DCD-B14E-7CE6576A0FFD}"/>
                </a:ext>
              </a:extLst>
            </p:cNvPr>
            <p:cNvSpPr>
              <a:spLocks/>
            </p:cNvSpPr>
            <p:nvPr/>
          </p:nvSpPr>
          <p:spPr bwMode="auto">
            <a:xfrm>
              <a:off x="6305403" y="2587918"/>
              <a:ext cx="525917" cy="594938"/>
            </a:xfrm>
            <a:custGeom>
              <a:avLst/>
              <a:gdLst>
                <a:gd name="T0" fmla="*/ 0 w 1707"/>
                <a:gd name="T1" fmla="*/ 109 h 1934"/>
                <a:gd name="T2" fmla="*/ 23 w 1707"/>
                <a:gd name="T3" fmla="*/ 94 h 1934"/>
                <a:gd name="T4" fmla="*/ 60 w 1707"/>
                <a:gd name="T5" fmla="*/ 93 h 1934"/>
                <a:gd name="T6" fmla="*/ 60 w 1707"/>
                <a:gd name="T7" fmla="*/ 85 h 1934"/>
                <a:gd name="T8" fmla="*/ 96 w 1707"/>
                <a:gd name="T9" fmla="*/ 82 h 1934"/>
                <a:gd name="T10" fmla="*/ 122 w 1707"/>
                <a:gd name="T11" fmla="*/ 90 h 1934"/>
                <a:gd name="T12" fmla="*/ 153 w 1707"/>
                <a:gd name="T13" fmla="*/ 99 h 1934"/>
                <a:gd name="T14" fmla="*/ 218 w 1707"/>
                <a:gd name="T15" fmla="*/ 59 h 1934"/>
                <a:gd name="T16" fmla="*/ 295 w 1707"/>
                <a:gd name="T17" fmla="*/ 0 h 1934"/>
                <a:gd name="T18" fmla="*/ 318 w 1707"/>
                <a:gd name="T19" fmla="*/ 82 h 1934"/>
                <a:gd name="T20" fmla="*/ 321 w 1707"/>
                <a:gd name="T21" fmla="*/ 140 h 1934"/>
                <a:gd name="T22" fmla="*/ 324 w 1707"/>
                <a:gd name="T23" fmla="*/ 190 h 1934"/>
                <a:gd name="T24" fmla="*/ 312 w 1707"/>
                <a:gd name="T25" fmla="*/ 225 h 1934"/>
                <a:gd name="T26" fmla="*/ 292 w 1707"/>
                <a:gd name="T27" fmla="*/ 250 h 1934"/>
                <a:gd name="T28" fmla="*/ 272 w 1707"/>
                <a:gd name="T29" fmla="*/ 265 h 1934"/>
                <a:gd name="T30" fmla="*/ 275 w 1707"/>
                <a:gd name="T31" fmla="*/ 284 h 1934"/>
                <a:gd name="T32" fmla="*/ 268 w 1707"/>
                <a:gd name="T33" fmla="*/ 302 h 1934"/>
                <a:gd name="T34" fmla="*/ 250 w 1707"/>
                <a:gd name="T35" fmla="*/ 299 h 1934"/>
                <a:gd name="T36" fmla="*/ 250 w 1707"/>
                <a:gd name="T37" fmla="*/ 325 h 1934"/>
                <a:gd name="T38" fmla="*/ 244 w 1707"/>
                <a:gd name="T39" fmla="*/ 344 h 1934"/>
                <a:gd name="T40" fmla="*/ 221 w 1707"/>
                <a:gd name="T41" fmla="*/ 367 h 1934"/>
                <a:gd name="T42" fmla="*/ 206 w 1707"/>
                <a:gd name="T43" fmla="*/ 349 h 1934"/>
                <a:gd name="T44" fmla="*/ 184 w 1707"/>
                <a:gd name="T45" fmla="*/ 332 h 1934"/>
                <a:gd name="T46" fmla="*/ 168 w 1707"/>
                <a:gd name="T47" fmla="*/ 349 h 1934"/>
                <a:gd name="T48" fmla="*/ 147 w 1707"/>
                <a:gd name="T49" fmla="*/ 356 h 1934"/>
                <a:gd name="T50" fmla="*/ 113 w 1707"/>
                <a:gd name="T51" fmla="*/ 356 h 1934"/>
                <a:gd name="T52" fmla="*/ 83 w 1707"/>
                <a:gd name="T53" fmla="*/ 352 h 1934"/>
                <a:gd name="T54" fmla="*/ 52 w 1707"/>
                <a:gd name="T55" fmla="*/ 332 h 1934"/>
                <a:gd name="T56" fmla="*/ 46 w 1707"/>
                <a:gd name="T57" fmla="*/ 293 h 1934"/>
                <a:gd name="T58" fmla="*/ 32 w 1707"/>
                <a:gd name="T59" fmla="*/ 258 h 1934"/>
                <a:gd name="T60" fmla="*/ 29 w 1707"/>
                <a:gd name="T61" fmla="*/ 206 h 1934"/>
                <a:gd name="T62" fmla="*/ 20 w 1707"/>
                <a:gd name="T63" fmla="*/ 189 h 1934"/>
                <a:gd name="T64" fmla="*/ 7 w 1707"/>
                <a:gd name="T65" fmla="*/ 150 h 1934"/>
                <a:gd name="T66" fmla="*/ 13 w 1707"/>
                <a:gd name="T67" fmla="*/ 135 h 1934"/>
                <a:gd name="T68" fmla="*/ 0 w 1707"/>
                <a:gd name="T69" fmla="*/ 109 h 19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07" h="1934">
                  <a:moveTo>
                    <a:pt x="0" y="575"/>
                  </a:moveTo>
                  <a:lnTo>
                    <a:pt x="123" y="496"/>
                  </a:lnTo>
                  <a:lnTo>
                    <a:pt x="315" y="488"/>
                  </a:lnTo>
                  <a:lnTo>
                    <a:pt x="315" y="448"/>
                  </a:lnTo>
                  <a:lnTo>
                    <a:pt x="507" y="432"/>
                  </a:lnTo>
                  <a:lnTo>
                    <a:pt x="643" y="472"/>
                  </a:lnTo>
                  <a:lnTo>
                    <a:pt x="805" y="523"/>
                  </a:lnTo>
                  <a:lnTo>
                    <a:pt x="1147" y="312"/>
                  </a:lnTo>
                  <a:lnTo>
                    <a:pt x="1555" y="0"/>
                  </a:lnTo>
                  <a:lnTo>
                    <a:pt x="1675" y="433"/>
                  </a:lnTo>
                  <a:lnTo>
                    <a:pt x="1691" y="736"/>
                  </a:lnTo>
                  <a:lnTo>
                    <a:pt x="1707" y="1000"/>
                  </a:lnTo>
                  <a:lnTo>
                    <a:pt x="1645" y="1184"/>
                  </a:lnTo>
                  <a:lnTo>
                    <a:pt x="1539" y="1320"/>
                  </a:lnTo>
                  <a:lnTo>
                    <a:pt x="1435" y="1394"/>
                  </a:lnTo>
                  <a:lnTo>
                    <a:pt x="1451" y="1496"/>
                  </a:lnTo>
                  <a:lnTo>
                    <a:pt x="1411" y="1592"/>
                  </a:lnTo>
                  <a:lnTo>
                    <a:pt x="1315" y="1574"/>
                  </a:lnTo>
                  <a:lnTo>
                    <a:pt x="1315" y="1712"/>
                  </a:lnTo>
                  <a:lnTo>
                    <a:pt x="1285" y="1814"/>
                  </a:lnTo>
                  <a:lnTo>
                    <a:pt x="1165" y="1934"/>
                  </a:lnTo>
                  <a:lnTo>
                    <a:pt x="1083" y="1840"/>
                  </a:lnTo>
                  <a:lnTo>
                    <a:pt x="971" y="1752"/>
                  </a:lnTo>
                  <a:lnTo>
                    <a:pt x="883" y="1840"/>
                  </a:lnTo>
                  <a:lnTo>
                    <a:pt x="775" y="1874"/>
                  </a:lnTo>
                  <a:lnTo>
                    <a:pt x="595" y="1874"/>
                  </a:lnTo>
                  <a:lnTo>
                    <a:pt x="435" y="1856"/>
                  </a:lnTo>
                  <a:lnTo>
                    <a:pt x="275" y="1750"/>
                  </a:lnTo>
                  <a:lnTo>
                    <a:pt x="242" y="1544"/>
                  </a:lnTo>
                  <a:lnTo>
                    <a:pt x="170" y="1361"/>
                  </a:lnTo>
                  <a:lnTo>
                    <a:pt x="153" y="1085"/>
                  </a:lnTo>
                  <a:lnTo>
                    <a:pt x="107" y="998"/>
                  </a:lnTo>
                  <a:lnTo>
                    <a:pt x="35" y="791"/>
                  </a:lnTo>
                  <a:lnTo>
                    <a:pt x="66" y="710"/>
                  </a:lnTo>
                  <a:lnTo>
                    <a:pt x="0" y="575"/>
                  </a:lnTo>
                  <a:close/>
                </a:path>
              </a:pathLst>
            </a:custGeom>
            <a:solidFill>
              <a:srgbClr val="FFD9DA"/>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05" name="North Dakota">
              <a:extLst>
                <a:ext uri="{FF2B5EF4-FFF2-40B4-BE49-F238E27FC236}">
                  <a16:creationId xmlns:a16="http://schemas.microsoft.com/office/drawing/2014/main" id="{F42D4F28-C6E7-4FAD-8E0A-60A690397A30}"/>
                </a:ext>
              </a:extLst>
            </p:cNvPr>
            <p:cNvSpPr>
              <a:spLocks/>
            </p:cNvSpPr>
            <p:nvPr/>
          </p:nvSpPr>
          <p:spPr bwMode="auto">
            <a:xfrm>
              <a:off x="4096230" y="1845461"/>
              <a:ext cx="805106" cy="478219"/>
            </a:xfrm>
            <a:custGeom>
              <a:avLst/>
              <a:gdLst>
                <a:gd name="T0" fmla="*/ 14 w 2622"/>
                <a:gd name="T1" fmla="*/ 7 h 1560"/>
                <a:gd name="T2" fmla="*/ 0 w 2622"/>
                <a:gd name="T3" fmla="*/ 295 h 1560"/>
                <a:gd name="T4" fmla="*/ 496 w 2622"/>
                <a:gd name="T5" fmla="*/ 284 h 1560"/>
                <a:gd name="T6" fmla="*/ 486 w 2622"/>
                <a:gd name="T7" fmla="*/ 217 h 1560"/>
                <a:gd name="T8" fmla="*/ 477 w 2622"/>
                <a:gd name="T9" fmla="*/ 130 h 1560"/>
                <a:gd name="T10" fmla="*/ 454 w 2622"/>
                <a:gd name="T11" fmla="*/ 99 h 1560"/>
                <a:gd name="T12" fmla="*/ 447 w 2622"/>
                <a:gd name="T13" fmla="*/ 58 h 1560"/>
                <a:gd name="T14" fmla="*/ 443 w 2622"/>
                <a:gd name="T15" fmla="*/ 0 h 1560"/>
                <a:gd name="T16" fmla="*/ 355 w 2622"/>
                <a:gd name="T17" fmla="*/ 3 h 1560"/>
                <a:gd name="T18" fmla="*/ 310 w 2622"/>
                <a:gd name="T19" fmla="*/ 12 h 1560"/>
                <a:gd name="T20" fmla="*/ 236 w 2622"/>
                <a:gd name="T21" fmla="*/ 9 h 1560"/>
                <a:gd name="T22" fmla="*/ 140 w 2622"/>
                <a:gd name="T23" fmla="*/ 10 h 1560"/>
                <a:gd name="T24" fmla="*/ 14 w 2622"/>
                <a:gd name="T25" fmla="*/ 7 h 15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22" h="1560">
                  <a:moveTo>
                    <a:pt x="72" y="35"/>
                  </a:moveTo>
                  <a:lnTo>
                    <a:pt x="0" y="1560"/>
                  </a:lnTo>
                  <a:lnTo>
                    <a:pt x="2622" y="1503"/>
                  </a:lnTo>
                  <a:lnTo>
                    <a:pt x="2568" y="1149"/>
                  </a:lnTo>
                  <a:lnTo>
                    <a:pt x="2520" y="690"/>
                  </a:lnTo>
                  <a:lnTo>
                    <a:pt x="2400" y="525"/>
                  </a:lnTo>
                  <a:lnTo>
                    <a:pt x="2364" y="309"/>
                  </a:lnTo>
                  <a:lnTo>
                    <a:pt x="2340" y="0"/>
                  </a:lnTo>
                  <a:lnTo>
                    <a:pt x="1878" y="15"/>
                  </a:lnTo>
                  <a:lnTo>
                    <a:pt x="1638" y="63"/>
                  </a:lnTo>
                  <a:lnTo>
                    <a:pt x="1248" y="45"/>
                  </a:lnTo>
                  <a:lnTo>
                    <a:pt x="738" y="51"/>
                  </a:lnTo>
                  <a:lnTo>
                    <a:pt x="72" y="35"/>
                  </a:lnTo>
                  <a:close/>
                </a:path>
              </a:pathLst>
            </a:custGeom>
            <a:solidFill>
              <a:srgbClr val="FF9799"/>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06" name="North Carolina">
              <a:extLst>
                <a:ext uri="{FF2B5EF4-FFF2-40B4-BE49-F238E27FC236}">
                  <a16:creationId xmlns:a16="http://schemas.microsoft.com/office/drawing/2014/main" id="{35611E12-87FF-47EB-9152-D7BCB8553182}"/>
                </a:ext>
              </a:extLst>
            </p:cNvPr>
            <p:cNvSpPr>
              <a:spLocks/>
            </p:cNvSpPr>
            <p:nvPr/>
          </p:nvSpPr>
          <p:spPr bwMode="auto">
            <a:xfrm>
              <a:off x="6545636" y="3221762"/>
              <a:ext cx="1051833" cy="539820"/>
            </a:xfrm>
            <a:custGeom>
              <a:avLst/>
              <a:gdLst>
                <a:gd name="T0" fmla="*/ 0 w 3422"/>
                <a:gd name="T1" fmla="*/ 333 h 1760"/>
                <a:gd name="T2" fmla="*/ 32 w 3422"/>
                <a:gd name="T3" fmla="*/ 329 h 1760"/>
                <a:gd name="T4" fmla="*/ 70 w 3422"/>
                <a:gd name="T5" fmla="*/ 317 h 1760"/>
                <a:gd name="T6" fmla="*/ 92 w 3422"/>
                <a:gd name="T7" fmla="*/ 314 h 1760"/>
                <a:gd name="T8" fmla="*/ 161 w 3422"/>
                <a:gd name="T9" fmla="*/ 282 h 1760"/>
                <a:gd name="T10" fmla="*/ 205 w 3422"/>
                <a:gd name="T11" fmla="*/ 268 h 1760"/>
                <a:gd name="T12" fmla="*/ 243 w 3422"/>
                <a:gd name="T13" fmla="*/ 258 h 1760"/>
                <a:gd name="T14" fmla="*/ 275 w 3422"/>
                <a:gd name="T15" fmla="*/ 262 h 1760"/>
                <a:gd name="T16" fmla="*/ 292 w 3422"/>
                <a:gd name="T17" fmla="*/ 280 h 1760"/>
                <a:gd name="T18" fmla="*/ 327 w 3422"/>
                <a:gd name="T19" fmla="*/ 268 h 1760"/>
                <a:gd name="T20" fmla="*/ 371 w 3422"/>
                <a:gd name="T21" fmla="*/ 246 h 1760"/>
                <a:gd name="T22" fmla="*/ 418 w 3422"/>
                <a:gd name="T23" fmla="*/ 286 h 1760"/>
                <a:gd name="T24" fmla="*/ 457 w 3422"/>
                <a:gd name="T25" fmla="*/ 308 h 1760"/>
                <a:gd name="T26" fmla="*/ 467 w 3422"/>
                <a:gd name="T27" fmla="*/ 331 h 1760"/>
                <a:gd name="T28" fmla="*/ 506 w 3422"/>
                <a:gd name="T29" fmla="*/ 301 h 1760"/>
                <a:gd name="T30" fmla="*/ 525 w 3422"/>
                <a:gd name="T31" fmla="*/ 276 h 1760"/>
                <a:gd name="T32" fmla="*/ 537 w 3422"/>
                <a:gd name="T33" fmla="*/ 246 h 1760"/>
                <a:gd name="T34" fmla="*/ 554 w 3422"/>
                <a:gd name="T35" fmla="*/ 217 h 1760"/>
                <a:gd name="T36" fmla="*/ 582 w 3422"/>
                <a:gd name="T37" fmla="*/ 202 h 1760"/>
                <a:gd name="T38" fmla="*/ 603 w 3422"/>
                <a:gd name="T39" fmla="*/ 187 h 1760"/>
                <a:gd name="T40" fmla="*/ 614 w 3422"/>
                <a:gd name="T41" fmla="*/ 176 h 1760"/>
                <a:gd name="T42" fmla="*/ 603 w 3422"/>
                <a:gd name="T43" fmla="*/ 165 h 1760"/>
                <a:gd name="T44" fmla="*/ 568 w 3422"/>
                <a:gd name="T45" fmla="*/ 182 h 1760"/>
                <a:gd name="T46" fmla="*/ 563 w 3422"/>
                <a:gd name="T47" fmla="*/ 165 h 1760"/>
                <a:gd name="T48" fmla="*/ 582 w 3422"/>
                <a:gd name="T49" fmla="*/ 160 h 1760"/>
                <a:gd name="T50" fmla="*/ 592 w 3422"/>
                <a:gd name="T51" fmla="*/ 148 h 1760"/>
                <a:gd name="T52" fmla="*/ 591 w 3422"/>
                <a:gd name="T53" fmla="*/ 125 h 1760"/>
                <a:gd name="T54" fmla="*/ 625 w 3422"/>
                <a:gd name="T55" fmla="*/ 114 h 1760"/>
                <a:gd name="T56" fmla="*/ 645 w 3422"/>
                <a:gd name="T57" fmla="*/ 90 h 1760"/>
                <a:gd name="T58" fmla="*/ 648 w 3422"/>
                <a:gd name="T59" fmla="*/ 68 h 1760"/>
                <a:gd name="T60" fmla="*/ 625 w 3422"/>
                <a:gd name="T61" fmla="*/ 45 h 1760"/>
                <a:gd name="T62" fmla="*/ 620 w 3422"/>
                <a:gd name="T63" fmla="*/ 68 h 1760"/>
                <a:gd name="T64" fmla="*/ 602 w 3422"/>
                <a:gd name="T65" fmla="*/ 63 h 1760"/>
                <a:gd name="T66" fmla="*/ 570 w 3422"/>
                <a:gd name="T67" fmla="*/ 70 h 1760"/>
                <a:gd name="T68" fmla="*/ 551 w 3422"/>
                <a:gd name="T69" fmla="*/ 51 h 1760"/>
                <a:gd name="T70" fmla="*/ 564 w 3422"/>
                <a:gd name="T71" fmla="*/ 39 h 1760"/>
                <a:gd name="T72" fmla="*/ 586 w 3422"/>
                <a:gd name="T73" fmla="*/ 49 h 1760"/>
                <a:gd name="T74" fmla="*/ 599 w 3422"/>
                <a:gd name="T75" fmla="*/ 34 h 1760"/>
                <a:gd name="T76" fmla="*/ 620 w 3422"/>
                <a:gd name="T77" fmla="*/ 28 h 1760"/>
                <a:gd name="T78" fmla="*/ 591 w 3422"/>
                <a:gd name="T79" fmla="*/ 0 h 1760"/>
                <a:gd name="T80" fmla="*/ 554 w 3422"/>
                <a:gd name="T81" fmla="*/ 17 h 1760"/>
                <a:gd name="T82" fmla="*/ 512 w 3422"/>
                <a:gd name="T83" fmla="*/ 23 h 1760"/>
                <a:gd name="T84" fmla="*/ 351 w 3422"/>
                <a:gd name="T85" fmla="*/ 70 h 1760"/>
                <a:gd name="T86" fmla="*/ 280 w 3422"/>
                <a:gd name="T87" fmla="*/ 101 h 1760"/>
                <a:gd name="T88" fmla="*/ 178 w 3422"/>
                <a:gd name="T89" fmla="*/ 129 h 1760"/>
                <a:gd name="T90" fmla="*/ 178 w 3422"/>
                <a:gd name="T91" fmla="*/ 151 h 1760"/>
                <a:gd name="T92" fmla="*/ 165 w 3422"/>
                <a:gd name="T93" fmla="*/ 169 h 1760"/>
                <a:gd name="T94" fmla="*/ 97 w 3422"/>
                <a:gd name="T95" fmla="*/ 202 h 1760"/>
                <a:gd name="T96" fmla="*/ 103 w 3422"/>
                <a:gd name="T97" fmla="*/ 220 h 1760"/>
                <a:gd name="T98" fmla="*/ 32 w 3422"/>
                <a:gd name="T99" fmla="*/ 275 h 1760"/>
                <a:gd name="T100" fmla="*/ 18 w 3422"/>
                <a:gd name="T101" fmla="*/ 300 h 1760"/>
                <a:gd name="T102" fmla="*/ 1 w 3422"/>
                <a:gd name="T103" fmla="*/ 305 h 1760"/>
                <a:gd name="T104" fmla="*/ 0 w 3422"/>
                <a:gd name="T105" fmla="*/ 333 h 17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422" h="1760">
                  <a:moveTo>
                    <a:pt x="0" y="1760"/>
                  </a:moveTo>
                  <a:lnTo>
                    <a:pt x="168" y="1738"/>
                  </a:lnTo>
                  <a:lnTo>
                    <a:pt x="369" y="1675"/>
                  </a:lnTo>
                  <a:lnTo>
                    <a:pt x="487" y="1657"/>
                  </a:lnTo>
                  <a:lnTo>
                    <a:pt x="848" y="1490"/>
                  </a:lnTo>
                  <a:lnTo>
                    <a:pt x="1082" y="1419"/>
                  </a:lnTo>
                  <a:lnTo>
                    <a:pt x="1283" y="1365"/>
                  </a:lnTo>
                  <a:lnTo>
                    <a:pt x="1452" y="1386"/>
                  </a:lnTo>
                  <a:lnTo>
                    <a:pt x="1542" y="1478"/>
                  </a:lnTo>
                  <a:lnTo>
                    <a:pt x="1726" y="1418"/>
                  </a:lnTo>
                  <a:lnTo>
                    <a:pt x="1961" y="1298"/>
                  </a:lnTo>
                  <a:lnTo>
                    <a:pt x="2209" y="1511"/>
                  </a:lnTo>
                  <a:lnTo>
                    <a:pt x="2411" y="1626"/>
                  </a:lnTo>
                  <a:lnTo>
                    <a:pt x="2468" y="1748"/>
                  </a:lnTo>
                  <a:lnTo>
                    <a:pt x="2672" y="1590"/>
                  </a:lnTo>
                  <a:lnTo>
                    <a:pt x="2772" y="1460"/>
                  </a:lnTo>
                  <a:lnTo>
                    <a:pt x="2836" y="1300"/>
                  </a:lnTo>
                  <a:lnTo>
                    <a:pt x="2924" y="1148"/>
                  </a:lnTo>
                  <a:lnTo>
                    <a:pt x="3076" y="1068"/>
                  </a:lnTo>
                  <a:lnTo>
                    <a:pt x="3182" y="990"/>
                  </a:lnTo>
                  <a:lnTo>
                    <a:pt x="3244" y="932"/>
                  </a:lnTo>
                  <a:lnTo>
                    <a:pt x="3182" y="870"/>
                  </a:lnTo>
                  <a:lnTo>
                    <a:pt x="3002" y="960"/>
                  </a:lnTo>
                  <a:lnTo>
                    <a:pt x="2972" y="870"/>
                  </a:lnTo>
                  <a:lnTo>
                    <a:pt x="3076" y="844"/>
                  </a:lnTo>
                  <a:lnTo>
                    <a:pt x="3124" y="780"/>
                  </a:lnTo>
                  <a:lnTo>
                    <a:pt x="3122" y="660"/>
                  </a:lnTo>
                  <a:lnTo>
                    <a:pt x="3302" y="600"/>
                  </a:lnTo>
                  <a:lnTo>
                    <a:pt x="3404" y="476"/>
                  </a:lnTo>
                  <a:lnTo>
                    <a:pt x="3422" y="360"/>
                  </a:lnTo>
                  <a:lnTo>
                    <a:pt x="3302" y="240"/>
                  </a:lnTo>
                  <a:lnTo>
                    <a:pt x="3272" y="360"/>
                  </a:lnTo>
                  <a:lnTo>
                    <a:pt x="3180" y="332"/>
                  </a:lnTo>
                  <a:lnTo>
                    <a:pt x="3012" y="372"/>
                  </a:lnTo>
                  <a:lnTo>
                    <a:pt x="2912" y="270"/>
                  </a:lnTo>
                  <a:lnTo>
                    <a:pt x="2980" y="204"/>
                  </a:lnTo>
                  <a:lnTo>
                    <a:pt x="3092" y="260"/>
                  </a:lnTo>
                  <a:lnTo>
                    <a:pt x="3164" y="180"/>
                  </a:lnTo>
                  <a:lnTo>
                    <a:pt x="3272" y="150"/>
                  </a:lnTo>
                  <a:lnTo>
                    <a:pt x="3122" y="0"/>
                  </a:lnTo>
                  <a:lnTo>
                    <a:pt x="2924" y="92"/>
                  </a:lnTo>
                  <a:lnTo>
                    <a:pt x="2702" y="120"/>
                  </a:lnTo>
                  <a:lnTo>
                    <a:pt x="1852" y="372"/>
                  </a:lnTo>
                  <a:lnTo>
                    <a:pt x="1477" y="532"/>
                  </a:lnTo>
                  <a:lnTo>
                    <a:pt x="939" y="683"/>
                  </a:lnTo>
                  <a:lnTo>
                    <a:pt x="942" y="797"/>
                  </a:lnTo>
                  <a:lnTo>
                    <a:pt x="871" y="892"/>
                  </a:lnTo>
                  <a:lnTo>
                    <a:pt x="513" y="1070"/>
                  </a:lnTo>
                  <a:lnTo>
                    <a:pt x="545" y="1164"/>
                  </a:lnTo>
                  <a:lnTo>
                    <a:pt x="171" y="1451"/>
                  </a:lnTo>
                  <a:lnTo>
                    <a:pt x="93" y="1583"/>
                  </a:lnTo>
                  <a:lnTo>
                    <a:pt x="3" y="1614"/>
                  </a:lnTo>
                  <a:lnTo>
                    <a:pt x="0" y="1760"/>
                  </a:lnTo>
                  <a:close/>
                </a:path>
              </a:pathLst>
            </a:custGeom>
            <a:solidFill>
              <a:srgbClr val="640002"/>
            </a:solidFill>
            <a:ln w="6350" cmpd="sng">
              <a:solidFill>
                <a:schemeClr val="bg1"/>
              </a:solidFill>
              <a:prstDash val="solid"/>
              <a:round/>
              <a:headEnd/>
              <a:tailEnd/>
            </a:ln>
            <a:effectLst/>
          </p:spPr>
          <p:txBody>
            <a:bodyPr/>
            <a:lstStyle/>
            <a:p>
              <a:endParaRPr lang="zh-CN" altLang="en-US" kern="0" dirty="0">
                <a:solidFill>
                  <a:sysClr val="windowText" lastClr="000000"/>
                </a:solidFill>
              </a:endParaRPr>
            </a:p>
          </p:txBody>
        </p:sp>
        <p:sp>
          <p:nvSpPr>
            <p:cNvPr id="307" name="New York">
              <a:extLst>
                <a:ext uri="{FF2B5EF4-FFF2-40B4-BE49-F238E27FC236}">
                  <a16:creationId xmlns:a16="http://schemas.microsoft.com/office/drawing/2014/main" id="{2BF1179B-9F71-445B-B20D-48D3DDA8D359}"/>
                </a:ext>
              </a:extLst>
            </p:cNvPr>
            <p:cNvSpPr>
              <a:spLocks/>
            </p:cNvSpPr>
            <p:nvPr/>
          </p:nvSpPr>
          <p:spPr bwMode="auto">
            <a:xfrm>
              <a:off x="6816710" y="1876262"/>
              <a:ext cx="800238" cy="684098"/>
            </a:xfrm>
            <a:custGeom>
              <a:avLst/>
              <a:gdLst>
                <a:gd name="T0" fmla="*/ 0 w 2597"/>
                <a:gd name="T1" fmla="*/ 421 h 2224"/>
                <a:gd name="T2" fmla="*/ 24 w 2597"/>
                <a:gd name="T3" fmla="*/ 422 h 2224"/>
                <a:gd name="T4" fmla="*/ 207 w 2597"/>
                <a:gd name="T5" fmla="*/ 361 h 2224"/>
                <a:gd name="T6" fmla="*/ 330 w 2597"/>
                <a:gd name="T7" fmla="*/ 324 h 2224"/>
                <a:gd name="T8" fmla="*/ 380 w 2597"/>
                <a:gd name="T9" fmla="*/ 357 h 2224"/>
                <a:gd name="T10" fmla="*/ 398 w 2597"/>
                <a:gd name="T11" fmla="*/ 365 h 2224"/>
                <a:gd name="T12" fmla="*/ 436 w 2597"/>
                <a:gd name="T13" fmla="*/ 367 h 2224"/>
                <a:gd name="T14" fmla="*/ 474 w 2597"/>
                <a:gd name="T15" fmla="*/ 373 h 2224"/>
                <a:gd name="T16" fmla="*/ 493 w 2597"/>
                <a:gd name="T17" fmla="*/ 346 h 2224"/>
                <a:gd name="T18" fmla="*/ 483 w 2597"/>
                <a:gd name="T19" fmla="*/ 334 h 2224"/>
                <a:gd name="T20" fmla="*/ 482 w 2597"/>
                <a:gd name="T21" fmla="*/ 314 h 2224"/>
                <a:gd name="T22" fmla="*/ 465 w 2597"/>
                <a:gd name="T23" fmla="*/ 301 h 2224"/>
                <a:gd name="T24" fmla="*/ 459 w 2597"/>
                <a:gd name="T25" fmla="*/ 278 h 2224"/>
                <a:gd name="T26" fmla="*/ 454 w 2597"/>
                <a:gd name="T27" fmla="*/ 241 h 2224"/>
                <a:gd name="T28" fmla="*/ 447 w 2597"/>
                <a:gd name="T29" fmla="*/ 198 h 2224"/>
                <a:gd name="T30" fmla="*/ 439 w 2597"/>
                <a:gd name="T31" fmla="*/ 170 h 2224"/>
                <a:gd name="T32" fmla="*/ 433 w 2597"/>
                <a:gd name="T33" fmla="*/ 132 h 2224"/>
                <a:gd name="T34" fmla="*/ 396 w 2597"/>
                <a:gd name="T35" fmla="*/ 73 h 2224"/>
                <a:gd name="T36" fmla="*/ 385 w 2597"/>
                <a:gd name="T37" fmla="*/ 28 h 2224"/>
                <a:gd name="T38" fmla="*/ 377 w 2597"/>
                <a:gd name="T39" fmla="*/ 11 h 2224"/>
                <a:gd name="T40" fmla="*/ 362 w 2597"/>
                <a:gd name="T41" fmla="*/ 0 h 2224"/>
                <a:gd name="T42" fmla="*/ 351 w 2597"/>
                <a:gd name="T43" fmla="*/ 11 h 2224"/>
                <a:gd name="T44" fmla="*/ 328 w 2597"/>
                <a:gd name="T45" fmla="*/ 16 h 2224"/>
                <a:gd name="T46" fmla="*/ 301 w 2597"/>
                <a:gd name="T47" fmla="*/ 29 h 2224"/>
                <a:gd name="T48" fmla="*/ 260 w 2597"/>
                <a:gd name="T49" fmla="*/ 39 h 2224"/>
                <a:gd name="T50" fmla="*/ 243 w 2597"/>
                <a:gd name="T51" fmla="*/ 61 h 2224"/>
                <a:gd name="T52" fmla="*/ 225 w 2597"/>
                <a:gd name="T53" fmla="*/ 85 h 2224"/>
                <a:gd name="T54" fmla="*/ 227 w 2597"/>
                <a:gd name="T55" fmla="*/ 108 h 2224"/>
                <a:gd name="T56" fmla="*/ 233 w 2597"/>
                <a:gd name="T57" fmla="*/ 123 h 2224"/>
                <a:gd name="T58" fmla="*/ 197 w 2597"/>
                <a:gd name="T59" fmla="*/ 159 h 2224"/>
                <a:gd name="T60" fmla="*/ 211 w 2597"/>
                <a:gd name="T61" fmla="*/ 165 h 2224"/>
                <a:gd name="T62" fmla="*/ 225 w 2597"/>
                <a:gd name="T63" fmla="*/ 159 h 2224"/>
                <a:gd name="T64" fmla="*/ 228 w 2597"/>
                <a:gd name="T65" fmla="*/ 173 h 2224"/>
                <a:gd name="T66" fmla="*/ 214 w 2597"/>
                <a:gd name="T67" fmla="*/ 187 h 2224"/>
                <a:gd name="T68" fmla="*/ 237 w 2597"/>
                <a:gd name="T69" fmla="*/ 198 h 2224"/>
                <a:gd name="T70" fmla="*/ 242 w 2597"/>
                <a:gd name="T71" fmla="*/ 216 h 2224"/>
                <a:gd name="T72" fmla="*/ 213 w 2597"/>
                <a:gd name="T73" fmla="*/ 225 h 2224"/>
                <a:gd name="T74" fmla="*/ 183 w 2597"/>
                <a:gd name="T75" fmla="*/ 243 h 2224"/>
                <a:gd name="T76" fmla="*/ 151 w 2597"/>
                <a:gd name="T77" fmla="*/ 267 h 2224"/>
                <a:gd name="T78" fmla="*/ 120 w 2597"/>
                <a:gd name="T79" fmla="*/ 261 h 2224"/>
                <a:gd name="T80" fmla="*/ 88 w 2597"/>
                <a:gd name="T81" fmla="*/ 273 h 2224"/>
                <a:gd name="T82" fmla="*/ 60 w 2597"/>
                <a:gd name="T83" fmla="*/ 291 h 2224"/>
                <a:gd name="T84" fmla="*/ 58 w 2597"/>
                <a:gd name="T85" fmla="*/ 310 h 2224"/>
                <a:gd name="T86" fmla="*/ 77 w 2597"/>
                <a:gd name="T87" fmla="*/ 329 h 2224"/>
                <a:gd name="T88" fmla="*/ 76 w 2597"/>
                <a:gd name="T89" fmla="*/ 351 h 2224"/>
                <a:gd name="T90" fmla="*/ 60 w 2597"/>
                <a:gd name="T91" fmla="*/ 369 h 2224"/>
                <a:gd name="T92" fmla="*/ 0 w 2597"/>
                <a:gd name="T93" fmla="*/ 421 h 22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97" h="2224">
                  <a:moveTo>
                    <a:pt x="0" y="2218"/>
                  </a:moveTo>
                  <a:lnTo>
                    <a:pt x="128" y="2224"/>
                  </a:lnTo>
                  <a:lnTo>
                    <a:pt x="1088" y="1905"/>
                  </a:lnTo>
                  <a:lnTo>
                    <a:pt x="1737" y="1708"/>
                  </a:lnTo>
                  <a:lnTo>
                    <a:pt x="2003" y="1884"/>
                  </a:lnTo>
                  <a:lnTo>
                    <a:pt x="2094" y="1924"/>
                  </a:lnTo>
                  <a:lnTo>
                    <a:pt x="2298" y="1936"/>
                  </a:lnTo>
                  <a:lnTo>
                    <a:pt x="2498" y="1968"/>
                  </a:lnTo>
                  <a:lnTo>
                    <a:pt x="2597" y="1826"/>
                  </a:lnTo>
                  <a:lnTo>
                    <a:pt x="2546" y="1760"/>
                  </a:lnTo>
                  <a:lnTo>
                    <a:pt x="2538" y="1656"/>
                  </a:lnTo>
                  <a:lnTo>
                    <a:pt x="2450" y="1584"/>
                  </a:lnTo>
                  <a:lnTo>
                    <a:pt x="2417" y="1466"/>
                  </a:lnTo>
                  <a:lnTo>
                    <a:pt x="2394" y="1272"/>
                  </a:lnTo>
                  <a:lnTo>
                    <a:pt x="2357" y="1046"/>
                  </a:lnTo>
                  <a:lnTo>
                    <a:pt x="2314" y="896"/>
                  </a:lnTo>
                  <a:lnTo>
                    <a:pt x="2282" y="696"/>
                  </a:lnTo>
                  <a:lnTo>
                    <a:pt x="2087" y="386"/>
                  </a:lnTo>
                  <a:lnTo>
                    <a:pt x="2027" y="146"/>
                  </a:lnTo>
                  <a:lnTo>
                    <a:pt x="1986" y="56"/>
                  </a:lnTo>
                  <a:lnTo>
                    <a:pt x="1906" y="0"/>
                  </a:lnTo>
                  <a:lnTo>
                    <a:pt x="1847" y="56"/>
                  </a:lnTo>
                  <a:lnTo>
                    <a:pt x="1727" y="86"/>
                  </a:lnTo>
                  <a:lnTo>
                    <a:pt x="1586" y="152"/>
                  </a:lnTo>
                  <a:lnTo>
                    <a:pt x="1367" y="206"/>
                  </a:lnTo>
                  <a:lnTo>
                    <a:pt x="1282" y="320"/>
                  </a:lnTo>
                  <a:lnTo>
                    <a:pt x="1186" y="446"/>
                  </a:lnTo>
                  <a:lnTo>
                    <a:pt x="1194" y="568"/>
                  </a:lnTo>
                  <a:lnTo>
                    <a:pt x="1226" y="648"/>
                  </a:lnTo>
                  <a:lnTo>
                    <a:pt x="1036" y="836"/>
                  </a:lnTo>
                  <a:lnTo>
                    <a:pt x="1114" y="872"/>
                  </a:lnTo>
                  <a:lnTo>
                    <a:pt x="1186" y="836"/>
                  </a:lnTo>
                  <a:lnTo>
                    <a:pt x="1202" y="912"/>
                  </a:lnTo>
                  <a:lnTo>
                    <a:pt x="1126" y="986"/>
                  </a:lnTo>
                  <a:lnTo>
                    <a:pt x="1247" y="1046"/>
                  </a:lnTo>
                  <a:lnTo>
                    <a:pt x="1277" y="1136"/>
                  </a:lnTo>
                  <a:lnTo>
                    <a:pt x="1122" y="1184"/>
                  </a:lnTo>
                  <a:lnTo>
                    <a:pt x="962" y="1280"/>
                  </a:lnTo>
                  <a:lnTo>
                    <a:pt x="796" y="1406"/>
                  </a:lnTo>
                  <a:lnTo>
                    <a:pt x="634" y="1376"/>
                  </a:lnTo>
                  <a:lnTo>
                    <a:pt x="466" y="1440"/>
                  </a:lnTo>
                  <a:lnTo>
                    <a:pt x="314" y="1536"/>
                  </a:lnTo>
                  <a:lnTo>
                    <a:pt x="306" y="1632"/>
                  </a:lnTo>
                  <a:lnTo>
                    <a:pt x="406" y="1736"/>
                  </a:lnTo>
                  <a:lnTo>
                    <a:pt x="402" y="1848"/>
                  </a:lnTo>
                  <a:lnTo>
                    <a:pt x="316" y="1946"/>
                  </a:lnTo>
                  <a:lnTo>
                    <a:pt x="0" y="2218"/>
                  </a:lnTo>
                  <a:close/>
                </a:path>
              </a:pathLst>
            </a:custGeom>
            <a:solidFill>
              <a:srgbClr val="FF575B"/>
            </a:solidFill>
            <a:ln w="6350" cmpd="sng">
              <a:solidFill>
                <a:schemeClr val="bg1"/>
              </a:solidFill>
              <a:prstDash val="solid"/>
              <a:round/>
              <a:headEnd/>
              <a:tailEnd/>
            </a:ln>
            <a:effectLst/>
          </p:spPr>
          <p:txBody>
            <a:bodyPr/>
            <a:lstStyle/>
            <a:p>
              <a:pPr fontAlgn="base">
                <a:spcBef>
                  <a:spcPct val="0"/>
                </a:spcBef>
                <a:spcAft>
                  <a:spcPct val="0"/>
                </a:spcAft>
              </a:pPr>
              <a:endParaRPr lang="zh-CN" altLang="en-US" b="1" kern="0">
                <a:solidFill>
                  <a:srgbClr val="000000"/>
                </a:solidFill>
                <a:latin typeface="Arial" charset="0"/>
              </a:endParaRPr>
            </a:p>
          </p:txBody>
        </p:sp>
        <p:sp>
          <p:nvSpPr>
            <p:cNvPr id="308" name="New Mexico">
              <a:extLst>
                <a:ext uri="{FF2B5EF4-FFF2-40B4-BE49-F238E27FC236}">
                  <a16:creationId xmlns:a16="http://schemas.microsoft.com/office/drawing/2014/main" id="{75C84904-9DA3-4B8B-BDAF-4D857EFFB23D}"/>
                </a:ext>
              </a:extLst>
            </p:cNvPr>
            <p:cNvSpPr>
              <a:spLocks/>
            </p:cNvSpPr>
            <p:nvPr/>
          </p:nvSpPr>
          <p:spPr bwMode="auto">
            <a:xfrm>
              <a:off x="3357674" y="3656212"/>
              <a:ext cx="816469" cy="893217"/>
            </a:xfrm>
            <a:custGeom>
              <a:avLst/>
              <a:gdLst>
                <a:gd name="T0" fmla="*/ 41 w 2655"/>
                <a:gd name="T1" fmla="*/ 0 h 2904"/>
                <a:gd name="T2" fmla="*/ 261 w 2655"/>
                <a:gd name="T3" fmla="*/ 16 h 2904"/>
                <a:gd name="T4" fmla="*/ 411 w 2655"/>
                <a:gd name="T5" fmla="*/ 23 h 2904"/>
                <a:gd name="T6" fmla="*/ 503 w 2655"/>
                <a:gd name="T7" fmla="*/ 25 h 2904"/>
                <a:gd name="T8" fmla="*/ 500 w 2655"/>
                <a:gd name="T9" fmla="*/ 75 h 2904"/>
                <a:gd name="T10" fmla="*/ 503 w 2655"/>
                <a:gd name="T11" fmla="*/ 283 h 2904"/>
                <a:gd name="T12" fmla="*/ 497 w 2655"/>
                <a:gd name="T13" fmla="*/ 505 h 2904"/>
                <a:gd name="T14" fmla="*/ 194 w 2655"/>
                <a:gd name="T15" fmla="*/ 494 h 2904"/>
                <a:gd name="T16" fmla="*/ 206 w 2655"/>
                <a:gd name="T17" fmla="*/ 516 h 2904"/>
                <a:gd name="T18" fmla="*/ 171 w 2655"/>
                <a:gd name="T19" fmla="*/ 510 h 2904"/>
                <a:gd name="T20" fmla="*/ 130 w 2655"/>
                <a:gd name="T21" fmla="*/ 512 h 2904"/>
                <a:gd name="T22" fmla="*/ 80 w 2655"/>
                <a:gd name="T23" fmla="*/ 505 h 2904"/>
                <a:gd name="T24" fmla="*/ 78 w 2655"/>
                <a:gd name="T25" fmla="*/ 532 h 2904"/>
                <a:gd name="T26" fmla="*/ 73 w 2655"/>
                <a:gd name="T27" fmla="*/ 551 h 2904"/>
                <a:gd name="T28" fmla="*/ 0 w 2655"/>
                <a:gd name="T29" fmla="*/ 549 h 2904"/>
                <a:gd name="T30" fmla="*/ 41 w 2655"/>
                <a:gd name="T31" fmla="*/ 0 h 29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55" h="2904">
                  <a:moveTo>
                    <a:pt x="217" y="0"/>
                  </a:moveTo>
                  <a:lnTo>
                    <a:pt x="1377" y="84"/>
                  </a:lnTo>
                  <a:lnTo>
                    <a:pt x="2169" y="122"/>
                  </a:lnTo>
                  <a:lnTo>
                    <a:pt x="2653" y="132"/>
                  </a:lnTo>
                  <a:lnTo>
                    <a:pt x="2637" y="396"/>
                  </a:lnTo>
                  <a:lnTo>
                    <a:pt x="2655" y="1494"/>
                  </a:lnTo>
                  <a:lnTo>
                    <a:pt x="2625" y="2664"/>
                  </a:lnTo>
                  <a:lnTo>
                    <a:pt x="1026" y="2601"/>
                  </a:lnTo>
                  <a:lnTo>
                    <a:pt x="1086" y="2721"/>
                  </a:lnTo>
                  <a:lnTo>
                    <a:pt x="903" y="2688"/>
                  </a:lnTo>
                  <a:lnTo>
                    <a:pt x="687" y="2700"/>
                  </a:lnTo>
                  <a:lnTo>
                    <a:pt x="423" y="2664"/>
                  </a:lnTo>
                  <a:lnTo>
                    <a:pt x="411" y="2802"/>
                  </a:lnTo>
                  <a:lnTo>
                    <a:pt x="387" y="2904"/>
                  </a:lnTo>
                  <a:lnTo>
                    <a:pt x="0" y="2892"/>
                  </a:lnTo>
                  <a:lnTo>
                    <a:pt x="217" y="0"/>
                  </a:lnTo>
                  <a:close/>
                </a:path>
              </a:pathLst>
            </a:custGeom>
            <a:solidFill>
              <a:srgbClr val="FF9799"/>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09" name="New Jersey">
              <a:extLst>
                <a:ext uri="{FF2B5EF4-FFF2-40B4-BE49-F238E27FC236}">
                  <a16:creationId xmlns:a16="http://schemas.microsoft.com/office/drawing/2014/main" id="{74763C71-9DD9-45E7-B191-913201B09860}"/>
                </a:ext>
              </a:extLst>
            </p:cNvPr>
            <p:cNvSpPr>
              <a:spLocks/>
            </p:cNvSpPr>
            <p:nvPr/>
          </p:nvSpPr>
          <p:spPr bwMode="auto">
            <a:xfrm>
              <a:off x="7420541" y="2467958"/>
              <a:ext cx="185044" cy="366365"/>
            </a:xfrm>
            <a:custGeom>
              <a:avLst/>
              <a:gdLst>
                <a:gd name="T0" fmla="*/ 10 w 601"/>
                <a:gd name="T1" fmla="*/ 23 h 1190"/>
                <a:gd name="T2" fmla="*/ 0 w 601"/>
                <a:gd name="T3" fmla="*/ 51 h 1190"/>
                <a:gd name="T4" fmla="*/ 20 w 601"/>
                <a:gd name="T5" fmla="*/ 84 h 1190"/>
                <a:gd name="T6" fmla="*/ 46 w 601"/>
                <a:gd name="T7" fmla="*/ 103 h 1190"/>
                <a:gd name="T8" fmla="*/ 47 w 601"/>
                <a:gd name="T9" fmla="*/ 119 h 1190"/>
                <a:gd name="T10" fmla="*/ 38 w 601"/>
                <a:gd name="T11" fmla="*/ 136 h 1190"/>
                <a:gd name="T12" fmla="*/ 30 w 601"/>
                <a:gd name="T13" fmla="*/ 156 h 1190"/>
                <a:gd name="T14" fmla="*/ 17 w 601"/>
                <a:gd name="T15" fmla="*/ 171 h 1190"/>
                <a:gd name="T16" fmla="*/ 27 w 601"/>
                <a:gd name="T17" fmla="*/ 201 h 1190"/>
                <a:gd name="T18" fmla="*/ 48 w 601"/>
                <a:gd name="T19" fmla="*/ 198 h 1190"/>
                <a:gd name="T20" fmla="*/ 66 w 601"/>
                <a:gd name="T21" fmla="*/ 216 h 1190"/>
                <a:gd name="T22" fmla="*/ 85 w 601"/>
                <a:gd name="T23" fmla="*/ 226 h 1190"/>
                <a:gd name="T24" fmla="*/ 91 w 601"/>
                <a:gd name="T25" fmla="*/ 188 h 1190"/>
                <a:gd name="T26" fmla="*/ 97 w 601"/>
                <a:gd name="T27" fmla="*/ 165 h 1190"/>
                <a:gd name="T28" fmla="*/ 102 w 601"/>
                <a:gd name="T29" fmla="*/ 137 h 1190"/>
                <a:gd name="T30" fmla="*/ 114 w 601"/>
                <a:gd name="T31" fmla="*/ 108 h 1190"/>
                <a:gd name="T32" fmla="*/ 108 w 601"/>
                <a:gd name="T33" fmla="*/ 74 h 1190"/>
                <a:gd name="T34" fmla="*/ 86 w 601"/>
                <a:gd name="T35" fmla="*/ 57 h 1190"/>
                <a:gd name="T36" fmla="*/ 86 w 601"/>
                <a:gd name="T37" fmla="*/ 33 h 1190"/>
                <a:gd name="T38" fmla="*/ 102 w 601"/>
                <a:gd name="T39" fmla="*/ 9 h 1190"/>
                <a:gd name="T40" fmla="*/ 64 w 601"/>
                <a:gd name="T41" fmla="*/ 2 h 1190"/>
                <a:gd name="T42" fmla="*/ 26 w 601"/>
                <a:gd name="T43" fmla="*/ 0 h 1190"/>
                <a:gd name="T44" fmla="*/ 10 w 601"/>
                <a:gd name="T45" fmla="*/ 23 h 119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1" h="1190">
                  <a:moveTo>
                    <a:pt x="54" y="119"/>
                  </a:moveTo>
                  <a:lnTo>
                    <a:pt x="0" y="269"/>
                  </a:lnTo>
                  <a:lnTo>
                    <a:pt x="106" y="440"/>
                  </a:lnTo>
                  <a:lnTo>
                    <a:pt x="244" y="540"/>
                  </a:lnTo>
                  <a:lnTo>
                    <a:pt x="250" y="624"/>
                  </a:lnTo>
                  <a:lnTo>
                    <a:pt x="199" y="716"/>
                  </a:lnTo>
                  <a:lnTo>
                    <a:pt x="159" y="821"/>
                  </a:lnTo>
                  <a:lnTo>
                    <a:pt x="87" y="902"/>
                  </a:lnTo>
                  <a:lnTo>
                    <a:pt x="141" y="1059"/>
                  </a:lnTo>
                  <a:lnTo>
                    <a:pt x="254" y="1044"/>
                  </a:lnTo>
                  <a:lnTo>
                    <a:pt x="346" y="1135"/>
                  </a:lnTo>
                  <a:lnTo>
                    <a:pt x="446" y="1190"/>
                  </a:lnTo>
                  <a:lnTo>
                    <a:pt x="481" y="989"/>
                  </a:lnTo>
                  <a:lnTo>
                    <a:pt x="511" y="869"/>
                  </a:lnTo>
                  <a:lnTo>
                    <a:pt x="538" y="724"/>
                  </a:lnTo>
                  <a:lnTo>
                    <a:pt x="601" y="569"/>
                  </a:lnTo>
                  <a:lnTo>
                    <a:pt x="571" y="389"/>
                  </a:lnTo>
                  <a:lnTo>
                    <a:pt x="451" y="299"/>
                  </a:lnTo>
                  <a:lnTo>
                    <a:pt x="455" y="175"/>
                  </a:lnTo>
                  <a:lnTo>
                    <a:pt x="540" y="45"/>
                  </a:lnTo>
                  <a:lnTo>
                    <a:pt x="340" y="12"/>
                  </a:lnTo>
                  <a:lnTo>
                    <a:pt x="135" y="0"/>
                  </a:lnTo>
                  <a:lnTo>
                    <a:pt x="54" y="119"/>
                  </a:lnTo>
                  <a:close/>
                </a:path>
              </a:pathLst>
            </a:custGeom>
            <a:solidFill>
              <a:srgbClr val="BFCAD2"/>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10" name="New Hampshire">
              <a:extLst>
                <a:ext uri="{FF2B5EF4-FFF2-40B4-BE49-F238E27FC236}">
                  <a16:creationId xmlns:a16="http://schemas.microsoft.com/office/drawing/2014/main" id="{C54092B6-87CE-4543-A102-BA1BCA282B90}"/>
                </a:ext>
              </a:extLst>
            </p:cNvPr>
            <p:cNvSpPr>
              <a:spLocks/>
            </p:cNvSpPr>
            <p:nvPr/>
          </p:nvSpPr>
          <p:spPr bwMode="auto">
            <a:xfrm>
              <a:off x="7602339" y="1769271"/>
              <a:ext cx="188291" cy="402029"/>
            </a:xfrm>
            <a:custGeom>
              <a:avLst/>
              <a:gdLst>
                <a:gd name="T0" fmla="*/ 66 w 615"/>
                <a:gd name="T1" fmla="*/ 233 h 1311"/>
                <a:gd name="T2" fmla="*/ 96 w 615"/>
                <a:gd name="T3" fmla="*/ 224 h 1311"/>
                <a:gd name="T4" fmla="*/ 107 w 615"/>
                <a:gd name="T5" fmla="*/ 201 h 1311"/>
                <a:gd name="T6" fmla="*/ 107 w 615"/>
                <a:gd name="T7" fmla="*/ 184 h 1311"/>
                <a:gd name="T8" fmla="*/ 116 w 615"/>
                <a:gd name="T9" fmla="*/ 170 h 1311"/>
                <a:gd name="T10" fmla="*/ 96 w 615"/>
                <a:gd name="T11" fmla="*/ 162 h 1311"/>
                <a:gd name="T12" fmla="*/ 89 w 615"/>
                <a:gd name="T13" fmla="*/ 136 h 1311"/>
                <a:gd name="T14" fmla="*/ 54 w 615"/>
                <a:gd name="T15" fmla="*/ 74 h 1311"/>
                <a:gd name="T16" fmla="*/ 25 w 615"/>
                <a:gd name="T17" fmla="*/ 0 h 1311"/>
                <a:gd name="T18" fmla="*/ 9 w 615"/>
                <a:gd name="T19" fmla="*/ 6 h 1311"/>
                <a:gd name="T20" fmla="*/ 2 w 615"/>
                <a:gd name="T21" fmla="*/ 18 h 1311"/>
                <a:gd name="T22" fmla="*/ 14 w 615"/>
                <a:gd name="T23" fmla="*/ 52 h 1311"/>
                <a:gd name="T24" fmla="*/ 18 w 615"/>
                <a:gd name="T25" fmla="*/ 74 h 1311"/>
                <a:gd name="T26" fmla="*/ 2 w 615"/>
                <a:gd name="T27" fmla="*/ 97 h 1311"/>
                <a:gd name="T28" fmla="*/ 0 w 615"/>
                <a:gd name="T29" fmla="*/ 145 h 1311"/>
                <a:gd name="T30" fmla="*/ 5 w 615"/>
                <a:gd name="T31" fmla="*/ 200 h 1311"/>
                <a:gd name="T32" fmla="*/ 12 w 615"/>
                <a:gd name="T33" fmla="*/ 234 h 1311"/>
                <a:gd name="T34" fmla="*/ 18 w 615"/>
                <a:gd name="T35" fmla="*/ 248 h 1311"/>
                <a:gd name="T36" fmla="*/ 66 w 615"/>
                <a:gd name="T37" fmla="*/ 233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5" h="1311">
                  <a:moveTo>
                    <a:pt x="349" y="1231"/>
                  </a:moveTo>
                  <a:lnTo>
                    <a:pt x="507" y="1183"/>
                  </a:lnTo>
                  <a:lnTo>
                    <a:pt x="567" y="1063"/>
                  </a:lnTo>
                  <a:lnTo>
                    <a:pt x="567" y="975"/>
                  </a:lnTo>
                  <a:lnTo>
                    <a:pt x="615" y="900"/>
                  </a:lnTo>
                  <a:lnTo>
                    <a:pt x="508" y="859"/>
                  </a:lnTo>
                  <a:lnTo>
                    <a:pt x="472" y="721"/>
                  </a:lnTo>
                  <a:lnTo>
                    <a:pt x="285" y="390"/>
                  </a:lnTo>
                  <a:lnTo>
                    <a:pt x="135" y="0"/>
                  </a:lnTo>
                  <a:lnTo>
                    <a:pt x="46" y="31"/>
                  </a:lnTo>
                  <a:lnTo>
                    <a:pt x="13" y="97"/>
                  </a:lnTo>
                  <a:lnTo>
                    <a:pt x="75" y="277"/>
                  </a:lnTo>
                  <a:lnTo>
                    <a:pt x="96" y="393"/>
                  </a:lnTo>
                  <a:lnTo>
                    <a:pt x="12" y="514"/>
                  </a:lnTo>
                  <a:lnTo>
                    <a:pt x="0" y="766"/>
                  </a:lnTo>
                  <a:lnTo>
                    <a:pt x="24" y="1056"/>
                  </a:lnTo>
                  <a:lnTo>
                    <a:pt x="64" y="1239"/>
                  </a:lnTo>
                  <a:lnTo>
                    <a:pt x="96" y="1311"/>
                  </a:lnTo>
                  <a:lnTo>
                    <a:pt x="349" y="1231"/>
                  </a:lnTo>
                  <a:close/>
                </a:path>
              </a:pathLst>
            </a:custGeom>
            <a:solidFill>
              <a:srgbClr val="BFCAD2"/>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11" name="Nevada">
              <a:extLst>
                <a:ext uri="{FF2B5EF4-FFF2-40B4-BE49-F238E27FC236}">
                  <a16:creationId xmlns:a16="http://schemas.microsoft.com/office/drawing/2014/main" id="{FB55C3F2-1883-4239-9113-FE5C643EC162}"/>
                </a:ext>
              </a:extLst>
            </p:cNvPr>
            <p:cNvSpPr>
              <a:spLocks/>
            </p:cNvSpPr>
            <p:nvPr/>
          </p:nvSpPr>
          <p:spPr bwMode="auto">
            <a:xfrm>
              <a:off x="2130536" y="2649518"/>
              <a:ext cx="788875" cy="1189874"/>
            </a:xfrm>
            <a:custGeom>
              <a:avLst/>
              <a:gdLst>
                <a:gd name="T0" fmla="*/ 49 w 2565"/>
                <a:gd name="T1" fmla="*/ 0 h 3871"/>
                <a:gd name="T2" fmla="*/ 272 w 2565"/>
                <a:gd name="T3" fmla="*/ 46 h 3871"/>
                <a:gd name="T4" fmla="*/ 486 w 2565"/>
                <a:gd name="T5" fmla="*/ 88 h 3871"/>
                <a:gd name="T6" fmla="*/ 480 w 2565"/>
                <a:gd name="T7" fmla="*/ 110 h 3871"/>
                <a:gd name="T8" fmla="*/ 465 w 2565"/>
                <a:gd name="T9" fmla="*/ 183 h 3871"/>
                <a:gd name="T10" fmla="*/ 458 w 2565"/>
                <a:gd name="T11" fmla="*/ 251 h 3871"/>
                <a:gd name="T12" fmla="*/ 450 w 2565"/>
                <a:gd name="T13" fmla="*/ 318 h 3871"/>
                <a:gd name="T14" fmla="*/ 425 w 2565"/>
                <a:gd name="T15" fmla="*/ 472 h 3871"/>
                <a:gd name="T16" fmla="*/ 414 w 2565"/>
                <a:gd name="T17" fmla="*/ 569 h 3871"/>
                <a:gd name="T18" fmla="*/ 409 w 2565"/>
                <a:gd name="T19" fmla="*/ 587 h 3871"/>
                <a:gd name="T20" fmla="*/ 409 w 2565"/>
                <a:gd name="T21" fmla="*/ 612 h 3871"/>
                <a:gd name="T22" fmla="*/ 399 w 2565"/>
                <a:gd name="T23" fmla="*/ 624 h 3871"/>
                <a:gd name="T24" fmla="*/ 404 w 2565"/>
                <a:gd name="T25" fmla="*/ 652 h 3871"/>
                <a:gd name="T26" fmla="*/ 376 w 2565"/>
                <a:gd name="T27" fmla="*/ 642 h 3871"/>
                <a:gd name="T28" fmla="*/ 357 w 2565"/>
                <a:gd name="T29" fmla="*/ 637 h 3871"/>
                <a:gd name="T30" fmla="*/ 342 w 2565"/>
                <a:gd name="T31" fmla="*/ 646 h 3871"/>
                <a:gd name="T32" fmla="*/ 341 w 2565"/>
                <a:gd name="T33" fmla="*/ 662 h 3871"/>
                <a:gd name="T34" fmla="*/ 348 w 2565"/>
                <a:gd name="T35" fmla="*/ 695 h 3871"/>
                <a:gd name="T36" fmla="*/ 346 w 2565"/>
                <a:gd name="T37" fmla="*/ 718 h 3871"/>
                <a:gd name="T38" fmla="*/ 333 w 2565"/>
                <a:gd name="T39" fmla="*/ 734 h 3871"/>
                <a:gd name="T40" fmla="*/ 214 w 2565"/>
                <a:gd name="T41" fmla="*/ 579 h 3871"/>
                <a:gd name="T42" fmla="*/ 170 w 2565"/>
                <a:gd name="T43" fmla="*/ 523 h 3871"/>
                <a:gd name="T44" fmla="*/ 108 w 2565"/>
                <a:gd name="T45" fmla="*/ 424 h 3871"/>
                <a:gd name="T46" fmla="*/ 27 w 2565"/>
                <a:gd name="T47" fmla="*/ 323 h 3871"/>
                <a:gd name="T48" fmla="*/ 0 w 2565"/>
                <a:gd name="T49" fmla="*/ 277 h 3871"/>
                <a:gd name="T50" fmla="*/ 49 w 2565"/>
                <a:gd name="T51" fmla="*/ 0 h 38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565" h="3871">
                  <a:moveTo>
                    <a:pt x="261" y="0"/>
                  </a:moveTo>
                  <a:lnTo>
                    <a:pt x="1437" y="241"/>
                  </a:lnTo>
                  <a:lnTo>
                    <a:pt x="2565" y="465"/>
                  </a:lnTo>
                  <a:lnTo>
                    <a:pt x="2532" y="580"/>
                  </a:lnTo>
                  <a:lnTo>
                    <a:pt x="2454" y="964"/>
                  </a:lnTo>
                  <a:lnTo>
                    <a:pt x="2418" y="1324"/>
                  </a:lnTo>
                  <a:lnTo>
                    <a:pt x="2376" y="1678"/>
                  </a:lnTo>
                  <a:lnTo>
                    <a:pt x="2243" y="2489"/>
                  </a:lnTo>
                  <a:lnTo>
                    <a:pt x="2183" y="2999"/>
                  </a:lnTo>
                  <a:lnTo>
                    <a:pt x="2160" y="3094"/>
                  </a:lnTo>
                  <a:lnTo>
                    <a:pt x="2160" y="3226"/>
                  </a:lnTo>
                  <a:lnTo>
                    <a:pt x="2106" y="3292"/>
                  </a:lnTo>
                  <a:lnTo>
                    <a:pt x="2130" y="3436"/>
                  </a:lnTo>
                  <a:lnTo>
                    <a:pt x="1986" y="3388"/>
                  </a:lnTo>
                  <a:lnTo>
                    <a:pt x="1883" y="3359"/>
                  </a:lnTo>
                  <a:lnTo>
                    <a:pt x="1806" y="3406"/>
                  </a:lnTo>
                  <a:lnTo>
                    <a:pt x="1800" y="3490"/>
                  </a:lnTo>
                  <a:lnTo>
                    <a:pt x="1836" y="3664"/>
                  </a:lnTo>
                  <a:lnTo>
                    <a:pt x="1824" y="3784"/>
                  </a:lnTo>
                  <a:lnTo>
                    <a:pt x="1757" y="3871"/>
                  </a:lnTo>
                  <a:lnTo>
                    <a:pt x="1130" y="3054"/>
                  </a:lnTo>
                  <a:lnTo>
                    <a:pt x="899" y="2758"/>
                  </a:lnTo>
                  <a:lnTo>
                    <a:pt x="569" y="2236"/>
                  </a:lnTo>
                  <a:lnTo>
                    <a:pt x="144" y="1702"/>
                  </a:lnTo>
                  <a:lnTo>
                    <a:pt x="0" y="1459"/>
                  </a:lnTo>
                  <a:lnTo>
                    <a:pt x="261" y="0"/>
                  </a:lnTo>
                  <a:close/>
                </a:path>
              </a:pathLst>
            </a:custGeom>
            <a:solidFill>
              <a:srgbClr val="BFCAD2"/>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12" name="Nebraska">
              <a:extLst>
                <a:ext uri="{FF2B5EF4-FFF2-40B4-BE49-F238E27FC236}">
                  <a16:creationId xmlns:a16="http://schemas.microsoft.com/office/drawing/2014/main" id="{4CD41F56-4266-4913-87E2-3A58772F6A60}"/>
                </a:ext>
              </a:extLst>
            </p:cNvPr>
            <p:cNvSpPr>
              <a:spLocks/>
            </p:cNvSpPr>
            <p:nvPr/>
          </p:nvSpPr>
          <p:spPr bwMode="auto">
            <a:xfrm>
              <a:off x="4070258" y="2756510"/>
              <a:ext cx="1020992" cy="455525"/>
            </a:xfrm>
            <a:custGeom>
              <a:avLst/>
              <a:gdLst>
                <a:gd name="T0" fmla="*/ 7 w 3321"/>
                <a:gd name="T1" fmla="*/ 0 h 1486"/>
                <a:gd name="T2" fmla="*/ 0 w 3321"/>
                <a:gd name="T3" fmla="*/ 197 h 1486"/>
                <a:gd name="T4" fmla="*/ 123 w 3321"/>
                <a:gd name="T5" fmla="*/ 200 h 1486"/>
                <a:gd name="T6" fmla="*/ 146 w 3321"/>
                <a:gd name="T7" fmla="*/ 196 h 1486"/>
                <a:gd name="T8" fmla="*/ 144 w 3321"/>
                <a:gd name="T9" fmla="*/ 218 h 1486"/>
                <a:gd name="T10" fmla="*/ 147 w 3321"/>
                <a:gd name="T11" fmla="*/ 252 h 1486"/>
                <a:gd name="T12" fmla="*/ 150 w 3321"/>
                <a:gd name="T13" fmla="*/ 281 h 1486"/>
                <a:gd name="T14" fmla="*/ 413 w 3321"/>
                <a:gd name="T15" fmla="*/ 281 h 1486"/>
                <a:gd name="T16" fmla="*/ 529 w 3321"/>
                <a:gd name="T17" fmla="*/ 275 h 1486"/>
                <a:gd name="T18" fmla="*/ 557 w 3321"/>
                <a:gd name="T19" fmla="*/ 272 h 1486"/>
                <a:gd name="T20" fmla="*/ 588 w 3321"/>
                <a:gd name="T21" fmla="*/ 271 h 1486"/>
                <a:gd name="T22" fmla="*/ 629 w 3321"/>
                <a:gd name="T23" fmla="*/ 269 h 1486"/>
                <a:gd name="T24" fmla="*/ 607 w 3321"/>
                <a:gd name="T25" fmla="*/ 225 h 1486"/>
                <a:gd name="T26" fmla="*/ 607 w 3321"/>
                <a:gd name="T27" fmla="*/ 179 h 1486"/>
                <a:gd name="T28" fmla="*/ 556 w 3321"/>
                <a:gd name="T29" fmla="*/ 78 h 1486"/>
                <a:gd name="T30" fmla="*/ 540 w 3321"/>
                <a:gd name="T31" fmla="*/ 40 h 1486"/>
                <a:gd name="T32" fmla="*/ 490 w 3321"/>
                <a:gd name="T33" fmla="*/ 28 h 1486"/>
                <a:gd name="T34" fmla="*/ 480 w 3321"/>
                <a:gd name="T35" fmla="*/ 11 h 1486"/>
                <a:gd name="T36" fmla="*/ 445 w 3321"/>
                <a:gd name="T37" fmla="*/ 11 h 1486"/>
                <a:gd name="T38" fmla="*/ 428 w 3321"/>
                <a:gd name="T39" fmla="*/ 22 h 1486"/>
                <a:gd name="T40" fmla="*/ 382 w 3321"/>
                <a:gd name="T41" fmla="*/ 5 h 1486"/>
                <a:gd name="T42" fmla="*/ 353 w 3321"/>
                <a:gd name="T43" fmla="*/ 8 h 1486"/>
                <a:gd name="T44" fmla="*/ 301 w 3321"/>
                <a:gd name="T45" fmla="*/ 9 h 1486"/>
                <a:gd name="T46" fmla="*/ 220 w 3321"/>
                <a:gd name="T47" fmla="*/ 11 h 1486"/>
                <a:gd name="T48" fmla="*/ 115 w 3321"/>
                <a:gd name="T49" fmla="*/ 9 h 1486"/>
                <a:gd name="T50" fmla="*/ 7 w 3321"/>
                <a:gd name="T51" fmla="*/ 0 h 14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321" h="1486">
                  <a:moveTo>
                    <a:pt x="35" y="0"/>
                  </a:moveTo>
                  <a:lnTo>
                    <a:pt x="0" y="1044"/>
                  </a:lnTo>
                  <a:lnTo>
                    <a:pt x="651" y="1058"/>
                  </a:lnTo>
                  <a:lnTo>
                    <a:pt x="769" y="1034"/>
                  </a:lnTo>
                  <a:lnTo>
                    <a:pt x="761" y="1152"/>
                  </a:lnTo>
                  <a:lnTo>
                    <a:pt x="775" y="1332"/>
                  </a:lnTo>
                  <a:lnTo>
                    <a:pt x="793" y="1486"/>
                  </a:lnTo>
                  <a:lnTo>
                    <a:pt x="2181" y="1486"/>
                  </a:lnTo>
                  <a:lnTo>
                    <a:pt x="2791" y="1454"/>
                  </a:lnTo>
                  <a:lnTo>
                    <a:pt x="2939" y="1436"/>
                  </a:lnTo>
                  <a:lnTo>
                    <a:pt x="3107" y="1432"/>
                  </a:lnTo>
                  <a:lnTo>
                    <a:pt x="3321" y="1424"/>
                  </a:lnTo>
                  <a:lnTo>
                    <a:pt x="3203" y="1190"/>
                  </a:lnTo>
                  <a:lnTo>
                    <a:pt x="3203" y="946"/>
                  </a:lnTo>
                  <a:lnTo>
                    <a:pt x="2937" y="414"/>
                  </a:lnTo>
                  <a:lnTo>
                    <a:pt x="2849" y="212"/>
                  </a:lnTo>
                  <a:lnTo>
                    <a:pt x="2587" y="146"/>
                  </a:lnTo>
                  <a:lnTo>
                    <a:pt x="2533" y="56"/>
                  </a:lnTo>
                  <a:lnTo>
                    <a:pt x="2348" y="58"/>
                  </a:lnTo>
                  <a:lnTo>
                    <a:pt x="2259" y="116"/>
                  </a:lnTo>
                  <a:lnTo>
                    <a:pt x="2017" y="24"/>
                  </a:lnTo>
                  <a:lnTo>
                    <a:pt x="1862" y="42"/>
                  </a:lnTo>
                  <a:lnTo>
                    <a:pt x="1587" y="50"/>
                  </a:lnTo>
                  <a:lnTo>
                    <a:pt x="1159" y="56"/>
                  </a:lnTo>
                  <a:lnTo>
                    <a:pt x="607" y="48"/>
                  </a:lnTo>
                  <a:lnTo>
                    <a:pt x="35" y="0"/>
                  </a:lnTo>
                  <a:close/>
                </a:path>
              </a:pathLst>
            </a:custGeom>
            <a:solidFill>
              <a:srgbClr val="420002"/>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13" name="Montana">
              <a:extLst>
                <a:ext uri="{FF2B5EF4-FFF2-40B4-BE49-F238E27FC236}">
                  <a16:creationId xmlns:a16="http://schemas.microsoft.com/office/drawing/2014/main" id="{01133ED6-92DE-4C77-8BAC-C375AF285CB4}"/>
                </a:ext>
              </a:extLst>
            </p:cNvPr>
            <p:cNvSpPr>
              <a:spLocks/>
            </p:cNvSpPr>
            <p:nvPr/>
          </p:nvSpPr>
          <p:spPr bwMode="auto">
            <a:xfrm>
              <a:off x="2864222" y="1712532"/>
              <a:ext cx="1253110" cy="752182"/>
            </a:xfrm>
            <a:custGeom>
              <a:avLst/>
              <a:gdLst>
                <a:gd name="T0" fmla="*/ 6 w 4076"/>
                <a:gd name="T1" fmla="*/ 0 h 2449"/>
                <a:gd name="T2" fmla="*/ 221 w 4076"/>
                <a:gd name="T3" fmla="*/ 36 h 2449"/>
                <a:gd name="T4" fmla="*/ 511 w 4076"/>
                <a:gd name="T5" fmla="*/ 70 h 2449"/>
                <a:gd name="T6" fmla="*/ 772 w 4076"/>
                <a:gd name="T7" fmla="*/ 88 h 2449"/>
                <a:gd name="T8" fmla="*/ 755 w 4076"/>
                <a:gd name="T9" fmla="*/ 457 h 2449"/>
                <a:gd name="T10" fmla="*/ 385 w 4076"/>
                <a:gd name="T11" fmla="*/ 429 h 2449"/>
                <a:gd name="T12" fmla="*/ 277 w 4076"/>
                <a:gd name="T13" fmla="*/ 417 h 2449"/>
                <a:gd name="T14" fmla="*/ 267 w 4076"/>
                <a:gd name="T15" fmla="*/ 452 h 2449"/>
                <a:gd name="T16" fmla="*/ 239 w 4076"/>
                <a:gd name="T17" fmla="*/ 441 h 2449"/>
                <a:gd name="T18" fmla="*/ 239 w 4076"/>
                <a:gd name="T19" fmla="*/ 459 h 2449"/>
                <a:gd name="T20" fmla="*/ 217 w 4076"/>
                <a:gd name="T21" fmla="*/ 464 h 2449"/>
                <a:gd name="T22" fmla="*/ 199 w 4076"/>
                <a:gd name="T23" fmla="*/ 453 h 2449"/>
                <a:gd name="T24" fmla="*/ 154 w 4076"/>
                <a:gd name="T25" fmla="*/ 453 h 2449"/>
                <a:gd name="T26" fmla="*/ 136 w 4076"/>
                <a:gd name="T27" fmla="*/ 444 h 2449"/>
                <a:gd name="T28" fmla="*/ 120 w 4076"/>
                <a:gd name="T29" fmla="*/ 426 h 2449"/>
                <a:gd name="T30" fmla="*/ 110 w 4076"/>
                <a:gd name="T31" fmla="*/ 409 h 2449"/>
                <a:gd name="T32" fmla="*/ 108 w 4076"/>
                <a:gd name="T33" fmla="*/ 380 h 2449"/>
                <a:gd name="T34" fmla="*/ 92 w 4076"/>
                <a:gd name="T35" fmla="*/ 327 h 2449"/>
                <a:gd name="T36" fmla="*/ 60 w 4076"/>
                <a:gd name="T37" fmla="*/ 329 h 2449"/>
                <a:gd name="T38" fmla="*/ 60 w 4076"/>
                <a:gd name="T39" fmla="*/ 287 h 2449"/>
                <a:gd name="T40" fmla="*/ 80 w 4076"/>
                <a:gd name="T41" fmla="*/ 231 h 2449"/>
                <a:gd name="T42" fmla="*/ 57 w 4076"/>
                <a:gd name="T43" fmla="*/ 219 h 2449"/>
                <a:gd name="T44" fmla="*/ 46 w 4076"/>
                <a:gd name="T45" fmla="*/ 197 h 2449"/>
                <a:gd name="T46" fmla="*/ 18 w 4076"/>
                <a:gd name="T47" fmla="*/ 167 h 2449"/>
                <a:gd name="T48" fmla="*/ 0 w 4076"/>
                <a:gd name="T49" fmla="*/ 140 h 2449"/>
                <a:gd name="T50" fmla="*/ 0 w 4076"/>
                <a:gd name="T51" fmla="*/ 87 h 2449"/>
                <a:gd name="T52" fmla="*/ 1 w 4076"/>
                <a:gd name="T53" fmla="*/ 49 h 2449"/>
                <a:gd name="T54" fmla="*/ 6 w 4076"/>
                <a:gd name="T55" fmla="*/ 0 h 24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076" h="2449">
                  <a:moveTo>
                    <a:pt x="31" y="0"/>
                  </a:moveTo>
                  <a:lnTo>
                    <a:pt x="1165" y="192"/>
                  </a:lnTo>
                  <a:lnTo>
                    <a:pt x="2696" y="372"/>
                  </a:lnTo>
                  <a:lnTo>
                    <a:pt x="4076" y="462"/>
                  </a:lnTo>
                  <a:lnTo>
                    <a:pt x="3986" y="2412"/>
                  </a:lnTo>
                  <a:lnTo>
                    <a:pt x="2035" y="2262"/>
                  </a:lnTo>
                  <a:lnTo>
                    <a:pt x="1465" y="2202"/>
                  </a:lnTo>
                  <a:lnTo>
                    <a:pt x="1410" y="2388"/>
                  </a:lnTo>
                  <a:lnTo>
                    <a:pt x="1264" y="2329"/>
                  </a:lnTo>
                  <a:lnTo>
                    <a:pt x="1262" y="2421"/>
                  </a:lnTo>
                  <a:lnTo>
                    <a:pt x="1146" y="2449"/>
                  </a:lnTo>
                  <a:lnTo>
                    <a:pt x="1053" y="2390"/>
                  </a:lnTo>
                  <a:lnTo>
                    <a:pt x="811" y="2390"/>
                  </a:lnTo>
                  <a:lnTo>
                    <a:pt x="720" y="2341"/>
                  </a:lnTo>
                  <a:lnTo>
                    <a:pt x="632" y="2251"/>
                  </a:lnTo>
                  <a:lnTo>
                    <a:pt x="583" y="2159"/>
                  </a:lnTo>
                  <a:lnTo>
                    <a:pt x="572" y="2005"/>
                  </a:lnTo>
                  <a:lnTo>
                    <a:pt x="486" y="1727"/>
                  </a:lnTo>
                  <a:lnTo>
                    <a:pt x="319" y="1736"/>
                  </a:lnTo>
                  <a:lnTo>
                    <a:pt x="318" y="1515"/>
                  </a:lnTo>
                  <a:lnTo>
                    <a:pt x="421" y="1220"/>
                  </a:lnTo>
                  <a:lnTo>
                    <a:pt x="303" y="1154"/>
                  </a:lnTo>
                  <a:lnTo>
                    <a:pt x="241" y="1040"/>
                  </a:lnTo>
                  <a:lnTo>
                    <a:pt x="94" y="881"/>
                  </a:lnTo>
                  <a:lnTo>
                    <a:pt x="1" y="737"/>
                  </a:lnTo>
                  <a:lnTo>
                    <a:pt x="0" y="461"/>
                  </a:lnTo>
                  <a:lnTo>
                    <a:pt x="6" y="257"/>
                  </a:lnTo>
                  <a:lnTo>
                    <a:pt x="31" y="0"/>
                  </a:lnTo>
                  <a:close/>
                </a:path>
              </a:pathLst>
            </a:custGeom>
            <a:solidFill>
              <a:srgbClr val="FFD9DA"/>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14" name="Missouri">
              <a:extLst>
                <a:ext uri="{FF2B5EF4-FFF2-40B4-BE49-F238E27FC236}">
                  <a16:creationId xmlns:a16="http://schemas.microsoft.com/office/drawing/2014/main" id="{F1E375D0-A3B6-4463-A783-E1D4B68E278E}"/>
                </a:ext>
              </a:extLst>
            </p:cNvPr>
            <p:cNvSpPr>
              <a:spLocks/>
            </p:cNvSpPr>
            <p:nvPr/>
          </p:nvSpPr>
          <p:spPr bwMode="auto">
            <a:xfrm>
              <a:off x="5055540" y="3075864"/>
              <a:ext cx="861918" cy="677613"/>
            </a:xfrm>
            <a:custGeom>
              <a:avLst/>
              <a:gdLst>
                <a:gd name="T0" fmla="*/ 0 w 2800"/>
                <a:gd name="T1" fmla="*/ 29 h 2206"/>
                <a:gd name="T2" fmla="*/ 22 w 2800"/>
                <a:gd name="T3" fmla="*/ 73 h 2206"/>
                <a:gd name="T4" fmla="*/ 47 w 2800"/>
                <a:gd name="T5" fmla="*/ 86 h 2206"/>
                <a:gd name="T6" fmla="*/ 69 w 2800"/>
                <a:gd name="T7" fmla="*/ 98 h 2206"/>
                <a:gd name="T8" fmla="*/ 63 w 2800"/>
                <a:gd name="T9" fmla="*/ 115 h 2206"/>
                <a:gd name="T10" fmla="*/ 74 w 2800"/>
                <a:gd name="T11" fmla="*/ 146 h 2206"/>
                <a:gd name="T12" fmla="*/ 97 w 2800"/>
                <a:gd name="T13" fmla="*/ 160 h 2206"/>
                <a:gd name="T14" fmla="*/ 101 w 2800"/>
                <a:gd name="T15" fmla="*/ 211 h 2206"/>
                <a:gd name="T16" fmla="*/ 101 w 2800"/>
                <a:gd name="T17" fmla="*/ 271 h 2206"/>
                <a:gd name="T18" fmla="*/ 107 w 2800"/>
                <a:gd name="T19" fmla="*/ 324 h 2206"/>
                <a:gd name="T20" fmla="*/ 107 w 2800"/>
                <a:gd name="T21" fmla="*/ 359 h 2206"/>
                <a:gd name="T22" fmla="*/ 117 w 2800"/>
                <a:gd name="T23" fmla="*/ 385 h 2206"/>
                <a:gd name="T24" fmla="*/ 122 w 2800"/>
                <a:gd name="T25" fmla="*/ 409 h 2206"/>
                <a:gd name="T26" fmla="*/ 335 w 2800"/>
                <a:gd name="T27" fmla="*/ 382 h 2206"/>
                <a:gd name="T28" fmla="*/ 393 w 2800"/>
                <a:gd name="T29" fmla="*/ 376 h 2206"/>
                <a:gd name="T30" fmla="*/ 452 w 2800"/>
                <a:gd name="T31" fmla="*/ 364 h 2206"/>
                <a:gd name="T32" fmla="*/ 463 w 2800"/>
                <a:gd name="T33" fmla="*/ 375 h 2206"/>
                <a:gd name="T34" fmla="*/ 446 w 2800"/>
                <a:gd name="T35" fmla="*/ 398 h 2206"/>
                <a:gd name="T36" fmla="*/ 458 w 2800"/>
                <a:gd name="T37" fmla="*/ 409 h 2206"/>
                <a:gd name="T38" fmla="*/ 478 w 2800"/>
                <a:gd name="T39" fmla="*/ 418 h 2206"/>
                <a:gd name="T40" fmla="*/ 497 w 2800"/>
                <a:gd name="T41" fmla="*/ 409 h 2206"/>
                <a:gd name="T42" fmla="*/ 503 w 2800"/>
                <a:gd name="T43" fmla="*/ 398 h 2206"/>
                <a:gd name="T44" fmla="*/ 497 w 2800"/>
                <a:gd name="T45" fmla="*/ 381 h 2206"/>
                <a:gd name="T46" fmla="*/ 507 w 2800"/>
                <a:gd name="T47" fmla="*/ 363 h 2206"/>
                <a:gd name="T48" fmla="*/ 515 w 2800"/>
                <a:gd name="T49" fmla="*/ 347 h 2206"/>
                <a:gd name="T50" fmla="*/ 531 w 2800"/>
                <a:gd name="T51" fmla="*/ 339 h 2206"/>
                <a:gd name="T52" fmla="*/ 529 w 2800"/>
                <a:gd name="T53" fmla="*/ 324 h 2206"/>
                <a:gd name="T54" fmla="*/ 528 w 2800"/>
                <a:gd name="T55" fmla="*/ 306 h 2206"/>
                <a:gd name="T56" fmla="*/ 509 w 2800"/>
                <a:gd name="T57" fmla="*/ 296 h 2206"/>
                <a:gd name="T58" fmla="*/ 492 w 2800"/>
                <a:gd name="T59" fmla="*/ 273 h 2206"/>
                <a:gd name="T60" fmla="*/ 486 w 2800"/>
                <a:gd name="T61" fmla="*/ 244 h 2206"/>
                <a:gd name="T62" fmla="*/ 458 w 2800"/>
                <a:gd name="T63" fmla="*/ 222 h 2206"/>
                <a:gd name="T64" fmla="*/ 435 w 2800"/>
                <a:gd name="T65" fmla="*/ 210 h 2206"/>
                <a:gd name="T66" fmla="*/ 418 w 2800"/>
                <a:gd name="T67" fmla="*/ 187 h 2206"/>
                <a:gd name="T68" fmla="*/ 426 w 2800"/>
                <a:gd name="T69" fmla="*/ 166 h 2206"/>
                <a:gd name="T70" fmla="*/ 429 w 2800"/>
                <a:gd name="T71" fmla="*/ 142 h 2206"/>
                <a:gd name="T72" fmla="*/ 414 w 2800"/>
                <a:gd name="T73" fmla="*/ 133 h 2206"/>
                <a:gd name="T74" fmla="*/ 396 w 2800"/>
                <a:gd name="T75" fmla="*/ 128 h 2206"/>
                <a:gd name="T76" fmla="*/ 378 w 2800"/>
                <a:gd name="T77" fmla="*/ 114 h 2206"/>
                <a:gd name="T78" fmla="*/ 355 w 2800"/>
                <a:gd name="T79" fmla="*/ 85 h 2206"/>
                <a:gd name="T80" fmla="*/ 337 w 2800"/>
                <a:gd name="T81" fmla="*/ 74 h 2206"/>
                <a:gd name="T82" fmla="*/ 321 w 2800"/>
                <a:gd name="T83" fmla="*/ 51 h 2206"/>
                <a:gd name="T84" fmla="*/ 315 w 2800"/>
                <a:gd name="T85" fmla="*/ 21 h 2206"/>
                <a:gd name="T86" fmla="*/ 287 w 2800"/>
                <a:gd name="T87" fmla="*/ 0 h 2206"/>
                <a:gd name="T88" fmla="*/ 260 w 2800"/>
                <a:gd name="T89" fmla="*/ 4 h 2206"/>
                <a:gd name="T90" fmla="*/ 200 w 2800"/>
                <a:gd name="T91" fmla="*/ 15 h 2206"/>
                <a:gd name="T92" fmla="*/ 122 w 2800"/>
                <a:gd name="T93" fmla="*/ 22 h 2206"/>
                <a:gd name="T94" fmla="*/ 58 w 2800"/>
                <a:gd name="T95" fmla="*/ 26 h 2206"/>
                <a:gd name="T96" fmla="*/ 0 w 2800"/>
                <a:gd name="T97" fmla="*/ 29 h 220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00" h="2206">
                  <a:moveTo>
                    <a:pt x="0" y="152"/>
                  </a:moveTo>
                  <a:lnTo>
                    <a:pt x="118" y="387"/>
                  </a:lnTo>
                  <a:lnTo>
                    <a:pt x="247" y="452"/>
                  </a:lnTo>
                  <a:lnTo>
                    <a:pt x="363" y="518"/>
                  </a:lnTo>
                  <a:lnTo>
                    <a:pt x="333" y="608"/>
                  </a:lnTo>
                  <a:lnTo>
                    <a:pt x="388" y="771"/>
                  </a:lnTo>
                  <a:lnTo>
                    <a:pt x="513" y="845"/>
                  </a:lnTo>
                  <a:lnTo>
                    <a:pt x="535" y="1115"/>
                  </a:lnTo>
                  <a:lnTo>
                    <a:pt x="535" y="1431"/>
                  </a:lnTo>
                  <a:lnTo>
                    <a:pt x="562" y="1710"/>
                  </a:lnTo>
                  <a:lnTo>
                    <a:pt x="562" y="1895"/>
                  </a:lnTo>
                  <a:lnTo>
                    <a:pt x="618" y="2034"/>
                  </a:lnTo>
                  <a:lnTo>
                    <a:pt x="645" y="2160"/>
                  </a:lnTo>
                  <a:lnTo>
                    <a:pt x="1769" y="2014"/>
                  </a:lnTo>
                  <a:lnTo>
                    <a:pt x="2073" y="1982"/>
                  </a:lnTo>
                  <a:lnTo>
                    <a:pt x="2383" y="1920"/>
                  </a:lnTo>
                  <a:lnTo>
                    <a:pt x="2443" y="1980"/>
                  </a:lnTo>
                  <a:lnTo>
                    <a:pt x="2353" y="2100"/>
                  </a:lnTo>
                  <a:lnTo>
                    <a:pt x="2413" y="2160"/>
                  </a:lnTo>
                  <a:lnTo>
                    <a:pt x="2520" y="2206"/>
                  </a:lnTo>
                  <a:lnTo>
                    <a:pt x="2623" y="2160"/>
                  </a:lnTo>
                  <a:lnTo>
                    <a:pt x="2653" y="2100"/>
                  </a:lnTo>
                  <a:lnTo>
                    <a:pt x="2623" y="2010"/>
                  </a:lnTo>
                  <a:lnTo>
                    <a:pt x="2672" y="1918"/>
                  </a:lnTo>
                  <a:lnTo>
                    <a:pt x="2713" y="1830"/>
                  </a:lnTo>
                  <a:lnTo>
                    <a:pt x="2800" y="1790"/>
                  </a:lnTo>
                  <a:lnTo>
                    <a:pt x="2792" y="1710"/>
                  </a:lnTo>
                  <a:lnTo>
                    <a:pt x="2784" y="1614"/>
                  </a:lnTo>
                  <a:lnTo>
                    <a:pt x="2683" y="1560"/>
                  </a:lnTo>
                  <a:lnTo>
                    <a:pt x="2593" y="1440"/>
                  </a:lnTo>
                  <a:lnTo>
                    <a:pt x="2563" y="1290"/>
                  </a:lnTo>
                  <a:lnTo>
                    <a:pt x="2413" y="1170"/>
                  </a:lnTo>
                  <a:lnTo>
                    <a:pt x="2293" y="1110"/>
                  </a:lnTo>
                  <a:lnTo>
                    <a:pt x="2203" y="989"/>
                  </a:lnTo>
                  <a:lnTo>
                    <a:pt x="2248" y="878"/>
                  </a:lnTo>
                  <a:lnTo>
                    <a:pt x="2263" y="749"/>
                  </a:lnTo>
                  <a:lnTo>
                    <a:pt x="2184" y="702"/>
                  </a:lnTo>
                  <a:lnTo>
                    <a:pt x="2089" y="678"/>
                  </a:lnTo>
                  <a:lnTo>
                    <a:pt x="1994" y="599"/>
                  </a:lnTo>
                  <a:lnTo>
                    <a:pt x="1874" y="449"/>
                  </a:lnTo>
                  <a:lnTo>
                    <a:pt x="1777" y="390"/>
                  </a:lnTo>
                  <a:lnTo>
                    <a:pt x="1694" y="269"/>
                  </a:lnTo>
                  <a:lnTo>
                    <a:pt x="1659" y="110"/>
                  </a:lnTo>
                  <a:lnTo>
                    <a:pt x="1511" y="0"/>
                  </a:lnTo>
                  <a:lnTo>
                    <a:pt x="1373" y="23"/>
                  </a:lnTo>
                  <a:lnTo>
                    <a:pt x="1055" y="80"/>
                  </a:lnTo>
                  <a:lnTo>
                    <a:pt x="643" y="117"/>
                  </a:lnTo>
                  <a:lnTo>
                    <a:pt x="306" y="135"/>
                  </a:lnTo>
                  <a:lnTo>
                    <a:pt x="0" y="152"/>
                  </a:lnTo>
                  <a:close/>
                </a:path>
              </a:pathLst>
            </a:custGeom>
            <a:solidFill>
              <a:srgbClr val="FF0005"/>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15" name="Mississippi">
              <a:extLst>
                <a:ext uri="{FF2B5EF4-FFF2-40B4-BE49-F238E27FC236}">
                  <a16:creationId xmlns:a16="http://schemas.microsoft.com/office/drawing/2014/main" id="{33609F5B-03C1-4CBE-A7B1-09061D81DDD7}"/>
                </a:ext>
              </a:extLst>
            </p:cNvPr>
            <p:cNvSpPr>
              <a:spLocks/>
            </p:cNvSpPr>
            <p:nvPr/>
          </p:nvSpPr>
          <p:spPr bwMode="auto">
            <a:xfrm>
              <a:off x="5699950" y="3871816"/>
              <a:ext cx="431771" cy="748941"/>
            </a:xfrm>
            <a:custGeom>
              <a:avLst/>
              <a:gdLst>
                <a:gd name="T0" fmla="*/ 74 w 1400"/>
                <a:gd name="T1" fmla="*/ 16 h 2439"/>
                <a:gd name="T2" fmla="*/ 63 w 1400"/>
                <a:gd name="T3" fmla="*/ 36 h 2439"/>
                <a:gd name="T4" fmla="*/ 46 w 1400"/>
                <a:gd name="T5" fmla="*/ 82 h 2439"/>
                <a:gd name="T6" fmla="*/ 25 w 1400"/>
                <a:gd name="T7" fmla="*/ 110 h 2439"/>
                <a:gd name="T8" fmla="*/ 17 w 1400"/>
                <a:gd name="T9" fmla="*/ 147 h 2439"/>
                <a:gd name="T10" fmla="*/ 20 w 1400"/>
                <a:gd name="T11" fmla="*/ 200 h 2439"/>
                <a:gd name="T12" fmla="*/ 17 w 1400"/>
                <a:gd name="T13" fmla="*/ 231 h 2439"/>
                <a:gd name="T14" fmla="*/ 26 w 1400"/>
                <a:gd name="T15" fmla="*/ 252 h 2439"/>
                <a:gd name="T16" fmla="*/ 34 w 1400"/>
                <a:gd name="T17" fmla="*/ 265 h 2439"/>
                <a:gd name="T18" fmla="*/ 29 w 1400"/>
                <a:gd name="T19" fmla="*/ 279 h 2439"/>
                <a:gd name="T20" fmla="*/ 34 w 1400"/>
                <a:gd name="T21" fmla="*/ 293 h 2439"/>
                <a:gd name="T22" fmla="*/ 23 w 1400"/>
                <a:gd name="T23" fmla="*/ 311 h 2439"/>
                <a:gd name="T24" fmla="*/ 23 w 1400"/>
                <a:gd name="T25" fmla="*/ 333 h 2439"/>
                <a:gd name="T26" fmla="*/ 5 w 1400"/>
                <a:gd name="T27" fmla="*/ 359 h 2439"/>
                <a:gd name="T28" fmla="*/ 0 w 1400"/>
                <a:gd name="T29" fmla="*/ 384 h 2439"/>
                <a:gd name="T30" fmla="*/ 1 w 1400"/>
                <a:gd name="T31" fmla="*/ 407 h 2439"/>
                <a:gd name="T32" fmla="*/ 84 w 1400"/>
                <a:gd name="T33" fmla="*/ 407 h 2439"/>
                <a:gd name="T34" fmla="*/ 111 w 1400"/>
                <a:gd name="T35" fmla="*/ 402 h 2439"/>
                <a:gd name="T36" fmla="*/ 139 w 1400"/>
                <a:gd name="T37" fmla="*/ 397 h 2439"/>
                <a:gd name="T38" fmla="*/ 154 w 1400"/>
                <a:gd name="T39" fmla="*/ 401 h 2439"/>
                <a:gd name="T40" fmla="*/ 151 w 1400"/>
                <a:gd name="T41" fmla="*/ 421 h 2439"/>
                <a:gd name="T42" fmla="*/ 161 w 1400"/>
                <a:gd name="T43" fmla="*/ 446 h 2439"/>
                <a:gd name="T44" fmla="*/ 173 w 1400"/>
                <a:gd name="T45" fmla="*/ 462 h 2439"/>
                <a:gd name="T46" fmla="*/ 218 w 1400"/>
                <a:gd name="T47" fmla="*/ 437 h 2439"/>
                <a:gd name="T48" fmla="*/ 258 w 1400"/>
                <a:gd name="T49" fmla="*/ 437 h 2439"/>
                <a:gd name="T50" fmla="*/ 264 w 1400"/>
                <a:gd name="T51" fmla="*/ 426 h 2439"/>
                <a:gd name="T52" fmla="*/ 266 w 1400"/>
                <a:gd name="T53" fmla="*/ 386 h 2439"/>
                <a:gd name="T54" fmla="*/ 259 w 1400"/>
                <a:gd name="T55" fmla="*/ 336 h 2439"/>
                <a:gd name="T56" fmla="*/ 252 w 1400"/>
                <a:gd name="T57" fmla="*/ 278 h 2439"/>
                <a:gd name="T58" fmla="*/ 243 w 1400"/>
                <a:gd name="T59" fmla="*/ 159 h 2439"/>
                <a:gd name="T60" fmla="*/ 235 w 1400"/>
                <a:gd name="T61" fmla="*/ 96 h 2439"/>
                <a:gd name="T62" fmla="*/ 236 w 1400"/>
                <a:gd name="T63" fmla="*/ 52 h 2439"/>
                <a:gd name="T64" fmla="*/ 218 w 1400"/>
                <a:gd name="T65" fmla="*/ 0 h 2439"/>
                <a:gd name="T66" fmla="*/ 188 w 1400"/>
                <a:gd name="T67" fmla="*/ 1 h 2439"/>
                <a:gd name="T68" fmla="*/ 171 w 1400"/>
                <a:gd name="T69" fmla="*/ 1 h 2439"/>
                <a:gd name="T70" fmla="*/ 149 w 1400"/>
                <a:gd name="T71" fmla="*/ 6 h 2439"/>
                <a:gd name="T72" fmla="*/ 118 w 1400"/>
                <a:gd name="T73" fmla="*/ 8 h 2439"/>
                <a:gd name="T74" fmla="*/ 84 w 1400"/>
                <a:gd name="T75" fmla="*/ 15 h 2439"/>
                <a:gd name="T76" fmla="*/ 74 w 1400"/>
                <a:gd name="T77" fmla="*/ 16 h 24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0" h="2439">
                  <a:moveTo>
                    <a:pt x="390" y="83"/>
                  </a:moveTo>
                  <a:lnTo>
                    <a:pt x="330" y="189"/>
                  </a:lnTo>
                  <a:lnTo>
                    <a:pt x="241" y="431"/>
                  </a:lnTo>
                  <a:lnTo>
                    <a:pt x="129" y="582"/>
                  </a:lnTo>
                  <a:lnTo>
                    <a:pt x="87" y="774"/>
                  </a:lnTo>
                  <a:lnTo>
                    <a:pt x="106" y="1056"/>
                  </a:lnTo>
                  <a:lnTo>
                    <a:pt x="90" y="1221"/>
                  </a:lnTo>
                  <a:lnTo>
                    <a:pt x="139" y="1329"/>
                  </a:lnTo>
                  <a:lnTo>
                    <a:pt x="180" y="1398"/>
                  </a:lnTo>
                  <a:lnTo>
                    <a:pt x="151" y="1472"/>
                  </a:lnTo>
                  <a:lnTo>
                    <a:pt x="180" y="1548"/>
                  </a:lnTo>
                  <a:lnTo>
                    <a:pt x="120" y="1640"/>
                  </a:lnTo>
                  <a:lnTo>
                    <a:pt x="121" y="1758"/>
                  </a:lnTo>
                  <a:lnTo>
                    <a:pt x="25" y="1893"/>
                  </a:lnTo>
                  <a:lnTo>
                    <a:pt x="0" y="2027"/>
                  </a:lnTo>
                  <a:lnTo>
                    <a:pt x="3" y="2147"/>
                  </a:lnTo>
                  <a:lnTo>
                    <a:pt x="444" y="2151"/>
                  </a:lnTo>
                  <a:lnTo>
                    <a:pt x="585" y="2121"/>
                  </a:lnTo>
                  <a:lnTo>
                    <a:pt x="732" y="2097"/>
                  </a:lnTo>
                  <a:lnTo>
                    <a:pt x="811" y="2117"/>
                  </a:lnTo>
                  <a:lnTo>
                    <a:pt x="793" y="2223"/>
                  </a:lnTo>
                  <a:lnTo>
                    <a:pt x="847" y="2357"/>
                  </a:lnTo>
                  <a:lnTo>
                    <a:pt x="910" y="2439"/>
                  </a:lnTo>
                  <a:lnTo>
                    <a:pt x="1148" y="2309"/>
                  </a:lnTo>
                  <a:lnTo>
                    <a:pt x="1358" y="2309"/>
                  </a:lnTo>
                  <a:lnTo>
                    <a:pt x="1388" y="2249"/>
                  </a:lnTo>
                  <a:lnTo>
                    <a:pt x="1400" y="2037"/>
                  </a:lnTo>
                  <a:lnTo>
                    <a:pt x="1363" y="1772"/>
                  </a:lnTo>
                  <a:lnTo>
                    <a:pt x="1327" y="1470"/>
                  </a:lnTo>
                  <a:lnTo>
                    <a:pt x="1281" y="839"/>
                  </a:lnTo>
                  <a:lnTo>
                    <a:pt x="1238" y="509"/>
                  </a:lnTo>
                  <a:lnTo>
                    <a:pt x="1244" y="272"/>
                  </a:lnTo>
                  <a:lnTo>
                    <a:pt x="1146" y="0"/>
                  </a:lnTo>
                  <a:lnTo>
                    <a:pt x="988" y="5"/>
                  </a:lnTo>
                  <a:lnTo>
                    <a:pt x="900" y="6"/>
                  </a:lnTo>
                  <a:lnTo>
                    <a:pt x="786" y="30"/>
                  </a:lnTo>
                  <a:lnTo>
                    <a:pt x="621" y="42"/>
                  </a:lnTo>
                  <a:lnTo>
                    <a:pt x="444" y="77"/>
                  </a:lnTo>
                  <a:lnTo>
                    <a:pt x="390" y="83"/>
                  </a:lnTo>
                  <a:close/>
                </a:path>
              </a:pathLst>
            </a:custGeom>
            <a:solidFill>
              <a:srgbClr val="960004"/>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16" name="Minnesota">
              <a:extLst>
                <a:ext uri="{FF2B5EF4-FFF2-40B4-BE49-F238E27FC236}">
                  <a16:creationId xmlns:a16="http://schemas.microsoft.com/office/drawing/2014/main" id="{8B3A8132-DA00-499E-BD6A-ABE793F7D992}"/>
                </a:ext>
              </a:extLst>
            </p:cNvPr>
            <p:cNvSpPr>
              <a:spLocks/>
            </p:cNvSpPr>
            <p:nvPr/>
          </p:nvSpPr>
          <p:spPr bwMode="auto">
            <a:xfrm>
              <a:off x="4813683" y="1770891"/>
              <a:ext cx="801861" cy="915912"/>
            </a:xfrm>
            <a:custGeom>
              <a:avLst/>
              <a:gdLst>
                <a:gd name="T0" fmla="*/ 0 w 2604"/>
                <a:gd name="T1" fmla="*/ 45 h 2977"/>
                <a:gd name="T2" fmla="*/ 31 w 2604"/>
                <a:gd name="T3" fmla="*/ 46 h 2977"/>
                <a:gd name="T4" fmla="*/ 64 w 2604"/>
                <a:gd name="T5" fmla="*/ 43 h 2977"/>
                <a:gd name="T6" fmla="*/ 91 w 2604"/>
                <a:gd name="T7" fmla="*/ 46 h 2977"/>
                <a:gd name="T8" fmla="*/ 117 w 2604"/>
                <a:gd name="T9" fmla="*/ 40 h 2977"/>
                <a:gd name="T10" fmla="*/ 117 w 2604"/>
                <a:gd name="T11" fmla="*/ 0 h 2977"/>
                <a:gd name="T12" fmla="*/ 137 w 2604"/>
                <a:gd name="T13" fmla="*/ 5 h 2977"/>
                <a:gd name="T14" fmla="*/ 125 w 2604"/>
                <a:gd name="T15" fmla="*/ 25 h 2977"/>
                <a:gd name="T16" fmla="*/ 134 w 2604"/>
                <a:gd name="T17" fmla="*/ 40 h 2977"/>
                <a:gd name="T18" fmla="*/ 163 w 2604"/>
                <a:gd name="T19" fmla="*/ 51 h 2977"/>
                <a:gd name="T20" fmla="*/ 184 w 2604"/>
                <a:gd name="T21" fmla="*/ 61 h 2977"/>
                <a:gd name="T22" fmla="*/ 225 w 2604"/>
                <a:gd name="T23" fmla="*/ 68 h 2977"/>
                <a:gd name="T24" fmla="*/ 265 w 2604"/>
                <a:gd name="T25" fmla="*/ 68 h 2977"/>
                <a:gd name="T26" fmla="*/ 282 w 2604"/>
                <a:gd name="T27" fmla="*/ 57 h 2977"/>
                <a:gd name="T28" fmla="*/ 305 w 2604"/>
                <a:gd name="T29" fmla="*/ 74 h 2977"/>
                <a:gd name="T30" fmla="*/ 339 w 2604"/>
                <a:gd name="T31" fmla="*/ 80 h 2977"/>
                <a:gd name="T32" fmla="*/ 373 w 2604"/>
                <a:gd name="T33" fmla="*/ 97 h 2977"/>
                <a:gd name="T34" fmla="*/ 407 w 2604"/>
                <a:gd name="T35" fmla="*/ 85 h 2977"/>
                <a:gd name="T36" fmla="*/ 419 w 2604"/>
                <a:gd name="T37" fmla="*/ 93 h 2977"/>
                <a:gd name="T38" fmla="*/ 447 w 2604"/>
                <a:gd name="T39" fmla="*/ 91 h 2977"/>
                <a:gd name="T40" fmla="*/ 469 w 2604"/>
                <a:gd name="T41" fmla="*/ 91 h 2977"/>
                <a:gd name="T42" fmla="*/ 494 w 2604"/>
                <a:gd name="T43" fmla="*/ 90 h 2977"/>
                <a:gd name="T44" fmla="*/ 492 w 2604"/>
                <a:gd name="T45" fmla="*/ 94 h 2977"/>
                <a:gd name="T46" fmla="*/ 428 w 2604"/>
                <a:gd name="T47" fmla="*/ 136 h 2977"/>
                <a:gd name="T48" fmla="*/ 402 w 2604"/>
                <a:gd name="T49" fmla="*/ 160 h 2977"/>
                <a:gd name="T50" fmla="*/ 390 w 2604"/>
                <a:gd name="T51" fmla="*/ 188 h 2977"/>
                <a:gd name="T52" fmla="*/ 351 w 2604"/>
                <a:gd name="T53" fmla="*/ 216 h 2977"/>
                <a:gd name="T54" fmla="*/ 328 w 2604"/>
                <a:gd name="T55" fmla="*/ 245 h 2977"/>
                <a:gd name="T56" fmla="*/ 339 w 2604"/>
                <a:gd name="T57" fmla="*/ 279 h 2977"/>
                <a:gd name="T58" fmla="*/ 319 w 2604"/>
                <a:gd name="T59" fmla="*/ 307 h 2977"/>
                <a:gd name="T60" fmla="*/ 299 w 2604"/>
                <a:gd name="T61" fmla="*/ 330 h 2977"/>
                <a:gd name="T62" fmla="*/ 322 w 2604"/>
                <a:gd name="T63" fmla="*/ 359 h 2977"/>
                <a:gd name="T64" fmla="*/ 319 w 2604"/>
                <a:gd name="T65" fmla="*/ 400 h 2977"/>
                <a:gd name="T66" fmla="*/ 311 w 2604"/>
                <a:gd name="T67" fmla="*/ 421 h 2977"/>
                <a:gd name="T68" fmla="*/ 330 w 2604"/>
                <a:gd name="T69" fmla="*/ 430 h 2977"/>
                <a:gd name="T70" fmla="*/ 356 w 2604"/>
                <a:gd name="T71" fmla="*/ 427 h 2977"/>
                <a:gd name="T72" fmla="*/ 393 w 2604"/>
                <a:gd name="T73" fmla="*/ 460 h 2977"/>
                <a:gd name="T74" fmla="*/ 453 w 2604"/>
                <a:gd name="T75" fmla="*/ 501 h 2977"/>
                <a:gd name="T76" fmla="*/ 442 w 2604"/>
                <a:gd name="T77" fmla="*/ 530 h 2977"/>
                <a:gd name="T78" fmla="*/ 75 w 2604"/>
                <a:gd name="T79" fmla="*/ 565 h 2977"/>
                <a:gd name="T80" fmla="*/ 80 w 2604"/>
                <a:gd name="T81" fmla="*/ 513 h 2977"/>
                <a:gd name="T82" fmla="*/ 73 w 2604"/>
                <a:gd name="T83" fmla="*/ 403 h 2977"/>
                <a:gd name="T84" fmla="*/ 49 w 2604"/>
                <a:gd name="T85" fmla="*/ 374 h 2977"/>
                <a:gd name="T86" fmla="*/ 56 w 2604"/>
                <a:gd name="T87" fmla="*/ 353 h 2977"/>
                <a:gd name="T88" fmla="*/ 53 w 2604"/>
                <a:gd name="T89" fmla="*/ 330 h 2977"/>
                <a:gd name="T90" fmla="*/ 43 w 2604"/>
                <a:gd name="T91" fmla="*/ 263 h 2977"/>
                <a:gd name="T92" fmla="*/ 34 w 2604"/>
                <a:gd name="T93" fmla="*/ 176 h 2977"/>
                <a:gd name="T94" fmla="*/ 11 w 2604"/>
                <a:gd name="T95" fmla="*/ 145 h 2977"/>
                <a:gd name="T96" fmla="*/ 5 w 2604"/>
                <a:gd name="T97" fmla="*/ 106 h 2977"/>
                <a:gd name="T98" fmla="*/ 0 w 2604"/>
                <a:gd name="T99" fmla="*/ 45 h 29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604" h="2977">
                  <a:moveTo>
                    <a:pt x="0" y="239"/>
                  </a:moveTo>
                  <a:lnTo>
                    <a:pt x="161" y="242"/>
                  </a:lnTo>
                  <a:lnTo>
                    <a:pt x="337" y="226"/>
                  </a:lnTo>
                  <a:lnTo>
                    <a:pt x="481" y="242"/>
                  </a:lnTo>
                  <a:lnTo>
                    <a:pt x="617" y="210"/>
                  </a:lnTo>
                  <a:lnTo>
                    <a:pt x="617" y="0"/>
                  </a:lnTo>
                  <a:lnTo>
                    <a:pt x="721" y="26"/>
                  </a:lnTo>
                  <a:lnTo>
                    <a:pt x="657" y="130"/>
                  </a:lnTo>
                  <a:lnTo>
                    <a:pt x="705" y="210"/>
                  </a:lnTo>
                  <a:lnTo>
                    <a:pt x="857" y="270"/>
                  </a:lnTo>
                  <a:lnTo>
                    <a:pt x="969" y="322"/>
                  </a:lnTo>
                  <a:lnTo>
                    <a:pt x="1187" y="360"/>
                  </a:lnTo>
                  <a:lnTo>
                    <a:pt x="1398" y="360"/>
                  </a:lnTo>
                  <a:lnTo>
                    <a:pt x="1488" y="300"/>
                  </a:lnTo>
                  <a:lnTo>
                    <a:pt x="1608" y="390"/>
                  </a:lnTo>
                  <a:lnTo>
                    <a:pt x="1788" y="420"/>
                  </a:lnTo>
                  <a:lnTo>
                    <a:pt x="1968" y="510"/>
                  </a:lnTo>
                  <a:lnTo>
                    <a:pt x="2148" y="450"/>
                  </a:lnTo>
                  <a:lnTo>
                    <a:pt x="2209" y="490"/>
                  </a:lnTo>
                  <a:lnTo>
                    <a:pt x="2358" y="480"/>
                  </a:lnTo>
                  <a:lnTo>
                    <a:pt x="2473" y="482"/>
                  </a:lnTo>
                  <a:lnTo>
                    <a:pt x="2604" y="476"/>
                  </a:lnTo>
                  <a:lnTo>
                    <a:pt x="2596" y="497"/>
                  </a:lnTo>
                  <a:lnTo>
                    <a:pt x="2257" y="714"/>
                  </a:lnTo>
                  <a:lnTo>
                    <a:pt x="2121" y="842"/>
                  </a:lnTo>
                  <a:lnTo>
                    <a:pt x="2058" y="990"/>
                  </a:lnTo>
                  <a:lnTo>
                    <a:pt x="1848" y="1140"/>
                  </a:lnTo>
                  <a:lnTo>
                    <a:pt x="1728" y="1290"/>
                  </a:lnTo>
                  <a:lnTo>
                    <a:pt x="1788" y="1470"/>
                  </a:lnTo>
                  <a:lnTo>
                    <a:pt x="1681" y="1618"/>
                  </a:lnTo>
                  <a:lnTo>
                    <a:pt x="1578" y="1740"/>
                  </a:lnTo>
                  <a:lnTo>
                    <a:pt x="1698" y="1890"/>
                  </a:lnTo>
                  <a:lnTo>
                    <a:pt x="1681" y="2106"/>
                  </a:lnTo>
                  <a:lnTo>
                    <a:pt x="1638" y="2220"/>
                  </a:lnTo>
                  <a:lnTo>
                    <a:pt x="1737" y="2266"/>
                  </a:lnTo>
                  <a:lnTo>
                    <a:pt x="1878" y="2250"/>
                  </a:lnTo>
                  <a:lnTo>
                    <a:pt x="2073" y="2426"/>
                  </a:lnTo>
                  <a:lnTo>
                    <a:pt x="2388" y="2640"/>
                  </a:lnTo>
                  <a:lnTo>
                    <a:pt x="2329" y="2794"/>
                  </a:lnTo>
                  <a:lnTo>
                    <a:pt x="394" y="2977"/>
                  </a:lnTo>
                  <a:lnTo>
                    <a:pt x="421" y="2701"/>
                  </a:lnTo>
                  <a:lnTo>
                    <a:pt x="385" y="2123"/>
                  </a:lnTo>
                  <a:lnTo>
                    <a:pt x="256" y="1969"/>
                  </a:lnTo>
                  <a:lnTo>
                    <a:pt x="294" y="1862"/>
                  </a:lnTo>
                  <a:lnTo>
                    <a:pt x="282" y="1741"/>
                  </a:lnTo>
                  <a:lnTo>
                    <a:pt x="229" y="1387"/>
                  </a:lnTo>
                  <a:lnTo>
                    <a:pt x="181" y="928"/>
                  </a:lnTo>
                  <a:lnTo>
                    <a:pt x="60" y="763"/>
                  </a:lnTo>
                  <a:lnTo>
                    <a:pt x="25" y="556"/>
                  </a:lnTo>
                  <a:lnTo>
                    <a:pt x="0" y="239"/>
                  </a:lnTo>
                  <a:close/>
                </a:path>
              </a:pathLst>
            </a:custGeom>
            <a:solidFill>
              <a:srgbClr val="FFD9DA"/>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17" name="Michigan">
              <a:extLst>
                <a:ext uri="{FF2B5EF4-FFF2-40B4-BE49-F238E27FC236}">
                  <a16:creationId xmlns:a16="http://schemas.microsoft.com/office/drawing/2014/main" id="{C77FD254-0681-462E-861E-053AD79E6D80}"/>
                </a:ext>
              </a:extLst>
            </p:cNvPr>
            <p:cNvSpPr>
              <a:spLocks/>
            </p:cNvSpPr>
            <p:nvPr/>
          </p:nvSpPr>
          <p:spPr bwMode="auto">
            <a:xfrm>
              <a:off x="6044068" y="2155088"/>
              <a:ext cx="486960" cy="627360"/>
            </a:xfrm>
            <a:custGeom>
              <a:avLst/>
              <a:gdLst>
                <a:gd name="T0" fmla="*/ 96 w 1586"/>
                <a:gd name="T1" fmla="*/ 0 h 2040"/>
                <a:gd name="T2" fmla="*/ 74 w 1586"/>
                <a:gd name="T3" fmla="*/ 9 h 2040"/>
                <a:gd name="T4" fmla="*/ 70 w 1586"/>
                <a:gd name="T5" fmla="*/ 25 h 2040"/>
                <a:gd name="T6" fmla="*/ 82 w 1586"/>
                <a:gd name="T7" fmla="*/ 39 h 2040"/>
                <a:gd name="T8" fmla="*/ 69 w 1586"/>
                <a:gd name="T9" fmla="*/ 56 h 2040"/>
                <a:gd name="T10" fmla="*/ 73 w 1586"/>
                <a:gd name="T11" fmla="*/ 72 h 2040"/>
                <a:gd name="T12" fmla="*/ 63 w 1586"/>
                <a:gd name="T13" fmla="*/ 89 h 2040"/>
                <a:gd name="T14" fmla="*/ 50 w 1586"/>
                <a:gd name="T15" fmla="*/ 79 h 2040"/>
                <a:gd name="T16" fmla="*/ 42 w 1586"/>
                <a:gd name="T17" fmla="*/ 63 h 2040"/>
                <a:gd name="T18" fmla="*/ 24 w 1586"/>
                <a:gd name="T19" fmla="*/ 88 h 2040"/>
                <a:gd name="T20" fmla="*/ 13 w 1586"/>
                <a:gd name="T21" fmla="*/ 91 h 2040"/>
                <a:gd name="T22" fmla="*/ 5 w 1586"/>
                <a:gd name="T23" fmla="*/ 123 h 2040"/>
                <a:gd name="T24" fmla="*/ 13 w 1586"/>
                <a:gd name="T25" fmla="*/ 142 h 2040"/>
                <a:gd name="T26" fmla="*/ 0 w 1586"/>
                <a:gd name="T27" fmla="*/ 168 h 2040"/>
                <a:gd name="T28" fmla="*/ 7 w 1586"/>
                <a:gd name="T29" fmla="*/ 186 h 2040"/>
                <a:gd name="T30" fmla="*/ 12 w 1586"/>
                <a:gd name="T31" fmla="*/ 213 h 2040"/>
                <a:gd name="T32" fmla="*/ 34 w 1586"/>
                <a:gd name="T33" fmla="*/ 241 h 2040"/>
                <a:gd name="T34" fmla="*/ 40 w 1586"/>
                <a:gd name="T35" fmla="*/ 271 h 2040"/>
                <a:gd name="T36" fmla="*/ 45 w 1586"/>
                <a:gd name="T37" fmla="*/ 300 h 2040"/>
                <a:gd name="T38" fmla="*/ 26 w 1586"/>
                <a:gd name="T39" fmla="*/ 387 h 2040"/>
                <a:gd name="T40" fmla="*/ 58 w 1586"/>
                <a:gd name="T41" fmla="*/ 382 h 2040"/>
                <a:gd name="T42" fmla="*/ 145 w 1586"/>
                <a:gd name="T43" fmla="*/ 365 h 2040"/>
                <a:gd name="T44" fmla="*/ 161 w 1586"/>
                <a:gd name="T45" fmla="*/ 376 h 2040"/>
                <a:gd name="T46" fmla="*/ 184 w 1586"/>
                <a:gd name="T47" fmla="*/ 361 h 2040"/>
                <a:gd name="T48" fmla="*/ 221 w 1586"/>
                <a:gd name="T49" fmla="*/ 359 h 2040"/>
                <a:gd name="T50" fmla="*/ 221 w 1586"/>
                <a:gd name="T51" fmla="*/ 352 h 2040"/>
                <a:gd name="T52" fmla="*/ 257 w 1586"/>
                <a:gd name="T53" fmla="*/ 349 h 2040"/>
                <a:gd name="T54" fmla="*/ 266 w 1586"/>
                <a:gd name="T55" fmla="*/ 332 h 2040"/>
                <a:gd name="T56" fmla="*/ 276 w 1586"/>
                <a:gd name="T57" fmla="*/ 323 h 2040"/>
                <a:gd name="T58" fmla="*/ 277 w 1586"/>
                <a:gd name="T59" fmla="*/ 313 h 2040"/>
                <a:gd name="T60" fmla="*/ 267 w 1586"/>
                <a:gd name="T61" fmla="*/ 308 h 2040"/>
                <a:gd name="T62" fmla="*/ 278 w 1586"/>
                <a:gd name="T63" fmla="*/ 278 h 2040"/>
                <a:gd name="T64" fmla="*/ 292 w 1586"/>
                <a:gd name="T65" fmla="*/ 266 h 2040"/>
                <a:gd name="T66" fmla="*/ 298 w 1586"/>
                <a:gd name="T67" fmla="*/ 246 h 2040"/>
                <a:gd name="T68" fmla="*/ 300 w 1586"/>
                <a:gd name="T69" fmla="*/ 201 h 2040"/>
                <a:gd name="T70" fmla="*/ 284 w 1586"/>
                <a:gd name="T71" fmla="*/ 171 h 2040"/>
                <a:gd name="T72" fmla="*/ 272 w 1586"/>
                <a:gd name="T73" fmla="*/ 140 h 2040"/>
                <a:gd name="T74" fmla="*/ 250 w 1586"/>
                <a:gd name="T75" fmla="*/ 132 h 2040"/>
                <a:gd name="T76" fmla="*/ 230 w 1586"/>
                <a:gd name="T77" fmla="*/ 134 h 2040"/>
                <a:gd name="T78" fmla="*/ 221 w 1586"/>
                <a:gd name="T79" fmla="*/ 149 h 2040"/>
                <a:gd name="T80" fmla="*/ 215 w 1586"/>
                <a:gd name="T81" fmla="*/ 168 h 2040"/>
                <a:gd name="T82" fmla="*/ 197 w 1586"/>
                <a:gd name="T83" fmla="*/ 174 h 2040"/>
                <a:gd name="T84" fmla="*/ 180 w 1586"/>
                <a:gd name="T85" fmla="*/ 159 h 2040"/>
                <a:gd name="T86" fmla="*/ 193 w 1586"/>
                <a:gd name="T87" fmla="*/ 143 h 2040"/>
                <a:gd name="T88" fmla="*/ 201 w 1586"/>
                <a:gd name="T89" fmla="*/ 126 h 2040"/>
                <a:gd name="T90" fmla="*/ 209 w 1586"/>
                <a:gd name="T91" fmla="*/ 94 h 2040"/>
                <a:gd name="T92" fmla="*/ 201 w 1586"/>
                <a:gd name="T93" fmla="*/ 66 h 2040"/>
                <a:gd name="T94" fmla="*/ 187 w 1586"/>
                <a:gd name="T95" fmla="*/ 47 h 2040"/>
                <a:gd name="T96" fmla="*/ 197 w 1586"/>
                <a:gd name="T97" fmla="*/ 30 h 2040"/>
                <a:gd name="T98" fmla="*/ 162 w 1586"/>
                <a:gd name="T99" fmla="*/ 15 h 2040"/>
                <a:gd name="T100" fmla="*/ 134 w 1586"/>
                <a:gd name="T101" fmla="*/ 9 h 2040"/>
                <a:gd name="T102" fmla="*/ 114 w 1586"/>
                <a:gd name="T103" fmla="*/ 7 h 2040"/>
                <a:gd name="T104" fmla="*/ 96 w 1586"/>
                <a:gd name="T105" fmla="*/ 0 h 20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86" h="2040">
                  <a:moveTo>
                    <a:pt x="506" y="0"/>
                  </a:moveTo>
                  <a:lnTo>
                    <a:pt x="392" y="48"/>
                  </a:lnTo>
                  <a:lnTo>
                    <a:pt x="368" y="132"/>
                  </a:lnTo>
                  <a:lnTo>
                    <a:pt x="434" y="204"/>
                  </a:lnTo>
                  <a:lnTo>
                    <a:pt x="363" y="293"/>
                  </a:lnTo>
                  <a:lnTo>
                    <a:pt x="386" y="378"/>
                  </a:lnTo>
                  <a:lnTo>
                    <a:pt x="332" y="468"/>
                  </a:lnTo>
                  <a:lnTo>
                    <a:pt x="266" y="414"/>
                  </a:lnTo>
                  <a:lnTo>
                    <a:pt x="224" y="330"/>
                  </a:lnTo>
                  <a:lnTo>
                    <a:pt x="128" y="462"/>
                  </a:lnTo>
                  <a:lnTo>
                    <a:pt x="68" y="480"/>
                  </a:lnTo>
                  <a:lnTo>
                    <a:pt x="26" y="648"/>
                  </a:lnTo>
                  <a:lnTo>
                    <a:pt x="68" y="750"/>
                  </a:lnTo>
                  <a:lnTo>
                    <a:pt x="0" y="883"/>
                  </a:lnTo>
                  <a:lnTo>
                    <a:pt x="38" y="978"/>
                  </a:lnTo>
                  <a:lnTo>
                    <a:pt x="62" y="1122"/>
                  </a:lnTo>
                  <a:lnTo>
                    <a:pt x="182" y="1272"/>
                  </a:lnTo>
                  <a:lnTo>
                    <a:pt x="212" y="1428"/>
                  </a:lnTo>
                  <a:lnTo>
                    <a:pt x="236" y="1584"/>
                  </a:lnTo>
                  <a:lnTo>
                    <a:pt x="137" y="2040"/>
                  </a:lnTo>
                  <a:lnTo>
                    <a:pt x="304" y="2013"/>
                  </a:lnTo>
                  <a:lnTo>
                    <a:pt x="766" y="1926"/>
                  </a:lnTo>
                  <a:lnTo>
                    <a:pt x="851" y="1983"/>
                  </a:lnTo>
                  <a:lnTo>
                    <a:pt x="973" y="1905"/>
                  </a:lnTo>
                  <a:lnTo>
                    <a:pt x="1166" y="1895"/>
                  </a:lnTo>
                  <a:lnTo>
                    <a:pt x="1166" y="1857"/>
                  </a:lnTo>
                  <a:lnTo>
                    <a:pt x="1360" y="1841"/>
                  </a:lnTo>
                  <a:lnTo>
                    <a:pt x="1406" y="1752"/>
                  </a:lnTo>
                  <a:lnTo>
                    <a:pt x="1460" y="1704"/>
                  </a:lnTo>
                  <a:lnTo>
                    <a:pt x="1466" y="1650"/>
                  </a:lnTo>
                  <a:lnTo>
                    <a:pt x="1409" y="1626"/>
                  </a:lnTo>
                  <a:lnTo>
                    <a:pt x="1472" y="1464"/>
                  </a:lnTo>
                  <a:lnTo>
                    <a:pt x="1544" y="1404"/>
                  </a:lnTo>
                  <a:lnTo>
                    <a:pt x="1574" y="1296"/>
                  </a:lnTo>
                  <a:lnTo>
                    <a:pt x="1586" y="1062"/>
                  </a:lnTo>
                  <a:lnTo>
                    <a:pt x="1502" y="900"/>
                  </a:lnTo>
                  <a:lnTo>
                    <a:pt x="1436" y="738"/>
                  </a:lnTo>
                  <a:lnTo>
                    <a:pt x="1322" y="696"/>
                  </a:lnTo>
                  <a:lnTo>
                    <a:pt x="1214" y="708"/>
                  </a:lnTo>
                  <a:lnTo>
                    <a:pt x="1166" y="786"/>
                  </a:lnTo>
                  <a:lnTo>
                    <a:pt x="1136" y="888"/>
                  </a:lnTo>
                  <a:lnTo>
                    <a:pt x="1040" y="918"/>
                  </a:lnTo>
                  <a:lnTo>
                    <a:pt x="952" y="837"/>
                  </a:lnTo>
                  <a:lnTo>
                    <a:pt x="1022" y="756"/>
                  </a:lnTo>
                  <a:lnTo>
                    <a:pt x="1064" y="666"/>
                  </a:lnTo>
                  <a:lnTo>
                    <a:pt x="1106" y="498"/>
                  </a:lnTo>
                  <a:lnTo>
                    <a:pt x="1064" y="348"/>
                  </a:lnTo>
                  <a:lnTo>
                    <a:pt x="986" y="246"/>
                  </a:lnTo>
                  <a:lnTo>
                    <a:pt x="1040" y="156"/>
                  </a:lnTo>
                  <a:lnTo>
                    <a:pt x="854" y="78"/>
                  </a:lnTo>
                  <a:lnTo>
                    <a:pt x="710" y="48"/>
                  </a:lnTo>
                  <a:lnTo>
                    <a:pt x="602" y="36"/>
                  </a:lnTo>
                  <a:lnTo>
                    <a:pt x="506" y="0"/>
                  </a:lnTo>
                  <a:close/>
                </a:path>
              </a:pathLst>
            </a:custGeom>
            <a:solidFill>
              <a:srgbClr val="FFD9DA"/>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18" name="Massachusetts">
              <a:extLst>
                <a:ext uri="{FF2B5EF4-FFF2-40B4-BE49-F238E27FC236}">
                  <a16:creationId xmlns:a16="http://schemas.microsoft.com/office/drawing/2014/main" id="{17574997-853F-4A6F-AC6A-C2AC641C9D43}"/>
                </a:ext>
              </a:extLst>
            </p:cNvPr>
            <p:cNvSpPr>
              <a:spLocks/>
            </p:cNvSpPr>
            <p:nvPr/>
          </p:nvSpPr>
          <p:spPr bwMode="auto">
            <a:xfrm>
              <a:off x="7545527" y="2069170"/>
              <a:ext cx="423655" cy="260995"/>
            </a:xfrm>
            <a:custGeom>
              <a:avLst/>
              <a:gdLst>
                <a:gd name="T0" fmla="*/ 142 w 1383"/>
                <a:gd name="T1" fmla="*/ 17 h 850"/>
                <a:gd name="T2" fmla="*/ 131 w 1383"/>
                <a:gd name="T3" fmla="*/ 40 h 850"/>
                <a:gd name="T4" fmla="*/ 53 w 1383"/>
                <a:gd name="T5" fmla="*/ 64 h 850"/>
                <a:gd name="T6" fmla="*/ 0 w 1383"/>
                <a:gd name="T7" fmla="*/ 83 h 850"/>
                <a:gd name="T8" fmla="*/ 6 w 1383"/>
                <a:gd name="T9" fmla="*/ 122 h 850"/>
                <a:gd name="T10" fmla="*/ 11 w 1383"/>
                <a:gd name="T11" fmla="*/ 161 h 850"/>
                <a:gd name="T12" fmla="*/ 113 w 1383"/>
                <a:gd name="T13" fmla="*/ 109 h 850"/>
                <a:gd name="T14" fmla="*/ 156 w 1383"/>
                <a:gd name="T15" fmla="*/ 96 h 850"/>
                <a:gd name="T16" fmla="*/ 172 w 1383"/>
                <a:gd name="T17" fmla="*/ 128 h 850"/>
                <a:gd name="T18" fmla="*/ 193 w 1383"/>
                <a:gd name="T19" fmla="*/ 142 h 850"/>
                <a:gd name="T20" fmla="*/ 201 w 1383"/>
                <a:gd name="T21" fmla="*/ 125 h 850"/>
                <a:gd name="T22" fmla="*/ 233 w 1383"/>
                <a:gd name="T23" fmla="*/ 102 h 850"/>
                <a:gd name="T24" fmla="*/ 261 w 1383"/>
                <a:gd name="T25" fmla="*/ 85 h 850"/>
                <a:gd name="T26" fmla="*/ 252 w 1383"/>
                <a:gd name="T27" fmla="*/ 73 h 850"/>
                <a:gd name="T28" fmla="*/ 250 w 1383"/>
                <a:gd name="T29" fmla="*/ 62 h 850"/>
                <a:gd name="T30" fmla="*/ 245 w 1383"/>
                <a:gd name="T31" fmla="*/ 44 h 850"/>
                <a:gd name="T32" fmla="*/ 240 w 1383"/>
                <a:gd name="T33" fmla="*/ 50 h 850"/>
                <a:gd name="T34" fmla="*/ 243 w 1383"/>
                <a:gd name="T35" fmla="*/ 60 h 850"/>
                <a:gd name="T36" fmla="*/ 240 w 1383"/>
                <a:gd name="T37" fmla="*/ 70 h 850"/>
                <a:gd name="T38" fmla="*/ 245 w 1383"/>
                <a:gd name="T39" fmla="*/ 82 h 850"/>
                <a:gd name="T40" fmla="*/ 227 w 1383"/>
                <a:gd name="T41" fmla="*/ 97 h 850"/>
                <a:gd name="T42" fmla="*/ 204 w 1383"/>
                <a:gd name="T43" fmla="*/ 85 h 850"/>
                <a:gd name="T44" fmla="*/ 176 w 1383"/>
                <a:gd name="T45" fmla="*/ 51 h 850"/>
                <a:gd name="T46" fmla="*/ 168 w 1383"/>
                <a:gd name="T47" fmla="*/ 23 h 850"/>
                <a:gd name="T48" fmla="*/ 142 w 1383"/>
                <a:gd name="T49" fmla="*/ 0 h 850"/>
                <a:gd name="T50" fmla="*/ 142 w 1383"/>
                <a:gd name="T51" fmla="*/ 17 h 8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83" h="850">
                  <a:moveTo>
                    <a:pt x="753" y="90"/>
                  </a:moveTo>
                  <a:lnTo>
                    <a:pt x="693" y="210"/>
                  </a:lnTo>
                  <a:lnTo>
                    <a:pt x="281" y="340"/>
                  </a:lnTo>
                  <a:lnTo>
                    <a:pt x="0" y="436"/>
                  </a:lnTo>
                  <a:lnTo>
                    <a:pt x="30" y="645"/>
                  </a:lnTo>
                  <a:lnTo>
                    <a:pt x="57" y="850"/>
                  </a:lnTo>
                  <a:lnTo>
                    <a:pt x="597" y="573"/>
                  </a:lnTo>
                  <a:lnTo>
                    <a:pt x="825" y="507"/>
                  </a:lnTo>
                  <a:lnTo>
                    <a:pt x="913" y="675"/>
                  </a:lnTo>
                  <a:lnTo>
                    <a:pt x="1023" y="750"/>
                  </a:lnTo>
                  <a:lnTo>
                    <a:pt x="1065" y="659"/>
                  </a:lnTo>
                  <a:lnTo>
                    <a:pt x="1233" y="540"/>
                  </a:lnTo>
                  <a:lnTo>
                    <a:pt x="1383" y="450"/>
                  </a:lnTo>
                  <a:lnTo>
                    <a:pt x="1337" y="383"/>
                  </a:lnTo>
                  <a:lnTo>
                    <a:pt x="1325" y="325"/>
                  </a:lnTo>
                  <a:lnTo>
                    <a:pt x="1297" y="233"/>
                  </a:lnTo>
                  <a:lnTo>
                    <a:pt x="1273" y="263"/>
                  </a:lnTo>
                  <a:lnTo>
                    <a:pt x="1285" y="319"/>
                  </a:lnTo>
                  <a:lnTo>
                    <a:pt x="1273" y="371"/>
                  </a:lnTo>
                  <a:lnTo>
                    <a:pt x="1297" y="435"/>
                  </a:lnTo>
                  <a:lnTo>
                    <a:pt x="1203" y="510"/>
                  </a:lnTo>
                  <a:lnTo>
                    <a:pt x="1081" y="451"/>
                  </a:lnTo>
                  <a:lnTo>
                    <a:pt x="933" y="270"/>
                  </a:lnTo>
                  <a:lnTo>
                    <a:pt x="889" y="123"/>
                  </a:lnTo>
                  <a:lnTo>
                    <a:pt x="753" y="0"/>
                  </a:lnTo>
                  <a:lnTo>
                    <a:pt x="753" y="90"/>
                  </a:lnTo>
                  <a:close/>
                </a:path>
              </a:pathLst>
            </a:custGeom>
            <a:solidFill>
              <a:srgbClr val="FF575B"/>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19" name="Maryland">
              <a:extLst>
                <a:ext uri="{FF2B5EF4-FFF2-40B4-BE49-F238E27FC236}">
                  <a16:creationId xmlns:a16="http://schemas.microsoft.com/office/drawing/2014/main" id="{BB88A735-EFA2-4F02-AC5E-648560FE5872}"/>
                </a:ext>
              </a:extLst>
            </p:cNvPr>
            <p:cNvSpPr>
              <a:spLocks/>
            </p:cNvSpPr>
            <p:nvPr/>
          </p:nvSpPr>
          <p:spPr bwMode="auto">
            <a:xfrm>
              <a:off x="6993640" y="2748405"/>
              <a:ext cx="543771" cy="269100"/>
            </a:xfrm>
            <a:custGeom>
              <a:avLst/>
              <a:gdLst>
                <a:gd name="T0" fmla="*/ 171 w 1675"/>
                <a:gd name="T1" fmla="*/ 132 h 830"/>
                <a:gd name="T2" fmla="*/ 227 w 1675"/>
                <a:gd name="T3" fmla="*/ 166 h 830"/>
                <a:gd name="T4" fmla="*/ 251 w 1675"/>
                <a:gd name="T5" fmla="*/ 162 h 830"/>
                <a:gd name="T6" fmla="*/ 254 w 1675"/>
                <a:gd name="T7" fmla="*/ 147 h 830"/>
                <a:gd name="T8" fmla="*/ 250 w 1675"/>
                <a:gd name="T9" fmla="*/ 139 h 830"/>
                <a:gd name="T10" fmla="*/ 250 w 1675"/>
                <a:gd name="T11" fmla="*/ 129 h 830"/>
                <a:gd name="T12" fmla="*/ 241 w 1675"/>
                <a:gd name="T13" fmla="*/ 116 h 830"/>
                <a:gd name="T14" fmla="*/ 233 w 1675"/>
                <a:gd name="T15" fmla="*/ 99 h 830"/>
                <a:gd name="T16" fmla="*/ 226 w 1675"/>
                <a:gd name="T17" fmla="*/ 79 h 830"/>
                <a:gd name="T18" fmla="*/ 218 w 1675"/>
                <a:gd name="T19" fmla="*/ 68 h 830"/>
                <a:gd name="T20" fmla="*/ 227 w 1675"/>
                <a:gd name="T21" fmla="*/ 50 h 830"/>
                <a:gd name="T22" fmla="*/ 227 w 1675"/>
                <a:gd name="T23" fmla="*/ 28 h 830"/>
                <a:gd name="T24" fmla="*/ 250 w 1675"/>
                <a:gd name="T25" fmla="*/ 45 h 830"/>
                <a:gd name="T26" fmla="*/ 246 w 1675"/>
                <a:gd name="T27" fmla="*/ 68 h 830"/>
                <a:gd name="T28" fmla="*/ 244 w 1675"/>
                <a:gd name="T29" fmla="*/ 84 h 830"/>
                <a:gd name="T30" fmla="*/ 255 w 1675"/>
                <a:gd name="T31" fmla="*/ 92 h 830"/>
                <a:gd name="T32" fmla="*/ 263 w 1675"/>
                <a:gd name="T33" fmla="*/ 100 h 830"/>
                <a:gd name="T34" fmla="*/ 259 w 1675"/>
                <a:gd name="T35" fmla="*/ 111 h 830"/>
                <a:gd name="T36" fmla="*/ 269 w 1675"/>
                <a:gd name="T37" fmla="*/ 123 h 830"/>
                <a:gd name="T38" fmla="*/ 284 w 1675"/>
                <a:gd name="T39" fmla="*/ 124 h 830"/>
                <a:gd name="T40" fmla="*/ 301 w 1675"/>
                <a:gd name="T41" fmla="*/ 141 h 830"/>
                <a:gd name="T42" fmla="*/ 316 w 1675"/>
                <a:gd name="T43" fmla="*/ 141 h 830"/>
                <a:gd name="T44" fmla="*/ 332 w 1675"/>
                <a:gd name="T45" fmla="*/ 137 h 830"/>
                <a:gd name="T46" fmla="*/ 334 w 1675"/>
                <a:gd name="T47" fmla="*/ 118 h 830"/>
                <a:gd name="T48" fmla="*/ 335 w 1675"/>
                <a:gd name="T49" fmla="*/ 103 h 830"/>
                <a:gd name="T50" fmla="*/ 321 w 1675"/>
                <a:gd name="T51" fmla="*/ 105 h 830"/>
                <a:gd name="T52" fmla="*/ 303 w 1675"/>
                <a:gd name="T53" fmla="*/ 113 h 830"/>
                <a:gd name="T54" fmla="*/ 297 w 1675"/>
                <a:gd name="T55" fmla="*/ 102 h 830"/>
                <a:gd name="T56" fmla="*/ 289 w 1675"/>
                <a:gd name="T57" fmla="*/ 82 h 830"/>
                <a:gd name="T58" fmla="*/ 284 w 1675"/>
                <a:gd name="T59" fmla="*/ 63 h 830"/>
                <a:gd name="T60" fmla="*/ 276 w 1675"/>
                <a:gd name="T61" fmla="*/ 50 h 830"/>
                <a:gd name="T62" fmla="*/ 272 w 1675"/>
                <a:gd name="T63" fmla="*/ 33 h 830"/>
                <a:gd name="T64" fmla="*/ 265 w 1675"/>
                <a:gd name="T65" fmla="*/ 19 h 830"/>
                <a:gd name="T66" fmla="*/ 258 w 1675"/>
                <a:gd name="T67" fmla="*/ 0 h 830"/>
                <a:gd name="T68" fmla="*/ 244 w 1675"/>
                <a:gd name="T69" fmla="*/ 9 h 830"/>
                <a:gd name="T70" fmla="*/ 233 w 1675"/>
                <a:gd name="T71" fmla="*/ 13 h 830"/>
                <a:gd name="T72" fmla="*/ 210 w 1675"/>
                <a:gd name="T73" fmla="*/ 11 h 830"/>
                <a:gd name="T74" fmla="*/ 195 w 1675"/>
                <a:gd name="T75" fmla="*/ 13 h 830"/>
                <a:gd name="T76" fmla="*/ 170 w 1675"/>
                <a:gd name="T77" fmla="*/ 24 h 830"/>
                <a:gd name="T78" fmla="*/ 147 w 1675"/>
                <a:gd name="T79" fmla="*/ 29 h 830"/>
                <a:gd name="T80" fmla="*/ 132 w 1675"/>
                <a:gd name="T81" fmla="*/ 46 h 830"/>
                <a:gd name="T82" fmla="*/ 100 w 1675"/>
                <a:gd name="T83" fmla="*/ 52 h 830"/>
                <a:gd name="T84" fmla="*/ 75 w 1675"/>
                <a:gd name="T85" fmla="*/ 61 h 830"/>
                <a:gd name="T86" fmla="*/ 33 w 1675"/>
                <a:gd name="T87" fmla="*/ 73 h 830"/>
                <a:gd name="T88" fmla="*/ 0 w 1675"/>
                <a:gd name="T89" fmla="*/ 85 h 830"/>
                <a:gd name="T90" fmla="*/ 6 w 1675"/>
                <a:gd name="T91" fmla="*/ 113 h 830"/>
                <a:gd name="T92" fmla="*/ 18 w 1675"/>
                <a:gd name="T93" fmla="*/ 113 h 830"/>
                <a:gd name="T94" fmla="*/ 36 w 1675"/>
                <a:gd name="T95" fmla="*/ 92 h 830"/>
                <a:gd name="T96" fmla="*/ 55 w 1675"/>
                <a:gd name="T97" fmla="*/ 81 h 830"/>
                <a:gd name="T98" fmla="*/ 76 w 1675"/>
                <a:gd name="T99" fmla="*/ 78 h 830"/>
                <a:gd name="T100" fmla="*/ 86 w 1675"/>
                <a:gd name="T101" fmla="*/ 62 h 830"/>
                <a:gd name="T102" fmla="*/ 98 w 1675"/>
                <a:gd name="T103" fmla="*/ 56 h 830"/>
                <a:gd name="T104" fmla="*/ 114 w 1675"/>
                <a:gd name="T105" fmla="*/ 67 h 830"/>
                <a:gd name="T106" fmla="*/ 136 w 1675"/>
                <a:gd name="T107" fmla="*/ 76 h 830"/>
                <a:gd name="T108" fmla="*/ 151 w 1675"/>
                <a:gd name="T109" fmla="*/ 82 h 830"/>
                <a:gd name="T110" fmla="*/ 160 w 1675"/>
                <a:gd name="T111" fmla="*/ 74 h 830"/>
                <a:gd name="T112" fmla="*/ 174 w 1675"/>
                <a:gd name="T113" fmla="*/ 85 h 830"/>
                <a:gd name="T114" fmla="*/ 161 w 1675"/>
                <a:gd name="T115" fmla="*/ 97 h 830"/>
                <a:gd name="T116" fmla="*/ 159 w 1675"/>
                <a:gd name="T117" fmla="*/ 113 h 830"/>
                <a:gd name="T118" fmla="*/ 171 w 1675"/>
                <a:gd name="T119" fmla="*/ 132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75" h="830">
                  <a:moveTo>
                    <a:pt x="853" y="659"/>
                  </a:moveTo>
                  <a:lnTo>
                    <a:pt x="1136" y="830"/>
                  </a:lnTo>
                  <a:lnTo>
                    <a:pt x="1256" y="810"/>
                  </a:lnTo>
                  <a:lnTo>
                    <a:pt x="1269" y="736"/>
                  </a:lnTo>
                  <a:lnTo>
                    <a:pt x="1250" y="697"/>
                  </a:lnTo>
                  <a:lnTo>
                    <a:pt x="1250" y="646"/>
                  </a:lnTo>
                  <a:lnTo>
                    <a:pt x="1205" y="579"/>
                  </a:lnTo>
                  <a:lnTo>
                    <a:pt x="1165" y="494"/>
                  </a:lnTo>
                  <a:lnTo>
                    <a:pt x="1131" y="397"/>
                  </a:lnTo>
                  <a:lnTo>
                    <a:pt x="1091" y="340"/>
                  </a:lnTo>
                  <a:lnTo>
                    <a:pt x="1136" y="251"/>
                  </a:lnTo>
                  <a:lnTo>
                    <a:pt x="1136" y="138"/>
                  </a:lnTo>
                  <a:lnTo>
                    <a:pt x="1250" y="223"/>
                  </a:lnTo>
                  <a:lnTo>
                    <a:pt x="1228" y="340"/>
                  </a:lnTo>
                  <a:lnTo>
                    <a:pt x="1222" y="420"/>
                  </a:lnTo>
                  <a:lnTo>
                    <a:pt x="1273" y="460"/>
                  </a:lnTo>
                  <a:lnTo>
                    <a:pt x="1313" y="499"/>
                  </a:lnTo>
                  <a:lnTo>
                    <a:pt x="1296" y="556"/>
                  </a:lnTo>
                  <a:lnTo>
                    <a:pt x="1347" y="613"/>
                  </a:lnTo>
                  <a:lnTo>
                    <a:pt x="1421" y="619"/>
                  </a:lnTo>
                  <a:lnTo>
                    <a:pt x="1507" y="705"/>
                  </a:lnTo>
                  <a:lnTo>
                    <a:pt x="1581" y="703"/>
                  </a:lnTo>
                  <a:lnTo>
                    <a:pt x="1661" y="686"/>
                  </a:lnTo>
                  <a:lnTo>
                    <a:pt x="1672" y="590"/>
                  </a:lnTo>
                  <a:lnTo>
                    <a:pt x="1675" y="517"/>
                  </a:lnTo>
                  <a:lnTo>
                    <a:pt x="1605" y="527"/>
                  </a:lnTo>
                  <a:lnTo>
                    <a:pt x="1515" y="564"/>
                  </a:lnTo>
                  <a:lnTo>
                    <a:pt x="1484" y="511"/>
                  </a:lnTo>
                  <a:lnTo>
                    <a:pt x="1444" y="408"/>
                  </a:lnTo>
                  <a:lnTo>
                    <a:pt x="1418" y="314"/>
                  </a:lnTo>
                  <a:lnTo>
                    <a:pt x="1381" y="249"/>
                  </a:lnTo>
                  <a:lnTo>
                    <a:pt x="1362" y="163"/>
                  </a:lnTo>
                  <a:lnTo>
                    <a:pt x="1323" y="95"/>
                  </a:lnTo>
                  <a:lnTo>
                    <a:pt x="1288" y="0"/>
                  </a:lnTo>
                  <a:lnTo>
                    <a:pt x="1222" y="45"/>
                  </a:lnTo>
                  <a:lnTo>
                    <a:pt x="1165" y="63"/>
                  </a:lnTo>
                  <a:lnTo>
                    <a:pt x="1051" y="54"/>
                  </a:lnTo>
                  <a:lnTo>
                    <a:pt x="977" y="63"/>
                  </a:lnTo>
                  <a:lnTo>
                    <a:pt x="851" y="119"/>
                  </a:lnTo>
                  <a:lnTo>
                    <a:pt x="735" y="143"/>
                  </a:lnTo>
                  <a:lnTo>
                    <a:pt x="662" y="232"/>
                  </a:lnTo>
                  <a:lnTo>
                    <a:pt x="501" y="260"/>
                  </a:lnTo>
                  <a:lnTo>
                    <a:pt x="376" y="304"/>
                  </a:lnTo>
                  <a:lnTo>
                    <a:pt x="165" y="365"/>
                  </a:lnTo>
                  <a:lnTo>
                    <a:pt x="0" y="423"/>
                  </a:lnTo>
                  <a:lnTo>
                    <a:pt x="29" y="564"/>
                  </a:lnTo>
                  <a:lnTo>
                    <a:pt x="88" y="564"/>
                  </a:lnTo>
                  <a:lnTo>
                    <a:pt x="178" y="461"/>
                  </a:lnTo>
                  <a:lnTo>
                    <a:pt x="277" y="403"/>
                  </a:lnTo>
                  <a:lnTo>
                    <a:pt x="380" y="388"/>
                  </a:lnTo>
                  <a:lnTo>
                    <a:pt x="428" y="308"/>
                  </a:lnTo>
                  <a:lnTo>
                    <a:pt x="491" y="282"/>
                  </a:lnTo>
                  <a:lnTo>
                    <a:pt x="571" y="334"/>
                  </a:lnTo>
                  <a:lnTo>
                    <a:pt x="680" y="378"/>
                  </a:lnTo>
                  <a:lnTo>
                    <a:pt x="754" y="412"/>
                  </a:lnTo>
                  <a:lnTo>
                    <a:pt x="802" y="372"/>
                  </a:lnTo>
                  <a:lnTo>
                    <a:pt x="871" y="424"/>
                  </a:lnTo>
                  <a:lnTo>
                    <a:pt x="805" y="483"/>
                  </a:lnTo>
                  <a:lnTo>
                    <a:pt x="795" y="563"/>
                  </a:lnTo>
                  <a:lnTo>
                    <a:pt x="853" y="659"/>
                  </a:lnTo>
                  <a:close/>
                </a:path>
              </a:pathLst>
            </a:custGeom>
            <a:solidFill>
              <a:srgbClr val="BFCAD2"/>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20" name="Maine">
              <a:extLst>
                <a:ext uri="{FF2B5EF4-FFF2-40B4-BE49-F238E27FC236}">
                  <a16:creationId xmlns:a16="http://schemas.microsoft.com/office/drawing/2014/main" id="{D6B483F6-76D9-4B80-9FB3-62325628D303}"/>
                </a:ext>
              </a:extLst>
            </p:cNvPr>
            <p:cNvSpPr>
              <a:spLocks/>
            </p:cNvSpPr>
            <p:nvPr/>
          </p:nvSpPr>
          <p:spPr bwMode="auto">
            <a:xfrm>
              <a:off x="7642918" y="1367242"/>
              <a:ext cx="426902" cy="679234"/>
            </a:xfrm>
            <a:custGeom>
              <a:avLst/>
              <a:gdLst>
                <a:gd name="T0" fmla="*/ 0 w 1386"/>
                <a:gd name="T1" fmla="*/ 249 h 2211"/>
                <a:gd name="T2" fmla="*/ 29 w 1386"/>
                <a:gd name="T3" fmla="*/ 323 h 2211"/>
                <a:gd name="T4" fmla="*/ 64 w 1386"/>
                <a:gd name="T5" fmla="*/ 385 h 2211"/>
                <a:gd name="T6" fmla="*/ 71 w 1386"/>
                <a:gd name="T7" fmla="*/ 411 h 2211"/>
                <a:gd name="T8" fmla="*/ 92 w 1386"/>
                <a:gd name="T9" fmla="*/ 419 h 2211"/>
                <a:gd name="T10" fmla="*/ 109 w 1386"/>
                <a:gd name="T11" fmla="*/ 374 h 2211"/>
                <a:gd name="T12" fmla="*/ 109 w 1386"/>
                <a:gd name="T13" fmla="*/ 351 h 2211"/>
                <a:gd name="T14" fmla="*/ 125 w 1386"/>
                <a:gd name="T15" fmla="*/ 333 h 2211"/>
                <a:gd name="T16" fmla="*/ 143 w 1386"/>
                <a:gd name="T17" fmla="*/ 318 h 2211"/>
                <a:gd name="T18" fmla="*/ 166 w 1386"/>
                <a:gd name="T19" fmla="*/ 289 h 2211"/>
                <a:gd name="T20" fmla="*/ 172 w 1386"/>
                <a:gd name="T21" fmla="*/ 266 h 2211"/>
                <a:gd name="T22" fmla="*/ 164 w 1386"/>
                <a:gd name="T23" fmla="*/ 260 h 2211"/>
                <a:gd name="T24" fmla="*/ 178 w 1386"/>
                <a:gd name="T25" fmla="*/ 245 h 2211"/>
                <a:gd name="T26" fmla="*/ 189 w 1386"/>
                <a:gd name="T27" fmla="*/ 266 h 2211"/>
                <a:gd name="T28" fmla="*/ 195 w 1386"/>
                <a:gd name="T29" fmla="*/ 261 h 2211"/>
                <a:gd name="T30" fmla="*/ 195 w 1386"/>
                <a:gd name="T31" fmla="*/ 232 h 2211"/>
                <a:gd name="T32" fmla="*/ 229 w 1386"/>
                <a:gd name="T33" fmla="*/ 215 h 2211"/>
                <a:gd name="T34" fmla="*/ 245 w 1386"/>
                <a:gd name="T35" fmla="*/ 200 h 2211"/>
                <a:gd name="T36" fmla="*/ 263 w 1386"/>
                <a:gd name="T37" fmla="*/ 181 h 2211"/>
                <a:gd name="T38" fmla="*/ 263 w 1386"/>
                <a:gd name="T39" fmla="*/ 158 h 2211"/>
                <a:gd name="T40" fmla="*/ 248 w 1386"/>
                <a:gd name="T41" fmla="*/ 150 h 2211"/>
                <a:gd name="T42" fmla="*/ 246 w 1386"/>
                <a:gd name="T43" fmla="*/ 136 h 2211"/>
                <a:gd name="T44" fmla="*/ 226 w 1386"/>
                <a:gd name="T45" fmla="*/ 138 h 2211"/>
                <a:gd name="T46" fmla="*/ 212 w 1386"/>
                <a:gd name="T47" fmla="*/ 130 h 2211"/>
                <a:gd name="T48" fmla="*/ 202 w 1386"/>
                <a:gd name="T49" fmla="*/ 114 h 2211"/>
                <a:gd name="T50" fmla="*/ 183 w 1386"/>
                <a:gd name="T51" fmla="*/ 113 h 2211"/>
                <a:gd name="T52" fmla="*/ 170 w 1386"/>
                <a:gd name="T53" fmla="*/ 100 h 2211"/>
                <a:gd name="T54" fmla="*/ 167 w 1386"/>
                <a:gd name="T55" fmla="*/ 76 h 2211"/>
                <a:gd name="T56" fmla="*/ 152 w 1386"/>
                <a:gd name="T57" fmla="*/ 56 h 2211"/>
                <a:gd name="T58" fmla="*/ 144 w 1386"/>
                <a:gd name="T59" fmla="*/ 35 h 2211"/>
                <a:gd name="T60" fmla="*/ 129 w 1386"/>
                <a:gd name="T61" fmla="*/ 0 h 2211"/>
                <a:gd name="T62" fmla="*/ 109 w 1386"/>
                <a:gd name="T63" fmla="*/ 2 h 2211"/>
                <a:gd name="T64" fmla="*/ 90 w 1386"/>
                <a:gd name="T65" fmla="*/ 2 h 2211"/>
                <a:gd name="T66" fmla="*/ 70 w 1386"/>
                <a:gd name="T67" fmla="*/ 24 h 2211"/>
                <a:gd name="T68" fmla="*/ 52 w 1386"/>
                <a:gd name="T69" fmla="*/ 33 h 2211"/>
                <a:gd name="T70" fmla="*/ 35 w 1386"/>
                <a:gd name="T71" fmla="*/ 23 h 2211"/>
                <a:gd name="T72" fmla="*/ 30 w 1386"/>
                <a:gd name="T73" fmla="*/ 11 h 2211"/>
                <a:gd name="T74" fmla="*/ 15 w 1386"/>
                <a:gd name="T75" fmla="*/ 41 h 2211"/>
                <a:gd name="T76" fmla="*/ 21 w 1386"/>
                <a:gd name="T77" fmla="*/ 56 h 2211"/>
                <a:gd name="T78" fmla="*/ 18 w 1386"/>
                <a:gd name="T79" fmla="*/ 74 h 2211"/>
                <a:gd name="T80" fmla="*/ 11 w 1386"/>
                <a:gd name="T81" fmla="*/ 104 h 2211"/>
                <a:gd name="T82" fmla="*/ 15 w 1386"/>
                <a:gd name="T83" fmla="*/ 133 h 2211"/>
                <a:gd name="T84" fmla="*/ 24 w 1386"/>
                <a:gd name="T85" fmla="*/ 163 h 2211"/>
                <a:gd name="T86" fmla="*/ 18 w 1386"/>
                <a:gd name="T87" fmla="*/ 187 h 2211"/>
                <a:gd name="T88" fmla="*/ 11 w 1386"/>
                <a:gd name="T89" fmla="*/ 224 h 2211"/>
                <a:gd name="T90" fmla="*/ 0 w 1386"/>
                <a:gd name="T91" fmla="*/ 249 h 2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86" h="2211">
                  <a:moveTo>
                    <a:pt x="0" y="1313"/>
                  </a:moveTo>
                  <a:lnTo>
                    <a:pt x="153" y="1703"/>
                  </a:lnTo>
                  <a:lnTo>
                    <a:pt x="337" y="2030"/>
                  </a:lnTo>
                  <a:lnTo>
                    <a:pt x="373" y="2169"/>
                  </a:lnTo>
                  <a:lnTo>
                    <a:pt x="483" y="2211"/>
                  </a:lnTo>
                  <a:lnTo>
                    <a:pt x="576" y="1976"/>
                  </a:lnTo>
                  <a:lnTo>
                    <a:pt x="577" y="1853"/>
                  </a:lnTo>
                  <a:lnTo>
                    <a:pt x="657" y="1757"/>
                  </a:lnTo>
                  <a:lnTo>
                    <a:pt x="753" y="1677"/>
                  </a:lnTo>
                  <a:lnTo>
                    <a:pt x="876" y="1526"/>
                  </a:lnTo>
                  <a:lnTo>
                    <a:pt x="906" y="1406"/>
                  </a:lnTo>
                  <a:lnTo>
                    <a:pt x="865" y="1373"/>
                  </a:lnTo>
                  <a:lnTo>
                    <a:pt x="937" y="1293"/>
                  </a:lnTo>
                  <a:lnTo>
                    <a:pt x="996" y="1406"/>
                  </a:lnTo>
                  <a:lnTo>
                    <a:pt x="1026" y="1376"/>
                  </a:lnTo>
                  <a:lnTo>
                    <a:pt x="1026" y="1226"/>
                  </a:lnTo>
                  <a:lnTo>
                    <a:pt x="1206" y="1136"/>
                  </a:lnTo>
                  <a:lnTo>
                    <a:pt x="1289" y="1056"/>
                  </a:lnTo>
                  <a:lnTo>
                    <a:pt x="1386" y="956"/>
                  </a:lnTo>
                  <a:lnTo>
                    <a:pt x="1386" y="836"/>
                  </a:lnTo>
                  <a:lnTo>
                    <a:pt x="1305" y="792"/>
                  </a:lnTo>
                  <a:lnTo>
                    <a:pt x="1296" y="716"/>
                  </a:lnTo>
                  <a:lnTo>
                    <a:pt x="1193" y="728"/>
                  </a:lnTo>
                  <a:lnTo>
                    <a:pt x="1116" y="686"/>
                  </a:lnTo>
                  <a:lnTo>
                    <a:pt x="1065" y="600"/>
                  </a:lnTo>
                  <a:lnTo>
                    <a:pt x="966" y="596"/>
                  </a:lnTo>
                  <a:lnTo>
                    <a:pt x="897" y="528"/>
                  </a:lnTo>
                  <a:lnTo>
                    <a:pt x="881" y="400"/>
                  </a:lnTo>
                  <a:lnTo>
                    <a:pt x="801" y="296"/>
                  </a:lnTo>
                  <a:lnTo>
                    <a:pt x="761" y="184"/>
                  </a:lnTo>
                  <a:lnTo>
                    <a:pt x="681" y="0"/>
                  </a:lnTo>
                  <a:lnTo>
                    <a:pt x="577" y="8"/>
                  </a:lnTo>
                  <a:lnTo>
                    <a:pt x="473" y="8"/>
                  </a:lnTo>
                  <a:lnTo>
                    <a:pt x="369" y="128"/>
                  </a:lnTo>
                  <a:lnTo>
                    <a:pt x="276" y="176"/>
                  </a:lnTo>
                  <a:lnTo>
                    <a:pt x="185" y="120"/>
                  </a:lnTo>
                  <a:lnTo>
                    <a:pt x="156" y="56"/>
                  </a:lnTo>
                  <a:lnTo>
                    <a:pt x="81" y="216"/>
                  </a:lnTo>
                  <a:lnTo>
                    <a:pt x="113" y="296"/>
                  </a:lnTo>
                  <a:lnTo>
                    <a:pt x="97" y="392"/>
                  </a:lnTo>
                  <a:lnTo>
                    <a:pt x="57" y="549"/>
                  </a:lnTo>
                  <a:lnTo>
                    <a:pt x="81" y="704"/>
                  </a:lnTo>
                  <a:lnTo>
                    <a:pt x="129" y="861"/>
                  </a:lnTo>
                  <a:lnTo>
                    <a:pt x="96" y="986"/>
                  </a:lnTo>
                  <a:lnTo>
                    <a:pt x="57" y="1184"/>
                  </a:lnTo>
                  <a:lnTo>
                    <a:pt x="0" y="1313"/>
                  </a:lnTo>
                  <a:close/>
                </a:path>
              </a:pathLst>
            </a:custGeom>
            <a:solidFill>
              <a:srgbClr val="BFCAD2"/>
            </a:solidFill>
            <a:ln w="6350" cmpd="sng">
              <a:solidFill>
                <a:schemeClr val="bg1"/>
              </a:solidFill>
              <a:prstDash val="solid"/>
              <a:round/>
              <a:headEnd/>
              <a:tailEnd/>
            </a:ln>
            <a:effectLst/>
          </p:spPr>
          <p:txBody>
            <a:bodyPr/>
            <a:lstStyle/>
            <a:p>
              <a:endParaRPr lang="zh-CN" altLang="en-US" kern="0" dirty="0">
                <a:solidFill>
                  <a:sysClr val="windowText" lastClr="000000"/>
                </a:solidFill>
              </a:endParaRPr>
            </a:p>
          </p:txBody>
        </p:sp>
        <p:sp>
          <p:nvSpPr>
            <p:cNvPr id="321" name="Lousiana">
              <a:extLst>
                <a:ext uri="{FF2B5EF4-FFF2-40B4-BE49-F238E27FC236}">
                  <a16:creationId xmlns:a16="http://schemas.microsoft.com/office/drawing/2014/main" id="{8E7DC235-1962-4FA0-BE05-17553C57FE9D}"/>
                </a:ext>
              </a:extLst>
            </p:cNvPr>
            <p:cNvSpPr>
              <a:spLocks/>
            </p:cNvSpPr>
            <p:nvPr/>
          </p:nvSpPr>
          <p:spPr bwMode="auto">
            <a:xfrm>
              <a:off x="5354208" y="4246286"/>
              <a:ext cx="715830" cy="603043"/>
            </a:xfrm>
            <a:custGeom>
              <a:avLst/>
              <a:gdLst>
                <a:gd name="T0" fmla="*/ 54 w 2329"/>
                <a:gd name="T1" fmla="*/ 9 h 1959"/>
                <a:gd name="T2" fmla="*/ 187 w 2329"/>
                <a:gd name="T3" fmla="*/ 6 h 1959"/>
                <a:gd name="T4" fmla="*/ 240 w 2329"/>
                <a:gd name="T5" fmla="*/ 21 h 1959"/>
                <a:gd name="T6" fmla="*/ 242 w 2329"/>
                <a:gd name="T7" fmla="*/ 48 h 1959"/>
                <a:gd name="T8" fmla="*/ 237 w 2329"/>
                <a:gd name="T9" fmla="*/ 80 h 1959"/>
                <a:gd name="T10" fmla="*/ 218 w 2329"/>
                <a:gd name="T11" fmla="*/ 128 h 1959"/>
                <a:gd name="T12" fmla="*/ 214 w 2329"/>
                <a:gd name="T13" fmla="*/ 176 h 1959"/>
                <a:gd name="T14" fmla="*/ 298 w 2329"/>
                <a:gd name="T15" fmla="*/ 177 h 1959"/>
                <a:gd name="T16" fmla="*/ 352 w 2329"/>
                <a:gd name="T17" fmla="*/ 166 h 1959"/>
                <a:gd name="T18" fmla="*/ 364 w 2329"/>
                <a:gd name="T19" fmla="*/ 190 h 1959"/>
                <a:gd name="T20" fmla="*/ 374 w 2329"/>
                <a:gd name="T21" fmla="*/ 216 h 1959"/>
                <a:gd name="T22" fmla="*/ 384 w 2329"/>
                <a:gd name="T23" fmla="*/ 239 h 1959"/>
                <a:gd name="T24" fmla="*/ 339 w 2329"/>
                <a:gd name="T25" fmla="*/ 222 h 1959"/>
                <a:gd name="T26" fmla="*/ 319 w 2329"/>
                <a:gd name="T27" fmla="*/ 252 h 1959"/>
                <a:gd name="T28" fmla="*/ 342 w 2329"/>
                <a:gd name="T29" fmla="*/ 264 h 1959"/>
                <a:gd name="T30" fmla="*/ 373 w 2329"/>
                <a:gd name="T31" fmla="*/ 250 h 1959"/>
                <a:gd name="T32" fmla="*/ 384 w 2329"/>
                <a:gd name="T33" fmla="*/ 259 h 1959"/>
                <a:gd name="T34" fmla="*/ 405 w 2329"/>
                <a:gd name="T35" fmla="*/ 254 h 1959"/>
                <a:gd name="T36" fmla="*/ 427 w 2329"/>
                <a:gd name="T37" fmla="*/ 267 h 1959"/>
                <a:gd name="T38" fmla="*/ 410 w 2329"/>
                <a:gd name="T39" fmla="*/ 292 h 1959"/>
                <a:gd name="T40" fmla="*/ 436 w 2329"/>
                <a:gd name="T41" fmla="*/ 320 h 1959"/>
                <a:gd name="T42" fmla="*/ 425 w 2329"/>
                <a:gd name="T43" fmla="*/ 362 h 1959"/>
                <a:gd name="T44" fmla="*/ 396 w 2329"/>
                <a:gd name="T45" fmla="*/ 333 h 1959"/>
                <a:gd name="T46" fmla="*/ 369 w 2329"/>
                <a:gd name="T47" fmla="*/ 320 h 1959"/>
                <a:gd name="T48" fmla="*/ 327 w 2329"/>
                <a:gd name="T49" fmla="*/ 296 h 1959"/>
                <a:gd name="T50" fmla="*/ 357 w 2329"/>
                <a:gd name="T51" fmla="*/ 341 h 1959"/>
                <a:gd name="T52" fmla="*/ 333 w 2329"/>
                <a:gd name="T53" fmla="*/ 361 h 1959"/>
                <a:gd name="T54" fmla="*/ 302 w 2329"/>
                <a:gd name="T55" fmla="*/ 353 h 1959"/>
                <a:gd name="T56" fmla="*/ 266 w 2329"/>
                <a:gd name="T57" fmla="*/ 369 h 1959"/>
                <a:gd name="T58" fmla="*/ 257 w 2329"/>
                <a:gd name="T59" fmla="*/ 342 h 1959"/>
                <a:gd name="T60" fmla="*/ 248 w 2329"/>
                <a:gd name="T61" fmla="*/ 298 h 1959"/>
                <a:gd name="T62" fmla="*/ 242 w 2329"/>
                <a:gd name="T63" fmla="*/ 330 h 1959"/>
                <a:gd name="T64" fmla="*/ 201 w 2329"/>
                <a:gd name="T65" fmla="*/ 309 h 1959"/>
                <a:gd name="T66" fmla="*/ 171 w 2329"/>
                <a:gd name="T67" fmla="*/ 336 h 1959"/>
                <a:gd name="T68" fmla="*/ 119 w 2329"/>
                <a:gd name="T69" fmla="*/ 326 h 1959"/>
                <a:gd name="T70" fmla="*/ 74 w 2329"/>
                <a:gd name="T71" fmla="*/ 330 h 1959"/>
                <a:gd name="T72" fmla="*/ 44 w 2329"/>
                <a:gd name="T73" fmla="*/ 284 h 1959"/>
                <a:gd name="T74" fmla="*/ 56 w 2329"/>
                <a:gd name="T75" fmla="*/ 215 h 1959"/>
                <a:gd name="T76" fmla="*/ 30 w 2329"/>
                <a:gd name="T77" fmla="*/ 146 h 1959"/>
                <a:gd name="T78" fmla="*/ 0 w 2329"/>
                <a:gd name="T79" fmla="*/ 93 h 1959"/>
                <a:gd name="T80" fmla="*/ 0 w 2329"/>
                <a:gd name="T81" fmla="*/ 50 h 19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9" h="1959">
                  <a:moveTo>
                    <a:pt x="16" y="123"/>
                  </a:moveTo>
                  <a:lnTo>
                    <a:pt x="283" y="48"/>
                  </a:lnTo>
                  <a:lnTo>
                    <a:pt x="694" y="33"/>
                  </a:lnTo>
                  <a:lnTo>
                    <a:pt x="988" y="32"/>
                  </a:lnTo>
                  <a:lnTo>
                    <a:pt x="1216" y="0"/>
                  </a:lnTo>
                  <a:lnTo>
                    <a:pt x="1267" y="108"/>
                  </a:lnTo>
                  <a:lnTo>
                    <a:pt x="1309" y="177"/>
                  </a:lnTo>
                  <a:lnTo>
                    <a:pt x="1279" y="252"/>
                  </a:lnTo>
                  <a:lnTo>
                    <a:pt x="1309" y="327"/>
                  </a:lnTo>
                  <a:lnTo>
                    <a:pt x="1249" y="420"/>
                  </a:lnTo>
                  <a:lnTo>
                    <a:pt x="1249" y="537"/>
                  </a:lnTo>
                  <a:lnTo>
                    <a:pt x="1153" y="672"/>
                  </a:lnTo>
                  <a:lnTo>
                    <a:pt x="1129" y="807"/>
                  </a:lnTo>
                  <a:lnTo>
                    <a:pt x="1129" y="927"/>
                  </a:lnTo>
                  <a:lnTo>
                    <a:pt x="1339" y="927"/>
                  </a:lnTo>
                  <a:lnTo>
                    <a:pt x="1573" y="930"/>
                  </a:lnTo>
                  <a:lnTo>
                    <a:pt x="1729" y="897"/>
                  </a:lnTo>
                  <a:lnTo>
                    <a:pt x="1861" y="876"/>
                  </a:lnTo>
                  <a:lnTo>
                    <a:pt x="1939" y="897"/>
                  </a:lnTo>
                  <a:lnTo>
                    <a:pt x="1921" y="1002"/>
                  </a:lnTo>
                  <a:lnTo>
                    <a:pt x="1939" y="1047"/>
                  </a:lnTo>
                  <a:lnTo>
                    <a:pt x="1975" y="1137"/>
                  </a:lnTo>
                  <a:lnTo>
                    <a:pt x="2035" y="1215"/>
                  </a:lnTo>
                  <a:lnTo>
                    <a:pt x="2029" y="1257"/>
                  </a:lnTo>
                  <a:lnTo>
                    <a:pt x="1909" y="1209"/>
                  </a:lnTo>
                  <a:lnTo>
                    <a:pt x="1789" y="1167"/>
                  </a:lnTo>
                  <a:lnTo>
                    <a:pt x="1609" y="1257"/>
                  </a:lnTo>
                  <a:lnTo>
                    <a:pt x="1687" y="1329"/>
                  </a:lnTo>
                  <a:lnTo>
                    <a:pt x="1729" y="1497"/>
                  </a:lnTo>
                  <a:lnTo>
                    <a:pt x="1807" y="1392"/>
                  </a:lnTo>
                  <a:lnTo>
                    <a:pt x="1867" y="1299"/>
                  </a:lnTo>
                  <a:lnTo>
                    <a:pt x="1969" y="1317"/>
                  </a:lnTo>
                  <a:lnTo>
                    <a:pt x="1969" y="1377"/>
                  </a:lnTo>
                  <a:lnTo>
                    <a:pt x="2029" y="1362"/>
                  </a:lnTo>
                  <a:lnTo>
                    <a:pt x="2071" y="1314"/>
                  </a:lnTo>
                  <a:lnTo>
                    <a:pt x="2137" y="1338"/>
                  </a:lnTo>
                  <a:lnTo>
                    <a:pt x="2209" y="1347"/>
                  </a:lnTo>
                  <a:lnTo>
                    <a:pt x="2257" y="1407"/>
                  </a:lnTo>
                  <a:lnTo>
                    <a:pt x="2209" y="1470"/>
                  </a:lnTo>
                  <a:lnTo>
                    <a:pt x="2167" y="1536"/>
                  </a:lnTo>
                  <a:lnTo>
                    <a:pt x="2179" y="1647"/>
                  </a:lnTo>
                  <a:lnTo>
                    <a:pt x="2305" y="1683"/>
                  </a:lnTo>
                  <a:lnTo>
                    <a:pt x="2329" y="1797"/>
                  </a:lnTo>
                  <a:lnTo>
                    <a:pt x="2245" y="1905"/>
                  </a:lnTo>
                  <a:lnTo>
                    <a:pt x="2161" y="1815"/>
                  </a:lnTo>
                  <a:lnTo>
                    <a:pt x="2089" y="1755"/>
                  </a:lnTo>
                  <a:lnTo>
                    <a:pt x="2011" y="1731"/>
                  </a:lnTo>
                  <a:lnTo>
                    <a:pt x="1951" y="1683"/>
                  </a:lnTo>
                  <a:lnTo>
                    <a:pt x="1789" y="1557"/>
                  </a:lnTo>
                  <a:lnTo>
                    <a:pt x="1729" y="1557"/>
                  </a:lnTo>
                  <a:lnTo>
                    <a:pt x="1837" y="1689"/>
                  </a:lnTo>
                  <a:lnTo>
                    <a:pt x="1885" y="1797"/>
                  </a:lnTo>
                  <a:lnTo>
                    <a:pt x="1825" y="1875"/>
                  </a:lnTo>
                  <a:lnTo>
                    <a:pt x="1759" y="1902"/>
                  </a:lnTo>
                  <a:lnTo>
                    <a:pt x="1705" y="1857"/>
                  </a:lnTo>
                  <a:lnTo>
                    <a:pt x="1597" y="1857"/>
                  </a:lnTo>
                  <a:lnTo>
                    <a:pt x="1537" y="1959"/>
                  </a:lnTo>
                  <a:lnTo>
                    <a:pt x="1405" y="1944"/>
                  </a:lnTo>
                  <a:lnTo>
                    <a:pt x="1369" y="1905"/>
                  </a:lnTo>
                  <a:lnTo>
                    <a:pt x="1357" y="1803"/>
                  </a:lnTo>
                  <a:lnTo>
                    <a:pt x="1399" y="1647"/>
                  </a:lnTo>
                  <a:lnTo>
                    <a:pt x="1309" y="1569"/>
                  </a:lnTo>
                  <a:lnTo>
                    <a:pt x="1321" y="1647"/>
                  </a:lnTo>
                  <a:lnTo>
                    <a:pt x="1279" y="1737"/>
                  </a:lnTo>
                  <a:lnTo>
                    <a:pt x="1177" y="1659"/>
                  </a:lnTo>
                  <a:lnTo>
                    <a:pt x="1063" y="1626"/>
                  </a:lnTo>
                  <a:lnTo>
                    <a:pt x="949" y="1677"/>
                  </a:lnTo>
                  <a:lnTo>
                    <a:pt x="901" y="1770"/>
                  </a:lnTo>
                  <a:lnTo>
                    <a:pt x="769" y="1797"/>
                  </a:lnTo>
                  <a:lnTo>
                    <a:pt x="631" y="1719"/>
                  </a:lnTo>
                  <a:lnTo>
                    <a:pt x="469" y="1677"/>
                  </a:lnTo>
                  <a:lnTo>
                    <a:pt x="391" y="1737"/>
                  </a:lnTo>
                  <a:lnTo>
                    <a:pt x="241" y="1751"/>
                  </a:lnTo>
                  <a:lnTo>
                    <a:pt x="234" y="1496"/>
                  </a:lnTo>
                  <a:lnTo>
                    <a:pt x="211" y="1214"/>
                  </a:lnTo>
                  <a:lnTo>
                    <a:pt x="297" y="1130"/>
                  </a:lnTo>
                  <a:lnTo>
                    <a:pt x="258" y="932"/>
                  </a:lnTo>
                  <a:lnTo>
                    <a:pt x="156" y="770"/>
                  </a:lnTo>
                  <a:lnTo>
                    <a:pt x="73" y="681"/>
                  </a:lnTo>
                  <a:lnTo>
                    <a:pt x="0" y="491"/>
                  </a:lnTo>
                  <a:lnTo>
                    <a:pt x="18" y="389"/>
                  </a:lnTo>
                  <a:lnTo>
                    <a:pt x="1" y="263"/>
                  </a:lnTo>
                  <a:lnTo>
                    <a:pt x="16" y="123"/>
                  </a:lnTo>
                  <a:close/>
                </a:path>
              </a:pathLst>
            </a:custGeom>
            <a:solidFill>
              <a:srgbClr val="960004"/>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22" name="Kentucky">
              <a:extLst>
                <a:ext uri="{FF2B5EF4-FFF2-40B4-BE49-F238E27FC236}">
                  <a16:creationId xmlns:a16="http://schemas.microsoft.com/office/drawing/2014/main" id="{6B5CDC32-F139-4B1D-9ECF-D1D002DA8009}"/>
                </a:ext>
              </a:extLst>
            </p:cNvPr>
            <p:cNvSpPr>
              <a:spLocks/>
            </p:cNvSpPr>
            <p:nvPr/>
          </p:nvSpPr>
          <p:spPr bwMode="auto">
            <a:xfrm>
              <a:off x="5881748" y="3126117"/>
              <a:ext cx="844064" cy="504156"/>
            </a:xfrm>
            <a:custGeom>
              <a:avLst/>
              <a:gdLst>
                <a:gd name="T0" fmla="*/ 0 w 2741"/>
                <a:gd name="T1" fmla="*/ 264 h 1641"/>
                <a:gd name="T2" fmla="*/ 19 w 2741"/>
                <a:gd name="T3" fmla="*/ 275 h 1641"/>
                <a:gd name="T4" fmla="*/ 22 w 2741"/>
                <a:gd name="T5" fmla="*/ 308 h 1641"/>
                <a:gd name="T6" fmla="*/ 45 w 2741"/>
                <a:gd name="T7" fmla="*/ 311 h 1641"/>
                <a:gd name="T8" fmla="*/ 66 w 2741"/>
                <a:gd name="T9" fmla="*/ 305 h 1641"/>
                <a:gd name="T10" fmla="*/ 93 w 2741"/>
                <a:gd name="T11" fmla="*/ 304 h 1641"/>
                <a:gd name="T12" fmla="*/ 124 w 2741"/>
                <a:gd name="T13" fmla="*/ 292 h 1641"/>
                <a:gd name="T14" fmla="*/ 155 w 2741"/>
                <a:gd name="T15" fmla="*/ 279 h 1641"/>
                <a:gd name="T16" fmla="*/ 189 w 2741"/>
                <a:gd name="T17" fmla="*/ 280 h 1641"/>
                <a:gd name="T18" fmla="*/ 240 w 2741"/>
                <a:gd name="T19" fmla="*/ 264 h 1641"/>
                <a:gd name="T20" fmla="*/ 313 w 2741"/>
                <a:gd name="T21" fmla="*/ 250 h 1641"/>
                <a:gd name="T22" fmla="*/ 357 w 2741"/>
                <a:gd name="T23" fmla="*/ 244 h 1641"/>
                <a:gd name="T24" fmla="*/ 412 w 2741"/>
                <a:gd name="T25" fmla="*/ 235 h 1641"/>
                <a:gd name="T26" fmla="*/ 456 w 2741"/>
                <a:gd name="T27" fmla="*/ 222 h 1641"/>
                <a:gd name="T28" fmla="*/ 513 w 2741"/>
                <a:gd name="T29" fmla="*/ 209 h 1641"/>
                <a:gd name="T30" fmla="*/ 518 w 2741"/>
                <a:gd name="T31" fmla="*/ 193 h 1641"/>
                <a:gd name="T32" fmla="*/ 507 w 2741"/>
                <a:gd name="T33" fmla="*/ 165 h 1641"/>
                <a:gd name="T34" fmla="*/ 518 w 2741"/>
                <a:gd name="T35" fmla="*/ 145 h 1641"/>
                <a:gd name="T36" fmla="*/ 520 w 2741"/>
                <a:gd name="T37" fmla="*/ 121 h 1641"/>
                <a:gd name="T38" fmla="*/ 517 w 2741"/>
                <a:gd name="T39" fmla="*/ 97 h 1641"/>
                <a:gd name="T40" fmla="*/ 496 w 2741"/>
                <a:gd name="T41" fmla="*/ 80 h 1641"/>
                <a:gd name="T42" fmla="*/ 493 w 2741"/>
                <a:gd name="T43" fmla="*/ 47 h 1641"/>
                <a:gd name="T44" fmla="*/ 482 w 2741"/>
                <a:gd name="T45" fmla="*/ 34 h 1641"/>
                <a:gd name="T46" fmla="*/ 469 w 2741"/>
                <a:gd name="T47" fmla="*/ 19 h 1641"/>
                <a:gd name="T48" fmla="*/ 445 w 2741"/>
                <a:gd name="T49" fmla="*/ 0 h 1641"/>
                <a:gd name="T50" fmla="*/ 430 w 2741"/>
                <a:gd name="T51" fmla="*/ 16 h 1641"/>
                <a:gd name="T52" fmla="*/ 409 w 2741"/>
                <a:gd name="T53" fmla="*/ 23 h 1641"/>
                <a:gd name="T54" fmla="*/ 375 w 2741"/>
                <a:gd name="T55" fmla="*/ 23 h 1641"/>
                <a:gd name="T56" fmla="*/ 344 w 2741"/>
                <a:gd name="T57" fmla="*/ 20 h 1641"/>
                <a:gd name="T58" fmla="*/ 313 w 2741"/>
                <a:gd name="T59" fmla="*/ 0 h 1641"/>
                <a:gd name="T60" fmla="*/ 307 w 2741"/>
                <a:gd name="T61" fmla="*/ 26 h 1641"/>
                <a:gd name="T62" fmla="*/ 315 w 2741"/>
                <a:gd name="T63" fmla="*/ 46 h 1641"/>
                <a:gd name="T64" fmla="*/ 280 w 2741"/>
                <a:gd name="T65" fmla="*/ 52 h 1641"/>
                <a:gd name="T66" fmla="*/ 257 w 2741"/>
                <a:gd name="T67" fmla="*/ 65 h 1641"/>
                <a:gd name="T68" fmla="*/ 257 w 2741"/>
                <a:gd name="T69" fmla="*/ 87 h 1641"/>
                <a:gd name="T70" fmla="*/ 241 w 2741"/>
                <a:gd name="T71" fmla="*/ 111 h 1641"/>
                <a:gd name="T72" fmla="*/ 223 w 2741"/>
                <a:gd name="T73" fmla="*/ 136 h 1641"/>
                <a:gd name="T74" fmla="*/ 196 w 2741"/>
                <a:gd name="T75" fmla="*/ 129 h 1641"/>
                <a:gd name="T76" fmla="*/ 188 w 2741"/>
                <a:gd name="T77" fmla="*/ 148 h 1641"/>
                <a:gd name="T78" fmla="*/ 165 w 2741"/>
                <a:gd name="T79" fmla="*/ 159 h 1641"/>
                <a:gd name="T80" fmla="*/ 145 w 2741"/>
                <a:gd name="T81" fmla="*/ 178 h 1641"/>
                <a:gd name="T82" fmla="*/ 126 w 2741"/>
                <a:gd name="T83" fmla="*/ 165 h 1641"/>
                <a:gd name="T84" fmla="*/ 111 w 2741"/>
                <a:gd name="T85" fmla="*/ 179 h 1641"/>
                <a:gd name="T86" fmla="*/ 89 w 2741"/>
                <a:gd name="T87" fmla="*/ 190 h 1641"/>
                <a:gd name="T88" fmla="*/ 91 w 2741"/>
                <a:gd name="T89" fmla="*/ 210 h 1641"/>
                <a:gd name="T90" fmla="*/ 78 w 2741"/>
                <a:gd name="T91" fmla="*/ 225 h 1641"/>
                <a:gd name="T92" fmla="*/ 60 w 2741"/>
                <a:gd name="T93" fmla="*/ 237 h 1641"/>
                <a:gd name="T94" fmla="*/ 40 w 2741"/>
                <a:gd name="T95" fmla="*/ 248 h 1641"/>
                <a:gd name="T96" fmla="*/ 0 w 2741"/>
                <a:gd name="T97" fmla="*/ 264 h 1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741" h="1641">
                  <a:moveTo>
                    <a:pt x="0" y="1394"/>
                  </a:moveTo>
                  <a:lnTo>
                    <a:pt x="100" y="1452"/>
                  </a:lnTo>
                  <a:lnTo>
                    <a:pt x="117" y="1626"/>
                  </a:lnTo>
                  <a:lnTo>
                    <a:pt x="237" y="1641"/>
                  </a:lnTo>
                  <a:lnTo>
                    <a:pt x="350" y="1611"/>
                  </a:lnTo>
                  <a:lnTo>
                    <a:pt x="488" y="1605"/>
                  </a:lnTo>
                  <a:lnTo>
                    <a:pt x="656" y="1539"/>
                  </a:lnTo>
                  <a:lnTo>
                    <a:pt x="818" y="1473"/>
                  </a:lnTo>
                  <a:lnTo>
                    <a:pt x="998" y="1479"/>
                  </a:lnTo>
                  <a:lnTo>
                    <a:pt x="1267" y="1395"/>
                  </a:lnTo>
                  <a:lnTo>
                    <a:pt x="1651" y="1317"/>
                  </a:lnTo>
                  <a:lnTo>
                    <a:pt x="1884" y="1287"/>
                  </a:lnTo>
                  <a:lnTo>
                    <a:pt x="2172" y="1239"/>
                  </a:lnTo>
                  <a:lnTo>
                    <a:pt x="2402" y="1172"/>
                  </a:lnTo>
                  <a:lnTo>
                    <a:pt x="2705" y="1101"/>
                  </a:lnTo>
                  <a:lnTo>
                    <a:pt x="2729" y="1017"/>
                  </a:lnTo>
                  <a:lnTo>
                    <a:pt x="2672" y="872"/>
                  </a:lnTo>
                  <a:lnTo>
                    <a:pt x="2729" y="765"/>
                  </a:lnTo>
                  <a:lnTo>
                    <a:pt x="2741" y="639"/>
                  </a:lnTo>
                  <a:lnTo>
                    <a:pt x="2723" y="513"/>
                  </a:lnTo>
                  <a:lnTo>
                    <a:pt x="2615" y="423"/>
                  </a:lnTo>
                  <a:lnTo>
                    <a:pt x="2597" y="249"/>
                  </a:lnTo>
                  <a:lnTo>
                    <a:pt x="2540" y="182"/>
                  </a:lnTo>
                  <a:lnTo>
                    <a:pt x="2470" y="99"/>
                  </a:lnTo>
                  <a:lnTo>
                    <a:pt x="2347" y="2"/>
                  </a:lnTo>
                  <a:lnTo>
                    <a:pt x="2266" y="87"/>
                  </a:lnTo>
                  <a:lnTo>
                    <a:pt x="2154" y="123"/>
                  </a:lnTo>
                  <a:lnTo>
                    <a:pt x="1976" y="123"/>
                  </a:lnTo>
                  <a:lnTo>
                    <a:pt x="1813" y="107"/>
                  </a:lnTo>
                  <a:lnTo>
                    <a:pt x="1651" y="0"/>
                  </a:lnTo>
                  <a:lnTo>
                    <a:pt x="1620" y="138"/>
                  </a:lnTo>
                  <a:lnTo>
                    <a:pt x="1659" y="242"/>
                  </a:lnTo>
                  <a:lnTo>
                    <a:pt x="1476" y="272"/>
                  </a:lnTo>
                  <a:lnTo>
                    <a:pt x="1357" y="344"/>
                  </a:lnTo>
                  <a:lnTo>
                    <a:pt x="1356" y="458"/>
                  </a:lnTo>
                  <a:lnTo>
                    <a:pt x="1269" y="588"/>
                  </a:lnTo>
                  <a:lnTo>
                    <a:pt x="1173" y="717"/>
                  </a:lnTo>
                  <a:lnTo>
                    <a:pt x="1035" y="681"/>
                  </a:lnTo>
                  <a:lnTo>
                    <a:pt x="992" y="780"/>
                  </a:lnTo>
                  <a:lnTo>
                    <a:pt x="871" y="837"/>
                  </a:lnTo>
                  <a:lnTo>
                    <a:pt x="766" y="938"/>
                  </a:lnTo>
                  <a:lnTo>
                    <a:pt x="662" y="870"/>
                  </a:lnTo>
                  <a:lnTo>
                    <a:pt x="583" y="944"/>
                  </a:lnTo>
                  <a:lnTo>
                    <a:pt x="471" y="1005"/>
                  </a:lnTo>
                  <a:lnTo>
                    <a:pt x="479" y="1106"/>
                  </a:lnTo>
                  <a:lnTo>
                    <a:pt x="409" y="1185"/>
                  </a:lnTo>
                  <a:lnTo>
                    <a:pt x="315" y="1250"/>
                  </a:lnTo>
                  <a:lnTo>
                    <a:pt x="213" y="1307"/>
                  </a:lnTo>
                  <a:lnTo>
                    <a:pt x="0" y="1394"/>
                  </a:lnTo>
                  <a:close/>
                </a:path>
              </a:pathLst>
            </a:custGeom>
            <a:solidFill>
              <a:srgbClr val="FFD9DA"/>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23" name="Kansas">
              <a:extLst>
                <a:ext uri="{FF2B5EF4-FFF2-40B4-BE49-F238E27FC236}">
                  <a16:creationId xmlns:a16="http://schemas.microsoft.com/office/drawing/2014/main" id="{96837915-F53B-4FE2-A900-32EA80E3B22A}"/>
                </a:ext>
              </a:extLst>
            </p:cNvPr>
            <p:cNvSpPr>
              <a:spLocks/>
            </p:cNvSpPr>
            <p:nvPr/>
          </p:nvSpPr>
          <p:spPr bwMode="auto">
            <a:xfrm>
              <a:off x="4294260" y="3194203"/>
              <a:ext cx="933339" cy="505778"/>
            </a:xfrm>
            <a:custGeom>
              <a:avLst/>
              <a:gdLst>
                <a:gd name="T0" fmla="*/ 12 w 3036"/>
                <a:gd name="T1" fmla="*/ 11 h 1646"/>
                <a:gd name="T2" fmla="*/ 0 w 3036"/>
                <a:gd name="T3" fmla="*/ 93 h 1646"/>
                <a:gd name="T4" fmla="*/ 2 w 3036"/>
                <a:gd name="T5" fmla="*/ 311 h 1646"/>
                <a:gd name="T6" fmla="*/ 265 w 3036"/>
                <a:gd name="T7" fmla="*/ 312 h 1646"/>
                <a:gd name="T8" fmla="*/ 435 w 3036"/>
                <a:gd name="T9" fmla="*/ 298 h 1646"/>
                <a:gd name="T10" fmla="*/ 575 w 3036"/>
                <a:gd name="T11" fmla="*/ 286 h 1646"/>
                <a:gd name="T12" fmla="*/ 575 w 3036"/>
                <a:gd name="T13" fmla="*/ 251 h 1646"/>
                <a:gd name="T14" fmla="*/ 570 w 3036"/>
                <a:gd name="T15" fmla="*/ 198 h 1646"/>
                <a:gd name="T16" fmla="*/ 570 w 3036"/>
                <a:gd name="T17" fmla="*/ 135 h 1646"/>
                <a:gd name="T18" fmla="*/ 566 w 3036"/>
                <a:gd name="T19" fmla="*/ 87 h 1646"/>
                <a:gd name="T20" fmla="*/ 542 w 3036"/>
                <a:gd name="T21" fmla="*/ 73 h 1646"/>
                <a:gd name="T22" fmla="*/ 532 w 3036"/>
                <a:gd name="T23" fmla="*/ 42 h 1646"/>
                <a:gd name="T24" fmla="*/ 537 w 3036"/>
                <a:gd name="T25" fmla="*/ 25 h 1646"/>
                <a:gd name="T26" fmla="*/ 518 w 3036"/>
                <a:gd name="T27" fmla="*/ 14 h 1646"/>
                <a:gd name="T28" fmla="*/ 491 w 3036"/>
                <a:gd name="T29" fmla="*/ 0 h 1646"/>
                <a:gd name="T30" fmla="*/ 453 w 3036"/>
                <a:gd name="T31" fmla="*/ 0 h 1646"/>
                <a:gd name="T32" fmla="*/ 419 w 3036"/>
                <a:gd name="T33" fmla="*/ 2 h 1646"/>
                <a:gd name="T34" fmla="*/ 391 w 3036"/>
                <a:gd name="T35" fmla="*/ 5 h 1646"/>
                <a:gd name="T36" fmla="*/ 279 w 3036"/>
                <a:gd name="T37" fmla="*/ 11 h 1646"/>
                <a:gd name="T38" fmla="*/ 12 w 3036"/>
                <a:gd name="T39" fmla="*/ 11 h 16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36" h="1646">
                  <a:moveTo>
                    <a:pt x="62" y="59"/>
                  </a:moveTo>
                  <a:lnTo>
                    <a:pt x="0" y="491"/>
                  </a:lnTo>
                  <a:lnTo>
                    <a:pt x="13" y="1641"/>
                  </a:lnTo>
                  <a:lnTo>
                    <a:pt x="1401" y="1646"/>
                  </a:lnTo>
                  <a:lnTo>
                    <a:pt x="2298" y="1572"/>
                  </a:lnTo>
                  <a:lnTo>
                    <a:pt x="3036" y="1509"/>
                  </a:lnTo>
                  <a:lnTo>
                    <a:pt x="3036" y="1326"/>
                  </a:lnTo>
                  <a:lnTo>
                    <a:pt x="3009" y="1043"/>
                  </a:lnTo>
                  <a:lnTo>
                    <a:pt x="3009" y="713"/>
                  </a:lnTo>
                  <a:lnTo>
                    <a:pt x="2987" y="461"/>
                  </a:lnTo>
                  <a:lnTo>
                    <a:pt x="2862" y="384"/>
                  </a:lnTo>
                  <a:lnTo>
                    <a:pt x="2807" y="221"/>
                  </a:lnTo>
                  <a:lnTo>
                    <a:pt x="2837" y="131"/>
                  </a:lnTo>
                  <a:lnTo>
                    <a:pt x="2734" y="73"/>
                  </a:lnTo>
                  <a:lnTo>
                    <a:pt x="2593" y="0"/>
                  </a:lnTo>
                  <a:lnTo>
                    <a:pt x="2392" y="2"/>
                  </a:lnTo>
                  <a:lnTo>
                    <a:pt x="2212" y="11"/>
                  </a:lnTo>
                  <a:lnTo>
                    <a:pt x="2062" y="27"/>
                  </a:lnTo>
                  <a:lnTo>
                    <a:pt x="1474" y="60"/>
                  </a:lnTo>
                  <a:lnTo>
                    <a:pt x="62" y="59"/>
                  </a:lnTo>
                  <a:close/>
                </a:path>
              </a:pathLst>
            </a:custGeom>
            <a:solidFill>
              <a:srgbClr val="640002"/>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24" name="Iowa">
              <a:extLst>
                <a:ext uri="{FF2B5EF4-FFF2-40B4-BE49-F238E27FC236}">
                  <a16:creationId xmlns:a16="http://schemas.microsoft.com/office/drawing/2014/main" id="{F77EAD38-3CE4-4B6D-BC0F-B7A5303F8A92}"/>
                </a:ext>
              </a:extLst>
            </p:cNvPr>
            <p:cNvSpPr>
              <a:spLocks/>
            </p:cNvSpPr>
            <p:nvPr/>
          </p:nvSpPr>
          <p:spPr bwMode="auto">
            <a:xfrm>
              <a:off x="4937047" y="2630066"/>
              <a:ext cx="764526" cy="491188"/>
            </a:xfrm>
            <a:custGeom>
              <a:avLst/>
              <a:gdLst>
                <a:gd name="T0" fmla="*/ 0 w 2485"/>
                <a:gd name="T1" fmla="*/ 35 h 1601"/>
                <a:gd name="T2" fmla="*/ 367 w 2485"/>
                <a:gd name="T3" fmla="*/ 0 h 1601"/>
                <a:gd name="T4" fmla="*/ 378 w 2485"/>
                <a:gd name="T5" fmla="*/ 14 h 1601"/>
                <a:gd name="T6" fmla="*/ 379 w 2485"/>
                <a:gd name="T7" fmla="*/ 40 h 1601"/>
                <a:gd name="T8" fmla="*/ 386 w 2485"/>
                <a:gd name="T9" fmla="*/ 65 h 1601"/>
                <a:gd name="T10" fmla="*/ 408 w 2485"/>
                <a:gd name="T11" fmla="*/ 74 h 1601"/>
                <a:gd name="T12" fmla="*/ 428 w 2485"/>
                <a:gd name="T13" fmla="*/ 85 h 1601"/>
                <a:gd name="T14" fmla="*/ 447 w 2485"/>
                <a:gd name="T15" fmla="*/ 109 h 1601"/>
                <a:gd name="T16" fmla="*/ 463 w 2485"/>
                <a:gd name="T17" fmla="*/ 127 h 1601"/>
                <a:gd name="T18" fmla="*/ 471 w 2485"/>
                <a:gd name="T19" fmla="*/ 154 h 1601"/>
                <a:gd name="T20" fmla="*/ 451 w 2485"/>
                <a:gd name="T21" fmla="*/ 178 h 1601"/>
                <a:gd name="T22" fmla="*/ 426 w 2485"/>
                <a:gd name="T23" fmla="*/ 189 h 1601"/>
                <a:gd name="T24" fmla="*/ 399 w 2485"/>
                <a:gd name="T25" fmla="*/ 189 h 1601"/>
                <a:gd name="T26" fmla="*/ 416 w 2485"/>
                <a:gd name="T27" fmla="*/ 217 h 1601"/>
                <a:gd name="T28" fmla="*/ 407 w 2485"/>
                <a:gd name="T29" fmla="*/ 248 h 1601"/>
                <a:gd name="T30" fmla="*/ 394 w 2485"/>
                <a:gd name="T31" fmla="*/ 274 h 1601"/>
                <a:gd name="T32" fmla="*/ 388 w 2485"/>
                <a:gd name="T33" fmla="*/ 295 h 1601"/>
                <a:gd name="T34" fmla="*/ 360 w 2485"/>
                <a:gd name="T35" fmla="*/ 274 h 1601"/>
                <a:gd name="T36" fmla="*/ 277 w 2485"/>
                <a:gd name="T37" fmla="*/ 289 h 1601"/>
                <a:gd name="T38" fmla="*/ 195 w 2485"/>
                <a:gd name="T39" fmla="*/ 297 h 1601"/>
                <a:gd name="T40" fmla="*/ 73 w 2485"/>
                <a:gd name="T41" fmla="*/ 303 h 1601"/>
                <a:gd name="T42" fmla="*/ 73 w 2485"/>
                <a:gd name="T43" fmla="*/ 256 h 1601"/>
                <a:gd name="T44" fmla="*/ 23 w 2485"/>
                <a:gd name="T45" fmla="*/ 157 h 1601"/>
                <a:gd name="T46" fmla="*/ 6 w 2485"/>
                <a:gd name="T47" fmla="*/ 117 h 1601"/>
                <a:gd name="T48" fmla="*/ 6 w 2485"/>
                <a:gd name="T49" fmla="*/ 59 h 1601"/>
                <a:gd name="T50" fmla="*/ 0 w 2485"/>
                <a:gd name="T51" fmla="*/ 35 h 16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85" h="1601">
                  <a:moveTo>
                    <a:pt x="0" y="183"/>
                  </a:moveTo>
                  <a:lnTo>
                    <a:pt x="1935" y="0"/>
                  </a:lnTo>
                  <a:lnTo>
                    <a:pt x="1996" y="75"/>
                  </a:lnTo>
                  <a:lnTo>
                    <a:pt x="1998" y="212"/>
                  </a:lnTo>
                  <a:lnTo>
                    <a:pt x="2037" y="344"/>
                  </a:lnTo>
                  <a:lnTo>
                    <a:pt x="2155" y="393"/>
                  </a:lnTo>
                  <a:lnTo>
                    <a:pt x="2257" y="447"/>
                  </a:lnTo>
                  <a:lnTo>
                    <a:pt x="2357" y="575"/>
                  </a:lnTo>
                  <a:lnTo>
                    <a:pt x="2445" y="671"/>
                  </a:lnTo>
                  <a:lnTo>
                    <a:pt x="2485" y="815"/>
                  </a:lnTo>
                  <a:lnTo>
                    <a:pt x="2377" y="939"/>
                  </a:lnTo>
                  <a:lnTo>
                    <a:pt x="2245" y="999"/>
                  </a:lnTo>
                  <a:lnTo>
                    <a:pt x="2107" y="999"/>
                  </a:lnTo>
                  <a:lnTo>
                    <a:pt x="2197" y="1149"/>
                  </a:lnTo>
                  <a:lnTo>
                    <a:pt x="2149" y="1311"/>
                  </a:lnTo>
                  <a:lnTo>
                    <a:pt x="2077" y="1449"/>
                  </a:lnTo>
                  <a:lnTo>
                    <a:pt x="2045" y="1559"/>
                  </a:lnTo>
                  <a:lnTo>
                    <a:pt x="1897" y="1449"/>
                  </a:lnTo>
                  <a:lnTo>
                    <a:pt x="1461" y="1527"/>
                  </a:lnTo>
                  <a:lnTo>
                    <a:pt x="1029" y="1567"/>
                  </a:lnTo>
                  <a:lnTo>
                    <a:pt x="384" y="1601"/>
                  </a:lnTo>
                  <a:lnTo>
                    <a:pt x="384" y="1355"/>
                  </a:lnTo>
                  <a:lnTo>
                    <a:pt x="120" y="827"/>
                  </a:lnTo>
                  <a:lnTo>
                    <a:pt x="33" y="620"/>
                  </a:lnTo>
                  <a:lnTo>
                    <a:pt x="34" y="312"/>
                  </a:lnTo>
                  <a:lnTo>
                    <a:pt x="0" y="183"/>
                  </a:lnTo>
                  <a:close/>
                </a:path>
              </a:pathLst>
            </a:custGeom>
            <a:solidFill>
              <a:srgbClr val="FFD9DA"/>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25" name="Indiana">
              <a:extLst>
                <a:ext uri="{FF2B5EF4-FFF2-40B4-BE49-F238E27FC236}">
                  <a16:creationId xmlns:a16="http://schemas.microsoft.com/office/drawing/2014/main" id="{580975CE-2AC6-4860-A203-745E505003FF}"/>
                </a:ext>
              </a:extLst>
            </p:cNvPr>
            <p:cNvSpPr>
              <a:spLocks/>
            </p:cNvSpPr>
            <p:nvPr/>
          </p:nvSpPr>
          <p:spPr bwMode="auto">
            <a:xfrm>
              <a:off x="6006735" y="2746783"/>
              <a:ext cx="386322" cy="688960"/>
            </a:xfrm>
            <a:custGeom>
              <a:avLst/>
              <a:gdLst>
                <a:gd name="T0" fmla="*/ 0 w 1255"/>
                <a:gd name="T1" fmla="*/ 49 h 2237"/>
                <a:gd name="T2" fmla="*/ 2 w 1255"/>
                <a:gd name="T3" fmla="*/ 86 h 2237"/>
                <a:gd name="T4" fmla="*/ 13 w 1255"/>
                <a:gd name="T5" fmla="*/ 123 h 2237"/>
                <a:gd name="T6" fmla="*/ 27 w 1255"/>
                <a:gd name="T7" fmla="*/ 158 h 2237"/>
                <a:gd name="T8" fmla="*/ 29 w 1255"/>
                <a:gd name="T9" fmla="*/ 192 h 2237"/>
                <a:gd name="T10" fmla="*/ 40 w 1255"/>
                <a:gd name="T11" fmla="*/ 231 h 2237"/>
                <a:gd name="T12" fmla="*/ 23 w 1255"/>
                <a:gd name="T13" fmla="*/ 262 h 2237"/>
                <a:gd name="T14" fmla="*/ 34 w 1255"/>
                <a:gd name="T15" fmla="*/ 335 h 2237"/>
                <a:gd name="T16" fmla="*/ 14 w 1255"/>
                <a:gd name="T17" fmla="*/ 386 h 2237"/>
                <a:gd name="T18" fmla="*/ 12 w 1255"/>
                <a:gd name="T19" fmla="*/ 425 h 2237"/>
                <a:gd name="T20" fmla="*/ 33 w 1255"/>
                <a:gd name="T21" fmla="*/ 414 h 2237"/>
                <a:gd name="T22" fmla="*/ 49 w 1255"/>
                <a:gd name="T23" fmla="*/ 399 h 2237"/>
                <a:gd name="T24" fmla="*/ 68 w 1255"/>
                <a:gd name="T25" fmla="*/ 412 h 2237"/>
                <a:gd name="T26" fmla="*/ 88 w 1255"/>
                <a:gd name="T27" fmla="*/ 393 h 2237"/>
                <a:gd name="T28" fmla="*/ 111 w 1255"/>
                <a:gd name="T29" fmla="*/ 382 h 2237"/>
                <a:gd name="T30" fmla="*/ 120 w 1255"/>
                <a:gd name="T31" fmla="*/ 363 h 2237"/>
                <a:gd name="T32" fmla="*/ 145 w 1255"/>
                <a:gd name="T33" fmla="*/ 371 h 2237"/>
                <a:gd name="T34" fmla="*/ 162 w 1255"/>
                <a:gd name="T35" fmla="*/ 348 h 2237"/>
                <a:gd name="T36" fmla="*/ 180 w 1255"/>
                <a:gd name="T37" fmla="*/ 321 h 2237"/>
                <a:gd name="T38" fmla="*/ 180 w 1255"/>
                <a:gd name="T39" fmla="*/ 300 h 2237"/>
                <a:gd name="T40" fmla="*/ 203 w 1255"/>
                <a:gd name="T41" fmla="*/ 286 h 2237"/>
                <a:gd name="T42" fmla="*/ 238 w 1255"/>
                <a:gd name="T43" fmla="*/ 280 h 2237"/>
                <a:gd name="T44" fmla="*/ 230 w 1255"/>
                <a:gd name="T45" fmla="*/ 260 h 2237"/>
                <a:gd name="T46" fmla="*/ 236 w 1255"/>
                <a:gd name="T47" fmla="*/ 234 h 2237"/>
                <a:gd name="T48" fmla="*/ 230 w 1255"/>
                <a:gd name="T49" fmla="*/ 195 h 2237"/>
                <a:gd name="T50" fmla="*/ 217 w 1255"/>
                <a:gd name="T51" fmla="*/ 160 h 2237"/>
                <a:gd name="T52" fmla="*/ 214 w 1255"/>
                <a:gd name="T53" fmla="*/ 108 h 2237"/>
                <a:gd name="T54" fmla="*/ 205 w 1255"/>
                <a:gd name="T55" fmla="*/ 90 h 2237"/>
                <a:gd name="T56" fmla="*/ 197 w 1255"/>
                <a:gd name="T57" fmla="*/ 69 h 2237"/>
                <a:gd name="T58" fmla="*/ 191 w 1255"/>
                <a:gd name="T59" fmla="*/ 52 h 2237"/>
                <a:gd name="T60" fmla="*/ 197 w 1255"/>
                <a:gd name="T61" fmla="*/ 37 h 2237"/>
                <a:gd name="T62" fmla="*/ 185 w 1255"/>
                <a:gd name="T63" fmla="*/ 11 h 2237"/>
                <a:gd name="T64" fmla="*/ 168 w 1255"/>
                <a:gd name="T65" fmla="*/ 0 h 2237"/>
                <a:gd name="T66" fmla="*/ 126 w 1255"/>
                <a:gd name="T67" fmla="*/ 8 h 2237"/>
                <a:gd name="T68" fmla="*/ 80 w 1255"/>
                <a:gd name="T69" fmla="*/ 17 h 2237"/>
                <a:gd name="T70" fmla="*/ 49 w 1255"/>
                <a:gd name="T71" fmla="*/ 22 h 2237"/>
                <a:gd name="T72" fmla="*/ 24 w 1255"/>
                <a:gd name="T73" fmla="*/ 35 h 2237"/>
                <a:gd name="T74" fmla="*/ 0 w 1255"/>
                <a:gd name="T75" fmla="*/ 49 h 2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55" h="2237">
                  <a:moveTo>
                    <a:pt x="0" y="260"/>
                  </a:moveTo>
                  <a:lnTo>
                    <a:pt x="9" y="452"/>
                  </a:lnTo>
                  <a:lnTo>
                    <a:pt x="70" y="645"/>
                  </a:lnTo>
                  <a:lnTo>
                    <a:pt x="144" y="833"/>
                  </a:lnTo>
                  <a:lnTo>
                    <a:pt x="151" y="1011"/>
                  </a:lnTo>
                  <a:lnTo>
                    <a:pt x="211" y="1217"/>
                  </a:lnTo>
                  <a:lnTo>
                    <a:pt x="120" y="1379"/>
                  </a:lnTo>
                  <a:lnTo>
                    <a:pt x="181" y="1763"/>
                  </a:lnTo>
                  <a:lnTo>
                    <a:pt x="73" y="2033"/>
                  </a:lnTo>
                  <a:lnTo>
                    <a:pt x="64" y="2237"/>
                  </a:lnTo>
                  <a:lnTo>
                    <a:pt x="176" y="2178"/>
                  </a:lnTo>
                  <a:lnTo>
                    <a:pt x="256" y="2101"/>
                  </a:lnTo>
                  <a:lnTo>
                    <a:pt x="360" y="2170"/>
                  </a:lnTo>
                  <a:lnTo>
                    <a:pt x="466" y="2071"/>
                  </a:lnTo>
                  <a:lnTo>
                    <a:pt x="586" y="2011"/>
                  </a:lnTo>
                  <a:lnTo>
                    <a:pt x="631" y="1913"/>
                  </a:lnTo>
                  <a:lnTo>
                    <a:pt x="766" y="1951"/>
                  </a:lnTo>
                  <a:lnTo>
                    <a:pt x="855" y="1833"/>
                  </a:lnTo>
                  <a:lnTo>
                    <a:pt x="951" y="1689"/>
                  </a:lnTo>
                  <a:lnTo>
                    <a:pt x="951" y="1577"/>
                  </a:lnTo>
                  <a:lnTo>
                    <a:pt x="1071" y="1505"/>
                  </a:lnTo>
                  <a:lnTo>
                    <a:pt x="1255" y="1473"/>
                  </a:lnTo>
                  <a:lnTo>
                    <a:pt x="1215" y="1369"/>
                  </a:lnTo>
                  <a:lnTo>
                    <a:pt x="1246" y="1231"/>
                  </a:lnTo>
                  <a:lnTo>
                    <a:pt x="1215" y="1025"/>
                  </a:lnTo>
                  <a:lnTo>
                    <a:pt x="1143" y="841"/>
                  </a:lnTo>
                  <a:lnTo>
                    <a:pt x="1126" y="570"/>
                  </a:lnTo>
                  <a:lnTo>
                    <a:pt x="1079" y="473"/>
                  </a:lnTo>
                  <a:lnTo>
                    <a:pt x="1039" y="361"/>
                  </a:lnTo>
                  <a:lnTo>
                    <a:pt x="1007" y="273"/>
                  </a:lnTo>
                  <a:lnTo>
                    <a:pt x="1039" y="193"/>
                  </a:lnTo>
                  <a:lnTo>
                    <a:pt x="976" y="60"/>
                  </a:lnTo>
                  <a:lnTo>
                    <a:pt x="886" y="0"/>
                  </a:lnTo>
                  <a:lnTo>
                    <a:pt x="663" y="41"/>
                  </a:lnTo>
                  <a:lnTo>
                    <a:pt x="423" y="89"/>
                  </a:lnTo>
                  <a:lnTo>
                    <a:pt x="256" y="114"/>
                  </a:lnTo>
                  <a:lnTo>
                    <a:pt x="127" y="185"/>
                  </a:lnTo>
                  <a:lnTo>
                    <a:pt x="0" y="260"/>
                  </a:lnTo>
                  <a:close/>
                </a:path>
              </a:pathLst>
            </a:custGeom>
            <a:solidFill>
              <a:srgbClr val="FF9799"/>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26" name="Illiniois">
              <a:extLst>
                <a:ext uri="{FF2B5EF4-FFF2-40B4-BE49-F238E27FC236}">
                  <a16:creationId xmlns:a16="http://schemas.microsoft.com/office/drawing/2014/main" id="{6409C261-9760-4CF0-8830-F5D64C8BCF4E}"/>
                </a:ext>
              </a:extLst>
            </p:cNvPr>
            <p:cNvSpPr>
              <a:spLocks/>
            </p:cNvSpPr>
            <p:nvPr/>
          </p:nvSpPr>
          <p:spPr bwMode="auto">
            <a:xfrm>
              <a:off x="5566847" y="2719226"/>
              <a:ext cx="504814" cy="834858"/>
            </a:xfrm>
            <a:custGeom>
              <a:avLst/>
              <a:gdLst>
                <a:gd name="T0" fmla="*/ 40 w 1641"/>
                <a:gd name="T1" fmla="*/ 30 h 2721"/>
                <a:gd name="T2" fmla="*/ 56 w 1641"/>
                <a:gd name="T3" fmla="*/ 52 h 2721"/>
                <a:gd name="T4" fmla="*/ 76 w 1641"/>
                <a:gd name="T5" fmla="*/ 73 h 2721"/>
                <a:gd name="T6" fmla="*/ 83 w 1641"/>
                <a:gd name="T7" fmla="*/ 100 h 2721"/>
                <a:gd name="T8" fmla="*/ 63 w 1641"/>
                <a:gd name="T9" fmla="*/ 123 h 2721"/>
                <a:gd name="T10" fmla="*/ 38 w 1641"/>
                <a:gd name="T11" fmla="*/ 135 h 2721"/>
                <a:gd name="T12" fmla="*/ 12 w 1641"/>
                <a:gd name="T13" fmla="*/ 135 h 2721"/>
                <a:gd name="T14" fmla="*/ 28 w 1641"/>
                <a:gd name="T15" fmla="*/ 164 h 2721"/>
                <a:gd name="T16" fmla="*/ 20 w 1641"/>
                <a:gd name="T17" fmla="*/ 193 h 2721"/>
                <a:gd name="T18" fmla="*/ 6 w 1641"/>
                <a:gd name="T19" fmla="*/ 220 h 2721"/>
                <a:gd name="T20" fmla="*/ 0 w 1641"/>
                <a:gd name="T21" fmla="*/ 240 h 2721"/>
                <a:gd name="T22" fmla="*/ 6 w 1641"/>
                <a:gd name="T23" fmla="*/ 270 h 2721"/>
                <a:gd name="T24" fmla="*/ 23 w 1641"/>
                <a:gd name="T25" fmla="*/ 293 h 2721"/>
                <a:gd name="T26" fmla="*/ 41 w 1641"/>
                <a:gd name="T27" fmla="*/ 305 h 2721"/>
                <a:gd name="T28" fmla="*/ 63 w 1641"/>
                <a:gd name="T29" fmla="*/ 333 h 2721"/>
                <a:gd name="T30" fmla="*/ 82 w 1641"/>
                <a:gd name="T31" fmla="*/ 348 h 2721"/>
                <a:gd name="T32" fmla="*/ 100 w 1641"/>
                <a:gd name="T33" fmla="*/ 353 h 2721"/>
                <a:gd name="T34" fmla="*/ 115 w 1641"/>
                <a:gd name="T35" fmla="*/ 362 h 2721"/>
                <a:gd name="T36" fmla="*/ 111 w 1641"/>
                <a:gd name="T37" fmla="*/ 387 h 2721"/>
                <a:gd name="T38" fmla="*/ 103 w 1641"/>
                <a:gd name="T39" fmla="*/ 407 h 2721"/>
                <a:gd name="T40" fmla="*/ 121 w 1641"/>
                <a:gd name="T41" fmla="*/ 430 h 2721"/>
                <a:gd name="T42" fmla="*/ 143 w 1641"/>
                <a:gd name="T43" fmla="*/ 441 h 2721"/>
                <a:gd name="T44" fmla="*/ 172 w 1641"/>
                <a:gd name="T45" fmla="*/ 464 h 2721"/>
                <a:gd name="T46" fmla="*/ 177 w 1641"/>
                <a:gd name="T47" fmla="*/ 492 h 2721"/>
                <a:gd name="T48" fmla="*/ 194 w 1641"/>
                <a:gd name="T49" fmla="*/ 515 h 2721"/>
                <a:gd name="T50" fmla="*/ 194 w 1641"/>
                <a:gd name="T51" fmla="*/ 515 h 2721"/>
                <a:gd name="T52" fmla="*/ 220 w 1641"/>
                <a:gd name="T53" fmla="*/ 504 h 2721"/>
                <a:gd name="T54" fmla="*/ 235 w 1641"/>
                <a:gd name="T55" fmla="*/ 498 h 2721"/>
                <a:gd name="T56" fmla="*/ 254 w 1641"/>
                <a:gd name="T57" fmla="*/ 487 h 2721"/>
                <a:gd name="T58" fmla="*/ 271 w 1641"/>
                <a:gd name="T59" fmla="*/ 476 h 2721"/>
                <a:gd name="T60" fmla="*/ 285 w 1641"/>
                <a:gd name="T61" fmla="*/ 460 h 2721"/>
                <a:gd name="T62" fmla="*/ 284 w 1641"/>
                <a:gd name="T63" fmla="*/ 441 h 2721"/>
                <a:gd name="T64" fmla="*/ 285 w 1641"/>
                <a:gd name="T65" fmla="*/ 403 h 2721"/>
                <a:gd name="T66" fmla="*/ 305 w 1641"/>
                <a:gd name="T67" fmla="*/ 351 h 2721"/>
                <a:gd name="T68" fmla="*/ 300 w 1641"/>
                <a:gd name="T69" fmla="*/ 316 h 2721"/>
                <a:gd name="T70" fmla="*/ 294 w 1641"/>
                <a:gd name="T71" fmla="*/ 278 h 2721"/>
                <a:gd name="T72" fmla="*/ 311 w 1641"/>
                <a:gd name="T73" fmla="*/ 249 h 2721"/>
                <a:gd name="T74" fmla="*/ 300 w 1641"/>
                <a:gd name="T75" fmla="*/ 209 h 2721"/>
                <a:gd name="T76" fmla="*/ 298 w 1641"/>
                <a:gd name="T77" fmla="*/ 176 h 2721"/>
                <a:gd name="T78" fmla="*/ 285 w 1641"/>
                <a:gd name="T79" fmla="*/ 141 h 2721"/>
                <a:gd name="T80" fmla="*/ 273 w 1641"/>
                <a:gd name="T81" fmla="*/ 103 h 2721"/>
                <a:gd name="T82" fmla="*/ 271 w 1641"/>
                <a:gd name="T83" fmla="*/ 67 h 2721"/>
                <a:gd name="T84" fmla="*/ 248 w 1641"/>
                <a:gd name="T85" fmla="*/ 44 h 2721"/>
                <a:gd name="T86" fmla="*/ 236 w 1641"/>
                <a:gd name="T87" fmla="*/ 0 h 2721"/>
                <a:gd name="T88" fmla="*/ 40 w 1641"/>
                <a:gd name="T89" fmla="*/ 30 h 27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41" h="2721">
                  <a:moveTo>
                    <a:pt x="213" y="160"/>
                  </a:moveTo>
                  <a:lnTo>
                    <a:pt x="298" y="274"/>
                  </a:lnTo>
                  <a:lnTo>
                    <a:pt x="399" y="384"/>
                  </a:lnTo>
                  <a:lnTo>
                    <a:pt x="438" y="529"/>
                  </a:lnTo>
                  <a:lnTo>
                    <a:pt x="333" y="652"/>
                  </a:lnTo>
                  <a:lnTo>
                    <a:pt x="201" y="712"/>
                  </a:lnTo>
                  <a:lnTo>
                    <a:pt x="61" y="711"/>
                  </a:lnTo>
                  <a:lnTo>
                    <a:pt x="150" y="864"/>
                  </a:lnTo>
                  <a:lnTo>
                    <a:pt x="105" y="1020"/>
                  </a:lnTo>
                  <a:lnTo>
                    <a:pt x="31" y="1162"/>
                  </a:lnTo>
                  <a:lnTo>
                    <a:pt x="0" y="1270"/>
                  </a:lnTo>
                  <a:lnTo>
                    <a:pt x="34" y="1428"/>
                  </a:lnTo>
                  <a:lnTo>
                    <a:pt x="120" y="1550"/>
                  </a:lnTo>
                  <a:lnTo>
                    <a:pt x="216" y="1611"/>
                  </a:lnTo>
                  <a:lnTo>
                    <a:pt x="333" y="1757"/>
                  </a:lnTo>
                  <a:lnTo>
                    <a:pt x="433" y="1839"/>
                  </a:lnTo>
                  <a:lnTo>
                    <a:pt x="529" y="1863"/>
                  </a:lnTo>
                  <a:lnTo>
                    <a:pt x="605" y="1910"/>
                  </a:lnTo>
                  <a:lnTo>
                    <a:pt x="587" y="2045"/>
                  </a:lnTo>
                  <a:lnTo>
                    <a:pt x="543" y="2153"/>
                  </a:lnTo>
                  <a:lnTo>
                    <a:pt x="636" y="2270"/>
                  </a:lnTo>
                  <a:lnTo>
                    <a:pt x="756" y="2331"/>
                  </a:lnTo>
                  <a:lnTo>
                    <a:pt x="906" y="2451"/>
                  </a:lnTo>
                  <a:lnTo>
                    <a:pt x="933" y="2597"/>
                  </a:lnTo>
                  <a:lnTo>
                    <a:pt x="1023" y="2720"/>
                  </a:lnTo>
                  <a:lnTo>
                    <a:pt x="1022" y="2721"/>
                  </a:lnTo>
                  <a:lnTo>
                    <a:pt x="1161" y="2664"/>
                  </a:lnTo>
                  <a:lnTo>
                    <a:pt x="1238" y="2631"/>
                  </a:lnTo>
                  <a:lnTo>
                    <a:pt x="1341" y="2574"/>
                  </a:lnTo>
                  <a:lnTo>
                    <a:pt x="1431" y="2514"/>
                  </a:lnTo>
                  <a:lnTo>
                    <a:pt x="1502" y="2431"/>
                  </a:lnTo>
                  <a:lnTo>
                    <a:pt x="1496" y="2330"/>
                  </a:lnTo>
                  <a:lnTo>
                    <a:pt x="1502" y="2127"/>
                  </a:lnTo>
                  <a:lnTo>
                    <a:pt x="1611" y="1854"/>
                  </a:lnTo>
                  <a:lnTo>
                    <a:pt x="1582" y="1671"/>
                  </a:lnTo>
                  <a:lnTo>
                    <a:pt x="1550" y="1471"/>
                  </a:lnTo>
                  <a:lnTo>
                    <a:pt x="1641" y="1314"/>
                  </a:lnTo>
                  <a:lnTo>
                    <a:pt x="1582" y="1104"/>
                  </a:lnTo>
                  <a:lnTo>
                    <a:pt x="1574" y="928"/>
                  </a:lnTo>
                  <a:lnTo>
                    <a:pt x="1502" y="744"/>
                  </a:lnTo>
                  <a:lnTo>
                    <a:pt x="1438" y="544"/>
                  </a:lnTo>
                  <a:lnTo>
                    <a:pt x="1431" y="354"/>
                  </a:lnTo>
                  <a:lnTo>
                    <a:pt x="1311" y="234"/>
                  </a:lnTo>
                  <a:lnTo>
                    <a:pt x="1246" y="0"/>
                  </a:lnTo>
                  <a:lnTo>
                    <a:pt x="213" y="160"/>
                  </a:lnTo>
                  <a:close/>
                </a:path>
              </a:pathLst>
            </a:custGeom>
            <a:solidFill>
              <a:srgbClr val="FF0005"/>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27" name="Idaho">
              <a:extLst>
                <a:ext uri="{FF2B5EF4-FFF2-40B4-BE49-F238E27FC236}">
                  <a16:creationId xmlns:a16="http://schemas.microsoft.com/office/drawing/2014/main" id="{2FAE670C-0208-4222-BFE5-2C13B277F9CB}"/>
                </a:ext>
              </a:extLst>
            </p:cNvPr>
            <p:cNvSpPr>
              <a:spLocks/>
            </p:cNvSpPr>
            <p:nvPr/>
          </p:nvSpPr>
          <p:spPr bwMode="auto">
            <a:xfrm>
              <a:off x="2572046" y="1693080"/>
              <a:ext cx="727193" cy="1167180"/>
            </a:xfrm>
            <a:custGeom>
              <a:avLst/>
              <a:gdLst>
                <a:gd name="T0" fmla="*/ 129 w 2360"/>
                <a:gd name="T1" fmla="*/ 2 h 3800"/>
                <a:gd name="T2" fmla="*/ 152 w 2360"/>
                <a:gd name="T3" fmla="*/ 0 h 3800"/>
                <a:gd name="T4" fmla="*/ 186 w 2360"/>
                <a:gd name="T5" fmla="*/ 12 h 3800"/>
                <a:gd name="T6" fmla="*/ 181 w 2360"/>
                <a:gd name="T7" fmla="*/ 59 h 3800"/>
                <a:gd name="T8" fmla="*/ 180 w 2360"/>
                <a:gd name="T9" fmla="*/ 100 h 3800"/>
                <a:gd name="T10" fmla="*/ 180 w 2360"/>
                <a:gd name="T11" fmla="*/ 152 h 3800"/>
                <a:gd name="T12" fmla="*/ 198 w 2360"/>
                <a:gd name="T13" fmla="*/ 179 h 3800"/>
                <a:gd name="T14" fmla="*/ 226 w 2360"/>
                <a:gd name="T15" fmla="*/ 209 h 3800"/>
                <a:gd name="T16" fmla="*/ 237 w 2360"/>
                <a:gd name="T17" fmla="*/ 230 h 3800"/>
                <a:gd name="T18" fmla="*/ 260 w 2360"/>
                <a:gd name="T19" fmla="*/ 243 h 3800"/>
                <a:gd name="T20" fmla="*/ 241 w 2360"/>
                <a:gd name="T21" fmla="*/ 299 h 3800"/>
                <a:gd name="T22" fmla="*/ 241 w 2360"/>
                <a:gd name="T23" fmla="*/ 320 h 3800"/>
                <a:gd name="T24" fmla="*/ 241 w 2360"/>
                <a:gd name="T25" fmla="*/ 341 h 3800"/>
                <a:gd name="T26" fmla="*/ 271 w 2360"/>
                <a:gd name="T27" fmla="*/ 340 h 3800"/>
                <a:gd name="T28" fmla="*/ 288 w 2360"/>
                <a:gd name="T29" fmla="*/ 391 h 3800"/>
                <a:gd name="T30" fmla="*/ 291 w 2360"/>
                <a:gd name="T31" fmla="*/ 421 h 3800"/>
                <a:gd name="T32" fmla="*/ 300 w 2360"/>
                <a:gd name="T33" fmla="*/ 440 h 3800"/>
                <a:gd name="T34" fmla="*/ 316 w 2360"/>
                <a:gd name="T35" fmla="*/ 456 h 3800"/>
                <a:gd name="T36" fmla="*/ 334 w 2360"/>
                <a:gd name="T37" fmla="*/ 465 h 3800"/>
                <a:gd name="T38" fmla="*/ 380 w 2360"/>
                <a:gd name="T39" fmla="*/ 465 h 3800"/>
                <a:gd name="T40" fmla="*/ 397 w 2360"/>
                <a:gd name="T41" fmla="*/ 476 h 3800"/>
                <a:gd name="T42" fmla="*/ 420 w 2360"/>
                <a:gd name="T43" fmla="*/ 471 h 3800"/>
                <a:gd name="T44" fmla="*/ 420 w 2360"/>
                <a:gd name="T45" fmla="*/ 454 h 3800"/>
                <a:gd name="T46" fmla="*/ 448 w 2360"/>
                <a:gd name="T47" fmla="*/ 465 h 3800"/>
                <a:gd name="T48" fmla="*/ 435 w 2360"/>
                <a:gd name="T49" fmla="*/ 590 h 3800"/>
                <a:gd name="T50" fmla="*/ 427 w 2360"/>
                <a:gd name="T51" fmla="*/ 662 h 3800"/>
                <a:gd name="T52" fmla="*/ 421 w 2360"/>
                <a:gd name="T53" fmla="*/ 720 h 3800"/>
                <a:gd name="T54" fmla="*/ 324 w 2360"/>
                <a:gd name="T55" fmla="*/ 694 h 3800"/>
                <a:gd name="T56" fmla="*/ 212 w 2360"/>
                <a:gd name="T57" fmla="*/ 678 h 3800"/>
                <a:gd name="T58" fmla="*/ 0 w 2360"/>
                <a:gd name="T59" fmla="*/ 636 h 3800"/>
                <a:gd name="T60" fmla="*/ 23 w 2360"/>
                <a:gd name="T61" fmla="*/ 482 h 3800"/>
                <a:gd name="T62" fmla="*/ 46 w 2360"/>
                <a:gd name="T63" fmla="*/ 448 h 3800"/>
                <a:gd name="T64" fmla="*/ 28 w 2360"/>
                <a:gd name="T65" fmla="*/ 425 h 3800"/>
                <a:gd name="T66" fmla="*/ 28 w 2360"/>
                <a:gd name="T67" fmla="*/ 403 h 3800"/>
                <a:gd name="T68" fmla="*/ 57 w 2360"/>
                <a:gd name="T69" fmla="*/ 385 h 3800"/>
                <a:gd name="T70" fmla="*/ 63 w 2360"/>
                <a:gd name="T71" fmla="*/ 358 h 3800"/>
                <a:gd name="T72" fmla="*/ 63 w 2360"/>
                <a:gd name="T73" fmla="*/ 351 h 3800"/>
                <a:gd name="T74" fmla="*/ 69 w 2360"/>
                <a:gd name="T75" fmla="*/ 340 h 3800"/>
                <a:gd name="T76" fmla="*/ 91 w 2360"/>
                <a:gd name="T77" fmla="*/ 334 h 3800"/>
                <a:gd name="T78" fmla="*/ 93 w 2360"/>
                <a:gd name="T79" fmla="*/ 317 h 3800"/>
                <a:gd name="T80" fmla="*/ 91 w 2360"/>
                <a:gd name="T81" fmla="*/ 294 h 3800"/>
                <a:gd name="T82" fmla="*/ 75 w 2360"/>
                <a:gd name="T83" fmla="*/ 271 h 3800"/>
                <a:gd name="T84" fmla="*/ 75 w 2360"/>
                <a:gd name="T85" fmla="*/ 237 h 3800"/>
                <a:gd name="T86" fmla="*/ 99 w 2360"/>
                <a:gd name="T87" fmla="*/ 156 h 3800"/>
                <a:gd name="T88" fmla="*/ 103 w 2360"/>
                <a:gd name="T89" fmla="*/ 131 h 3800"/>
                <a:gd name="T90" fmla="*/ 102 w 2360"/>
                <a:gd name="T91" fmla="*/ 96 h 3800"/>
                <a:gd name="T92" fmla="*/ 114 w 2360"/>
                <a:gd name="T93" fmla="*/ 59 h 3800"/>
                <a:gd name="T94" fmla="*/ 120 w 2360"/>
                <a:gd name="T95" fmla="*/ 20 h 3800"/>
                <a:gd name="T96" fmla="*/ 129 w 2360"/>
                <a:gd name="T97" fmla="*/ 2 h 38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360" h="3800">
                  <a:moveTo>
                    <a:pt x="681" y="12"/>
                  </a:moveTo>
                  <a:lnTo>
                    <a:pt x="803" y="0"/>
                  </a:lnTo>
                  <a:lnTo>
                    <a:pt x="979" y="64"/>
                  </a:lnTo>
                  <a:lnTo>
                    <a:pt x="955" y="312"/>
                  </a:lnTo>
                  <a:lnTo>
                    <a:pt x="947" y="528"/>
                  </a:lnTo>
                  <a:lnTo>
                    <a:pt x="950" y="804"/>
                  </a:lnTo>
                  <a:lnTo>
                    <a:pt x="1043" y="944"/>
                  </a:lnTo>
                  <a:lnTo>
                    <a:pt x="1190" y="1104"/>
                  </a:lnTo>
                  <a:lnTo>
                    <a:pt x="1251" y="1216"/>
                  </a:lnTo>
                  <a:lnTo>
                    <a:pt x="1370" y="1284"/>
                  </a:lnTo>
                  <a:lnTo>
                    <a:pt x="1267" y="1576"/>
                  </a:lnTo>
                  <a:lnTo>
                    <a:pt x="1267" y="1688"/>
                  </a:lnTo>
                  <a:lnTo>
                    <a:pt x="1267" y="1800"/>
                  </a:lnTo>
                  <a:lnTo>
                    <a:pt x="1430" y="1794"/>
                  </a:lnTo>
                  <a:lnTo>
                    <a:pt x="1515" y="2064"/>
                  </a:lnTo>
                  <a:lnTo>
                    <a:pt x="1531" y="2224"/>
                  </a:lnTo>
                  <a:lnTo>
                    <a:pt x="1579" y="2320"/>
                  </a:lnTo>
                  <a:lnTo>
                    <a:pt x="1667" y="2408"/>
                  </a:lnTo>
                  <a:lnTo>
                    <a:pt x="1760" y="2454"/>
                  </a:lnTo>
                  <a:lnTo>
                    <a:pt x="2000" y="2454"/>
                  </a:lnTo>
                  <a:lnTo>
                    <a:pt x="2090" y="2514"/>
                  </a:lnTo>
                  <a:lnTo>
                    <a:pt x="2210" y="2484"/>
                  </a:lnTo>
                  <a:lnTo>
                    <a:pt x="2210" y="2394"/>
                  </a:lnTo>
                  <a:lnTo>
                    <a:pt x="2360" y="2454"/>
                  </a:lnTo>
                  <a:lnTo>
                    <a:pt x="2291" y="3112"/>
                  </a:lnTo>
                  <a:lnTo>
                    <a:pt x="2251" y="3496"/>
                  </a:lnTo>
                  <a:lnTo>
                    <a:pt x="2219" y="3800"/>
                  </a:lnTo>
                  <a:lnTo>
                    <a:pt x="1707" y="3664"/>
                  </a:lnTo>
                  <a:lnTo>
                    <a:pt x="1115" y="3576"/>
                  </a:lnTo>
                  <a:lnTo>
                    <a:pt x="0" y="3355"/>
                  </a:lnTo>
                  <a:lnTo>
                    <a:pt x="121" y="2544"/>
                  </a:lnTo>
                  <a:lnTo>
                    <a:pt x="241" y="2365"/>
                  </a:lnTo>
                  <a:lnTo>
                    <a:pt x="150" y="2242"/>
                  </a:lnTo>
                  <a:lnTo>
                    <a:pt x="150" y="2125"/>
                  </a:lnTo>
                  <a:lnTo>
                    <a:pt x="300" y="2034"/>
                  </a:lnTo>
                  <a:lnTo>
                    <a:pt x="330" y="1887"/>
                  </a:lnTo>
                  <a:lnTo>
                    <a:pt x="330" y="1852"/>
                  </a:lnTo>
                  <a:lnTo>
                    <a:pt x="361" y="1794"/>
                  </a:lnTo>
                  <a:lnTo>
                    <a:pt x="478" y="1764"/>
                  </a:lnTo>
                  <a:lnTo>
                    <a:pt x="492" y="1671"/>
                  </a:lnTo>
                  <a:lnTo>
                    <a:pt x="480" y="1554"/>
                  </a:lnTo>
                  <a:lnTo>
                    <a:pt x="393" y="1432"/>
                  </a:lnTo>
                  <a:lnTo>
                    <a:pt x="396" y="1252"/>
                  </a:lnTo>
                  <a:lnTo>
                    <a:pt x="519" y="823"/>
                  </a:lnTo>
                  <a:lnTo>
                    <a:pt x="544" y="691"/>
                  </a:lnTo>
                  <a:lnTo>
                    <a:pt x="535" y="505"/>
                  </a:lnTo>
                  <a:lnTo>
                    <a:pt x="598" y="312"/>
                  </a:lnTo>
                  <a:lnTo>
                    <a:pt x="633" y="105"/>
                  </a:lnTo>
                  <a:lnTo>
                    <a:pt x="681" y="12"/>
                  </a:lnTo>
                  <a:close/>
                </a:path>
              </a:pathLst>
            </a:custGeom>
            <a:solidFill>
              <a:srgbClr val="FF9799"/>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28" name="Hawaii">
              <a:extLst>
                <a:ext uri="{FF2B5EF4-FFF2-40B4-BE49-F238E27FC236}">
                  <a16:creationId xmlns:a16="http://schemas.microsoft.com/office/drawing/2014/main" id="{47A7D3C5-C3E8-498F-B39A-2547B6D1B5B3}"/>
                </a:ext>
              </a:extLst>
            </p:cNvPr>
            <p:cNvSpPr>
              <a:spLocks/>
            </p:cNvSpPr>
            <p:nvPr/>
          </p:nvSpPr>
          <p:spPr bwMode="auto">
            <a:xfrm>
              <a:off x="2137841" y="4805584"/>
              <a:ext cx="1024238" cy="637085"/>
            </a:xfrm>
            <a:custGeom>
              <a:avLst/>
              <a:gdLst>
                <a:gd name="connsiteX0" fmla="*/ 795449 w 1024238"/>
                <a:gd name="connsiteY0" fmla="*/ 335564 h 637085"/>
                <a:gd name="connsiteX1" fmla="*/ 810210 w 1024238"/>
                <a:gd name="connsiteY1" fmla="*/ 351563 h 637085"/>
                <a:gd name="connsiteX2" fmla="*/ 839731 w 1024238"/>
                <a:gd name="connsiteY2" fmla="*/ 363870 h 637085"/>
                <a:gd name="connsiteX3" fmla="*/ 865254 w 1024238"/>
                <a:gd name="connsiteY3" fmla="*/ 363563 h 637085"/>
                <a:gd name="connsiteX4" fmla="*/ 891393 w 1024238"/>
                <a:gd name="connsiteY4" fmla="*/ 373716 h 637085"/>
                <a:gd name="connsiteX5" fmla="*/ 915994 w 1024238"/>
                <a:gd name="connsiteY5" fmla="*/ 378639 h 637085"/>
                <a:gd name="connsiteX6" fmla="*/ 935060 w 1024238"/>
                <a:gd name="connsiteY6" fmla="*/ 405406 h 637085"/>
                <a:gd name="connsiteX7" fmla="*/ 957816 w 1024238"/>
                <a:gd name="connsiteY7" fmla="*/ 422944 h 637085"/>
                <a:gd name="connsiteX8" fmla="*/ 963043 w 1024238"/>
                <a:gd name="connsiteY8" fmla="*/ 447250 h 637085"/>
                <a:gd name="connsiteX9" fmla="*/ 1002097 w 1024238"/>
                <a:gd name="connsiteY9" fmla="*/ 462326 h 637085"/>
                <a:gd name="connsiteX10" fmla="*/ 1024238 w 1024238"/>
                <a:gd name="connsiteY10" fmla="*/ 484479 h 637085"/>
                <a:gd name="connsiteX11" fmla="*/ 1011938 w 1024238"/>
                <a:gd name="connsiteY11" fmla="*/ 501708 h 637085"/>
                <a:gd name="connsiteX12" fmla="*/ 994717 w 1024238"/>
                <a:gd name="connsiteY12" fmla="*/ 531245 h 637085"/>
                <a:gd name="connsiteX13" fmla="*/ 970116 w 1024238"/>
                <a:gd name="connsiteY13" fmla="*/ 536168 h 637085"/>
                <a:gd name="connsiteX14" fmla="*/ 935675 w 1024238"/>
                <a:gd name="connsiteY14" fmla="*/ 553398 h 637085"/>
                <a:gd name="connsiteX15" fmla="*/ 915994 w 1024238"/>
                <a:gd name="connsiteY15" fmla="*/ 573089 h 637085"/>
                <a:gd name="connsiteX16" fmla="*/ 896313 w 1024238"/>
                <a:gd name="connsiteY16" fmla="*/ 590319 h 637085"/>
                <a:gd name="connsiteX17" fmla="*/ 891393 w 1024238"/>
                <a:gd name="connsiteY17" fmla="*/ 612471 h 637085"/>
                <a:gd name="connsiteX18" fmla="*/ 876632 w 1024238"/>
                <a:gd name="connsiteY18" fmla="*/ 637085 h 637085"/>
                <a:gd name="connsiteX19" fmla="*/ 837271 w 1024238"/>
                <a:gd name="connsiteY19" fmla="*/ 628470 h 637085"/>
                <a:gd name="connsiteX20" fmla="*/ 824970 w 1024238"/>
                <a:gd name="connsiteY20" fmla="*/ 614933 h 637085"/>
                <a:gd name="connsiteX21" fmla="*/ 809595 w 1024238"/>
                <a:gd name="connsiteY21" fmla="*/ 586627 h 637085"/>
                <a:gd name="connsiteX22" fmla="*/ 820050 w 1024238"/>
                <a:gd name="connsiteY22" fmla="*/ 568166 h 637085"/>
                <a:gd name="connsiteX23" fmla="*/ 810210 w 1024238"/>
                <a:gd name="connsiteY23" fmla="*/ 536168 h 637085"/>
                <a:gd name="connsiteX24" fmla="*/ 795449 w 1024238"/>
                <a:gd name="connsiteY24" fmla="*/ 502939 h 637085"/>
                <a:gd name="connsiteX25" fmla="*/ 767773 w 1024238"/>
                <a:gd name="connsiteY25" fmla="*/ 474941 h 637085"/>
                <a:gd name="connsiteX26" fmla="*/ 781611 w 1024238"/>
                <a:gd name="connsiteY26" fmla="*/ 447250 h 637085"/>
                <a:gd name="connsiteX27" fmla="*/ 797909 w 1024238"/>
                <a:gd name="connsiteY27" fmla="*/ 425405 h 637085"/>
                <a:gd name="connsiteX28" fmla="*/ 812670 w 1024238"/>
                <a:gd name="connsiteY28" fmla="*/ 410637 h 637085"/>
                <a:gd name="connsiteX29" fmla="*/ 800369 w 1024238"/>
                <a:gd name="connsiteY29" fmla="*/ 383561 h 637085"/>
                <a:gd name="connsiteX30" fmla="*/ 781611 w 1024238"/>
                <a:gd name="connsiteY30" fmla="*/ 377408 h 637085"/>
                <a:gd name="connsiteX31" fmla="*/ 783149 w 1024238"/>
                <a:gd name="connsiteY31" fmla="*/ 361409 h 637085"/>
                <a:gd name="connsiteX32" fmla="*/ 557748 w 1024238"/>
                <a:gd name="connsiteY32" fmla="*/ 223709 h 637085"/>
                <a:gd name="connsiteX33" fmla="*/ 572036 w 1024238"/>
                <a:gd name="connsiteY33" fmla="*/ 237815 h 637085"/>
                <a:gd name="connsiteX34" fmla="*/ 594090 w 1024238"/>
                <a:gd name="connsiteY34" fmla="*/ 244711 h 637085"/>
                <a:gd name="connsiteX35" fmla="*/ 590363 w 1024238"/>
                <a:gd name="connsiteY35" fmla="*/ 263519 h 637085"/>
                <a:gd name="connsiteX36" fmla="*/ 575453 w 1024238"/>
                <a:gd name="connsiteY36" fmla="*/ 280447 h 637085"/>
                <a:gd name="connsiteX37" fmla="*/ 564271 w 1024238"/>
                <a:gd name="connsiteY37" fmla="*/ 274804 h 637085"/>
                <a:gd name="connsiteX38" fmla="*/ 554953 w 1024238"/>
                <a:gd name="connsiteY38" fmla="*/ 261639 h 637085"/>
                <a:gd name="connsiteX39" fmla="*/ 543771 w 1024238"/>
                <a:gd name="connsiteY39" fmla="*/ 237815 h 637085"/>
                <a:gd name="connsiteX40" fmla="*/ 630517 w 1024238"/>
                <a:gd name="connsiteY40" fmla="*/ 202635 h 637085"/>
                <a:gd name="connsiteX41" fmla="*/ 655478 w 1024238"/>
                <a:gd name="connsiteY41" fmla="*/ 210643 h 637085"/>
                <a:gd name="connsiteX42" fmla="*/ 673043 w 1024238"/>
                <a:gd name="connsiteY42" fmla="*/ 217419 h 637085"/>
                <a:gd name="connsiteX43" fmla="*/ 683212 w 1024238"/>
                <a:gd name="connsiteY43" fmla="*/ 210643 h 637085"/>
                <a:gd name="connsiteX44" fmla="*/ 711871 w 1024238"/>
                <a:gd name="connsiteY44" fmla="*/ 206331 h 637085"/>
                <a:gd name="connsiteX45" fmla="*/ 725430 w 1024238"/>
                <a:gd name="connsiteY45" fmla="*/ 224503 h 637085"/>
                <a:gd name="connsiteX46" fmla="*/ 753164 w 1024238"/>
                <a:gd name="connsiteY46" fmla="*/ 238364 h 637085"/>
                <a:gd name="connsiteX47" fmla="*/ 753164 w 1024238"/>
                <a:gd name="connsiteY47" fmla="*/ 266392 h 637085"/>
                <a:gd name="connsiteX48" fmla="*/ 734058 w 1024238"/>
                <a:gd name="connsiteY48" fmla="*/ 282100 h 637085"/>
                <a:gd name="connsiteX49" fmla="*/ 722965 w 1024238"/>
                <a:gd name="connsiteY49" fmla="*/ 283949 h 637085"/>
                <a:gd name="connsiteX50" fmla="*/ 708173 w 1024238"/>
                <a:gd name="connsiteY50" fmla="*/ 285797 h 637085"/>
                <a:gd name="connsiteX51" fmla="*/ 695230 w 1024238"/>
                <a:gd name="connsiteY51" fmla="*/ 295037 h 637085"/>
                <a:gd name="connsiteX52" fmla="*/ 683212 w 1024238"/>
                <a:gd name="connsiteY52" fmla="*/ 280252 h 637085"/>
                <a:gd name="connsiteX53" fmla="*/ 671194 w 1024238"/>
                <a:gd name="connsiteY53" fmla="*/ 263620 h 637085"/>
                <a:gd name="connsiteX54" fmla="*/ 650856 w 1024238"/>
                <a:gd name="connsiteY54" fmla="*/ 248836 h 637085"/>
                <a:gd name="connsiteX55" fmla="*/ 627436 w 1024238"/>
                <a:gd name="connsiteY55" fmla="*/ 252532 h 637085"/>
                <a:gd name="connsiteX56" fmla="*/ 617575 w 1024238"/>
                <a:gd name="connsiteY56" fmla="*/ 237748 h 637085"/>
                <a:gd name="connsiteX57" fmla="*/ 613569 w 1024238"/>
                <a:gd name="connsiteY57" fmla="*/ 224503 h 637085"/>
                <a:gd name="connsiteX58" fmla="*/ 627436 w 1024238"/>
                <a:gd name="connsiteY58" fmla="*/ 210643 h 637085"/>
                <a:gd name="connsiteX59" fmla="*/ 599512 w 1024238"/>
                <a:gd name="connsiteY59" fmla="*/ 168593 h 637085"/>
                <a:gd name="connsiteX60" fmla="*/ 613569 w 1024238"/>
                <a:gd name="connsiteY60" fmla="*/ 182539 h 637085"/>
                <a:gd name="connsiteX61" fmla="*/ 613569 w 1024238"/>
                <a:gd name="connsiteY61" fmla="*/ 196485 h 637085"/>
                <a:gd name="connsiteX62" fmla="*/ 602873 w 1024238"/>
                <a:gd name="connsiteY62" fmla="*/ 198965 h 637085"/>
                <a:gd name="connsiteX63" fmla="*/ 590038 w 1024238"/>
                <a:gd name="connsiteY63" fmla="*/ 204543 h 637085"/>
                <a:gd name="connsiteX64" fmla="*/ 557951 w 1024238"/>
                <a:gd name="connsiteY64" fmla="*/ 196485 h 637085"/>
                <a:gd name="connsiteX65" fmla="*/ 544200 w 1024238"/>
                <a:gd name="connsiteY65" fmla="*/ 196485 h 637085"/>
                <a:gd name="connsiteX66" fmla="*/ 516391 w 1024238"/>
                <a:gd name="connsiteY66" fmla="*/ 210742 h 637085"/>
                <a:gd name="connsiteX67" fmla="*/ 502028 w 1024238"/>
                <a:gd name="connsiteY67" fmla="*/ 202684 h 637085"/>
                <a:gd name="connsiteX68" fmla="*/ 488582 w 1024238"/>
                <a:gd name="connsiteY68" fmla="*/ 182539 h 637085"/>
                <a:gd name="connsiteX69" fmla="*/ 509362 w 1024238"/>
                <a:gd name="connsiteY69" fmla="*/ 169213 h 637085"/>
                <a:gd name="connsiteX70" fmla="*/ 533198 w 1024238"/>
                <a:gd name="connsiteY70" fmla="*/ 171072 h 637085"/>
                <a:gd name="connsiteX71" fmla="*/ 557951 w 1024238"/>
                <a:gd name="connsiteY71" fmla="*/ 182539 h 637085"/>
                <a:gd name="connsiteX72" fmla="*/ 580871 w 1024238"/>
                <a:gd name="connsiteY72" fmla="*/ 172932 h 637085"/>
                <a:gd name="connsiteX73" fmla="*/ 354350 w 1024238"/>
                <a:gd name="connsiteY73" fmla="*/ 84296 h 637085"/>
                <a:gd name="connsiteX74" fmla="*/ 372700 w 1024238"/>
                <a:gd name="connsiteY74" fmla="*/ 104577 h 637085"/>
                <a:gd name="connsiteX75" fmla="*/ 385544 w 1024238"/>
                <a:gd name="connsiteY75" fmla="*/ 132234 h 637085"/>
                <a:gd name="connsiteX76" fmla="*/ 400224 w 1024238"/>
                <a:gd name="connsiteY76" fmla="*/ 141452 h 637085"/>
                <a:gd name="connsiteX77" fmla="*/ 418573 w 1024238"/>
                <a:gd name="connsiteY77" fmla="*/ 146984 h 637085"/>
                <a:gd name="connsiteX78" fmla="*/ 420408 w 1024238"/>
                <a:gd name="connsiteY78" fmla="*/ 169109 h 637085"/>
                <a:gd name="connsiteX79" fmla="*/ 392884 w 1024238"/>
                <a:gd name="connsiteY79" fmla="*/ 183859 h 637085"/>
                <a:gd name="connsiteX80" fmla="*/ 362913 w 1024238"/>
                <a:gd name="connsiteY80" fmla="*/ 196151 h 637085"/>
                <a:gd name="connsiteX81" fmla="*/ 335390 w 1024238"/>
                <a:gd name="connsiteY81" fmla="*/ 182323 h 637085"/>
                <a:gd name="connsiteX82" fmla="*/ 321322 w 1024238"/>
                <a:gd name="connsiteY82" fmla="*/ 168494 h 637085"/>
                <a:gd name="connsiteX83" fmla="*/ 321322 w 1024238"/>
                <a:gd name="connsiteY83" fmla="*/ 154359 h 637085"/>
                <a:gd name="connsiteX84" fmla="*/ 297468 w 1024238"/>
                <a:gd name="connsiteY84" fmla="*/ 143296 h 637085"/>
                <a:gd name="connsiteX85" fmla="*/ 293798 w 1024238"/>
                <a:gd name="connsiteY85" fmla="*/ 117483 h 637085"/>
                <a:gd name="connsiteX86" fmla="*/ 326827 w 1024238"/>
                <a:gd name="connsiteY86" fmla="*/ 113796 h 637085"/>
                <a:gd name="connsiteX87" fmla="*/ 332331 w 1024238"/>
                <a:gd name="connsiteY87" fmla="*/ 95358 h 637085"/>
                <a:gd name="connsiteX88" fmla="*/ 59665 w 1024238"/>
                <a:gd name="connsiteY88" fmla="*/ 0 h 637085"/>
                <a:gd name="connsiteX89" fmla="*/ 84884 w 1024238"/>
                <a:gd name="connsiteY89" fmla="*/ 2190 h 637085"/>
                <a:gd name="connsiteX90" fmla="*/ 87652 w 1024238"/>
                <a:gd name="connsiteY90" fmla="*/ 28479 h 637085"/>
                <a:gd name="connsiteX91" fmla="*/ 87652 w 1024238"/>
                <a:gd name="connsiteY91" fmla="*/ 56957 h 637085"/>
                <a:gd name="connsiteX92" fmla="*/ 75657 w 1024238"/>
                <a:gd name="connsiteY92" fmla="*/ 75422 h 637085"/>
                <a:gd name="connsiteX93" fmla="*/ 53206 w 1024238"/>
                <a:gd name="connsiteY93" fmla="*/ 81055 h 637085"/>
                <a:gd name="connsiteX94" fmla="*/ 31985 w 1024238"/>
                <a:gd name="connsiteY94" fmla="*/ 71040 h 637085"/>
                <a:gd name="connsiteX95" fmla="*/ 12610 w 1024238"/>
                <a:gd name="connsiteY95" fmla="*/ 75422 h 637085"/>
                <a:gd name="connsiteX96" fmla="*/ 0 w 1024238"/>
                <a:gd name="connsiteY96" fmla="*/ 64155 h 637085"/>
                <a:gd name="connsiteX97" fmla="*/ 3998 w 1024238"/>
                <a:gd name="connsiteY97" fmla="*/ 42561 h 637085"/>
                <a:gd name="connsiteX98" fmla="*/ 17838 w 1024238"/>
                <a:gd name="connsiteY98" fmla="*/ 14396 h 637085"/>
                <a:gd name="connsiteX99" fmla="*/ 36906 w 1024238"/>
                <a:gd name="connsiteY99" fmla="*/ 2190 h 63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024238" h="637085">
                  <a:moveTo>
                    <a:pt x="795449" y="335564"/>
                  </a:moveTo>
                  <a:lnTo>
                    <a:pt x="810210" y="351563"/>
                  </a:lnTo>
                  <a:lnTo>
                    <a:pt x="839731" y="363870"/>
                  </a:lnTo>
                  <a:lnTo>
                    <a:pt x="865254" y="363563"/>
                  </a:lnTo>
                  <a:lnTo>
                    <a:pt x="891393" y="373716"/>
                  </a:lnTo>
                  <a:lnTo>
                    <a:pt x="915994" y="378639"/>
                  </a:lnTo>
                  <a:lnTo>
                    <a:pt x="935060" y="405406"/>
                  </a:lnTo>
                  <a:lnTo>
                    <a:pt x="957816" y="422944"/>
                  </a:lnTo>
                  <a:lnTo>
                    <a:pt x="963043" y="447250"/>
                  </a:lnTo>
                  <a:lnTo>
                    <a:pt x="1002097" y="462326"/>
                  </a:lnTo>
                  <a:lnTo>
                    <a:pt x="1024238" y="484479"/>
                  </a:lnTo>
                  <a:lnTo>
                    <a:pt x="1011938" y="501708"/>
                  </a:lnTo>
                  <a:lnTo>
                    <a:pt x="994717" y="531245"/>
                  </a:lnTo>
                  <a:lnTo>
                    <a:pt x="970116" y="536168"/>
                  </a:lnTo>
                  <a:lnTo>
                    <a:pt x="935675" y="553398"/>
                  </a:lnTo>
                  <a:lnTo>
                    <a:pt x="915994" y="573089"/>
                  </a:lnTo>
                  <a:lnTo>
                    <a:pt x="896313" y="590319"/>
                  </a:lnTo>
                  <a:lnTo>
                    <a:pt x="891393" y="612471"/>
                  </a:lnTo>
                  <a:lnTo>
                    <a:pt x="876632" y="637085"/>
                  </a:lnTo>
                  <a:lnTo>
                    <a:pt x="837271" y="628470"/>
                  </a:lnTo>
                  <a:lnTo>
                    <a:pt x="824970" y="614933"/>
                  </a:lnTo>
                  <a:lnTo>
                    <a:pt x="809595" y="586627"/>
                  </a:lnTo>
                  <a:lnTo>
                    <a:pt x="820050" y="568166"/>
                  </a:lnTo>
                  <a:lnTo>
                    <a:pt x="810210" y="536168"/>
                  </a:lnTo>
                  <a:lnTo>
                    <a:pt x="795449" y="502939"/>
                  </a:lnTo>
                  <a:lnTo>
                    <a:pt x="767773" y="474941"/>
                  </a:lnTo>
                  <a:lnTo>
                    <a:pt x="781611" y="447250"/>
                  </a:lnTo>
                  <a:lnTo>
                    <a:pt x="797909" y="425405"/>
                  </a:lnTo>
                  <a:lnTo>
                    <a:pt x="812670" y="410637"/>
                  </a:lnTo>
                  <a:lnTo>
                    <a:pt x="800369" y="383561"/>
                  </a:lnTo>
                  <a:lnTo>
                    <a:pt x="781611" y="377408"/>
                  </a:lnTo>
                  <a:lnTo>
                    <a:pt x="783149" y="361409"/>
                  </a:lnTo>
                  <a:close/>
                  <a:moveTo>
                    <a:pt x="557748" y="223709"/>
                  </a:moveTo>
                  <a:lnTo>
                    <a:pt x="572036" y="237815"/>
                  </a:lnTo>
                  <a:lnTo>
                    <a:pt x="594090" y="244711"/>
                  </a:lnTo>
                  <a:lnTo>
                    <a:pt x="590363" y="263519"/>
                  </a:lnTo>
                  <a:lnTo>
                    <a:pt x="575453" y="280447"/>
                  </a:lnTo>
                  <a:lnTo>
                    <a:pt x="564271" y="274804"/>
                  </a:lnTo>
                  <a:lnTo>
                    <a:pt x="554953" y="261639"/>
                  </a:lnTo>
                  <a:lnTo>
                    <a:pt x="543771" y="237815"/>
                  </a:lnTo>
                  <a:close/>
                  <a:moveTo>
                    <a:pt x="630517" y="202635"/>
                  </a:moveTo>
                  <a:lnTo>
                    <a:pt x="655478" y="210643"/>
                  </a:lnTo>
                  <a:lnTo>
                    <a:pt x="673043" y="217419"/>
                  </a:lnTo>
                  <a:lnTo>
                    <a:pt x="683212" y="210643"/>
                  </a:lnTo>
                  <a:lnTo>
                    <a:pt x="711871" y="206331"/>
                  </a:lnTo>
                  <a:lnTo>
                    <a:pt x="725430" y="224503"/>
                  </a:lnTo>
                  <a:lnTo>
                    <a:pt x="753164" y="238364"/>
                  </a:lnTo>
                  <a:lnTo>
                    <a:pt x="753164" y="266392"/>
                  </a:lnTo>
                  <a:lnTo>
                    <a:pt x="734058" y="282100"/>
                  </a:lnTo>
                  <a:lnTo>
                    <a:pt x="722965" y="283949"/>
                  </a:lnTo>
                  <a:lnTo>
                    <a:pt x="708173" y="285797"/>
                  </a:lnTo>
                  <a:lnTo>
                    <a:pt x="695230" y="295037"/>
                  </a:lnTo>
                  <a:lnTo>
                    <a:pt x="683212" y="280252"/>
                  </a:lnTo>
                  <a:lnTo>
                    <a:pt x="671194" y="263620"/>
                  </a:lnTo>
                  <a:lnTo>
                    <a:pt x="650856" y="248836"/>
                  </a:lnTo>
                  <a:lnTo>
                    <a:pt x="627436" y="252532"/>
                  </a:lnTo>
                  <a:lnTo>
                    <a:pt x="617575" y="237748"/>
                  </a:lnTo>
                  <a:lnTo>
                    <a:pt x="613569" y="224503"/>
                  </a:lnTo>
                  <a:lnTo>
                    <a:pt x="627436" y="210643"/>
                  </a:lnTo>
                  <a:close/>
                  <a:moveTo>
                    <a:pt x="599512" y="168593"/>
                  </a:moveTo>
                  <a:lnTo>
                    <a:pt x="613569" y="182539"/>
                  </a:lnTo>
                  <a:lnTo>
                    <a:pt x="613569" y="196485"/>
                  </a:lnTo>
                  <a:lnTo>
                    <a:pt x="602873" y="198965"/>
                  </a:lnTo>
                  <a:lnTo>
                    <a:pt x="590038" y="204543"/>
                  </a:lnTo>
                  <a:lnTo>
                    <a:pt x="557951" y="196485"/>
                  </a:lnTo>
                  <a:lnTo>
                    <a:pt x="544200" y="196485"/>
                  </a:lnTo>
                  <a:lnTo>
                    <a:pt x="516391" y="210742"/>
                  </a:lnTo>
                  <a:lnTo>
                    <a:pt x="502028" y="202684"/>
                  </a:lnTo>
                  <a:lnTo>
                    <a:pt x="488582" y="182539"/>
                  </a:lnTo>
                  <a:lnTo>
                    <a:pt x="509362" y="169213"/>
                  </a:lnTo>
                  <a:lnTo>
                    <a:pt x="533198" y="171072"/>
                  </a:lnTo>
                  <a:lnTo>
                    <a:pt x="557951" y="182539"/>
                  </a:lnTo>
                  <a:lnTo>
                    <a:pt x="580871" y="172932"/>
                  </a:lnTo>
                  <a:close/>
                  <a:moveTo>
                    <a:pt x="354350" y="84296"/>
                  </a:moveTo>
                  <a:lnTo>
                    <a:pt x="372700" y="104577"/>
                  </a:lnTo>
                  <a:lnTo>
                    <a:pt x="385544" y="132234"/>
                  </a:lnTo>
                  <a:lnTo>
                    <a:pt x="400224" y="141452"/>
                  </a:lnTo>
                  <a:lnTo>
                    <a:pt x="418573" y="146984"/>
                  </a:lnTo>
                  <a:lnTo>
                    <a:pt x="420408" y="169109"/>
                  </a:lnTo>
                  <a:lnTo>
                    <a:pt x="392884" y="183859"/>
                  </a:lnTo>
                  <a:lnTo>
                    <a:pt x="362913" y="196151"/>
                  </a:lnTo>
                  <a:lnTo>
                    <a:pt x="335390" y="182323"/>
                  </a:lnTo>
                  <a:lnTo>
                    <a:pt x="321322" y="168494"/>
                  </a:lnTo>
                  <a:lnTo>
                    <a:pt x="321322" y="154359"/>
                  </a:lnTo>
                  <a:lnTo>
                    <a:pt x="297468" y="143296"/>
                  </a:lnTo>
                  <a:lnTo>
                    <a:pt x="293798" y="117483"/>
                  </a:lnTo>
                  <a:lnTo>
                    <a:pt x="326827" y="113796"/>
                  </a:lnTo>
                  <a:lnTo>
                    <a:pt x="332331" y="95358"/>
                  </a:lnTo>
                  <a:close/>
                  <a:moveTo>
                    <a:pt x="59665" y="0"/>
                  </a:moveTo>
                  <a:lnTo>
                    <a:pt x="84884" y="2190"/>
                  </a:lnTo>
                  <a:lnTo>
                    <a:pt x="87652" y="28479"/>
                  </a:lnTo>
                  <a:lnTo>
                    <a:pt x="87652" y="56957"/>
                  </a:lnTo>
                  <a:lnTo>
                    <a:pt x="75657" y="75422"/>
                  </a:lnTo>
                  <a:lnTo>
                    <a:pt x="53206" y="81055"/>
                  </a:lnTo>
                  <a:lnTo>
                    <a:pt x="31985" y="71040"/>
                  </a:lnTo>
                  <a:lnTo>
                    <a:pt x="12610" y="75422"/>
                  </a:lnTo>
                  <a:lnTo>
                    <a:pt x="0" y="64155"/>
                  </a:lnTo>
                  <a:lnTo>
                    <a:pt x="3998" y="42561"/>
                  </a:lnTo>
                  <a:lnTo>
                    <a:pt x="17838" y="14396"/>
                  </a:lnTo>
                  <a:lnTo>
                    <a:pt x="36906" y="2190"/>
                  </a:lnTo>
                  <a:close/>
                </a:path>
              </a:pathLst>
            </a:custGeom>
            <a:solidFill>
              <a:srgbClr val="FF0005"/>
            </a:solidFill>
            <a:ln w="9525" cmpd="sng">
              <a:solidFill>
                <a:schemeClr val="bg1"/>
              </a:solidFill>
              <a:prstDash val="solid"/>
              <a:round/>
              <a:headEnd/>
              <a:tailEnd/>
            </a:ln>
            <a:effectLst/>
          </p:spPr>
          <p:txBody>
            <a:bodyPr wrap="square">
              <a:noAutofit/>
            </a:bodyPr>
            <a:lstStyle/>
            <a:p>
              <a:endParaRPr lang="zh-CN" altLang="en-US" kern="0">
                <a:solidFill>
                  <a:sysClr val="windowText" lastClr="000000"/>
                </a:solidFill>
              </a:endParaRPr>
            </a:p>
          </p:txBody>
        </p:sp>
        <p:sp>
          <p:nvSpPr>
            <p:cNvPr id="329" name="Georgia">
              <a:extLst>
                <a:ext uri="{FF2B5EF4-FFF2-40B4-BE49-F238E27FC236}">
                  <a16:creationId xmlns:a16="http://schemas.microsoft.com/office/drawing/2014/main" id="{50BAE184-D6D9-43F3-B961-D868243D5B9D}"/>
                </a:ext>
              </a:extLst>
            </p:cNvPr>
            <p:cNvSpPr>
              <a:spLocks/>
            </p:cNvSpPr>
            <p:nvPr/>
          </p:nvSpPr>
          <p:spPr bwMode="auto">
            <a:xfrm>
              <a:off x="6417404" y="3730781"/>
              <a:ext cx="650902" cy="697066"/>
            </a:xfrm>
            <a:custGeom>
              <a:avLst/>
              <a:gdLst>
                <a:gd name="T0" fmla="*/ 5 w 2113"/>
                <a:gd name="T1" fmla="*/ 43 h 2269"/>
                <a:gd name="T2" fmla="*/ 28 w 2113"/>
                <a:gd name="T3" fmla="*/ 31 h 2269"/>
                <a:gd name="T4" fmla="*/ 58 w 2113"/>
                <a:gd name="T5" fmla="*/ 33 h 2269"/>
                <a:gd name="T6" fmla="*/ 79 w 2113"/>
                <a:gd name="T7" fmla="*/ 19 h 2269"/>
                <a:gd name="T8" fmla="*/ 110 w 2113"/>
                <a:gd name="T9" fmla="*/ 16 h 2269"/>
                <a:gd name="T10" fmla="*/ 148 w 2113"/>
                <a:gd name="T11" fmla="*/ 3 h 2269"/>
                <a:gd name="T12" fmla="*/ 171 w 2113"/>
                <a:gd name="T13" fmla="*/ 0 h 2269"/>
                <a:gd name="T14" fmla="*/ 179 w 2113"/>
                <a:gd name="T15" fmla="*/ 26 h 2269"/>
                <a:gd name="T16" fmla="*/ 191 w 2113"/>
                <a:gd name="T17" fmla="*/ 45 h 2269"/>
                <a:gd name="T18" fmla="*/ 214 w 2113"/>
                <a:gd name="T19" fmla="*/ 54 h 2269"/>
                <a:gd name="T20" fmla="*/ 219 w 2113"/>
                <a:gd name="T21" fmla="*/ 72 h 2269"/>
                <a:gd name="T22" fmla="*/ 247 w 2113"/>
                <a:gd name="T23" fmla="*/ 83 h 2269"/>
                <a:gd name="T24" fmla="*/ 270 w 2113"/>
                <a:gd name="T25" fmla="*/ 97 h 2269"/>
                <a:gd name="T26" fmla="*/ 289 w 2113"/>
                <a:gd name="T27" fmla="*/ 116 h 2269"/>
                <a:gd name="T28" fmla="*/ 316 w 2113"/>
                <a:gd name="T29" fmla="*/ 129 h 2269"/>
                <a:gd name="T30" fmla="*/ 355 w 2113"/>
                <a:gd name="T31" fmla="*/ 163 h 2269"/>
                <a:gd name="T32" fmla="*/ 350 w 2113"/>
                <a:gd name="T33" fmla="*/ 180 h 2269"/>
                <a:gd name="T34" fmla="*/ 377 w 2113"/>
                <a:gd name="T35" fmla="*/ 204 h 2269"/>
                <a:gd name="T36" fmla="*/ 401 w 2113"/>
                <a:gd name="T37" fmla="*/ 231 h 2269"/>
                <a:gd name="T38" fmla="*/ 384 w 2113"/>
                <a:gd name="T39" fmla="*/ 263 h 2269"/>
                <a:gd name="T40" fmla="*/ 377 w 2113"/>
                <a:gd name="T41" fmla="*/ 303 h 2269"/>
                <a:gd name="T42" fmla="*/ 384 w 2113"/>
                <a:gd name="T43" fmla="*/ 334 h 2269"/>
                <a:gd name="T44" fmla="*/ 388 w 2113"/>
                <a:gd name="T45" fmla="*/ 367 h 2269"/>
                <a:gd name="T46" fmla="*/ 367 w 2113"/>
                <a:gd name="T47" fmla="*/ 378 h 2269"/>
                <a:gd name="T48" fmla="*/ 344 w 2113"/>
                <a:gd name="T49" fmla="*/ 373 h 2269"/>
                <a:gd name="T50" fmla="*/ 334 w 2113"/>
                <a:gd name="T51" fmla="*/ 388 h 2269"/>
                <a:gd name="T52" fmla="*/ 334 w 2113"/>
                <a:gd name="T53" fmla="*/ 402 h 2269"/>
                <a:gd name="T54" fmla="*/ 329 w 2113"/>
                <a:gd name="T55" fmla="*/ 417 h 2269"/>
                <a:gd name="T56" fmla="*/ 318 w 2113"/>
                <a:gd name="T57" fmla="*/ 409 h 2269"/>
                <a:gd name="T58" fmla="*/ 284 w 2113"/>
                <a:gd name="T59" fmla="*/ 414 h 2269"/>
                <a:gd name="T60" fmla="*/ 216 w 2113"/>
                <a:gd name="T61" fmla="*/ 417 h 2269"/>
                <a:gd name="T62" fmla="*/ 162 w 2113"/>
                <a:gd name="T63" fmla="*/ 426 h 2269"/>
                <a:gd name="T64" fmla="*/ 116 w 2113"/>
                <a:gd name="T65" fmla="*/ 430 h 2269"/>
                <a:gd name="T66" fmla="*/ 96 w 2113"/>
                <a:gd name="T67" fmla="*/ 423 h 2269"/>
                <a:gd name="T68" fmla="*/ 81 w 2113"/>
                <a:gd name="T69" fmla="*/ 409 h 2269"/>
                <a:gd name="T70" fmla="*/ 88 w 2113"/>
                <a:gd name="T71" fmla="*/ 380 h 2269"/>
                <a:gd name="T72" fmla="*/ 80 w 2113"/>
                <a:gd name="T73" fmla="*/ 356 h 2269"/>
                <a:gd name="T74" fmla="*/ 76 w 2113"/>
                <a:gd name="T75" fmla="*/ 326 h 2269"/>
                <a:gd name="T76" fmla="*/ 73 w 2113"/>
                <a:gd name="T77" fmla="*/ 305 h 2269"/>
                <a:gd name="T78" fmla="*/ 79 w 2113"/>
                <a:gd name="T79" fmla="*/ 274 h 2269"/>
                <a:gd name="T80" fmla="*/ 47 w 2113"/>
                <a:gd name="T81" fmla="*/ 218 h 2269"/>
                <a:gd name="T82" fmla="*/ 33 w 2113"/>
                <a:gd name="T83" fmla="*/ 162 h 2269"/>
                <a:gd name="T84" fmla="*/ 14 w 2113"/>
                <a:gd name="T85" fmla="*/ 95 h 2269"/>
                <a:gd name="T86" fmla="*/ 0 w 2113"/>
                <a:gd name="T87" fmla="*/ 70 h 2269"/>
                <a:gd name="T88" fmla="*/ 5 w 2113"/>
                <a:gd name="T89" fmla="*/ 43 h 2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13" h="2269">
                  <a:moveTo>
                    <a:pt x="26" y="225"/>
                  </a:moveTo>
                  <a:lnTo>
                    <a:pt x="150" y="164"/>
                  </a:lnTo>
                  <a:lnTo>
                    <a:pt x="308" y="176"/>
                  </a:lnTo>
                  <a:lnTo>
                    <a:pt x="416" y="102"/>
                  </a:lnTo>
                  <a:lnTo>
                    <a:pt x="579" y="82"/>
                  </a:lnTo>
                  <a:lnTo>
                    <a:pt x="781" y="18"/>
                  </a:lnTo>
                  <a:lnTo>
                    <a:pt x="899" y="0"/>
                  </a:lnTo>
                  <a:lnTo>
                    <a:pt x="943" y="139"/>
                  </a:lnTo>
                  <a:lnTo>
                    <a:pt x="1009" y="238"/>
                  </a:lnTo>
                  <a:lnTo>
                    <a:pt x="1128" y="283"/>
                  </a:lnTo>
                  <a:lnTo>
                    <a:pt x="1153" y="379"/>
                  </a:lnTo>
                  <a:lnTo>
                    <a:pt x="1302" y="439"/>
                  </a:lnTo>
                  <a:lnTo>
                    <a:pt x="1421" y="512"/>
                  </a:lnTo>
                  <a:lnTo>
                    <a:pt x="1521" y="612"/>
                  </a:lnTo>
                  <a:lnTo>
                    <a:pt x="1663" y="679"/>
                  </a:lnTo>
                  <a:lnTo>
                    <a:pt x="1873" y="859"/>
                  </a:lnTo>
                  <a:lnTo>
                    <a:pt x="1843" y="949"/>
                  </a:lnTo>
                  <a:lnTo>
                    <a:pt x="1987" y="1079"/>
                  </a:lnTo>
                  <a:lnTo>
                    <a:pt x="2113" y="1219"/>
                  </a:lnTo>
                  <a:lnTo>
                    <a:pt x="2024" y="1390"/>
                  </a:lnTo>
                  <a:lnTo>
                    <a:pt x="1987" y="1600"/>
                  </a:lnTo>
                  <a:lnTo>
                    <a:pt x="2024" y="1764"/>
                  </a:lnTo>
                  <a:lnTo>
                    <a:pt x="2042" y="1938"/>
                  </a:lnTo>
                  <a:lnTo>
                    <a:pt x="1933" y="1993"/>
                  </a:lnTo>
                  <a:lnTo>
                    <a:pt x="1813" y="1969"/>
                  </a:lnTo>
                  <a:lnTo>
                    <a:pt x="1759" y="2048"/>
                  </a:lnTo>
                  <a:lnTo>
                    <a:pt x="1759" y="2121"/>
                  </a:lnTo>
                  <a:lnTo>
                    <a:pt x="1731" y="2203"/>
                  </a:lnTo>
                  <a:lnTo>
                    <a:pt x="1677" y="2158"/>
                  </a:lnTo>
                  <a:lnTo>
                    <a:pt x="1494" y="2185"/>
                  </a:lnTo>
                  <a:lnTo>
                    <a:pt x="1137" y="2203"/>
                  </a:lnTo>
                  <a:lnTo>
                    <a:pt x="854" y="2249"/>
                  </a:lnTo>
                  <a:lnTo>
                    <a:pt x="613" y="2269"/>
                  </a:lnTo>
                  <a:lnTo>
                    <a:pt x="506" y="2231"/>
                  </a:lnTo>
                  <a:lnTo>
                    <a:pt x="426" y="2156"/>
                  </a:lnTo>
                  <a:lnTo>
                    <a:pt x="464" y="2007"/>
                  </a:lnTo>
                  <a:lnTo>
                    <a:pt x="423" y="1877"/>
                  </a:lnTo>
                  <a:lnTo>
                    <a:pt x="402" y="1718"/>
                  </a:lnTo>
                  <a:lnTo>
                    <a:pt x="383" y="1610"/>
                  </a:lnTo>
                  <a:lnTo>
                    <a:pt x="416" y="1448"/>
                  </a:lnTo>
                  <a:lnTo>
                    <a:pt x="246" y="1148"/>
                  </a:lnTo>
                  <a:lnTo>
                    <a:pt x="173" y="857"/>
                  </a:lnTo>
                  <a:lnTo>
                    <a:pt x="72" y="500"/>
                  </a:lnTo>
                  <a:lnTo>
                    <a:pt x="0" y="369"/>
                  </a:lnTo>
                  <a:lnTo>
                    <a:pt x="26" y="225"/>
                  </a:lnTo>
                  <a:close/>
                </a:path>
              </a:pathLst>
            </a:custGeom>
            <a:solidFill>
              <a:srgbClr val="960004"/>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30" name="Florida">
              <a:extLst>
                <a:ext uri="{FF2B5EF4-FFF2-40B4-BE49-F238E27FC236}">
                  <a16:creationId xmlns:a16="http://schemas.microsoft.com/office/drawing/2014/main" id="{B5175027-9D67-4F57-98B0-5DD4D67E9833}"/>
                </a:ext>
              </a:extLst>
            </p:cNvPr>
            <p:cNvSpPr>
              <a:spLocks/>
            </p:cNvSpPr>
            <p:nvPr/>
          </p:nvSpPr>
          <p:spPr bwMode="auto">
            <a:xfrm>
              <a:off x="6243721" y="4325719"/>
              <a:ext cx="1098906" cy="857553"/>
            </a:xfrm>
            <a:custGeom>
              <a:avLst/>
              <a:gdLst>
                <a:gd name="T0" fmla="*/ 33 w 3573"/>
                <a:gd name="T1" fmla="*/ 131 h 2793"/>
                <a:gd name="T2" fmla="*/ 62 w 3573"/>
                <a:gd name="T3" fmla="*/ 131 h 2793"/>
                <a:gd name="T4" fmla="*/ 118 w 3573"/>
                <a:gd name="T5" fmla="*/ 129 h 2793"/>
                <a:gd name="T6" fmla="*/ 175 w 3573"/>
                <a:gd name="T7" fmla="*/ 153 h 2793"/>
                <a:gd name="T8" fmla="*/ 221 w 3573"/>
                <a:gd name="T9" fmla="*/ 160 h 2793"/>
                <a:gd name="T10" fmla="*/ 257 w 3573"/>
                <a:gd name="T11" fmla="*/ 136 h 2793"/>
                <a:gd name="T12" fmla="*/ 301 w 3573"/>
                <a:gd name="T13" fmla="*/ 113 h 2793"/>
                <a:gd name="T14" fmla="*/ 339 w 3573"/>
                <a:gd name="T15" fmla="*/ 148 h 2793"/>
                <a:gd name="T16" fmla="*/ 380 w 3573"/>
                <a:gd name="T17" fmla="*/ 177 h 2793"/>
                <a:gd name="T18" fmla="*/ 414 w 3573"/>
                <a:gd name="T19" fmla="*/ 220 h 2793"/>
                <a:gd name="T20" fmla="*/ 419 w 3573"/>
                <a:gd name="T21" fmla="*/ 266 h 2793"/>
                <a:gd name="T22" fmla="*/ 426 w 3573"/>
                <a:gd name="T23" fmla="*/ 308 h 2793"/>
                <a:gd name="T24" fmla="*/ 448 w 3573"/>
                <a:gd name="T25" fmla="*/ 296 h 2793"/>
                <a:gd name="T26" fmla="*/ 448 w 3573"/>
                <a:gd name="T27" fmla="*/ 319 h 2793"/>
                <a:gd name="T28" fmla="*/ 461 w 3573"/>
                <a:gd name="T29" fmla="*/ 369 h 2793"/>
                <a:gd name="T30" fmla="*/ 500 w 3573"/>
                <a:gd name="T31" fmla="*/ 370 h 2793"/>
                <a:gd name="T32" fmla="*/ 537 w 3573"/>
                <a:gd name="T33" fmla="*/ 429 h 2793"/>
                <a:gd name="T34" fmla="*/ 551 w 3573"/>
                <a:gd name="T35" fmla="*/ 472 h 2793"/>
                <a:gd name="T36" fmla="*/ 596 w 3573"/>
                <a:gd name="T37" fmla="*/ 501 h 2793"/>
                <a:gd name="T38" fmla="*/ 602 w 3573"/>
                <a:gd name="T39" fmla="*/ 529 h 2793"/>
                <a:gd name="T40" fmla="*/ 638 w 3573"/>
                <a:gd name="T41" fmla="*/ 525 h 2793"/>
                <a:gd name="T42" fmla="*/ 659 w 3573"/>
                <a:gd name="T43" fmla="*/ 518 h 2793"/>
                <a:gd name="T44" fmla="*/ 662 w 3573"/>
                <a:gd name="T45" fmla="*/ 474 h 2793"/>
                <a:gd name="T46" fmla="*/ 677 w 3573"/>
                <a:gd name="T47" fmla="*/ 429 h 2793"/>
                <a:gd name="T48" fmla="*/ 670 w 3573"/>
                <a:gd name="T49" fmla="*/ 353 h 2793"/>
                <a:gd name="T50" fmla="*/ 591 w 3573"/>
                <a:gd name="T51" fmla="*/ 222 h 2793"/>
                <a:gd name="T52" fmla="*/ 591 w 3573"/>
                <a:gd name="T53" fmla="*/ 188 h 2793"/>
                <a:gd name="T54" fmla="*/ 613 w 3573"/>
                <a:gd name="T55" fmla="*/ 227 h 2793"/>
                <a:gd name="T56" fmla="*/ 596 w 3573"/>
                <a:gd name="T57" fmla="*/ 182 h 2793"/>
                <a:gd name="T58" fmla="*/ 551 w 3573"/>
                <a:gd name="T59" fmla="*/ 137 h 2793"/>
                <a:gd name="T60" fmla="*/ 528 w 3573"/>
                <a:gd name="T61" fmla="*/ 93 h 2793"/>
                <a:gd name="T62" fmla="*/ 513 w 3573"/>
                <a:gd name="T63" fmla="*/ 43 h 2793"/>
                <a:gd name="T64" fmla="*/ 492 w 3573"/>
                <a:gd name="T65" fmla="*/ 50 h 2793"/>
                <a:gd name="T66" fmla="*/ 483 w 3573"/>
                <a:gd name="T67" fmla="*/ 69 h 2793"/>
                <a:gd name="T68" fmla="*/ 494 w 3573"/>
                <a:gd name="T69" fmla="*/ 18 h 2793"/>
                <a:gd name="T70" fmla="*/ 474 w 3573"/>
                <a:gd name="T71" fmla="*/ 10 h 2793"/>
                <a:gd name="T72" fmla="*/ 441 w 3573"/>
                <a:gd name="T73" fmla="*/ 21 h 2793"/>
                <a:gd name="T74" fmla="*/ 435 w 3573"/>
                <a:gd name="T75" fmla="*/ 51 h 2793"/>
                <a:gd name="T76" fmla="*/ 388 w 3573"/>
                <a:gd name="T77" fmla="*/ 47 h 2793"/>
                <a:gd name="T78" fmla="*/ 271 w 3573"/>
                <a:gd name="T79" fmla="*/ 59 h 2793"/>
                <a:gd name="T80" fmla="*/ 204 w 3573"/>
                <a:gd name="T81" fmla="*/ 56 h 2793"/>
                <a:gd name="T82" fmla="*/ 124 w 3573"/>
                <a:gd name="T83" fmla="*/ 56 h 2793"/>
                <a:gd name="T84" fmla="*/ 37 w 3573"/>
                <a:gd name="T85" fmla="*/ 78 h 2793"/>
                <a:gd name="T86" fmla="*/ 0 w 3573"/>
                <a:gd name="T87" fmla="*/ 110 h 27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573" h="2793">
                  <a:moveTo>
                    <a:pt x="32" y="756"/>
                  </a:moveTo>
                  <a:lnTo>
                    <a:pt x="176" y="693"/>
                  </a:lnTo>
                  <a:lnTo>
                    <a:pt x="206" y="633"/>
                  </a:lnTo>
                  <a:lnTo>
                    <a:pt x="326" y="693"/>
                  </a:lnTo>
                  <a:lnTo>
                    <a:pt x="441" y="616"/>
                  </a:lnTo>
                  <a:lnTo>
                    <a:pt x="621" y="682"/>
                  </a:lnTo>
                  <a:lnTo>
                    <a:pt x="795" y="646"/>
                  </a:lnTo>
                  <a:lnTo>
                    <a:pt x="921" y="808"/>
                  </a:lnTo>
                  <a:lnTo>
                    <a:pt x="1016" y="873"/>
                  </a:lnTo>
                  <a:lnTo>
                    <a:pt x="1166" y="843"/>
                  </a:lnTo>
                  <a:lnTo>
                    <a:pt x="1269" y="820"/>
                  </a:lnTo>
                  <a:lnTo>
                    <a:pt x="1359" y="718"/>
                  </a:lnTo>
                  <a:lnTo>
                    <a:pt x="1443" y="628"/>
                  </a:lnTo>
                  <a:lnTo>
                    <a:pt x="1587" y="598"/>
                  </a:lnTo>
                  <a:lnTo>
                    <a:pt x="1676" y="663"/>
                  </a:lnTo>
                  <a:lnTo>
                    <a:pt x="1791" y="784"/>
                  </a:lnTo>
                  <a:lnTo>
                    <a:pt x="1827" y="873"/>
                  </a:lnTo>
                  <a:lnTo>
                    <a:pt x="2007" y="934"/>
                  </a:lnTo>
                  <a:lnTo>
                    <a:pt x="2127" y="994"/>
                  </a:lnTo>
                  <a:lnTo>
                    <a:pt x="2187" y="1162"/>
                  </a:lnTo>
                  <a:lnTo>
                    <a:pt x="2187" y="1263"/>
                  </a:lnTo>
                  <a:lnTo>
                    <a:pt x="2211" y="1402"/>
                  </a:lnTo>
                  <a:lnTo>
                    <a:pt x="2211" y="1516"/>
                  </a:lnTo>
                  <a:lnTo>
                    <a:pt x="2247" y="1624"/>
                  </a:lnTo>
                  <a:lnTo>
                    <a:pt x="2289" y="1582"/>
                  </a:lnTo>
                  <a:lnTo>
                    <a:pt x="2367" y="1563"/>
                  </a:lnTo>
                  <a:lnTo>
                    <a:pt x="2391" y="1636"/>
                  </a:lnTo>
                  <a:lnTo>
                    <a:pt x="2367" y="1683"/>
                  </a:lnTo>
                  <a:lnTo>
                    <a:pt x="2349" y="1786"/>
                  </a:lnTo>
                  <a:lnTo>
                    <a:pt x="2433" y="1948"/>
                  </a:lnTo>
                  <a:lnTo>
                    <a:pt x="2565" y="2050"/>
                  </a:lnTo>
                  <a:lnTo>
                    <a:pt x="2637" y="1953"/>
                  </a:lnTo>
                  <a:lnTo>
                    <a:pt x="2715" y="2152"/>
                  </a:lnTo>
                  <a:lnTo>
                    <a:pt x="2835" y="2266"/>
                  </a:lnTo>
                  <a:lnTo>
                    <a:pt x="2883" y="2404"/>
                  </a:lnTo>
                  <a:lnTo>
                    <a:pt x="2907" y="2493"/>
                  </a:lnTo>
                  <a:lnTo>
                    <a:pt x="3057" y="2493"/>
                  </a:lnTo>
                  <a:lnTo>
                    <a:pt x="3147" y="2643"/>
                  </a:lnTo>
                  <a:lnTo>
                    <a:pt x="3237" y="2703"/>
                  </a:lnTo>
                  <a:lnTo>
                    <a:pt x="3177" y="2793"/>
                  </a:lnTo>
                  <a:lnTo>
                    <a:pt x="3267" y="2793"/>
                  </a:lnTo>
                  <a:lnTo>
                    <a:pt x="3369" y="2770"/>
                  </a:lnTo>
                  <a:lnTo>
                    <a:pt x="3387" y="2703"/>
                  </a:lnTo>
                  <a:lnTo>
                    <a:pt x="3477" y="2733"/>
                  </a:lnTo>
                  <a:lnTo>
                    <a:pt x="3537" y="2583"/>
                  </a:lnTo>
                  <a:lnTo>
                    <a:pt x="3495" y="2500"/>
                  </a:lnTo>
                  <a:lnTo>
                    <a:pt x="3549" y="2428"/>
                  </a:lnTo>
                  <a:lnTo>
                    <a:pt x="3573" y="2266"/>
                  </a:lnTo>
                  <a:lnTo>
                    <a:pt x="3573" y="2086"/>
                  </a:lnTo>
                  <a:lnTo>
                    <a:pt x="3537" y="1863"/>
                  </a:lnTo>
                  <a:lnTo>
                    <a:pt x="3387" y="1503"/>
                  </a:lnTo>
                  <a:lnTo>
                    <a:pt x="3117" y="1173"/>
                  </a:lnTo>
                  <a:lnTo>
                    <a:pt x="3027" y="993"/>
                  </a:lnTo>
                  <a:lnTo>
                    <a:pt x="3117" y="993"/>
                  </a:lnTo>
                  <a:lnTo>
                    <a:pt x="3183" y="1096"/>
                  </a:lnTo>
                  <a:lnTo>
                    <a:pt x="3237" y="1198"/>
                  </a:lnTo>
                  <a:lnTo>
                    <a:pt x="3273" y="1198"/>
                  </a:lnTo>
                  <a:lnTo>
                    <a:pt x="3147" y="963"/>
                  </a:lnTo>
                  <a:lnTo>
                    <a:pt x="3021" y="832"/>
                  </a:lnTo>
                  <a:lnTo>
                    <a:pt x="2907" y="723"/>
                  </a:lnTo>
                  <a:lnTo>
                    <a:pt x="2865" y="604"/>
                  </a:lnTo>
                  <a:lnTo>
                    <a:pt x="2787" y="490"/>
                  </a:lnTo>
                  <a:lnTo>
                    <a:pt x="2733" y="370"/>
                  </a:lnTo>
                  <a:lnTo>
                    <a:pt x="2709" y="226"/>
                  </a:lnTo>
                  <a:lnTo>
                    <a:pt x="2637" y="183"/>
                  </a:lnTo>
                  <a:lnTo>
                    <a:pt x="2595" y="262"/>
                  </a:lnTo>
                  <a:lnTo>
                    <a:pt x="2643" y="448"/>
                  </a:lnTo>
                  <a:lnTo>
                    <a:pt x="2547" y="364"/>
                  </a:lnTo>
                  <a:lnTo>
                    <a:pt x="2547" y="213"/>
                  </a:lnTo>
                  <a:lnTo>
                    <a:pt x="2607" y="93"/>
                  </a:lnTo>
                  <a:lnTo>
                    <a:pt x="2609" y="0"/>
                  </a:lnTo>
                  <a:lnTo>
                    <a:pt x="2499" y="55"/>
                  </a:lnTo>
                  <a:lnTo>
                    <a:pt x="2379" y="31"/>
                  </a:lnTo>
                  <a:lnTo>
                    <a:pt x="2325" y="112"/>
                  </a:lnTo>
                  <a:lnTo>
                    <a:pt x="2325" y="184"/>
                  </a:lnTo>
                  <a:lnTo>
                    <a:pt x="2298" y="268"/>
                  </a:lnTo>
                  <a:lnTo>
                    <a:pt x="2246" y="220"/>
                  </a:lnTo>
                  <a:lnTo>
                    <a:pt x="2049" y="249"/>
                  </a:lnTo>
                  <a:lnTo>
                    <a:pt x="1703" y="265"/>
                  </a:lnTo>
                  <a:lnTo>
                    <a:pt x="1430" y="310"/>
                  </a:lnTo>
                  <a:lnTo>
                    <a:pt x="1185" y="333"/>
                  </a:lnTo>
                  <a:lnTo>
                    <a:pt x="1076" y="295"/>
                  </a:lnTo>
                  <a:lnTo>
                    <a:pt x="992" y="220"/>
                  </a:lnTo>
                  <a:lnTo>
                    <a:pt x="653" y="297"/>
                  </a:lnTo>
                  <a:lnTo>
                    <a:pt x="329" y="400"/>
                  </a:lnTo>
                  <a:lnTo>
                    <a:pt x="195" y="414"/>
                  </a:lnTo>
                  <a:lnTo>
                    <a:pt x="2" y="459"/>
                  </a:lnTo>
                  <a:lnTo>
                    <a:pt x="0" y="580"/>
                  </a:lnTo>
                  <a:lnTo>
                    <a:pt x="32" y="756"/>
                  </a:lnTo>
                  <a:close/>
                </a:path>
              </a:pathLst>
            </a:custGeom>
            <a:solidFill>
              <a:srgbClr val="420002"/>
            </a:solidFill>
            <a:ln w="6350" cmpd="sng">
              <a:solidFill>
                <a:schemeClr val="bg1"/>
              </a:solidFill>
              <a:prstDash val="solid"/>
              <a:round/>
              <a:headEnd/>
              <a:tailEnd/>
            </a:ln>
            <a:effectLst/>
          </p:spPr>
          <p:txBody>
            <a:bodyPr/>
            <a:lstStyle/>
            <a:p>
              <a:pPr fontAlgn="base">
                <a:spcBef>
                  <a:spcPct val="0"/>
                </a:spcBef>
                <a:spcAft>
                  <a:spcPct val="0"/>
                </a:spcAft>
              </a:pPr>
              <a:endParaRPr lang="zh-CN" altLang="en-US" b="1" kern="0">
                <a:solidFill>
                  <a:srgbClr val="000000"/>
                </a:solidFill>
                <a:latin typeface="Arial" charset="0"/>
              </a:endParaRPr>
            </a:p>
          </p:txBody>
        </p:sp>
        <p:sp>
          <p:nvSpPr>
            <p:cNvPr id="331" name="Delaware">
              <a:extLst>
                <a:ext uri="{FF2B5EF4-FFF2-40B4-BE49-F238E27FC236}">
                  <a16:creationId xmlns:a16="http://schemas.microsoft.com/office/drawing/2014/main" id="{DD921D3B-AFF6-46B4-B68B-4F7A850895F3}"/>
                </a:ext>
              </a:extLst>
            </p:cNvPr>
            <p:cNvSpPr>
              <a:spLocks/>
            </p:cNvSpPr>
            <p:nvPr/>
          </p:nvSpPr>
          <p:spPr bwMode="auto">
            <a:xfrm>
              <a:off x="7410802" y="2745163"/>
              <a:ext cx="134725" cy="186425"/>
            </a:xfrm>
            <a:custGeom>
              <a:avLst/>
              <a:gdLst>
                <a:gd name="T0" fmla="*/ 64 w 438"/>
                <a:gd name="T1" fmla="*/ 107 h 605"/>
                <a:gd name="T2" fmla="*/ 78 w 438"/>
                <a:gd name="T3" fmla="*/ 105 h 605"/>
                <a:gd name="T4" fmla="*/ 83 w 438"/>
                <a:gd name="T5" fmla="*/ 79 h 605"/>
                <a:gd name="T6" fmla="*/ 66 w 438"/>
                <a:gd name="T7" fmla="*/ 62 h 605"/>
                <a:gd name="T8" fmla="*/ 49 w 438"/>
                <a:gd name="T9" fmla="*/ 49 h 605"/>
                <a:gd name="T10" fmla="*/ 33 w 438"/>
                <a:gd name="T11" fmla="*/ 31 h 605"/>
                <a:gd name="T12" fmla="*/ 22 w 438"/>
                <a:gd name="T13" fmla="*/ 0 h 605"/>
                <a:gd name="T14" fmla="*/ 0 w 438"/>
                <a:gd name="T15" fmla="*/ 2 h 605"/>
                <a:gd name="T16" fmla="*/ 7 w 438"/>
                <a:gd name="T17" fmla="*/ 19 h 605"/>
                <a:gd name="T18" fmla="*/ 15 w 438"/>
                <a:gd name="T19" fmla="*/ 33 h 605"/>
                <a:gd name="T20" fmla="*/ 19 w 438"/>
                <a:gd name="T21" fmla="*/ 52 h 605"/>
                <a:gd name="T22" fmla="*/ 26 w 438"/>
                <a:gd name="T23" fmla="*/ 63 h 605"/>
                <a:gd name="T24" fmla="*/ 31 w 438"/>
                <a:gd name="T25" fmla="*/ 82 h 605"/>
                <a:gd name="T26" fmla="*/ 40 w 438"/>
                <a:gd name="T27" fmla="*/ 104 h 605"/>
                <a:gd name="T28" fmla="*/ 45 w 438"/>
                <a:gd name="T29" fmla="*/ 115 h 605"/>
                <a:gd name="T30" fmla="*/ 64 w 438"/>
                <a:gd name="T31" fmla="*/ 107 h 6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8" h="605">
                  <a:moveTo>
                    <a:pt x="336" y="563"/>
                  </a:moveTo>
                  <a:lnTo>
                    <a:pt x="410" y="552"/>
                  </a:lnTo>
                  <a:lnTo>
                    <a:pt x="438" y="415"/>
                  </a:lnTo>
                  <a:lnTo>
                    <a:pt x="348" y="325"/>
                  </a:lnTo>
                  <a:lnTo>
                    <a:pt x="258" y="258"/>
                  </a:lnTo>
                  <a:lnTo>
                    <a:pt x="174" y="162"/>
                  </a:lnTo>
                  <a:lnTo>
                    <a:pt x="117" y="0"/>
                  </a:lnTo>
                  <a:lnTo>
                    <a:pt x="0" y="12"/>
                  </a:lnTo>
                  <a:lnTo>
                    <a:pt x="35" y="101"/>
                  </a:lnTo>
                  <a:lnTo>
                    <a:pt x="78" y="176"/>
                  </a:lnTo>
                  <a:lnTo>
                    <a:pt x="102" y="272"/>
                  </a:lnTo>
                  <a:lnTo>
                    <a:pt x="137" y="333"/>
                  </a:lnTo>
                  <a:lnTo>
                    <a:pt x="164" y="432"/>
                  </a:lnTo>
                  <a:lnTo>
                    <a:pt x="210" y="549"/>
                  </a:lnTo>
                  <a:lnTo>
                    <a:pt x="240" y="605"/>
                  </a:lnTo>
                  <a:lnTo>
                    <a:pt x="336" y="563"/>
                  </a:lnTo>
                  <a:close/>
                </a:path>
              </a:pathLst>
            </a:custGeom>
            <a:solidFill>
              <a:srgbClr val="BFCAD2"/>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32" name="Connecticut">
              <a:extLst>
                <a:ext uri="{FF2B5EF4-FFF2-40B4-BE49-F238E27FC236}">
                  <a16:creationId xmlns:a16="http://schemas.microsoft.com/office/drawing/2014/main" id="{FDAFB147-648E-4551-B1EC-4B30FEA7B0A6}"/>
                </a:ext>
              </a:extLst>
            </p:cNvPr>
            <p:cNvSpPr>
              <a:spLocks/>
            </p:cNvSpPr>
            <p:nvPr/>
          </p:nvSpPr>
          <p:spPr bwMode="auto">
            <a:xfrm>
              <a:off x="7561759" y="2244248"/>
              <a:ext cx="215886" cy="192909"/>
            </a:xfrm>
            <a:custGeom>
              <a:avLst/>
              <a:gdLst>
                <a:gd name="T0" fmla="*/ 34 w 700"/>
                <a:gd name="T1" fmla="*/ 119 h 630"/>
                <a:gd name="T2" fmla="*/ 93 w 700"/>
                <a:gd name="T3" fmla="*/ 80 h 630"/>
                <a:gd name="T4" fmla="*/ 133 w 700"/>
                <a:gd name="T5" fmla="*/ 55 h 630"/>
                <a:gd name="T6" fmla="*/ 130 w 700"/>
                <a:gd name="T7" fmla="*/ 24 h 630"/>
                <a:gd name="T8" fmla="*/ 104 w 700"/>
                <a:gd name="T9" fmla="*/ 0 h 630"/>
                <a:gd name="T10" fmla="*/ 0 w 700"/>
                <a:gd name="T11" fmla="*/ 52 h 630"/>
                <a:gd name="T12" fmla="*/ 6 w 700"/>
                <a:gd name="T13" fmla="*/ 73 h 630"/>
                <a:gd name="T14" fmla="*/ 23 w 700"/>
                <a:gd name="T15" fmla="*/ 87 h 630"/>
                <a:gd name="T16" fmla="*/ 25 w 700"/>
                <a:gd name="T17" fmla="*/ 108 h 630"/>
                <a:gd name="T18" fmla="*/ 34 w 700"/>
                <a:gd name="T19" fmla="*/ 119 h 6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0" h="630">
                  <a:moveTo>
                    <a:pt x="181" y="630"/>
                  </a:moveTo>
                  <a:lnTo>
                    <a:pt x="490" y="421"/>
                  </a:lnTo>
                  <a:lnTo>
                    <a:pt x="700" y="293"/>
                  </a:lnTo>
                  <a:lnTo>
                    <a:pt x="682" y="128"/>
                  </a:lnTo>
                  <a:lnTo>
                    <a:pt x="545" y="0"/>
                  </a:lnTo>
                  <a:lnTo>
                    <a:pt x="0" y="276"/>
                  </a:lnTo>
                  <a:lnTo>
                    <a:pt x="31" y="388"/>
                  </a:lnTo>
                  <a:lnTo>
                    <a:pt x="120" y="463"/>
                  </a:lnTo>
                  <a:lnTo>
                    <a:pt x="130" y="570"/>
                  </a:lnTo>
                  <a:lnTo>
                    <a:pt x="181" y="630"/>
                  </a:lnTo>
                  <a:close/>
                </a:path>
              </a:pathLst>
            </a:custGeom>
            <a:solidFill>
              <a:srgbClr val="BFCAD2"/>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33" name="Colorado">
              <a:extLst>
                <a:ext uri="{FF2B5EF4-FFF2-40B4-BE49-F238E27FC236}">
                  <a16:creationId xmlns:a16="http://schemas.microsoft.com/office/drawing/2014/main" id="{9AC307BA-644D-4F8B-8F8F-B5C31719D709}"/>
                </a:ext>
              </a:extLst>
            </p:cNvPr>
            <p:cNvSpPr>
              <a:spLocks/>
            </p:cNvSpPr>
            <p:nvPr/>
          </p:nvSpPr>
          <p:spPr bwMode="auto">
            <a:xfrm>
              <a:off x="3425849" y="3027231"/>
              <a:ext cx="886267" cy="671128"/>
            </a:xfrm>
            <a:custGeom>
              <a:avLst/>
              <a:gdLst>
                <a:gd name="T0" fmla="*/ 43 w 2886"/>
                <a:gd name="T1" fmla="*/ 0 h 2181"/>
                <a:gd name="T2" fmla="*/ 21 w 2886"/>
                <a:gd name="T3" fmla="*/ 141 h 2181"/>
                <a:gd name="T4" fmla="*/ 0 w 2886"/>
                <a:gd name="T5" fmla="*/ 388 h 2181"/>
                <a:gd name="T6" fmla="*/ 215 w 2886"/>
                <a:gd name="T7" fmla="*/ 404 h 2181"/>
                <a:gd name="T8" fmla="*/ 386 w 2886"/>
                <a:gd name="T9" fmla="*/ 412 h 2181"/>
                <a:gd name="T10" fmla="*/ 536 w 2886"/>
                <a:gd name="T11" fmla="*/ 414 h 2181"/>
                <a:gd name="T12" fmla="*/ 535 w 2886"/>
                <a:gd name="T13" fmla="*/ 196 h 2181"/>
                <a:gd name="T14" fmla="*/ 546 w 2886"/>
                <a:gd name="T15" fmla="*/ 112 h 2181"/>
                <a:gd name="T16" fmla="*/ 543 w 2886"/>
                <a:gd name="T17" fmla="*/ 80 h 2181"/>
                <a:gd name="T18" fmla="*/ 540 w 2886"/>
                <a:gd name="T19" fmla="*/ 51 h 2181"/>
                <a:gd name="T20" fmla="*/ 543 w 2886"/>
                <a:gd name="T21" fmla="*/ 28 h 2181"/>
                <a:gd name="T22" fmla="*/ 519 w 2886"/>
                <a:gd name="T23" fmla="*/ 32 h 2181"/>
                <a:gd name="T24" fmla="*/ 396 w 2886"/>
                <a:gd name="T25" fmla="*/ 30 h 2181"/>
                <a:gd name="T26" fmla="*/ 72 w 2886"/>
                <a:gd name="T27" fmla="*/ 2 h 2181"/>
                <a:gd name="T28" fmla="*/ 43 w 2886"/>
                <a:gd name="T29" fmla="*/ 0 h 2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86" h="2181">
                  <a:moveTo>
                    <a:pt x="227" y="0"/>
                  </a:moveTo>
                  <a:lnTo>
                    <a:pt x="110" y="741"/>
                  </a:lnTo>
                  <a:lnTo>
                    <a:pt x="0" y="2044"/>
                  </a:lnTo>
                  <a:lnTo>
                    <a:pt x="1134" y="2128"/>
                  </a:lnTo>
                  <a:lnTo>
                    <a:pt x="2040" y="2170"/>
                  </a:lnTo>
                  <a:lnTo>
                    <a:pt x="2835" y="2181"/>
                  </a:lnTo>
                  <a:lnTo>
                    <a:pt x="2826" y="1035"/>
                  </a:lnTo>
                  <a:lnTo>
                    <a:pt x="2886" y="591"/>
                  </a:lnTo>
                  <a:lnTo>
                    <a:pt x="2868" y="423"/>
                  </a:lnTo>
                  <a:lnTo>
                    <a:pt x="2856" y="267"/>
                  </a:lnTo>
                  <a:lnTo>
                    <a:pt x="2868" y="147"/>
                  </a:lnTo>
                  <a:lnTo>
                    <a:pt x="2745" y="169"/>
                  </a:lnTo>
                  <a:lnTo>
                    <a:pt x="2093" y="157"/>
                  </a:lnTo>
                  <a:lnTo>
                    <a:pt x="380" y="12"/>
                  </a:lnTo>
                  <a:lnTo>
                    <a:pt x="227" y="0"/>
                  </a:lnTo>
                  <a:close/>
                </a:path>
              </a:pathLst>
            </a:custGeom>
            <a:solidFill>
              <a:srgbClr val="FFD9DA"/>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34" name="California">
              <a:extLst>
                <a:ext uri="{FF2B5EF4-FFF2-40B4-BE49-F238E27FC236}">
                  <a16:creationId xmlns:a16="http://schemas.microsoft.com/office/drawing/2014/main" id="{A2945149-23C9-4E1A-9F03-978E6A05432C}"/>
                </a:ext>
              </a:extLst>
            </p:cNvPr>
            <p:cNvSpPr>
              <a:spLocks/>
            </p:cNvSpPr>
            <p:nvPr/>
          </p:nvSpPr>
          <p:spPr bwMode="auto">
            <a:xfrm>
              <a:off x="1650069" y="2503621"/>
              <a:ext cx="1074557" cy="1716727"/>
            </a:xfrm>
            <a:custGeom>
              <a:avLst/>
              <a:gdLst>
                <a:gd name="T0" fmla="*/ 42 w 3498"/>
                <a:gd name="T1" fmla="*/ 24 h 5586"/>
                <a:gd name="T2" fmla="*/ 38 w 3498"/>
                <a:gd name="T3" fmla="*/ 71 h 5586"/>
                <a:gd name="T4" fmla="*/ 0 w 3498"/>
                <a:gd name="T5" fmla="*/ 138 h 5586"/>
                <a:gd name="T6" fmla="*/ 23 w 3498"/>
                <a:gd name="T7" fmla="*/ 193 h 5586"/>
                <a:gd name="T8" fmla="*/ 25 w 3498"/>
                <a:gd name="T9" fmla="*/ 248 h 5586"/>
                <a:gd name="T10" fmla="*/ 28 w 3498"/>
                <a:gd name="T11" fmla="*/ 341 h 5586"/>
                <a:gd name="T12" fmla="*/ 47 w 3498"/>
                <a:gd name="T13" fmla="*/ 399 h 5586"/>
                <a:gd name="T14" fmla="*/ 64 w 3498"/>
                <a:gd name="T15" fmla="*/ 430 h 5586"/>
                <a:gd name="T16" fmla="*/ 91 w 3498"/>
                <a:gd name="T17" fmla="*/ 390 h 5586"/>
                <a:gd name="T18" fmla="*/ 92 w 3498"/>
                <a:gd name="T19" fmla="*/ 425 h 5586"/>
                <a:gd name="T20" fmla="*/ 72 w 3498"/>
                <a:gd name="T21" fmla="*/ 452 h 5586"/>
                <a:gd name="T22" fmla="*/ 61 w 3498"/>
                <a:gd name="T23" fmla="*/ 486 h 5586"/>
                <a:gd name="T24" fmla="*/ 111 w 3498"/>
                <a:gd name="T25" fmla="*/ 538 h 5586"/>
                <a:gd name="T26" fmla="*/ 90 w 3498"/>
                <a:gd name="T27" fmla="*/ 569 h 5586"/>
                <a:gd name="T28" fmla="*/ 124 w 3498"/>
                <a:gd name="T29" fmla="*/ 637 h 5586"/>
                <a:gd name="T30" fmla="*/ 152 w 3498"/>
                <a:gd name="T31" fmla="*/ 708 h 5586"/>
                <a:gd name="T32" fmla="*/ 156 w 3498"/>
                <a:gd name="T33" fmla="*/ 783 h 5586"/>
                <a:gd name="T34" fmla="*/ 235 w 3498"/>
                <a:gd name="T35" fmla="*/ 820 h 5586"/>
                <a:gd name="T36" fmla="*/ 288 w 3498"/>
                <a:gd name="T37" fmla="*/ 862 h 5586"/>
                <a:gd name="T38" fmla="*/ 322 w 3498"/>
                <a:gd name="T39" fmla="*/ 879 h 5586"/>
                <a:gd name="T40" fmla="*/ 351 w 3498"/>
                <a:gd name="T41" fmla="*/ 918 h 5586"/>
                <a:gd name="T42" fmla="*/ 385 w 3498"/>
                <a:gd name="T43" fmla="*/ 959 h 5586"/>
                <a:gd name="T44" fmla="*/ 395 w 3498"/>
                <a:gd name="T45" fmla="*/ 1023 h 5586"/>
                <a:gd name="T46" fmla="*/ 441 w 3498"/>
                <a:gd name="T47" fmla="*/ 1040 h 5586"/>
                <a:gd name="T48" fmla="*/ 503 w 3498"/>
                <a:gd name="T49" fmla="*/ 1049 h 5586"/>
                <a:gd name="T50" fmla="*/ 594 w 3498"/>
                <a:gd name="T51" fmla="*/ 1059 h 5586"/>
                <a:gd name="T52" fmla="*/ 612 w 3498"/>
                <a:gd name="T53" fmla="*/ 1027 h 5586"/>
                <a:gd name="T54" fmla="*/ 612 w 3498"/>
                <a:gd name="T55" fmla="*/ 983 h 5586"/>
                <a:gd name="T56" fmla="*/ 623 w 3498"/>
                <a:gd name="T57" fmla="*/ 953 h 5586"/>
                <a:gd name="T58" fmla="*/ 646 w 3498"/>
                <a:gd name="T59" fmla="*/ 919 h 5586"/>
                <a:gd name="T60" fmla="*/ 657 w 3498"/>
                <a:gd name="T61" fmla="*/ 919 h 5586"/>
                <a:gd name="T62" fmla="*/ 640 w 3498"/>
                <a:gd name="T63" fmla="*/ 867 h 5586"/>
                <a:gd name="T64" fmla="*/ 561 w 3498"/>
                <a:gd name="T65" fmla="*/ 737 h 5586"/>
                <a:gd name="T66" fmla="*/ 402 w 3498"/>
                <a:gd name="T67" fmla="*/ 513 h 5586"/>
                <a:gd name="T68" fmla="*/ 295 w 3498"/>
                <a:gd name="T69" fmla="*/ 367 h 5586"/>
                <a:gd name="T70" fmla="*/ 84 w 3498"/>
                <a:gd name="T71" fmla="*/ 9 h 5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98" h="5586">
                  <a:moveTo>
                    <a:pt x="284" y="0"/>
                  </a:moveTo>
                  <a:lnTo>
                    <a:pt x="222" y="126"/>
                  </a:lnTo>
                  <a:lnTo>
                    <a:pt x="292" y="225"/>
                  </a:lnTo>
                  <a:lnTo>
                    <a:pt x="202" y="375"/>
                  </a:lnTo>
                  <a:lnTo>
                    <a:pt x="202" y="555"/>
                  </a:lnTo>
                  <a:lnTo>
                    <a:pt x="0" y="726"/>
                  </a:lnTo>
                  <a:lnTo>
                    <a:pt x="36" y="906"/>
                  </a:lnTo>
                  <a:lnTo>
                    <a:pt x="120" y="1020"/>
                  </a:lnTo>
                  <a:lnTo>
                    <a:pt x="142" y="1125"/>
                  </a:lnTo>
                  <a:lnTo>
                    <a:pt x="132" y="1308"/>
                  </a:lnTo>
                  <a:lnTo>
                    <a:pt x="72" y="1560"/>
                  </a:lnTo>
                  <a:lnTo>
                    <a:pt x="150" y="1800"/>
                  </a:lnTo>
                  <a:lnTo>
                    <a:pt x="262" y="1965"/>
                  </a:lnTo>
                  <a:lnTo>
                    <a:pt x="246" y="2106"/>
                  </a:lnTo>
                  <a:lnTo>
                    <a:pt x="262" y="2265"/>
                  </a:lnTo>
                  <a:lnTo>
                    <a:pt x="336" y="2268"/>
                  </a:lnTo>
                  <a:lnTo>
                    <a:pt x="408" y="2166"/>
                  </a:lnTo>
                  <a:lnTo>
                    <a:pt x="480" y="2058"/>
                  </a:lnTo>
                  <a:lnTo>
                    <a:pt x="516" y="2118"/>
                  </a:lnTo>
                  <a:lnTo>
                    <a:pt x="486" y="2244"/>
                  </a:lnTo>
                  <a:lnTo>
                    <a:pt x="442" y="2385"/>
                  </a:lnTo>
                  <a:lnTo>
                    <a:pt x="382" y="2385"/>
                  </a:lnTo>
                  <a:lnTo>
                    <a:pt x="366" y="2466"/>
                  </a:lnTo>
                  <a:lnTo>
                    <a:pt x="322" y="2565"/>
                  </a:lnTo>
                  <a:lnTo>
                    <a:pt x="492" y="2742"/>
                  </a:lnTo>
                  <a:lnTo>
                    <a:pt x="588" y="2838"/>
                  </a:lnTo>
                  <a:lnTo>
                    <a:pt x="592" y="2926"/>
                  </a:lnTo>
                  <a:lnTo>
                    <a:pt x="474" y="3000"/>
                  </a:lnTo>
                  <a:lnTo>
                    <a:pt x="606" y="3180"/>
                  </a:lnTo>
                  <a:lnTo>
                    <a:pt x="654" y="3360"/>
                  </a:lnTo>
                  <a:lnTo>
                    <a:pt x="768" y="3564"/>
                  </a:lnTo>
                  <a:lnTo>
                    <a:pt x="802" y="3736"/>
                  </a:lnTo>
                  <a:lnTo>
                    <a:pt x="892" y="3856"/>
                  </a:lnTo>
                  <a:lnTo>
                    <a:pt x="822" y="4128"/>
                  </a:lnTo>
                  <a:lnTo>
                    <a:pt x="1042" y="4246"/>
                  </a:lnTo>
                  <a:lnTo>
                    <a:pt x="1242" y="4326"/>
                  </a:lnTo>
                  <a:lnTo>
                    <a:pt x="1372" y="4456"/>
                  </a:lnTo>
                  <a:lnTo>
                    <a:pt x="1522" y="4546"/>
                  </a:lnTo>
                  <a:lnTo>
                    <a:pt x="1612" y="4546"/>
                  </a:lnTo>
                  <a:lnTo>
                    <a:pt x="1702" y="4636"/>
                  </a:lnTo>
                  <a:lnTo>
                    <a:pt x="1702" y="4756"/>
                  </a:lnTo>
                  <a:lnTo>
                    <a:pt x="1854" y="4842"/>
                  </a:lnTo>
                  <a:lnTo>
                    <a:pt x="1962" y="4944"/>
                  </a:lnTo>
                  <a:lnTo>
                    <a:pt x="2033" y="5056"/>
                  </a:lnTo>
                  <a:lnTo>
                    <a:pt x="2063" y="5236"/>
                  </a:lnTo>
                  <a:lnTo>
                    <a:pt x="2088" y="5394"/>
                  </a:lnTo>
                  <a:lnTo>
                    <a:pt x="2123" y="5506"/>
                  </a:lnTo>
                  <a:lnTo>
                    <a:pt x="2328" y="5484"/>
                  </a:lnTo>
                  <a:lnTo>
                    <a:pt x="2466" y="5532"/>
                  </a:lnTo>
                  <a:lnTo>
                    <a:pt x="2658" y="5532"/>
                  </a:lnTo>
                  <a:lnTo>
                    <a:pt x="2856" y="5544"/>
                  </a:lnTo>
                  <a:lnTo>
                    <a:pt x="3138" y="5586"/>
                  </a:lnTo>
                  <a:lnTo>
                    <a:pt x="3233" y="5536"/>
                  </a:lnTo>
                  <a:lnTo>
                    <a:pt x="3233" y="5416"/>
                  </a:lnTo>
                  <a:lnTo>
                    <a:pt x="3192" y="5292"/>
                  </a:lnTo>
                  <a:lnTo>
                    <a:pt x="3234" y="5184"/>
                  </a:lnTo>
                  <a:lnTo>
                    <a:pt x="3323" y="5116"/>
                  </a:lnTo>
                  <a:lnTo>
                    <a:pt x="3293" y="5026"/>
                  </a:lnTo>
                  <a:lnTo>
                    <a:pt x="3348" y="4950"/>
                  </a:lnTo>
                  <a:lnTo>
                    <a:pt x="3413" y="4846"/>
                  </a:lnTo>
                  <a:lnTo>
                    <a:pt x="3473" y="4846"/>
                  </a:lnTo>
                  <a:lnTo>
                    <a:pt x="3498" y="4770"/>
                  </a:lnTo>
                  <a:lnTo>
                    <a:pt x="3384" y="4572"/>
                  </a:lnTo>
                  <a:lnTo>
                    <a:pt x="3353" y="4396"/>
                  </a:lnTo>
                  <a:lnTo>
                    <a:pt x="2963" y="3886"/>
                  </a:lnTo>
                  <a:lnTo>
                    <a:pt x="2453" y="3226"/>
                  </a:lnTo>
                  <a:lnTo>
                    <a:pt x="2124" y="2706"/>
                  </a:lnTo>
                  <a:lnTo>
                    <a:pt x="1702" y="2175"/>
                  </a:lnTo>
                  <a:lnTo>
                    <a:pt x="1560" y="1938"/>
                  </a:lnTo>
                  <a:lnTo>
                    <a:pt x="1822" y="474"/>
                  </a:lnTo>
                  <a:lnTo>
                    <a:pt x="444" y="45"/>
                  </a:lnTo>
                  <a:lnTo>
                    <a:pt x="284" y="0"/>
                  </a:lnTo>
                  <a:close/>
                </a:path>
              </a:pathLst>
            </a:custGeom>
            <a:solidFill>
              <a:srgbClr val="FF9799"/>
            </a:solidFill>
            <a:ln w="6350" cmpd="sng">
              <a:solidFill>
                <a:schemeClr val="bg1"/>
              </a:solidFill>
              <a:prstDash val="solid"/>
              <a:round/>
              <a:headEnd/>
              <a:tailEnd/>
            </a:ln>
            <a:effectLst/>
          </p:spPr>
          <p:txBody>
            <a:bodyPr/>
            <a:lstStyle/>
            <a:p>
              <a:pPr fontAlgn="base">
                <a:spcBef>
                  <a:spcPct val="0"/>
                </a:spcBef>
                <a:spcAft>
                  <a:spcPct val="0"/>
                </a:spcAft>
              </a:pPr>
              <a:endParaRPr lang="zh-CN" altLang="en-US" b="1" kern="0">
                <a:solidFill>
                  <a:srgbClr val="000000"/>
                </a:solidFill>
                <a:latin typeface="Arial" charset="0"/>
              </a:endParaRPr>
            </a:p>
          </p:txBody>
        </p:sp>
        <p:sp>
          <p:nvSpPr>
            <p:cNvPr id="335" name="Arkansas">
              <a:extLst>
                <a:ext uri="{FF2B5EF4-FFF2-40B4-BE49-F238E27FC236}">
                  <a16:creationId xmlns:a16="http://schemas.microsoft.com/office/drawing/2014/main" id="{F36C04E9-0C08-4718-8032-A946F984B662}"/>
                </a:ext>
              </a:extLst>
            </p:cNvPr>
            <p:cNvSpPr>
              <a:spLocks/>
            </p:cNvSpPr>
            <p:nvPr/>
          </p:nvSpPr>
          <p:spPr bwMode="auto">
            <a:xfrm>
              <a:off x="5253570" y="3665937"/>
              <a:ext cx="613569" cy="619253"/>
            </a:xfrm>
            <a:custGeom>
              <a:avLst/>
              <a:gdLst>
                <a:gd name="T0" fmla="*/ 0 w 1990"/>
                <a:gd name="T1" fmla="*/ 45 h 2015"/>
                <a:gd name="T2" fmla="*/ 215 w 1990"/>
                <a:gd name="T3" fmla="*/ 18 h 2015"/>
                <a:gd name="T4" fmla="*/ 273 w 1990"/>
                <a:gd name="T5" fmla="*/ 12 h 2015"/>
                <a:gd name="T6" fmla="*/ 331 w 1990"/>
                <a:gd name="T7" fmla="*/ 0 h 2015"/>
                <a:gd name="T8" fmla="*/ 342 w 1990"/>
                <a:gd name="T9" fmla="*/ 12 h 2015"/>
                <a:gd name="T10" fmla="*/ 325 w 1990"/>
                <a:gd name="T11" fmla="*/ 34 h 2015"/>
                <a:gd name="T12" fmla="*/ 337 w 1990"/>
                <a:gd name="T13" fmla="*/ 46 h 2015"/>
                <a:gd name="T14" fmla="*/ 357 w 1990"/>
                <a:gd name="T15" fmla="*/ 54 h 2015"/>
                <a:gd name="T16" fmla="*/ 376 w 1990"/>
                <a:gd name="T17" fmla="*/ 45 h 2015"/>
                <a:gd name="T18" fmla="*/ 378 w 1990"/>
                <a:gd name="T19" fmla="*/ 63 h 2015"/>
                <a:gd name="T20" fmla="*/ 367 w 1990"/>
                <a:gd name="T21" fmla="*/ 77 h 2015"/>
                <a:gd name="T22" fmla="*/ 366 w 1990"/>
                <a:gd name="T23" fmla="*/ 94 h 2015"/>
                <a:gd name="T24" fmla="*/ 355 w 1990"/>
                <a:gd name="T25" fmla="*/ 106 h 2015"/>
                <a:gd name="T26" fmla="*/ 350 w 1990"/>
                <a:gd name="T27" fmla="*/ 143 h 2015"/>
                <a:gd name="T28" fmla="*/ 338 w 1990"/>
                <a:gd name="T29" fmla="*/ 163 h 2015"/>
                <a:gd name="T30" fmla="*/ 322 w 1990"/>
                <a:gd name="T31" fmla="*/ 209 h 2015"/>
                <a:gd name="T32" fmla="*/ 301 w 1990"/>
                <a:gd name="T33" fmla="*/ 238 h 2015"/>
                <a:gd name="T34" fmla="*/ 293 w 1990"/>
                <a:gd name="T35" fmla="*/ 274 h 2015"/>
                <a:gd name="T36" fmla="*/ 296 w 1990"/>
                <a:gd name="T37" fmla="*/ 329 h 2015"/>
                <a:gd name="T38" fmla="*/ 293 w 1990"/>
                <a:gd name="T39" fmla="*/ 359 h 2015"/>
                <a:gd name="T40" fmla="*/ 249 w 1990"/>
                <a:gd name="T41" fmla="*/ 365 h 2015"/>
                <a:gd name="T42" fmla="*/ 190 w 1990"/>
                <a:gd name="T43" fmla="*/ 365 h 2015"/>
                <a:gd name="T44" fmla="*/ 115 w 1990"/>
                <a:gd name="T45" fmla="*/ 368 h 2015"/>
                <a:gd name="T46" fmla="*/ 65 w 1990"/>
                <a:gd name="T47" fmla="*/ 382 h 2015"/>
                <a:gd name="T48" fmla="*/ 58 w 1990"/>
                <a:gd name="T49" fmla="*/ 363 h 2015"/>
                <a:gd name="T50" fmla="*/ 63 w 1990"/>
                <a:gd name="T51" fmla="*/ 344 h 2015"/>
                <a:gd name="T52" fmla="*/ 56 w 1990"/>
                <a:gd name="T53" fmla="*/ 322 h 2015"/>
                <a:gd name="T54" fmla="*/ 17 w 1990"/>
                <a:gd name="T55" fmla="*/ 322 h 2015"/>
                <a:gd name="T56" fmla="*/ 17 w 1990"/>
                <a:gd name="T57" fmla="*/ 168 h 2015"/>
                <a:gd name="T58" fmla="*/ 4 w 1990"/>
                <a:gd name="T59" fmla="*/ 110 h 2015"/>
                <a:gd name="T60" fmla="*/ 0 w 1990"/>
                <a:gd name="T61" fmla="*/ 71 h 2015"/>
                <a:gd name="T62" fmla="*/ 0 w 1990"/>
                <a:gd name="T63" fmla="*/ 45 h 20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90" h="2015">
                  <a:moveTo>
                    <a:pt x="2" y="240"/>
                  </a:moveTo>
                  <a:lnTo>
                    <a:pt x="1130" y="93"/>
                  </a:lnTo>
                  <a:lnTo>
                    <a:pt x="1435" y="62"/>
                  </a:lnTo>
                  <a:lnTo>
                    <a:pt x="1742" y="0"/>
                  </a:lnTo>
                  <a:lnTo>
                    <a:pt x="1798" y="61"/>
                  </a:lnTo>
                  <a:lnTo>
                    <a:pt x="1711" y="179"/>
                  </a:lnTo>
                  <a:lnTo>
                    <a:pt x="1775" y="243"/>
                  </a:lnTo>
                  <a:lnTo>
                    <a:pt x="1877" y="287"/>
                  </a:lnTo>
                  <a:lnTo>
                    <a:pt x="1979" y="240"/>
                  </a:lnTo>
                  <a:lnTo>
                    <a:pt x="1990" y="334"/>
                  </a:lnTo>
                  <a:lnTo>
                    <a:pt x="1934" y="406"/>
                  </a:lnTo>
                  <a:lnTo>
                    <a:pt x="1926" y="494"/>
                  </a:lnTo>
                  <a:lnTo>
                    <a:pt x="1870" y="558"/>
                  </a:lnTo>
                  <a:lnTo>
                    <a:pt x="1842" y="756"/>
                  </a:lnTo>
                  <a:lnTo>
                    <a:pt x="1782" y="862"/>
                  </a:lnTo>
                  <a:lnTo>
                    <a:pt x="1694" y="1102"/>
                  </a:lnTo>
                  <a:lnTo>
                    <a:pt x="1582" y="1254"/>
                  </a:lnTo>
                  <a:lnTo>
                    <a:pt x="1542" y="1446"/>
                  </a:lnTo>
                  <a:lnTo>
                    <a:pt x="1558" y="1734"/>
                  </a:lnTo>
                  <a:lnTo>
                    <a:pt x="1542" y="1894"/>
                  </a:lnTo>
                  <a:lnTo>
                    <a:pt x="1310" y="1926"/>
                  </a:lnTo>
                  <a:lnTo>
                    <a:pt x="1002" y="1926"/>
                  </a:lnTo>
                  <a:lnTo>
                    <a:pt x="607" y="1942"/>
                  </a:lnTo>
                  <a:lnTo>
                    <a:pt x="342" y="2015"/>
                  </a:lnTo>
                  <a:lnTo>
                    <a:pt x="303" y="1913"/>
                  </a:lnTo>
                  <a:lnTo>
                    <a:pt x="333" y="1814"/>
                  </a:lnTo>
                  <a:lnTo>
                    <a:pt x="297" y="1697"/>
                  </a:lnTo>
                  <a:lnTo>
                    <a:pt x="92" y="1701"/>
                  </a:lnTo>
                  <a:lnTo>
                    <a:pt x="92" y="888"/>
                  </a:lnTo>
                  <a:lnTo>
                    <a:pt x="21" y="578"/>
                  </a:lnTo>
                  <a:lnTo>
                    <a:pt x="0" y="377"/>
                  </a:lnTo>
                  <a:lnTo>
                    <a:pt x="2" y="240"/>
                  </a:lnTo>
                  <a:close/>
                </a:path>
              </a:pathLst>
            </a:custGeom>
            <a:solidFill>
              <a:srgbClr val="960004"/>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36" name="Arizona">
              <a:extLst>
                <a:ext uri="{FF2B5EF4-FFF2-40B4-BE49-F238E27FC236}">
                  <a16:creationId xmlns:a16="http://schemas.microsoft.com/office/drawing/2014/main" id="{CA08787B-5313-40CE-B6FB-1E0E6FFB5A9B}"/>
                </a:ext>
              </a:extLst>
            </p:cNvPr>
            <p:cNvSpPr>
              <a:spLocks/>
            </p:cNvSpPr>
            <p:nvPr/>
          </p:nvSpPr>
          <p:spPr bwMode="auto">
            <a:xfrm>
              <a:off x="2614249" y="3563810"/>
              <a:ext cx="811599" cy="980755"/>
            </a:xfrm>
            <a:custGeom>
              <a:avLst/>
              <a:gdLst>
                <a:gd name="T0" fmla="*/ 116 w 2635"/>
                <a:gd name="T1" fmla="*/ 0 h 3189"/>
                <a:gd name="T2" fmla="*/ 500 w 2635"/>
                <a:gd name="T3" fmla="*/ 57 h 3189"/>
                <a:gd name="T4" fmla="*/ 458 w 2635"/>
                <a:gd name="T5" fmla="*/ 605 h 3189"/>
                <a:gd name="T6" fmla="*/ 396 w 2635"/>
                <a:gd name="T7" fmla="*/ 596 h 3189"/>
                <a:gd name="T8" fmla="*/ 334 w 2635"/>
                <a:gd name="T9" fmla="*/ 593 h 3189"/>
                <a:gd name="T10" fmla="*/ 289 w 2635"/>
                <a:gd name="T11" fmla="*/ 585 h 3189"/>
                <a:gd name="T12" fmla="*/ 105 w 2635"/>
                <a:gd name="T13" fmla="*/ 477 h 3189"/>
                <a:gd name="T14" fmla="*/ 20 w 2635"/>
                <a:gd name="T15" fmla="*/ 434 h 3189"/>
                <a:gd name="T16" fmla="*/ 3 w 2635"/>
                <a:gd name="T17" fmla="*/ 411 h 3189"/>
                <a:gd name="T18" fmla="*/ 0 w 2635"/>
                <a:gd name="T19" fmla="*/ 405 h 3189"/>
                <a:gd name="T20" fmla="*/ 18 w 2635"/>
                <a:gd name="T21" fmla="*/ 396 h 3189"/>
                <a:gd name="T22" fmla="*/ 18 w 2635"/>
                <a:gd name="T23" fmla="*/ 373 h 3189"/>
                <a:gd name="T24" fmla="*/ 10 w 2635"/>
                <a:gd name="T25" fmla="*/ 350 h 3189"/>
                <a:gd name="T26" fmla="*/ 18 w 2635"/>
                <a:gd name="T27" fmla="*/ 329 h 3189"/>
                <a:gd name="T28" fmla="*/ 35 w 2635"/>
                <a:gd name="T29" fmla="*/ 316 h 3189"/>
                <a:gd name="T30" fmla="*/ 30 w 2635"/>
                <a:gd name="T31" fmla="*/ 299 h 3189"/>
                <a:gd name="T32" fmla="*/ 39 w 2635"/>
                <a:gd name="T33" fmla="*/ 286 h 3189"/>
                <a:gd name="T34" fmla="*/ 52 w 2635"/>
                <a:gd name="T35" fmla="*/ 265 h 3189"/>
                <a:gd name="T36" fmla="*/ 64 w 2635"/>
                <a:gd name="T37" fmla="*/ 265 h 3189"/>
                <a:gd name="T38" fmla="*/ 68 w 2635"/>
                <a:gd name="T39" fmla="*/ 250 h 3189"/>
                <a:gd name="T40" fmla="*/ 47 w 2635"/>
                <a:gd name="T41" fmla="*/ 213 h 3189"/>
                <a:gd name="T42" fmla="*/ 41 w 2635"/>
                <a:gd name="T43" fmla="*/ 180 h 3189"/>
                <a:gd name="T44" fmla="*/ 34 w 2635"/>
                <a:gd name="T45" fmla="*/ 170 h 3189"/>
                <a:gd name="T46" fmla="*/ 47 w 2635"/>
                <a:gd name="T47" fmla="*/ 153 h 3189"/>
                <a:gd name="T48" fmla="*/ 49 w 2635"/>
                <a:gd name="T49" fmla="*/ 130 h 3189"/>
                <a:gd name="T50" fmla="*/ 42 w 2635"/>
                <a:gd name="T51" fmla="*/ 98 h 3189"/>
                <a:gd name="T52" fmla="*/ 43 w 2635"/>
                <a:gd name="T53" fmla="*/ 82 h 3189"/>
                <a:gd name="T54" fmla="*/ 58 w 2635"/>
                <a:gd name="T55" fmla="*/ 73 h 3189"/>
                <a:gd name="T56" fmla="*/ 78 w 2635"/>
                <a:gd name="T57" fmla="*/ 79 h 3189"/>
                <a:gd name="T58" fmla="*/ 105 w 2635"/>
                <a:gd name="T59" fmla="*/ 87 h 3189"/>
                <a:gd name="T60" fmla="*/ 100 w 2635"/>
                <a:gd name="T61" fmla="*/ 61 h 3189"/>
                <a:gd name="T62" fmla="*/ 110 w 2635"/>
                <a:gd name="T63" fmla="*/ 48 h 3189"/>
                <a:gd name="T64" fmla="*/ 110 w 2635"/>
                <a:gd name="T65" fmla="*/ 23 h 3189"/>
                <a:gd name="T66" fmla="*/ 114 w 2635"/>
                <a:gd name="T67" fmla="*/ 6 h 3189"/>
                <a:gd name="T68" fmla="*/ 116 w 2635"/>
                <a:gd name="T69" fmla="*/ 0 h 3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35" h="3189">
                  <a:moveTo>
                    <a:pt x="609" y="0"/>
                  </a:moveTo>
                  <a:lnTo>
                    <a:pt x="2635" y="300"/>
                  </a:lnTo>
                  <a:lnTo>
                    <a:pt x="2416" y="3189"/>
                  </a:lnTo>
                  <a:lnTo>
                    <a:pt x="2089" y="3144"/>
                  </a:lnTo>
                  <a:lnTo>
                    <a:pt x="1759" y="3126"/>
                  </a:lnTo>
                  <a:lnTo>
                    <a:pt x="1525" y="3084"/>
                  </a:lnTo>
                  <a:lnTo>
                    <a:pt x="553" y="2514"/>
                  </a:lnTo>
                  <a:lnTo>
                    <a:pt x="106" y="2289"/>
                  </a:lnTo>
                  <a:lnTo>
                    <a:pt x="16" y="2169"/>
                  </a:lnTo>
                  <a:lnTo>
                    <a:pt x="0" y="2135"/>
                  </a:lnTo>
                  <a:lnTo>
                    <a:pt x="96" y="2088"/>
                  </a:lnTo>
                  <a:lnTo>
                    <a:pt x="94" y="1964"/>
                  </a:lnTo>
                  <a:lnTo>
                    <a:pt x="54" y="1844"/>
                  </a:lnTo>
                  <a:lnTo>
                    <a:pt x="96" y="1736"/>
                  </a:lnTo>
                  <a:lnTo>
                    <a:pt x="187" y="1665"/>
                  </a:lnTo>
                  <a:lnTo>
                    <a:pt x="157" y="1575"/>
                  </a:lnTo>
                  <a:lnTo>
                    <a:pt x="205" y="1509"/>
                  </a:lnTo>
                  <a:lnTo>
                    <a:pt x="276" y="1397"/>
                  </a:lnTo>
                  <a:lnTo>
                    <a:pt x="337" y="1395"/>
                  </a:lnTo>
                  <a:lnTo>
                    <a:pt x="360" y="1319"/>
                  </a:lnTo>
                  <a:lnTo>
                    <a:pt x="249" y="1124"/>
                  </a:lnTo>
                  <a:lnTo>
                    <a:pt x="217" y="948"/>
                  </a:lnTo>
                  <a:lnTo>
                    <a:pt x="178" y="897"/>
                  </a:lnTo>
                  <a:lnTo>
                    <a:pt x="249" y="809"/>
                  </a:lnTo>
                  <a:lnTo>
                    <a:pt x="258" y="687"/>
                  </a:lnTo>
                  <a:lnTo>
                    <a:pt x="223" y="515"/>
                  </a:lnTo>
                  <a:lnTo>
                    <a:pt x="228" y="431"/>
                  </a:lnTo>
                  <a:lnTo>
                    <a:pt x="307" y="384"/>
                  </a:lnTo>
                  <a:lnTo>
                    <a:pt x="411" y="414"/>
                  </a:lnTo>
                  <a:lnTo>
                    <a:pt x="553" y="461"/>
                  </a:lnTo>
                  <a:lnTo>
                    <a:pt x="528" y="320"/>
                  </a:lnTo>
                  <a:lnTo>
                    <a:pt x="582" y="252"/>
                  </a:lnTo>
                  <a:lnTo>
                    <a:pt x="582" y="122"/>
                  </a:lnTo>
                  <a:lnTo>
                    <a:pt x="603" y="32"/>
                  </a:lnTo>
                  <a:lnTo>
                    <a:pt x="609" y="0"/>
                  </a:lnTo>
                  <a:close/>
                </a:path>
              </a:pathLst>
            </a:custGeom>
            <a:solidFill>
              <a:srgbClr val="FFD9DA"/>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37" name="Alaska">
              <a:extLst>
                <a:ext uri="{FF2B5EF4-FFF2-40B4-BE49-F238E27FC236}">
                  <a16:creationId xmlns:a16="http://schemas.microsoft.com/office/drawing/2014/main" id="{5D02EF36-7F1B-40CB-BCD3-EBDADCC702F5}"/>
                </a:ext>
              </a:extLst>
            </p:cNvPr>
            <p:cNvSpPr>
              <a:spLocks/>
            </p:cNvSpPr>
            <p:nvPr/>
          </p:nvSpPr>
          <p:spPr bwMode="auto">
            <a:xfrm>
              <a:off x="691098" y="4112771"/>
              <a:ext cx="1176664" cy="1346033"/>
            </a:xfrm>
            <a:custGeom>
              <a:avLst/>
              <a:gdLst>
                <a:gd name="T0" fmla="*/ 2656 w 3826"/>
                <a:gd name="T1" fmla="*/ 2761 h 4380"/>
                <a:gd name="T2" fmla="*/ 2806 w 3826"/>
                <a:gd name="T3" fmla="*/ 2911 h 4380"/>
                <a:gd name="T4" fmla="*/ 2866 w 3826"/>
                <a:gd name="T5" fmla="*/ 3241 h 4380"/>
                <a:gd name="T6" fmla="*/ 3166 w 3826"/>
                <a:gd name="T7" fmla="*/ 3991 h 4380"/>
                <a:gd name="T8" fmla="*/ 3264 w 3826"/>
                <a:gd name="T9" fmla="*/ 4315 h 4380"/>
                <a:gd name="T10" fmla="*/ 3118 w 3826"/>
                <a:gd name="T11" fmla="*/ 4315 h 4380"/>
                <a:gd name="T12" fmla="*/ 3099 w 3826"/>
                <a:gd name="T13" fmla="*/ 4069 h 4380"/>
                <a:gd name="T14" fmla="*/ 2898 w 3826"/>
                <a:gd name="T15" fmla="*/ 3931 h 4380"/>
                <a:gd name="T16" fmla="*/ 2990 w 3826"/>
                <a:gd name="T17" fmla="*/ 4169 h 4380"/>
                <a:gd name="T18" fmla="*/ 2862 w 3826"/>
                <a:gd name="T19" fmla="*/ 4361 h 4380"/>
                <a:gd name="T20" fmla="*/ 2807 w 3826"/>
                <a:gd name="T21" fmla="*/ 3950 h 4380"/>
                <a:gd name="T22" fmla="*/ 2807 w 3826"/>
                <a:gd name="T23" fmla="*/ 3602 h 4380"/>
                <a:gd name="T24" fmla="*/ 2746 w 3826"/>
                <a:gd name="T25" fmla="*/ 3361 h 4380"/>
                <a:gd name="T26" fmla="*/ 2688 w 3826"/>
                <a:gd name="T27" fmla="*/ 3090 h 4380"/>
                <a:gd name="T28" fmla="*/ 2416 w 3826"/>
                <a:gd name="T29" fmla="*/ 2731 h 4380"/>
                <a:gd name="T30" fmla="*/ 2286 w 3826"/>
                <a:gd name="T31" fmla="*/ 2533 h 4380"/>
                <a:gd name="T32" fmla="*/ 2094 w 3826"/>
                <a:gd name="T33" fmla="*/ 2286 h 4380"/>
                <a:gd name="T34" fmla="*/ 1847 w 3826"/>
                <a:gd name="T35" fmla="*/ 2331 h 4380"/>
                <a:gd name="T36" fmla="*/ 1545 w 3826"/>
                <a:gd name="T37" fmla="*/ 2322 h 4380"/>
                <a:gd name="T38" fmla="*/ 1664 w 3826"/>
                <a:gd name="T39" fmla="*/ 2157 h 4380"/>
                <a:gd name="T40" fmla="*/ 1929 w 3826"/>
                <a:gd name="T41" fmla="*/ 2148 h 4380"/>
                <a:gd name="T42" fmla="*/ 1947 w 3826"/>
                <a:gd name="T43" fmla="*/ 2010 h 4380"/>
                <a:gd name="T44" fmla="*/ 1655 w 3826"/>
                <a:gd name="T45" fmla="*/ 2029 h 4380"/>
                <a:gd name="T46" fmla="*/ 1362 w 3826"/>
                <a:gd name="T47" fmla="*/ 2065 h 4380"/>
                <a:gd name="T48" fmla="*/ 1234 w 3826"/>
                <a:gd name="T49" fmla="*/ 2249 h 4380"/>
                <a:gd name="T50" fmla="*/ 946 w 3826"/>
                <a:gd name="T51" fmla="*/ 2221 h 4380"/>
                <a:gd name="T52" fmla="*/ 128 w 3826"/>
                <a:gd name="T53" fmla="*/ 1965 h 4380"/>
                <a:gd name="T54" fmla="*/ 9 w 3826"/>
                <a:gd name="T55" fmla="*/ 1764 h 4380"/>
                <a:gd name="T56" fmla="*/ 357 w 3826"/>
                <a:gd name="T57" fmla="*/ 1956 h 4380"/>
                <a:gd name="T58" fmla="*/ 649 w 3826"/>
                <a:gd name="T59" fmla="*/ 2047 h 4380"/>
                <a:gd name="T60" fmla="*/ 933 w 3826"/>
                <a:gd name="T61" fmla="*/ 2001 h 4380"/>
                <a:gd name="T62" fmla="*/ 987 w 3826"/>
                <a:gd name="T63" fmla="*/ 1846 h 4380"/>
                <a:gd name="T64" fmla="*/ 905 w 3826"/>
                <a:gd name="T65" fmla="*/ 1709 h 4380"/>
                <a:gd name="T66" fmla="*/ 750 w 3826"/>
                <a:gd name="T67" fmla="*/ 1608 h 4380"/>
                <a:gd name="T68" fmla="*/ 826 w 3826"/>
                <a:gd name="T69" fmla="*/ 1410 h 4380"/>
                <a:gd name="T70" fmla="*/ 759 w 3826"/>
                <a:gd name="T71" fmla="*/ 1233 h 4380"/>
                <a:gd name="T72" fmla="*/ 796 w 3826"/>
                <a:gd name="T73" fmla="*/ 1020 h 4380"/>
                <a:gd name="T74" fmla="*/ 1006 w 3826"/>
                <a:gd name="T75" fmla="*/ 776 h 4380"/>
                <a:gd name="T76" fmla="*/ 1306 w 3826"/>
                <a:gd name="T77" fmla="*/ 720 h 4380"/>
                <a:gd name="T78" fmla="*/ 1472 w 3826"/>
                <a:gd name="T79" fmla="*/ 895 h 4380"/>
                <a:gd name="T80" fmla="*/ 1673 w 3826"/>
                <a:gd name="T81" fmla="*/ 913 h 4380"/>
                <a:gd name="T82" fmla="*/ 1710 w 3826"/>
                <a:gd name="T83" fmla="*/ 758 h 4380"/>
                <a:gd name="T84" fmla="*/ 1518 w 3826"/>
                <a:gd name="T85" fmla="*/ 602 h 4380"/>
                <a:gd name="T86" fmla="*/ 1546 w 3826"/>
                <a:gd name="T87" fmla="*/ 270 h 4380"/>
                <a:gd name="T88" fmla="*/ 1755 w 3826"/>
                <a:gd name="T89" fmla="*/ 273 h 4380"/>
                <a:gd name="T90" fmla="*/ 1846 w 3826"/>
                <a:gd name="T91" fmla="*/ 480 h 4380"/>
                <a:gd name="T92" fmla="*/ 2130 w 3826"/>
                <a:gd name="T93" fmla="*/ 657 h 4380"/>
                <a:gd name="T94" fmla="*/ 2139 w 3826"/>
                <a:gd name="T95" fmla="*/ 511 h 4380"/>
                <a:gd name="T96" fmla="*/ 2116 w 3826"/>
                <a:gd name="T97" fmla="*/ 270 h 4380"/>
                <a:gd name="T98" fmla="*/ 2139 w 3826"/>
                <a:gd name="T99" fmla="*/ 81 h 4380"/>
                <a:gd name="T100" fmla="*/ 2386 w 3826"/>
                <a:gd name="T101" fmla="*/ 120 h 4380"/>
                <a:gd name="T102" fmla="*/ 2679 w 3826"/>
                <a:gd name="T103" fmla="*/ 63 h 4380"/>
                <a:gd name="T104" fmla="*/ 2872 w 3826"/>
                <a:gd name="T105" fmla="*/ 207 h 4380"/>
                <a:gd name="T106" fmla="*/ 3032 w 3826"/>
                <a:gd name="T107" fmla="*/ 231 h 4380"/>
                <a:gd name="T108" fmla="*/ 3184 w 3826"/>
                <a:gd name="T109" fmla="*/ 399 h 4380"/>
                <a:gd name="T110" fmla="*/ 3368 w 3826"/>
                <a:gd name="T111" fmla="*/ 551 h 4380"/>
                <a:gd name="T112" fmla="*/ 3474 w 3826"/>
                <a:gd name="T113" fmla="*/ 666 h 4380"/>
                <a:gd name="T114" fmla="*/ 3685 w 3826"/>
                <a:gd name="T115" fmla="*/ 950 h 4380"/>
                <a:gd name="T116" fmla="*/ 3826 w 3826"/>
                <a:gd name="T117" fmla="*/ 1170 h 4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26" h="4380">
                  <a:moveTo>
                    <a:pt x="3826" y="1170"/>
                  </a:moveTo>
                  <a:lnTo>
                    <a:pt x="2656" y="2760"/>
                  </a:lnTo>
                  <a:lnTo>
                    <a:pt x="2706" y="2861"/>
                  </a:lnTo>
                  <a:lnTo>
                    <a:pt x="2806" y="2910"/>
                  </a:lnTo>
                  <a:lnTo>
                    <a:pt x="2807" y="3135"/>
                  </a:lnTo>
                  <a:lnTo>
                    <a:pt x="2866" y="3240"/>
                  </a:lnTo>
                  <a:lnTo>
                    <a:pt x="3072" y="3217"/>
                  </a:lnTo>
                  <a:lnTo>
                    <a:pt x="3166" y="3990"/>
                  </a:lnTo>
                  <a:lnTo>
                    <a:pt x="3256" y="4140"/>
                  </a:lnTo>
                  <a:lnTo>
                    <a:pt x="3264" y="4314"/>
                  </a:lnTo>
                  <a:lnTo>
                    <a:pt x="3166" y="4380"/>
                  </a:lnTo>
                  <a:lnTo>
                    <a:pt x="3118" y="4314"/>
                  </a:lnTo>
                  <a:lnTo>
                    <a:pt x="3154" y="4223"/>
                  </a:lnTo>
                  <a:lnTo>
                    <a:pt x="3099" y="4068"/>
                  </a:lnTo>
                  <a:lnTo>
                    <a:pt x="3008" y="3885"/>
                  </a:lnTo>
                  <a:lnTo>
                    <a:pt x="2898" y="3930"/>
                  </a:lnTo>
                  <a:lnTo>
                    <a:pt x="2953" y="4004"/>
                  </a:lnTo>
                  <a:lnTo>
                    <a:pt x="2990" y="4168"/>
                  </a:lnTo>
                  <a:lnTo>
                    <a:pt x="2981" y="4269"/>
                  </a:lnTo>
                  <a:lnTo>
                    <a:pt x="2862" y="4360"/>
                  </a:lnTo>
                  <a:lnTo>
                    <a:pt x="2862" y="4058"/>
                  </a:lnTo>
                  <a:lnTo>
                    <a:pt x="2807" y="3949"/>
                  </a:lnTo>
                  <a:lnTo>
                    <a:pt x="2798" y="3802"/>
                  </a:lnTo>
                  <a:lnTo>
                    <a:pt x="2807" y="3601"/>
                  </a:lnTo>
                  <a:lnTo>
                    <a:pt x="2834" y="3428"/>
                  </a:lnTo>
                  <a:lnTo>
                    <a:pt x="2746" y="3360"/>
                  </a:lnTo>
                  <a:lnTo>
                    <a:pt x="2743" y="3199"/>
                  </a:lnTo>
                  <a:lnTo>
                    <a:pt x="2688" y="3089"/>
                  </a:lnTo>
                  <a:lnTo>
                    <a:pt x="2566" y="2880"/>
                  </a:lnTo>
                  <a:lnTo>
                    <a:pt x="2416" y="2730"/>
                  </a:lnTo>
                  <a:lnTo>
                    <a:pt x="2286" y="2623"/>
                  </a:lnTo>
                  <a:lnTo>
                    <a:pt x="2286" y="2532"/>
                  </a:lnTo>
                  <a:lnTo>
                    <a:pt x="2203" y="2431"/>
                  </a:lnTo>
                  <a:lnTo>
                    <a:pt x="2094" y="2285"/>
                  </a:lnTo>
                  <a:lnTo>
                    <a:pt x="1984" y="2394"/>
                  </a:lnTo>
                  <a:lnTo>
                    <a:pt x="1847" y="2330"/>
                  </a:lnTo>
                  <a:lnTo>
                    <a:pt x="1666" y="2340"/>
                  </a:lnTo>
                  <a:lnTo>
                    <a:pt x="1545" y="2321"/>
                  </a:lnTo>
                  <a:lnTo>
                    <a:pt x="1582" y="2248"/>
                  </a:lnTo>
                  <a:lnTo>
                    <a:pt x="1664" y="2157"/>
                  </a:lnTo>
                  <a:lnTo>
                    <a:pt x="1846" y="2070"/>
                  </a:lnTo>
                  <a:lnTo>
                    <a:pt x="1929" y="2148"/>
                  </a:lnTo>
                  <a:lnTo>
                    <a:pt x="2026" y="2070"/>
                  </a:lnTo>
                  <a:lnTo>
                    <a:pt x="1947" y="2010"/>
                  </a:lnTo>
                  <a:lnTo>
                    <a:pt x="1786" y="2010"/>
                  </a:lnTo>
                  <a:lnTo>
                    <a:pt x="1655" y="2029"/>
                  </a:lnTo>
                  <a:lnTo>
                    <a:pt x="1554" y="2093"/>
                  </a:lnTo>
                  <a:lnTo>
                    <a:pt x="1362" y="2065"/>
                  </a:lnTo>
                  <a:lnTo>
                    <a:pt x="1353" y="2175"/>
                  </a:lnTo>
                  <a:lnTo>
                    <a:pt x="1234" y="2248"/>
                  </a:lnTo>
                  <a:lnTo>
                    <a:pt x="1051" y="2212"/>
                  </a:lnTo>
                  <a:lnTo>
                    <a:pt x="946" y="2220"/>
                  </a:lnTo>
                  <a:lnTo>
                    <a:pt x="496" y="2160"/>
                  </a:lnTo>
                  <a:lnTo>
                    <a:pt x="128" y="1965"/>
                  </a:lnTo>
                  <a:lnTo>
                    <a:pt x="0" y="1882"/>
                  </a:lnTo>
                  <a:lnTo>
                    <a:pt x="9" y="1764"/>
                  </a:lnTo>
                  <a:lnTo>
                    <a:pt x="210" y="1919"/>
                  </a:lnTo>
                  <a:lnTo>
                    <a:pt x="357" y="1956"/>
                  </a:lnTo>
                  <a:lnTo>
                    <a:pt x="466" y="2040"/>
                  </a:lnTo>
                  <a:lnTo>
                    <a:pt x="649" y="2047"/>
                  </a:lnTo>
                  <a:lnTo>
                    <a:pt x="766" y="2010"/>
                  </a:lnTo>
                  <a:lnTo>
                    <a:pt x="933" y="2001"/>
                  </a:lnTo>
                  <a:lnTo>
                    <a:pt x="1036" y="1920"/>
                  </a:lnTo>
                  <a:lnTo>
                    <a:pt x="987" y="1846"/>
                  </a:lnTo>
                  <a:lnTo>
                    <a:pt x="887" y="1818"/>
                  </a:lnTo>
                  <a:lnTo>
                    <a:pt x="905" y="1709"/>
                  </a:lnTo>
                  <a:lnTo>
                    <a:pt x="896" y="1590"/>
                  </a:lnTo>
                  <a:lnTo>
                    <a:pt x="750" y="1608"/>
                  </a:lnTo>
                  <a:lnTo>
                    <a:pt x="676" y="1530"/>
                  </a:lnTo>
                  <a:lnTo>
                    <a:pt x="826" y="1410"/>
                  </a:lnTo>
                  <a:lnTo>
                    <a:pt x="878" y="1316"/>
                  </a:lnTo>
                  <a:lnTo>
                    <a:pt x="759" y="1233"/>
                  </a:lnTo>
                  <a:lnTo>
                    <a:pt x="736" y="1110"/>
                  </a:lnTo>
                  <a:lnTo>
                    <a:pt x="796" y="1020"/>
                  </a:lnTo>
                  <a:lnTo>
                    <a:pt x="887" y="904"/>
                  </a:lnTo>
                  <a:lnTo>
                    <a:pt x="1006" y="776"/>
                  </a:lnTo>
                  <a:lnTo>
                    <a:pt x="1189" y="794"/>
                  </a:lnTo>
                  <a:lnTo>
                    <a:pt x="1306" y="720"/>
                  </a:lnTo>
                  <a:lnTo>
                    <a:pt x="1335" y="849"/>
                  </a:lnTo>
                  <a:lnTo>
                    <a:pt x="1472" y="895"/>
                  </a:lnTo>
                  <a:lnTo>
                    <a:pt x="1546" y="930"/>
                  </a:lnTo>
                  <a:lnTo>
                    <a:pt x="1673" y="913"/>
                  </a:lnTo>
                  <a:lnTo>
                    <a:pt x="1756" y="810"/>
                  </a:lnTo>
                  <a:lnTo>
                    <a:pt x="1710" y="758"/>
                  </a:lnTo>
                  <a:lnTo>
                    <a:pt x="1600" y="685"/>
                  </a:lnTo>
                  <a:lnTo>
                    <a:pt x="1518" y="602"/>
                  </a:lnTo>
                  <a:lnTo>
                    <a:pt x="1456" y="480"/>
                  </a:lnTo>
                  <a:lnTo>
                    <a:pt x="1546" y="270"/>
                  </a:lnTo>
                  <a:lnTo>
                    <a:pt x="1637" y="246"/>
                  </a:lnTo>
                  <a:lnTo>
                    <a:pt x="1755" y="273"/>
                  </a:lnTo>
                  <a:lnTo>
                    <a:pt x="1966" y="360"/>
                  </a:lnTo>
                  <a:lnTo>
                    <a:pt x="1846" y="480"/>
                  </a:lnTo>
                  <a:lnTo>
                    <a:pt x="2026" y="630"/>
                  </a:lnTo>
                  <a:lnTo>
                    <a:pt x="2130" y="657"/>
                  </a:lnTo>
                  <a:lnTo>
                    <a:pt x="2206" y="600"/>
                  </a:lnTo>
                  <a:lnTo>
                    <a:pt x="2139" y="511"/>
                  </a:lnTo>
                  <a:lnTo>
                    <a:pt x="2075" y="429"/>
                  </a:lnTo>
                  <a:lnTo>
                    <a:pt x="2116" y="270"/>
                  </a:lnTo>
                  <a:lnTo>
                    <a:pt x="2167" y="182"/>
                  </a:lnTo>
                  <a:lnTo>
                    <a:pt x="2139" y="81"/>
                  </a:lnTo>
                  <a:lnTo>
                    <a:pt x="2296" y="0"/>
                  </a:lnTo>
                  <a:lnTo>
                    <a:pt x="2386" y="120"/>
                  </a:lnTo>
                  <a:lnTo>
                    <a:pt x="2552" y="127"/>
                  </a:lnTo>
                  <a:lnTo>
                    <a:pt x="2679" y="63"/>
                  </a:lnTo>
                  <a:lnTo>
                    <a:pt x="2843" y="127"/>
                  </a:lnTo>
                  <a:lnTo>
                    <a:pt x="2872" y="207"/>
                  </a:lnTo>
                  <a:lnTo>
                    <a:pt x="2971" y="145"/>
                  </a:lnTo>
                  <a:lnTo>
                    <a:pt x="3032" y="231"/>
                  </a:lnTo>
                  <a:lnTo>
                    <a:pt x="3136" y="210"/>
                  </a:lnTo>
                  <a:lnTo>
                    <a:pt x="3184" y="399"/>
                  </a:lnTo>
                  <a:lnTo>
                    <a:pt x="3286" y="420"/>
                  </a:lnTo>
                  <a:lnTo>
                    <a:pt x="3368" y="551"/>
                  </a:lnTo>
                  <a:lnTo>
                    <a:pt x="3346" y="648"/>
                  </a:lnTo>
                  <a:lnTo>
                    <a:pt x="3474" y="666"/>
                  </a:lnTo>
                  <a:lnTo>
                    <a:pt x="3493" y="813"/>
                  </a:lnTo>
                  <a:lnTo>
                    <a:pt x="3685" y="950"/>
                  </a:lnTo>
                  <a:lnTo>
                    <a:pt x="3785" y="1050"/>
                  </a:lnTo>
                  <a:lnTo>
                    <a:pt x="3826" y="1170"/>
                  </a:lnTo>
                  <a:close/>
                </a:path>
              </a:pathLst>
            </a:custGeom>
            <a:solidFill>
              <a:srgbClr val="FFD9DA"/>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338" name="Alabama">
              <a:extLst>
                <a:ext uri="{FF2B5EF4-FFF2-40B4-BE49-F238E27FC236}">
                  <a16:creationId xmlns:a16="http://schemas.microsoft.com/office/drawing/2014/main" id="{4BD55D78-231A-4F1A-9ECF-74DF7EB4573A}"/>
                </a:ext>
              </a:extLst>
            </p:cNvPr>
            <p:cNvSpPr>
              <a:spLocks/>
            </p:cNvSpPr>
            <p:nvPr/>
          </p:nvSpPr>
          <p:spPr bwMode="auto">
            <a:xfrm>
              <a:off x="6052184" y="3798866"/>
              <a:ext cx="508061" cy="789468"/>
            </a:xfrm>
            <a:custGeom>
              <a:avLst/>
              <a:gdLst>
                <a:gd name="T0" fmla="*/ 0 w 1649"/>
                <a:gd name="T1" fmla="*/ 44 h 2568"/>
                <a:gd name="T2" fmla="*/ 19 w 1649"/>
                <a:gd name="T3" fmla="*/ 96 h 2568"/>
                <a:gd name="T4" fmla="*/ 18 w 1649"/>
                <a:gd name="T5" fmla="*/ 141 h 2568"/>
                <a:gd name="T6" fmla="*/ 27 w 1649"/>
                <a:gd name="T7" fmla="*/ 212 h 2568"/>
                <a:gd name="T8" fmla="*/ 35 w 1649"/>
                <a:gd name="T9" fmla="*/ 326 h 2568"/>
                <a:gd name="T10" fmla="*/ 48 w 1649"/>
                <a:gd name="T11" fmla="*/ 432 h 2568"/>
                <a:gd name="T12" fmla="*/ 46 w 1649"/>
                <a:gd name="T13" fmla="*/ 471 h 2568"/>
                <a:gd name="T14" fmla="*/ 41 w 1649"/>
                <a:gd name="T15" fmla="*/ 482 h 2568"/>
                <a:gd name="T16" fmla="*/ 72 w 1649"/>
                <a:gd name="T17" fmla="*/ 469 h 2568"/>
                <a:gd name="T18" fmla="*/ 78 w 1649"/>
                <a:gd name="T19" fmla="*/ 446 h 2568"/>
                <a:gd name="T20" fmla="*/ 90 w 1649"/>
                <a:gd name="T21" fmla="*/ 461 h 2568"/>
                <a:gd name="T22" fmla="*/ 97 w 1649"/>
                <a:gd name="T23" fmla="*/ 478 h 2568"/>
                <a:gd name="T24" fmla="*/ 116 w 1649"/>
                <a:gd name="T25" fmla="*/ 487 h 2568"/>
                <a:gd name="T26" fmla="*/ 123 w 1649"/>
                <a:gd name="T27" fmla="*/ 469 h 2568"/>
                <a:gd name="T28" fmla="*/ 117 w 1649"/>
                <a:gd name="T29" fmla="*/ 435 h 2568"/>
                <a:gd name="T30" fmla="*/ 117 w 1649"/>
                <a:gd name="T31" fmla="*/ 412 h 2568"/>
                <a:gd name="T32" fmla="*/ 154 w 1649"/>
                <a:gd name="T33" fmla="*/ 404 h 2568"/>
                <a:gd name="T34" fmla="*/ 179 w 1649"/>
                <a:gd name="T35" fmla="*/ 401 h 2568"/>
                <a:gd name="T36" fmla="*/ 242 w 1649"/>
                <a:gd name="T37" fmla="*/ 381 h 2568"/>
                <a:gd name="T38" fmla="*/ 305 w 1649"/>
                <a:gd name="T39" fmla="*/ 366 h 2568"/>
                <a:gd name="T40" fmla="*/ 313 w 1649"/>
                <a:gd name="T41" fmla="*/ 338 h 2568"/>
                <a:gd name="T42" fmla="*/ 305 w 1649"/>
                <a:gd name="T43" fmla="*/ 314 h 2568"/>
                <a:gd name="T44" fmla="*/ 301 w 1649"/>
                <a:gd name="T45" fmla="*/ 281 h 2568"/>
                <a:gd name="T46" fmla="*/ 298 w 1649"/>
                <a:gd name="T47" fmla="*/ 262 h 2568"/>
                <a:gd name="T48" fmla="*/ 304 w 1649"/>
                <a:gd name="T49" fmla="*/ 232 h 2568"/>
                <a:gd name="T50" fmla="*/ 293 w 1649"/>
                <a:gd name="T51" fmla="*/ 212 h 2568"/>
                <a:gd name="T52" fmla="*/ 272 w 1649"/>
                <a:gd name="T53" fmla="*/ 176 h 2568"/>
                <a:gd name="T54" fmla="*/ 260 w 1649"/>
                <a:gd name="T55" fmla="*/ 127 h 2568"/>
                <a:gd name="T56" fmla="*/ 239 w 1649"/>
                <a:gd name="T57" fmla="*/ 52 h 2568"/>
                <a:gd name="T58" fmla="*/ 225 w 1649"/>
                <a:gd name="T59" fmla="*/ 27 h 2568"/>
                <a:gd name="T60" fmla="*/ 229 w 1649"/>
                <a:gd name="T61" fmla="*/ 0 h 2568"/>
                <a:gd name="T62" fmla="*/ 195 w 1649"/>
                <a:gd name="T63" fmla="*/ 1 h 2568"/>
                <a:gd name="T64" fmla="*/ 159 w 1649"/>
                <a:gd name="T65" fmla="*/ 13 h 2568"/>
                <a:gd name="T66" fmla="*/ 132 w 1649"/>
                <a:gd name="T67" fmla="*/ 17 h 2568"/>
                <a:gd name="T68" fmla="*/ 93 w 1649"/>
                <a:gd name="T69" fmla="*/ 28 h 2568"/>
                <a:gd name="T70" fmla="*/ 68 w 1649"/>
                <a:gd name="T71" fmla="*/ 33 h 2568"/>
                <a:gd name="T72" fmla="*/ 65 w 1649"/>
                <a:gd name="T73" fmla="*/ 20 h 2568"/>
                <a:gd name="T74" fmla="*/ 64 w 1649"/>
                <a:gd name="T75" fmla="*/ 20 h 2568"/>
                <a:gd name="T76" fmla="*/ 52 w 1649"/>
                <a:gd name="T77" fmla="*/ 17 h 2568"/>
                <a:gd name="T78" fmla="*/ 38 w 1649"/>
                <a:gd name="T79" fmla="*/ 27 h 2568"/>
                <a:gd name="T80" fmla="*/ 19 w 1649"/>
                <a:gd name="T81" fmla="*/ 22 h 2568"/>
                <a:gd name="T82" fmla="*/ 14 w 1649"/>
                <a:gd name="T83" fmla="*/ 34 h 2568"/>
                <a:gd name="T84" fmla="*/ 0 w 1649"/>
                <a:gd name="T85" fmla="*/ 44 h 25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49" h="2568">
                  <a:moveTo>
                    <a:pt x="0" y="234"/>
                  </a:moveTo>
                  <a:lnTo>
                    <a:pt x="99" y="506"/>
                  </a:lnTo>
                  <a:lnTo>
                    <a:pt x="95" y="741"/>
                  </a:lnTo>
                  <a:lnTo>
                    <a:pt x="141" y="1116"/>
                  </a:lnTo>
                  <a:lnTo>
                    <a:pt x="185" y="1721"/>
                  </a:lnTo>
                  <a:lnTo>
                    <a:pt x="255" y="2280"/>
                  </a:lnTo>
                  <a:lnTo>
                    <a:pt x="243" y="2483"/>
                  </a:lnTo>
                  <a:lnTo>
                    <a:pt x="216" y="2544"/>
                  </a:lnTo>
                  <a:lnTo>
                    <a:pt x="379" y="2472"/>
                  </a:lnTo>
                  <a:lnTo>
                    <a:pt x="409" y="2352"/>
                  </a:lnTo>
                  <a:lnTo>
                    <a:pt x="473" y="2432"/>
                  </a:lnTo>
                  <a:lnTo>
                    <a:pt x="513" y="2520"/>
                  </a:lnTo>
                  <a:lnTo>
                    <a:pt x="609" y="2568"/>
                  </a:lnTo>
                  <a:lnTo>
                    <a:pt x="649" y="2472"/>
                  </a:lnTo>
                  <a:lnTo>
                    <a:pt x="619" y="2292"/>
                  </a:lnTo>
                  <a:lnTo>
                    <a:pt x="619" y="2172"/>
                  </a:lnTo>
                  <a:lnTo>
                    <a:pt x="809" y="2128"/>
                  </a:lnTo>
                  <a:lnTo>
                    <a:pt x="945" y="2112"/>
                  </a:lnTo>
                  <a:lnTo>
                    <a:pt x="1273" y="2008"/>
                  </a:lnTo>
                  <a:lnTo>
                    <a:pt x="1609" y="1932"/>
                  </a:lnTo>
                  <a:lnTo>
                    <a:pt x="1649" y="1784"/>
                  </a:lnTo>
                  <a:lnTo>
                    <a:pt x="1609" y="1656"/>
                  </a:lnTo>
                  <a:lnTo>
                    <a:pt x="1585" y="1480"/>
                  </a:lnTo>
                  <a:lnTo>
                    <a:pt x="1569" y="1384"/>
                  </a:lnTo>
                  <a:lnTo>
                    <a:pt x="1601" y="1224"/>
                  </a:lnTo>
                  <a:lnTo>
                    <a:pt x="1545" y="1120"/>
                  </a:lnTo>
                  <a:lnTo>
                    <a:pt x="1433" y="928"/>
                  </a:lnTo>
                  <a:lnTo>
                    <a:pt x="1369" y="672"/>
                  </a:lnTo>
                  <a:lnTo>
                    <a:pt x="1257" y="272"/>
                  </a:lnTo>
                  <a:lnTo>
                    <a:pt x="1185" y="144"/>
                  </a:lnTo>
                  <a:lnTo>
                    <a:pt x="1209" y="0"/>
                  </a:lnTo>
                  <a:lnTo>
                    <a:pt x="1029" y="5"/>
                  </a:lnTo>
                  <a:lnTo>
                    <a:pt x="839" y="71"/>
                  </a:lnTo>
                  <a:lnTo>
                    <a:pt x="696" y="90"/>
                  </a:lnTo>
                  <a:lnTo>
                    <a:pt x="489" y="149"/>
                  </a:lnTo>
                  <a:lnTo>
                    <a:pt x="356" y="174"/>
                  </a:lnTo>
                  <a:lnTo>
                    <a:pt x="341" y="107"/>
                  </a:lnTo>
                  <a:lnTo>
                    <a:pt x="339" y="108"/>
                  </a:lnTo>
                  <a:lnTo>
                    <a:pt x="276" y="90"/>
                  </a:lnTo>
                  <a:lnTo>
                    <a:pt x="201" y="143"/>
                  </a:lnTo>
                  <a:lnTo>
                    <a:pt x="99" y="117"/>
                  </a:lnTo>
                  <a:lnTo>
                    <a:pt x="72" y="177"/>
                  </a:lnTo>
                  <a:lnTo>
                    <a:pt x="0" y="234"/>
                  </a:lnTo>
                  <a:close/>
                </a:path>
              </a:pathLst>
            </a:custGeom>
            <a:solidFill>
              <a:srgbClr val="640002"/>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grpSp>
      <p:grpSp>
        <p:nvGrpSpPr>
          <p:cNvPr id="225" name="State Abbreviations">
            <a:extLst>
              <a:ext uri="{FF2B5EF4-FFF2-40B4-BE49-F238E27FC236}">
                <a16:creationId xmlns:a16="http://schemas.microsoft.com/office/drawing/2014/main" id="{9285BC25-95A3-4128-8DAE-5A79BCCA4B63}"/>
              </a:ext>
            </a:extLst>
          </p:cNvPr>
          <p:cNvGrpSpPr/>
          <p:nvPr/>
        </p:nvGrpSpPr>
        <p:grpSpPr>
          <a:xfrm>
            <a:off x="4796193" y="1648190"/>
            <a:ext cx="6795181" cy="3856487"/>
            <a:chOff x="1311242" y="1561331"/>
            <a:chExt cx="6795181" cy="3856487"/>
          </a:xfrm>
        </p:grpSpPr>
        <p:sp>
          <p:nvSpPr>
            <p:cNvPr id="226" name="Wyoming">
              <a:extLst>
                <a:ext uri="{FF2B5EF4-FFF2-40B4-BE49-F238E27FC236}">
                  <a16:creationId xmlns:a16="http://schemas.microsoft.com/office/drawing/2014/main" id="{0D87D85D-7645-4270-9404-2F846A22080C}"/>
                </a:ext>
              </a:extLst>
            </p:cNvPr>
            <p:cNvSpPr>
              <a:spLocks noChangeArrowheads="1"/>
            </p:cNvSpPr>
            <p:nvPr/>
          </p:nvSpPr>
          <p:spPr bwMode="auto">
            <a:xfrm>
              <a:off x="3539104" y="2579688"/>
              <a:ext cx="34970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WY</a:t>
              </a:r>
            </a:p>
          </p:txBody>
        </p:sp>
        <p:sp>
          <p:nvSpPr>
            <p:cNvPr id="227" name="Wisconsin">
              <a:extLst>
                <a:ext uri="{FF2B5EF4-FFF2-40B4-BE49-F238E27FC236}">
                  <a16:creationId xmlns:a16="http://schemas.microsoft.com/office/drawing/2014/main" id="{5DB703B1-ED84-41B8-BD22-7141634EC102}"/>
                </a:ext>
              </a:extLst>
            </p:cNvPr>
            <p:cNvSpPr>
              <a:spLocks noChangeArrowheads="1"/>
            </p:cNvSpPr>
            <p:nvPr/>
          </p:nvSpPr>
          <p:spPr bwMode="auto">
            <a:xfrm>
              <a:off x="5484686" y="2363788"/>
              <a:ext cx="32886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Verdana" pitchFamily="34" charset="0"/>
                </a:rPr>
                <a:t>WI</a:t>
              </a:r>
            </a:p>
          </p:txBody>
        </p:sp>
        <p:sp>
          <p:nvSpPr>
            <p:cNvPr id="228" name="West Virginia">
              <a:extLst>
                <a:ext uri="{FF2B5EF4-FFF2-40B4-BE49-F238E27FC236}">
                  <a16:creationId xmlns:a16="http://schemas.microsoft.com/office/drawing/2014/main" id="{29DB5465-72D1-4143-B418-B37AA19ED5AA}"/>
                </a:ext>
              </a:extLst>
            </p:cNvPr>
            <p:cNvSpPr>
              <a:spLocks noChangeArrowheads="1"/>
            </p:cNvSpPr>
            <p:nvPr/>
          </p:nvSpPr>
          <p:spPr bwMode="auto">
            <a:xfrm>
              <a:off x="6695688" y="2991447"/>
              <a:ext cx="35611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Verdana" pitchFamily="34" charset="0"/>
                </a:rPr>
                <a:t>WV</a:t>
              </a:r>
            </a:p>
          </p:txBody>
        </p:sp>
        <p:sp>
          <p:nvSpPr>
            <p:cNvPr id="230" name="Washington">
              <a:extLst>
                <a:ext uri="{FF2B5EF4-FFF2-40B4-BE49-F238E27FC236}">
                  <a16:creationId xmlns:a16="http://schemas.microsoft.com/office/drawing/2014/main" id="{88F676C3-7392-46C8-8E79-EF9A923095AB}"/>
                </a:ext>
              </a:extLst>
            </p:cNvPr>
            <p:cNvSpPr>
              <a:spLocks noChangeArrowheads="1"/>
            </p:cNvSpPr>
            <p:nvPr/>
          </p:nvSpPr>
          <p:spPr bwMode="auto">
            <a:xfrm>
              <a:off x="2244451" y="1735138"/>
              <a:ext cx="35932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WA</a:t>
              </a:r>
            </a:p>
          </p:txBody>
        </p:sp>
        <p:sp>
          <p:nvSpPr>
            <p:cNvPr id="231" name="Virginia">
              <a:extLst>
                <a:ext uri="{FF2B5EF4-FFF2-40B4-BE49-F238E27FC236}">
                  <a16:creationId xmlns:a16="http://schemas.microsoft.com/office/drawing/2014/main" id="{ED57C666-9B7A-407C-A6D1-F3427CBEC89D}"/>
                </a:ext>
              </a:extLst>
            </p:cNvPr>
            <p:cNvSpPr>
              <a:spLocks noChangeArrowheads="1"/>
            </p:cNvSpPr>
            <p:nvPr/>
          </p:nvSpPr>
          <p:spPr bwMode="auto">
            <a:xfrm>
              <a:off x="7036747" y="3028704"/>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VA</a:t>
              </a:r>
            </a:p>
          </p:txBody>
        </p:sp>
        <p:sp>
          <p:nvSpPr>
            <p:cNvPr id="232" name="Vermont">
              <a:extLst>
                <a:ext uri="{FF2B5EF4-FFF2-40B4-BE49-F238E27FC236}">
                  <a16:creationId xmlns:a16="http://schemas.microsoft.com/office/drawing/2014/main" id="{564EA427-52E8-47D2-9F32-C08DFDDAD4CA}"/>
                </a:ext>
              </a:extLst>
            </p:cNvPr>
            <p:cNvSpPr>
              <a:spLocks noChangeArrowheads="1"/>
            </p:cNvSpPr>
            <p:nvPr/>
          </p:nvSpPr>
          <p:spPr bwMode="auto">
            <a:xfrm>
              <a:off x="7372826" y="183692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VT</a:t>
              </a:r>
            </a:p>
          </p:txBody>
        </p:sp>
        <p:sp>
          <p:nvSpPr>
            <p:cNvPr id="233" name="Utah">
              <a:extLst>
                <a:ext uri="{FF2B5EF4-FFF2-40B4-BE49-F238E27FC236}">
                  <a16:creationId xmlns:a16="http://schemas.microsoft.com/office/drawing/2014/main" id="{3DCEAEEF-D1A8-431D-AD00-FD7C4782A0A2}"/>
                </a:ext>
              </a:extLst>
            </p:cNvPr>
            <p:cNvSpPr>
              <a:spLocks noChangeArrowheads="1"/>
            </p:cNvSpPr>
            <p:nvPr/>
          </p:nvSpPr>
          <p:spPr bwMode="auto">
            <a:xfrm>
              <a:off x="3032839" y="3155950"/>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UT</a:t>
              </a:r>
            </a:p>
          </p:txBody>
        </p:sp>
        <p:sp>
          <p:nvSpPr>
            <p:cNvPr id="234" name="Texas">
              <a:extLst>
                <a:ext uri="{FF2B5EF4-FFF2-40B4-BE49-F238E27FC236}">
                  <a16:creationId xmlns:a16="http://schemas.microsoft.com/office/drawing/2014/main" id="{CDF74BB6-A371-4D32-9539-930E0B4038F1}"/>
                </a:ext>
              </a:extLst>
            </p:cNvPr>
            <p:cNvSpPr>
              <a:spLocks noChangeArrowheads="1"/>
            </p:cNvSpPr>
            <p:nvPr/>
          </p:nvSpPr>
          <p:spPr bwMode="auto">
            <a:xfrm>
              <a:off x="4479938" y="4379913"/>
              <a:ext cx="30001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TX</a:t>
              </a:r>
            </a:p>
          </p:txBody>
        </p:sp>
        <p:sp>
          <p:nvSpPr>
            <p:cNvPr id="235" name="Tennessee">
              <a:extLst>
                <a:ext uri="{FF2B5EF4-FFF2-40B4-BE49-F238E27FC236}">
                  <a16:creationId xmlns:a16="http://schemas.microsoft.com/office/drawing/2014/main" id="{7050CE12-0AD1-47C5-911A-4AADE7CF93A1}"/>
                </a:ext>
              </a:extLst>
            </p:cNvPr>
            <p:cNvSpPr>
              <a:spLocks noChangeArrowheads="1"/>
            </p:cNvSpPr>
            <p:nvPr/>
          </p:nvSpPr>
          <p:spPr bwMode="auto">
            <a:xfrm>
              <a:off x="6056209" y="3587750"/>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Verdana" pitchFamily="34" charset="0"/>
                </a:rPr>
                <a:t>TN</a:t>
              </a:r>
            </a:p>
          </p:txBody>
        </p:sp>
        <p:sp>
          <p:nvSpPr>
            <p:cNvPr id="236" name="South Dakota">
              <a:extLst>
                <a:ext uri="{FF2B5EF4-FFF2-40B4-BE49-F238E27FC236}">
                  <a16:creationId xmlns:a16="http://schemas.microsoft.com/office/drawing/2014/main" id="{ED1662ED-1A74-4A24-A47E-86DE27291D33}"/>
                </a:ext>
              </a:extLst>
            </p:cNvPr>
            <p:cNvSpPr>
              <a:spLocks noChangeArrowheads="1"/>
            </p:cNvSpPr>
            <p:nvPr/>
          </p:nvSpPr>
          <p:spPr bwMode="auto">
            <a:xfrm>
              <a:off x="4352904" y="2490652"/>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SD</a:t>
              </a:r>
            </a:p>
          </p:txBody>
        </p:sp>
        <p:sp>
          <p:nvSpPr>
            <p:cNvPr id="237" name="South Carolina">
              <a:extLst>
                <a:ext uri="{FF2B5EF4-FFF2-40B4-BE49-F238E27FC236}">
                  <a16:creationId xmlns:a16="http://schemas.microsoft.com/office/drawing/2014/main" id="{C8950C75-2A32-4D82-BF37-A3948DE62E3A}"/>
                </a:ext>
              </a:extLst>
            </p:cNvPr>
            <p:cNvSpPr>
              <a:spLocks noChangeArrowheads="1"/>
            </p:cNvSpPr>
            <p:nvPr/>
          </p:nvSpPr>
          <p:spPr bwMode="auto">
            <a:xfrm>
              <a:off x="6840538" y="3659188"/>
              <a:ext cx="325438"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Verdana" pitchFamily="34" charset="0"/>
                </a:rPr>
                <a:t>SC</a:t>
              </a:r>
            </a:p>
          </p:txBody>
        </p:sp>
        <p:sp>
          <p:nvSpPr>
            <p:cNvPr id="238" name="Rhode Island">
              <a:extLst>
                <a:ext uri="{FF2B5EF4-FFF2-40B4-BE49-F238E27FC236}">
                  <a16:creationId xmlns:a16="http://schemas.microsoft.com/office/drawing/2014/main" id="{39F74050-848A-40DC-A407-A9C272DEDC31}"/>
                </a:ext>
              </a:extLst>
            </p:cNvPr>
            <p:cNvSpPr>
              <a:spLocks noChangeArrowheads="1"/>
            </p:cNvSpPr>
            <p:nvPr/>
          </p:nvSpPr>
          <p:spPr bwMode="auto">
            <a:xfrm>
              <a:off x="7833663" y="2301875"/>
              <a:ext cx="2727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RI</a:t>
              </a:r>
            </a:p>
          </p:txBody>
        </p:sp>
        <p:sp>
          <p:nvSpPr>
            <p:cNvPr id="239" name="Pennsylvania">
              <a:extLst>
                <a:ext uri="{FF2B5EF4-FFF2-40B4-BE49-F238E27FC236}">
                  <a16:creationId xmlns:a16="http://schemas.microsoft.com/office/drawing/2014/main" id="{DDA31F71-90EC-4C7E-8780-EC1EEFA45B41}"/>
                </a:ext>
              </a:extLst>
            </p:cNvPr>
            <p:cNvSpPr>
              <a:spLocks noChangeArrowheads="1"/>
            </p:cNvSpPr>
            <p:nvPr/>
          </p:nvSpPr>
          <p:spPr bwMode="auto">
            <a:xfrm>
              <a:off x="6979914" y="2527085"/>
              <a:ext cx="31764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PA</a:t>
              </a:r>
            </a:p>
          </p:txBody>
        </p:sp>
        <p:sp>
          <p:nvSpPr>
            <p:cNvPr id="240" name="Oregon">
              <a:extLst>
                <a:ext uri="{FF2B5EF4-FFF2-40B4-BE49-F238E27FC236}">
                  <a16:creationId xmlns:a16="http://schemas.microsoft.com/office/drawing/2014/main" id="{E56D420A-9152-4E89-B4A6-CB320487D560}"/>
                </a:ext>
              </a:extLst>
            </p:cNvPr>
            <p:cNvSpPr>
              <a:spLocks noChangeArrowheads="1"/>
            </p:cNvSpPr>
            <p:nvPr/>
          </p:nvSpPr>
          <p:spPr bwMode="auto">
            <a:xfrm>
              <a:off x="2096953" y="2219325"/>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OR</a:t>
              </a:r>
            </a:p>
          </p:txBody>
        </p:sp>
        <p:sp>
          <p:nvSpPr>
            <p:cNvPr id="241" name="Oklahoma">
              <a:extLst>
                <a:ext uri="{FF2B5EF4-FFF2-40B4-BE49-F238E27FC236}">
                  <a16:creationId xmlns:a16="http://schemas.microsoft.com/office/drawing/2014/main" id="{70E334C2-F4DF-43DC-85BC-903EA4ECFB4C}"/>
                </a:ext>
              </a:extLst>
            </p:cNvPr>
            <p:cNvSpPr>
              <a:spLocks noChangeArrowheads="1"/>
            </p:cNvSpPr>
            <p:nvPr/>
          </p:nvSpPr>
          <p:spPr bwMode="auto">
            <a:xfrm>
              <a:off x="4759985" y="3803650"/>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OK</a:t>
              </a:r>
            </a:p>
          </p:txBody>
        </p:sp>
        <p:sp>
          <p:nvSpPr>
            <p:cNvPr id="242" name="Ohio">
              <a:extLst>
                <a:ext uri="{FF2B5EF4-FFF2-40B4-BE49-F238E27FC236}">
                  <a16:creationId xmlns:a16="http://schemas.microsoft.com/office/drawing/2014/main" id="{F4E13CC2-25F3-46C7-AD1F-7F2809B2D031}"/>
                </a:ext>
              </a:extLst>
            </p:cNvPr>
            <p:cNvSpPr>
              <a:spLocks noChangeArrowheads="1"/>
            </p:cNvSpPr>
            <p:nvPr/>
          </p:nvSpPr>
          <p:spPr bwMode="auto">
            <a:xfrm>
              <a:off x="6342668" y="2795588"/>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Verdana" pitchFamily="34" charset="0"/>
                </a:rPr>
                <a:t>OH</a:t>
              </a:r>
            </a:p>
          </p:txBody>
        </p:sp>
        <p:sp>
          <p:nvSpPr>
            <p:cNvPr id="243" name="North Dakota">
              <a:extLst>
                <a:ext uri="{FF2B5EF4-FFF2-40B4-BE49-F238E27FC236}">
                  <a16:creationId xmlns:a16="http://schemas.microsoft.com/office/drawing/2014/main" id="{0034D122-B877-4489-B95A-533C95BDF47D}"/>
                </a:ext>
              </a:extLst>
            </p:cNvPr>
            <p:cNvSpPr>
              <a:spLocks noChangeArrowheads="1"/>
            </p:cNvSpPr>
            <p:nvPr/>
          </p:nvSpPr>
          <p:spPr bwMode="auto">
            <a:xfrm>
              <a:off x="4323407" y="2003425"/>
              <a:ext cx="33367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ND</a:t>
              </a:r>
            </a:p>
          </p:txBody>
        </p:sp>
        <p:sp>
          <p:nvSpPr>
            <p:cNvPr id="244" name="North Carolina">
              <a:extLst>
                <a:ext uri="{FF2B5EF4-FFF2-40B4-BE49-F238E27FC236}">
                  <a16:creationId xmlns:a16="http://schemas.microsoft.com/office/drawing/2014/main" id="{75E50D44-BEC1-4FC3-9B26-EB8A186C1E9A}"/>
                </a:ext>
              </a:extLst>
            </p:cNvPr>
            <p:cNvSpPr>
              <a:spLocks noChangeArrowheads="1"/>
            </p:cNvSpPr>
            <p:nvPr/>
          </p:nvSpPr>
          <p:spPr bwMode="auto">
            <a:xfrm>
              <a:off x="6983413" y="3371850"/>
              <a:ext cx="3429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Verdana" pitchFamily="34" charset="0"/>
                </a:rPr>
                <a:t>NC</a:t>
              </a:r>
            </a:p>
          </p:txBody>
        </p:sp>
        <p:sp>
          <p:nvSpPr>
            <p:cNvPr id="245" name="New York">
              <a:extLst>
                <a:ext uri="{FF2B5EF4-FFF2-40B4-BE49-F238E27FC236}">
                  <a16:creationId xmlns:a16="http://schemas.microsoft.com/office/drawing/2014/main" id="{663A1F1F-4301-4037-B168-147AC611DFB0}"/>
                </a:ext>
              </a:extLst>
            </p:cNvPr>
            <p:cNvSpPr>
              <a:spLocks noChangeArrowheads="1"/>
            </p:cNvSpPr>
            <p:nvPr/>
          </p:nvSpPr>
          <p:spPr bwMode="auto">
            <a:xfrm>
              <a:off x="7175373" y="2139822"/>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NY</a:t>
              </a:r>
            </a:p>
          </p:txBody>
        </p:sp>
        <p:sp>
          <p:nvSpPr>
            <p:cNvPr id="246" name="New Mexico">
              <a:extLst>
                <a:ext uri="{FF2B5EF4-FFF2-40B4-BE49-F238E27FC236}">
                  <a16:creationId xmlns:a16="http://schemas.microsoft.com/office/drawing/2014/main" id="{1F6D7EF8-A08A-456D-B005-D769F3B29F52}"/>
                </a:ext>
              </a:extLst>
            </p:cNvPr>
            <p:cNvSpPr>
              <a:spLocks noChangeArrowheads="1"/>
            </p:cNvSpPr>
            <p:nvPr/>
          </p:nvSpPr>
          <p:spPr bwMode="auto">
            <a:xfrm>
              <a:off x="3600450" y="3876675"/>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NM</a:t>
              </a:r>
            </a:p>
          </p:txBody>
        </p:sp>
        <p:sp>
          <p:nvSpPr>
            <p:cNvPr id="247" name="New Jersey">
              <a:extLst>
                <a:ext uri="{FF2B5EF4-FFF2-40B4-BE49-F238E27FC236}">
                  <a16:creationId xmlns:a16="http://schemas.microsoft.com/office/drawing/2014/main" id="{8AC9553B-1422-4066-A843-6CEEEC7397C8}"/>
                </a:ext>
              </a:extLst>
            </p:cNvPr>
            <p:cNvSpPr>
              <a:spLocks noChangeArrowheads="1"/>
            </p:cNvSpPr>
            <p:nvPr/>
          </p:nvSpPr>
          <p:spPr bwMode="auto">
            <a:xfrm>
              <a:off x="7384740" y="2530870"/>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NJ</a:t>
              </a:r>
            </a:p>
          </p:txBody>
        </p:sp>
        <p:sp>
          <p:nvSpPr>
            <p:cNvPr id="248" name="New Hampshire">
              <a:extLst>
                <a:ext uri="{FF2B5EF4-FFF2-40B4-BE49-F238E27FC236}">
                  <a16:creationId xmlns:a16="http://schemas.microsoft.com/office/drawing/2014/main" id="{D5281F6D-096B-431F-A472-7EF3A68E9762}"/>
                </a:ext>
              </a:extLst>
            </p:cNvPr>
            <p:cNvSpPr>
              <a:spLocks noChangeArrowheads="1"/>
            </p:cNvSpPr>
            <p:nvPr/>
          </p:nvSpPr>
          <p:spPr bwMode="auto">
            <a:xfrm>
              <a:off x="7512652" y="1945961"/>
              <a:ext cx="33367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NH</a:t>
              </a:r>
            </a:p>
          </p:txBody>
        </p:sp>
        <p:sp>
          <p:nvSpPr>
            <p:cNvPr id="249" name="Nevada">
              <a:extLst>
                <a:ext uri="{FF2B5EF4-FFF2-40B4-BE49-F238E27FC236}">
                  <a16:creationId xmlns:a16="http://schemas.microsoft.com/office/drawing/2014/main" id="{8A4CFD14-C96A-40EC-9E6B-CBB0D26A267C}"/>
                </a:ext>
              </a:extLst>
            </p:cNvPr>
            <p:cNvSpPr>
              <a:spLocks noChangeArrowheads="1"/>
            </p:cNvSpPr>
            <p:nvPr/>
          </p:nvSpPr>
          <p:spPr bwMode="auto">
            <a:xfrm>
              <a:off x="2385901" y="3011488"/>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NV</a:t>
              </a:r>
            </a:p>
          </p:txBody>
        </p:sp>
        <p:sp>
          <p:nvSpPr>
            <p:cNvPr id="250" name="Nebraska">
              <a:extLst>
                <a:ext uri="{FF2B5EF4-FFF2-40B4-BE49-F238E27FC236}">
                  <a16:creationId xmlns:a16="http://schemas.microsoft.com/office/drawing/2014/main" id="{40FFADD2-4B63-448A-9C58-5C26A990CA66}"/>
                </a:ext>
              </a:extLst>
            </p:cNvPr>
            <p:cNvSpPr>
              <a:spLocks noChangeArrowheads="1"/>
            </p:cNvSpPr>
            <p:nvPr/>
          </p:nvSpPr>
          <p:spPr bwMode="auto">
            <a:xfrm>
              <a:off x="4400462" y="2867025"/>
              <a:ext cx="32085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NE</a:t>
              </a:r>
            </a:p>
          </p:txBody>
        </p:sp>
        <p:sp>
          <p:nvSpPr>
            <p:cNvPr id="251" name="Montana">
              <a:extLst>
                <a:ext uri="{FF2B5EF4-FFF2-40B4-BE49-F238E27FC236}">
                  <a16:creationId xmlns:a16="http://schemas.microsoft.com/office/drawing/2014/main" id="{150B5709-B544-420E-88E9-DE7C06B8499F}"/>
                </a:ext>
              </a:extLst>
            </p:cNvPr>
            <p:cNvSpPr>
              <a:spLocks noChangeArrowheads="1"/>
            </p:cNvSpPr>
            <p:nvPr/>
          </p:nvSpPr>
          <p:spPr bwMode="auto">
            <a:xfrm>
              <a:off x="3321710" y="2003425"/>
              <a:ext cx="33046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MT</a:t>
              </a:r>
            </a:p>
          </p:txBody>
        </p:sp>
        <p:sp>
          <p:nvSpPr>
            <p:cNvPr id="252" name="Missouri">
              <a:extLst>
                <a:ext uri="{FF2B5EF4-FFF2-40B4-BE49-F238E27FC236}">
                  <a16:creationId xmlns:a16="http://schemas.microsoft.com/office/drawing/2014/main" id="{A6831991-263E-4E4E-8BAB-E0D73876D1E6}"/>
                </a:ext>
              </a:extLst>
            </p:cNvPr>
            <p:cNvSpPr>
              <a:spLocks noChangeArrowheads="1"/>
            </p:cNvSpPr>
            <p:nvPr/>
          </p:nvSpPr>
          <p:spPr bwMode="auto">
            <a:xfrm>
              <a:off x="5256213" y="3300413"/>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MO</a:t>
              </a:r>
            </a:p>
          </p:txBody>
        </p:sp>
        <p:sp>
          <p:nvSpPr>
            <p:cNvPr id="253" name="Mississippi">
              <a:extLst>
                <a:ext uri="{FF2B5EF4-FFF2-40B4-BE49-F238E27FC236}">
                  <a16:creationId xmlns:a16="http://schemas.microsoft.com/office/drawing/2014/main" id="{925E6383-7943-44B5-9A15-9AAF8BA9FA00}"/>
                </a:ext>
              </a:extLst>
            </p:cNvPr>
            <p:cNvSpPr>
              <a:spLocks noChangeArrowheads="1"/>
            </p:cNvSpPr>
            <p:nvPr/>
          </p:nvSpPr>
          <p:spPr bwMode="auto">
            <a:xfrm>
              <a:off x="5759450" y="4092575"/>
              <a:ext cx="3524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Verdana" pitchFamily="34" charset="0"/>
                </a:rPr>
                <a:t>MS</a:t>
              </a:r>
            </a:p>
          </p:txBody>
        </p:sp>
        <p:sp>
          <p:nvSpPr>
            <p:cNvPr id="254" name="Minnesota">
              <a:extLst>
                <a:ext uri="{FF2B5EF4-FFF2-40B4-BE49-F238E27FC236}">
                  <a16:creationId xmlns:a16="http://schemas.microsoft.com/office/drawing/2014/main" id="{251A2F83-AF07-44D8-BA51-DAE343698E29}"/>
                </a:ext>
              </a:extLst>
            </p:cNvPr>
            <p:cNvSpPr>
              <a:spLocks noChangeArrowheads="1"/>
            </p:cNvSpPr>
            <p:nvPr/>
          </p:nvSpPr>
          <p:spPr bwMode="auto">
            <a:xfrm>
              <a:off x="4914900" y="2147888"/>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MN</a:t>
              </a:r>
            </a:p>
          </p:txBody>
        </p:sp>
        <p:sp>
          <p:nvSpPr>
            <p:cNvPr id="255" name="Michigan">
              <a:extLst>
                <a:ext uri="{FF2B5EF4-FFF2-40B4-BE49-F238E27FC236}">
                  <a16:creationId xmlns:a16="http://schemas.microsoft.com/office/drawing/2014/main" id="{236F5932-86D7-454B-86D0-C57EFCE8BCB2}"/>
                </a:ext>
              </a:extLst>
            </p:cNvPr>
            <p:cNvSpPr>
              <a:spLocks noChangeArrowheads="1"/>
            </p:cNvSpPr>
            <p:nvPr/>
          </p:nvSpPr>
          <p:spPr bwMode="auto">
            <a:xfrm>
              <a:off x="6078481" y="2425700"/>
              <a:ext cx="31443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Verdana" pitchFamily="34" charset="0"/>
                </a:rPr>
                <a:t>MI</a:t>
              </a:r>
            </a:p>
          </p:txBody>
        </p:sp>
        <p:sp>
          <p:nvSpPr>
            <p:cNvPr id="256" name="Massachusetts">
              <a:extLst>
                <a:ext uri="{FF2B5EF4-FFF2-40B4-BE49-F238E27FC236}">
                  <a16:creationId xmlns:a16="http://schemas.microsoft.com/office/drawing/2014/main" id="{4E5ED53B-37DF-4FA9-B996-6DF8DBA73F2A}"/>
                </a:ext>
              </a:extLst>
            </p:cNvPr>
            <p:cNvSpPr>
              <a:spLocks noChangeArrowheads="1"/>
            </p:cNvSpPr>
            <p:nvPr/>
          </p:nvSpPr>
          <p:spPr bwMode="auto">
            <a:xfrm>
              <a:off x="7737286" y="1941513"/>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MA</a:t>
              </a:r>
            </a:p>
          </p:txBody>
        </p:sp>
        <p:sp>
          <p:nvSpPr>
            <p:cNvPr id="257" name="Maryland">
              <a:extLst>
                <a:ext uri="{FF2B5EF4-FFF2-40B4-BE49-F238E27FC236}">
                  <a16:creationId xmlns:a16="http://schemas.microsoft.com/office/drawing/2014/main" id="{8994022F-8741-4CD1-BB27-B9B9C5A3C4B3}"/>
                </a:ext>
              </a:extLst>
            </p:cNvPr>
            <p:cNvSpPr>
              <a:spLocks noChangeArrowheads="1"/>
            </p:cNvSpPr>
            <p:nvPr/>
          </p:nvSpPr>
          <p:spPr bwMode="auto">
            <a:xfrm>
              <a:off x="7679047" y="2873274"/>
              <a:ext cx="34810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MD</a:t>
              </a:r>
            </a:p>
          </p:txBody>
        </p:sp>
        <p:sp>
          <p:nvSpPr>
            <p:cNvPr id="258" name="Maine">
              <a:extLst>
                <a:ext uri="{FF2B5EF4-FFF2-40B4-BE49-F238E27FC236}">
                  <a16:creationId xmlns:a16="http://schemas.microsoft.com/office/drawing/2014/main" id="{AB903CA9-B0F8-44BE-8872-68665D6752D8}"/>
                </a:ext>
              </a:extLst>
            </p:cNvPr>
            <p:cNvSpPr>
              <a:spLocks noChangeArrowheads="1"/>
            </p:cNvSpPr>
            <p:nvPr/>
          </p:nvSpPr>
          <p:spPr bwMode="auto">
            <a:xfrm>
              <a:off x="7648085" y="1561331"/>
              <a:ext cx="33527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ME</a:t>
              </a:r>
            </a:p>
          </p:txBody>
        </p:sp>
        <p:sp>
          <p:nvSpPr>
            <p:cNvPr id="259" name="Lousiana">
              <a:extLst>
                <a:ext uri="{FF2B5EF4-FFF2-40B4-BE49-F238E27FC236}">
                  <a16:creationId xmlns:a16="http://schemas.microsoft.com/office/drawing/2014/main" id="{8D6AA8B1-3191-4FD8-AAB5-9B08AFB01E62}"/>
                </a:ext>
              </a:extLst>
            </p:cNvPr>
            <p:cNvSpPr>
              <a:spLocks noChangeArrowheads="1"/>
            </p:cNvSpPr>
            <p:nvPr/>
          </p:nvSpPr>
          <p:spPr bwMode="auto">
            <a:xfrm>
              <a:off x="5400627" y="4379913"/>
              <a:ext cx="31283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Verdana" pitchFamily="34" charset="0"/>
                </a:rPr>
                <a:t>LA</a:t>
              </a:r>
            </a:p>
          </p:txBody>
        </p:sp>
        <p:sp>
          <p:nvSpPr>
            <p:cNvPr id="260" name="Kentucky">
              <a:extLst>
                <a:ext uri="{FF2B5EF4-FFF2-40B4-BE49-F238E27FC236}">
                  <a16:creationId xmlns:a16="http://schemas.microsoft.com/office/drawing/2014/main" id="{42ACFD1B-61C8-4AA8-A70F-F0EDDE1FB89F}"/>
                </a:ext>
              </a:extLst>
            </p:cNvPr>
            <p:cNvSpPr>
              <a:spLocks noChangeArrowheads="1"/>
            </p:cNvSpPr>
            <p:nvPr/>
          </p:nvSpPr>
          <p:spPr bwMode="auto">
            <a:xfrm>
              <a:off x="6287029" y="3234249"/>
              <a:ext cx="31764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Verdana" pitchFamily="34" charset="0"/>
                </a:rPr>
                <a:t>KY</a:t>
              </a:r>
            </a:p>
          </p:txBody>
        </p:sp>
        <p:sp>
          <p:nvSpPr>
            <p:cNvPr id="261" name="Kansas">
              <a:extLst>
                <a:ext uri="{FF2B5EF4-FFF2-40B4-BE49-F238E27FC236}">
                  <a16:creationId xmlns:a16="http://schemas.microsoft.com/office/drawing/2014/main" id="{1EA1E654-B554-4F85-ADEB-F3BA05A08323}"/>
                </a:ext>
              </a:extLst>
            </p:cNvPr>
            <p:cNvSpPr>
              <a:spLocks noChangeArrowheads="1"/>
            </p:cNvSpPr>
            <p:nvPr/>
          </p:nvSpPr>
          <p:spPr bwMode="auto">
            <a:xfrm>
              <a:off x="4547361" y="33004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KS</a:t>
              </a:r>
            </a:p>
          </p:txBody>
        </p:sp>
        <p:sp>
          <p:nvSpPr>
            <p:cNvPr id="262" name="Iowa">
              <a:extLst>
                <a:ext uri="{FF2B5EF4-FFF2-40B4-BE49-F238E27FC236}">
                  <a16:creationId xmlns:a16="http://schemas.microsoft.com/office/drawing/2014/main" id="{25BFE4EF-4D33-497B-B775-F14DC9D0E6EE}"/>
                </a:ext>
              </a:extLst>
            </p:cNvPr>
            <p:cNvSpPr>
              <a:spLocks noChangeArrowheads="1"/>
            </p:cNvSpPr>
            <p:nvPr/>
          </p:nvSpPr>
          <p:spPr bwMode="auto">
            <a:xfrm>
              <a:off x="5132509" y="2743200"/>
              <a:ext cx="2775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IA</a:t>
              </a:r>
            </a:p>
          </p:txBody>
        </p:sp>
        <p:sp>
          <p:nvSpPr>
            <p:cNvPr id="263" name="Indiana">
              <a:extLst>
                <a:ext uri="{FF2B5EF4-FFF2-40B4-BE49-F238E27FC236}">
                  <a16:creationId xmlns:a16="http://schemas.microsoft.com/office/drawing/2014/main" id="{4FE138CB-E933-4256-9E2E-E5DE94FEA762}"/>
                </a:ext>
              </a:extLst>
            </p:cNvPr>
            <p:cNvSpPr>
              <a:spLocks noChangeArrowheads="1"/>
            </p:cNvSpPr>
            <p:nvPr/>
          </p:nvSpPr>
          <p:spPr bwMode="auto">
            <a:xfrm>
              <a:off x="6036490" y="292100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IN</a:t>
              </a:r>
            </a:p>
          </p:txBody>
        </p:sp>
        <p:sp>
          <p:nvSpPr>
            <p:cNvPr id="264" name="Illinois">
              <a:extLst>
                <a:ext uri="{FF2B5EF4-FFF2-40B4-BE49-F238E27FC236}">
                  <a16:creationId xmlns:a16="http://schemas.microsoft.com/office/drawing/2014/main" id="{C7912F7E-D090-4636-A370-A62FC053AFB3}"/>
                </a:ext>
              </a:extLst>
            </p:cNvPr>
            <p:cNvSpPr>
              <a:spLocks noChangeArrowheads="1"/>
            </p:cNvSpPr>
            <p:nvPr/>
          </p:nvSpPr>
          <p:spPr bwMode="auto">
            <a:xfrm>
              <a:off x="5705636" y="2940050"/>
              <a:ext cx="26955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IL</a:t>
              </a:r>
            </a:p>
          </p:txBody>
        </p:sp>
        <p:sp>
          <p:nvSpPr>
            <p:cNvPr id="265" name="Idaho">
              <a:extLst>
                <a:ext uri="{FF2B5EF4-FFF2-40B4-BE49-F238E27FC236}">
                  <a16:creationId xmlns:a16="http://schemas.microsoft.com/office/drawing/2014/main" id="{5FF72687-9EB7-4746-A0D9-A1868FCBF566}"/>
                </a:ext>
              </a:extLst>
            </p:cNvPr>
            <p:cNvSpPr>
              <a:spLocks noChangeArrowheads="1"/>
            </p:cNvSpPr>
            <p:nvPr/>
          </p:nvSpPr>
          <p:spPr bwMode="auto">
            <a:xfrm>
              <a:off x="2805164" y="2354263"/>
              <a:ext cx="29199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ID</a:t>
              </a:r>
            </a:p>
          </p:txBody>
        </p:sp>
        <p:sp>
          <p:nvSpPr>
            <p:cNvPr id="266" name="Hawaii">
              <a:extLst>
                <a:ext uri="{FF2B5EF4-FFF2-40B4-BE49-F238E27FC236}">
                  <a16:creationId xmlns:a16="http://schemas.microsoft.com/office/drawing/2014/main" id="{CB19F9A4-A2D4-41E0-B2B8-4EDAA7C97AC9}"/>
                </a:ext>
              </a:extLst>
            </p:cNvPr>
            <p:cNvSpPr>
              <a:spLocks noChangeArrowheads="1"/>
            </p:cNvSpPr>
            <p:nvPr/>
          </p:nvSpPr>
          <p:spPr bwMode="auto">
            <a:xfrm>
              <a:off x="2885237" y="5202409"/>
              <a:ext cx="29520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HI</a:t>
              </a:r>
            </a:p>
          </p:txBody>
        </p:sp>
        <p:sp>
          <p:nvSpPr>
            <p:cNvPr id="267" name="Georgia">
              <a:extLst>
                <a:ext uri="{FF2B5EF4-FFF2-40B4-BE49-F238E27FC236}">
                  <a16:creationId xmlns:a16="http://schemas.microsoft.com/office/drawing/2014/main" id="{6E490E49-08F6-4CD2-A71E-279C0FA8D967}"/>
                </a:ext>
              </a:extLst>
            </p:cNvPr>
            <p:cNvSpPr>
              <a:spLocks noChangeArrowheads="1"/>
            </p:cNvSpPr>
            <p:nvPr/>
          </p:nvSpPr>
          <p:spPr bwMode="auto">
            <a:xfrm>
              <a:off x="6480175" y="3948113"/>
              <a:ext cx="34607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Verdana" pitchFamily="34" charset="0"/>
                </a:rPr>
                <a:t>GA</a:t>
              </a:r>
            </a:p>
          </p:txBody>
        </p:sp>
        <p:sp>
          <p:nvSpPr>
            <p:cNvPr id="268" name="Florida">
              <a:extLst>
                <a:ext uri="{FF2B5EF4-FFF2-40B4-BE49-F238E27FC236}">
                  <a16:creationId xmlns:a16="http://schemas.microsoft.com/office/drawing/2014/main" id="{18539FC4-C1AC-4FC3-9A00-4046F648448D}"/>
                </a:ext>
              </a:extLst>
            </p:cNvPr>
            <p:cNvSpPr>
              <a:spLocks noChangeArrowheads="1"/>
            </p:cNvSpPr>
            <p:nvPr/>
          </p:nvSpPr>
          <p:spPr bwMode="auto">
            <a:xfrm>
              <a:off x="6847687" y="4524375"/>
              <a:ext cx="30161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Verdana" pitchFamily="34" charset="0"/>
                </a:rPr>
                <a:t>FL</a:t>
              </a:r>
            </a:p>
          </p:txBody>
        </p:sp>
        <p:sp>
          <p:nvSpPr>
            <p:cNvPr id="269" name="Delaware">
              <a:extLst>
                <a:ext uri="{FF2B5EF4-FFF2-40B4-BE49-F238E27FC236}">
                  <a16:creationId xmlns:a16="http://schemas.microsoft.com/office/drawing/2014/main" id="{2EBEE892-76B4-49A9-911C-E7D95B804D60}"/>
                </a:ext>
              </a:extLst>
            </p:cNvPr>
            <p:cNvSpPr>
              <a:spLocks noChangeArrowheads="1"/>
            </p:cNvSpPr>
            <p:nvPr/>
          </p:nvSpPr>
          <p:spPr bwMode="auto">
            <a:xfrm>
              <a:off x="7545071" y="2763114"/>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DE</a:t>
              </a:r>
            </a:p>
          </p:txBody>
        </p:sp>
        <p:sp>
          <p:nvSpPr>
            <p:cNvPr id="270" name="Connecticut">
              <a:extLst>
                <a:ext uri="{FF2B5EF4-FFF2-40B4-BE49-F238E27FC236}">
                  <a16:creationId xmlns:a16="http://schemas.microsoft.com/office/drawing/2014/main" id="{01D5DFBD-AE42-468A-B257-5A6B4ACA742F}"/>
                </a:ext>
              </a:extLst>
            </p:cNvPr>
            <p:cNvSpPr>
              <a:spLocks noChangeArrowheads="1"/>
            </p:cNvSpPr>
            <p:nvPr/>
          </p:nvSpPr>
          <p:spPr bwMode="auto">
            <a:xfrm>
              <a:off x="7732194" y="240694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CT</a:t>
              </a:r>
            </a:p>
          </p:txBody>
        </p:sp>
        <p:sp>
          <p:nvSpPr>
            <p:cNvPr id="271" name="Colorado">
              <a:extLst>
                <a:ext uri="{FF2B5EF4-FFF2-40B4-BE49-F238E27FC236}">
                  <a16:creationId xmlns:a16="http://schemas.microsoft.com/office/drawing/2014/main" id="{692205E7-1022-4C5F-BE6B-9888C6FAC877}"/>
                </a:ext>
              </a:extLst>
            </p:cNvPr>
            <p:cNvSpPr>
              <a:spLocks noChangeArrowheads="1"/>
            </p:cNvSpPr>
            <p:nvPr/>
          </p:nvSpPr>
          <p:spPr bwMode="auto">
            <a:xfrm>
              <a:off x="3679707" y="3227388"/>
              <a:ext cx="32726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CO</a:t>
              </a:r>
            </a:p>
          </p:txBody>
        </p:sp>
        <p:sp>
          <p:nvSpPr>
            <p:cNvPr id="272" name="California">
              <a:extLst>
                <a:ext uri="{FF2B5EF4-FFF2-40B4-BE49-F238E27FC236}">
                  <a16:creationId xmlns:a16="http://schemas.microsoft.com/office/drawing/2014/main" id="{551C17DE-B902-40D1-B12E-3B237C1F7D09}"/>
                </a:ext>
              </a:extLst>
            </p:cNvPr>
            <p:cNvSpPr>
              <a:spLocks noChangeArrowheads="1"/>
            </p:cNvSpPr>
            <p:nvPr/>
          </p:nvSpPr>
          <p:spPr bwMode="auto">
            <a:xfrm>
              <a:off x="1880567" y="3254225"/>
              <a:ext cx="32085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CA</a:t>
              </a:r>
            </a:p>
          </p:txBody>
        </p:sp>
        <p:sp>
          <p:nvSpPr>
            <p:cNvPr id="273" name="Arkansas">
              <a:extLst>
                <a:ext uri="{FF2B5EF4-FFF2-40B4-BE49-F238E27FC236}">
                  <a16:creationId xmlns:a16="http://schemas.microsoft.com/office/drawing/2014/main" id="{8E3198E2-5571-42FC-A6E8-4DF9253398E5}"/>
                </a:ext>
              </a:extLst>
            </p:cNvPr>
            <p:cNvSpPr>
              <a:spLocks noChangeArrowheads="1"/>
            </p:cNvSpPr>
            <p:nvPr/>
          </p:nvSpPr>
          <p:spPr bwMode="auto">
            <a:xfrm>
              <a:off x="5343483" y="3803650"/>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AR</a:t>
              </a:r>
            </a:p>
          </p:txBody>
        </p:sp>
        <p:sp>
          <p:nvSpPr>
            <p:cNvPr id="274" name="Arizona">
              <a:extLst>
                <a:ext uri="{FF2B5EF4-FFF2-40B4-BE49-F238E27FC236}">
                  <a16:creationId xmlns:a16="http://schemas.microsoft.com/office/drawing/2014/main" id="{1312FA68-4D61-4E08-BE63-ACA9C1EB4F0C}"/>
                </a:ext>
              </a:extLst>
            </p:cNvPr>
            <p:cNvSpPr>
              <a:spLocks noChangeArrowheads="1"/>
            </p:cNvSpPr>
            <p:nvPr/>
          </p:nvSpPr>
          <p:spPr bwMode="auto">
            <a:xfrm>
              <a:off x="2886789" y="3876675"/>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AZ</a:t>
              </a:r>
            </a:p>
          </p:txBody>
        </p:sp>
        <p:sp>
          <p:nvSpPr>
            <p:cNvPr id="275" name="Alaska">
              <a:extLst>
                <a:ext uri="{FF2B5EF4-FFF2-40B4-BE49-F238E27FC236}">
                  <a16:creationId xmlns:a16="http://schemas.microsoft.com/office/drawing/2014/main" id="{C9FAEA09-3D7B-4893-B62A-16A79003AB6C}"/>
                </a:ext>
              </a:extLst>
            </p:cNvPr>
            <p:cNvSpPr>
              <a:spLocks noChangeArrowheads="1"/>
            </p:cNvSpPr>
            <p:nvPr/>
          </p:nvSpPr>
          <p:spPr bwMode="auto">
            <a:xfrm>
              <a:off x="1311242" y="43799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AK</a:t>
              </a:r>
            </a:p>
          </p:txBody>
        </p:sp>
        <p:sp>
          <p:nvSpPr>
            <p:cNvPr id="276" name="Alabama">
              <a:extLst>
                <a:ext uri="{FF2B5EF4-FFF2-40B4-BE49-F238E27FC236}">
                  <a16:creationId xmlns:a16="http://schemas.microsoft.com/office/drawing/2014/main" id="{D50E2CF5-C0D6-4F38-8616-3000C0CF97E9}"/>
                </a:ext>
              </a:extLst>
            </p:cNvPr>
            <p:cNvSpPr>
              <a:spLocks noChangeArrowheads="1"/>
            </p:cNvSpPr>
            <p:nvPr/>
          </p:nvSpPr>
          <p:spPr bwMode="auto">
            <a:xfrm>
              <a:off x="6134915" y="401955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AL</a:t>
              </a:r>
            </a:p>
          </p:txBody>
        </p:sp>
        <p:cxnSp>
          <p:nvCxnSpPr>
            <p:cNvPr id="277" name="Straight Connector 276">
              <a:extLst>
                <a:ext uri="{FF2B5EF4-FFF2-40B4-BE49-F238E27FC236}">
                  <a16:creationId xmlns:a16="http://schemas.microsoft.com/office/drawing/2014/main" id="{CCE36ED0-CC6A-48A8-A678-34B1337F53F1}"/>
                </a:ext>
              </a:extLst>
            </p:cNvPr>
            <p:cNvCxnSpPr/>
            <p:nvPr/>
          </p:nvCxnSpPr>
          <p:spPr>
            <a:xfrm flipH="1">
              <a:off x="7832468" y="2097228"/>
              <a:ext cx="80513" cy="1013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C0444B63-3A5E-435A-A8FD-22A4A132319F}"/>
                </a:ext>
              </a:extLst>
            </p:cNvPr>
            <p:cNvCxnSpPr>
              <a:cxnSpLocks/>
            </p:cNvCxnSpPr>
            <p:nvPr/>
          </p:nvCxnSpPr>
          <p:spPr>
            <a:xfrm flipH="1" flipV="1">
              <a:off x="7795844" y="2277310"/>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8716E8D9-4930-436A-87D0-F47E1C3CE97B}"/>
                </a:ext>
              </a:extLst>
            </p:cNvPr>
            <p:cNvCxnSpPr>
              <a:cxnSpLocks/>
            </p:cNvCxnSpPr>
            <p:nvPr/>
          </p:nvCxnSpPr>
          <p:spPr>
            <a:xfrm flipH="1" flipV="1">
              <a:off x="7736219" y="2331983"/>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59C33DF0-E944-486E-9D05-14A595C24356}"/>
                </a:ext>
              </a:extLst>
            </p:cNvPr>
            <p:cNvCxnSpPr>
              <a:cxnSpLocks/>
            </p:cNvCxnSpPr>
            <p:nvPr/>
          </p:nvCxnSpPr>
          <p:spPr>
            <a:xfrm flipH="1" flipV="1">
              <a:off x="7485360" y="2853151"/>
              <a:ext cx="124715" cy="31801"/>
            </a:xfrm>
            <a:prstGeom prst="line">
              <a:avLst/>
            </a:prstGeom>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53C30F42-6F47-456B-8F77-F40170310211}"/>
                </a:ext>
              </a:extLst>
            </p:cNvPr>
            <p:cNvCxnSpPr>
              <a:cxnSpLocks/>
            </p:cNvCxnSpPr>
            <p:nvPr/>
          </p:nvCxnSpPr>
          <p:spPr>
            <a:xfrm flipH="1" flipV="1">
              <a:off x="7303670" y="2814282"/>
              <a:ext cx="464918" cy="177093"/>
            </a:xfrm>
            <a:prstGeom prst="line">
              <a:avLst/>
            </a:prstGeom>
          </p:spPr>
          <p:style>
            <a:lnRef idx="1">
              <a:schemeClr val="accent1"/>
            </a:lnRef>
            <a:fillRef idx="0">
              <a:schemeClr val="accent1"/>
            </a:fillRef>
            <a:effectRef idx="0">
              <a:schemeClr val="accent1"/>
            </a:effectRef>
            <a:fontRef idx="minor">
              <a:schemeClr val="tx1"/>
            </a:fontRef>
          </p:style>
        </p:cxnSp>
      </p:grpSp>
      <p:sp>
        <p:nvSpPr>
          <p:cNvPr id="153" name="TextBox 152">
            <a:extLst>
              <a:ext uri="{FF2B5EF4-FFF2-40B4-BE49-F238E27FC236}">
                <a16:creationId xmlns:a16="http://schemas.microsoft.com/office/drawing/2014/main" id="{91C60E9C-A7A3-455C-9925-BCBCA8BE7158}"/>
              </a:ext>
            </a:extLst>
          </p:cNvPr>
          <p:cNvSpPr txBox="1"/>
          <p:nvPr/>
        </p:nvSpPr>
        <p:spPr>
          <a:xfrm>
            <a:off x="313550" y="6218149"/>
            <a:ext cx="4218230" cy="215444"/>
          </a:xfrm>
          <a:prstGeom prst="rect">
            <a:avLst/>
          </a:prstGeom>
          <a:noFill/>
        </p:spPr>
        <p:txBody>
          <a:bodyPr wrap="square" rtlCol="0">
            <a:spAutoFit/>
          </a:bodyPr>
          <a:lstStyle/>
          <a:p>
            <a:r>
              <a:rPr lang="en-US" sz="800" dirty="0">
                <a:solidFill>
                  <a:prstClr val="black"/>
                </a:solidFill>
                <a:latin typeface="Segoe UI"/>
                <a:ea typeface="Verdana" panose="020B0604030504040204" pitchFamily="34" charset="0"/>
                <a:cs typeface="Verdana" panose="020B0604030504040204" pitchFamily="34" charset="0"/>
              </a:rPr>
              <a:t>Source: The Chartis Center for Rural Health, January 2024</a:t>
            </a:r>
          </a:p>
        </p:txBody>
      </p:sp>
    </p:spTree>
    <p:extLst>
      <p:ext uri="{BB962C8B-B14F-4D97-AF65-F5344CB8AC3E}">
        <p14:creationId xmlns:p14="http://schemas.microsoft.com/office/powerpoint/2010/main" val="38850417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3FC3DC02-4405-4971-880A-72FBB3CDF7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5" name="Object 24" hidden="1">
                        <a:extLst>
                          <a:ext uri="{FF2B5EF4-FFF2-40B4-BE49-F238E27FC236}">
                            <a16:creationId xmlns:a16="http://schemas.microsoft.com/office/drawing/2014/main" id="{3FC3DC02-4405-4971-880A-72FBB3CDF7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90EE9F6D-3382-455B-A582-8811A27A8677}"/>
              </a:ext>
            </a:extLst>
          </p:cNvPr>
          <p:cNvSpPr>
            <a:spLocks noGrp="1"/>
          </p:cNvSpPr>
          <p:nvPr>
            <p:ph type="title"/>
          </p:nvPr>
        </p:nvSpPr>
        <p:spPr/>
        <p:txBody>
          <a:bodyPr vert="horz"/>
          <a:lstStyle/>
          <a:p>
            <a:r>
              <a:rPr lang="en-US" dirty="0"/>
              <a:t>Enrollment in Medicare Advantage Surges</a:t>
            </a:r>
            <a:br>
              <a:rPr lang="en-US" dirty="0"/>
            </a:br>
            <a:r>
              <a:rPr lang="en-US" sz="2000" b="1" dirty="0">
                <a:solidFill>
                  <a:schemeClr val="tx1">
                    <a:lumMod val="65000"/>
                    <a:lumOff val="35000"/>
                  </a:schemeClr>
                </a:solidFill>
              </a:rPr>
              <a:t>Percentage Growth in Rural Communities 2019-2023*</a:t>
            </a:r>
            <a:endParaRPr lang="en-US" sz="2400" b="1" dirty="0">
              <a:solidFill>
                <a:schemeClr val="tx1">
                  <a:lumMod val="65000"/>
                  <a:lumOff val="35000"/>
                </a:schemeClr>
              </a:solidFill>
            </a:endParaRPr>
          </a:p>
        </p:txBody>
      </p:sp>
      <p:sp>
        <p:nvSpPr>
          <p:cNvPr id="9" name="TextBox 8">
            <a:extLst>
              <a:ext uri="{FF2B5EF4-FFF2-40B4-BE49-F238E27FC236}">
                <a16:creationId xmlns:a16="http://schemas.microsoft.com/office/drawing/2014/main" id="{ACC24C8C-95A8-F8E2-0173-7E644071C0BA}"/>
              </a:ext>
            </a:extLst>
          </p:cNvPr>
          <p:cNvSpPr txBox="1"/>
          <p:nvPr/>
        </p:nvSpPr>
        <p:spPr>
          <a:xfrm>
            <a:off x="294041" y="6073554"/>
            <a:ext cx="374128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Source: The Chartis Center for Rural Health, December 2023. Rural Communities defined as county in which a rural hospital is located.</a:t>
            </a:r>
          </a:p>
        </p:txBody>
      </p:sp>
      <p:sp>
        <p:nvSpPr>
          <p:cNvPr id="1167" name="Rectangle: Rounded Corners 1166">
            <a:extLst>
              <a:ext uri="{FF2B5EF4-FFF2-40B4-BE49-F238E27FC236}">
                <a16:creationId xmlns:a16="http://schemas.microsoft.com/office/drawing/2014/main" id="{C0E71C08-7014-577B-0A1B-D62D95594DB4}"/>
              </a:ext>
            </a:extLst>
          </p:cNvPr>
          <p:cNvSpPr/>
          <p:nvPr/>
        </p:nvSpPr>
        <p:spPr>
          <a:xfrm>
            <a:off x="209472" y="2289934"/>
            <a:ext cx="3748829" cy="2913208"/>
          </a:xfrm>
          <a:prstGeom prst="roundRect">
            <a:avLst>
              <a:gd name="adj" fmla="val 8576"/>
            </a:avLst>
          </a:prstGeom>
          <a:solidFill>
            <a:srgbClr val="00294C"/>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1168" name="Rectangle: Rounded Corners 1167">
            <a:extLst>
              <a:ext uri="{FF2B5EF4-FFF2-40B4-BE49-F238E27FC236}">
                <a16:creationId xmlns:a16="http://schemas.microsoft.com/office/drawing/2014/main" id="{8046219C-B341-B99C-F898-2CCF8CEFBB26}"/>
              </a:ext>
            </a:extLst>
          </p:cNvPr>
          <p:cNvSpPr/>
          <p:nvPr/>
        </p:nvSpPr>
        <p:spPr>
          <a:xfrm>
            <a:off x="294041" y="2206897"/>
            <a:ext cx="3748829" cy="2835758"/>
          </a:xfrm>
          <a:prstGeom prst="roundRect">
            <a:avLst>
              <a:gd name="adj" fmla="val 8576"/>
            </a:avLst>
          </a:prstGeom>
          <a:solidFill>
            <a:srgbClr val="F6F7F8"/>
          </a:solidFill>
          <a:ln/>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Semibold"/>
              <a:ea typeface="+mn-ea"/>
              <a:cs typeface="+mn-cs"/>
            </a:endParaRPr>
          </a:p>
        </p:txBody>
      </p:sp>
      <p:sp>
        <p:nvSpPr>
          <p:cNvPr id="1169" name="TextBox 1168">
            <a:extLst>
              <a:ext uri="{FF2B5EF4-FFF2-40B4-BE49-F238E27FC236}">
                <a16:creationId xmlns:a16="http://schemas.microsoft.com/office/drawing/2014/main" id="{563C1B27-D2B0-EB7D-E385-494AD2831FE0}"/>
              </a:ext>
            </a:extLst>
          </p:cNvPr>
          <p:cNvSpPr txBox="1"/>
          <p:nvPr/>
        </p:nvSpPr>
        <p:spPr>
          <a:xfrm>
            <a:off x="503446" y="2433471"/>
            <a:ext cx="3368861" cy="897233"/>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Medicare Advantage enrollment in rural communities </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jumped 46% nationally since 2019</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 </a:t>
            </a:r>
            <a:endPar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endParaRPr>
          </a:p>
        </p:txBody>
      </p:sp>
      <p:sp>
        <p:nvSpPr>
          <p:cNvPr id="1170" name="TextBox 1169">
            <a:extLst>
              <a:ext uri="{FF2B5EF4-FFF2-40B4-BE49-F238E27FC236}">
                <a16:creationId xmlns:a16="http://schemas.microsoft.com/office/drawing/2014/main" id="{4975EC31-3C03-312D-08C5-432F1094537C}"/>
              </a:ext>
            </a:extLst>
          </p:cNvPr>
          <p:cNvSpPr txBox="1"/>
          <p:nvPr/>
        </p:nvSpPr>
        <p:spPr>
          <a:xfrm>
            <a:off x="467416" y="3746538"/>
            <a:ext cx="3459863" cy="897233"/>
          </a:xfrm>
          <a:prstGeom prst="rect">
            <a:avLst/>
          </a:prstGeom>
          <a:noFill/>
        </p:spPr>
        <p:txBody>
          <a:bodyPr wrap="square" rtlCol="0">
            <a:spAutoFit/>
          </a:bodyPr>
          <a:lstStyle/>
          <a:p>
            <a:pPr marL="0" marR="0" lvl="0" indent="0" algn="l" defTabSz="914400" rtl="0" eaLnBrk="1" fontAlgn="auto" latinLnBrk="0" hangingPunct="1">
              <a:lnSpc>
                <a:spcPct val="112000"/>
              </a:lnSpc>
              <a:spcBef>
                <a:spcPts val="0"/>
              </a:spcBef>
              <a:spcAft>
                <a:spcPts val="0"/>
              </a:spcAft>
              <a:buClr>
                <a:srgbClr val="00294C"/>
              </a:buClr>
              <a:buSzPct val="70000"/>
              <a:buFontTx/>
              <a:buNone/>
              <a:tabLst/>
              <a:defRPr/>
            </a:pP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In </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10 states</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 Medicare Advantage enrollment </a:t>
            </a:r>
            <a:r>
              <a:rPr kumimoji="0" lang="en-US" sz="1600" b="1"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increased by more than 100%</a:t>
            </a:r>
            <a:r>
              <a:rPr kumimoji="0" lang="en-US" sz="1600" b="0" i="0" u="none" strike="noStrike" kern="1200" cap="none" spc="0" normalizeH="0" baseline="0" noProof="0" dirty="0">
                <a:ln>
                  <a:noFill/>
                </a:ln>
                <a:solidFill>
                  <a:srgbClr val="00294C"/>
                </a:solidFill>
                <a:effectLst/>
                <a:uLnTx/>
                <a:uFillTx/>
                <a:latin typeface="Segoe UI"/>
                <a:ea typeface="Verdana" panose="020B0604030504040204" pitchFamily="34" charset="0"/>
                <a:cs typeface="Segoe UI" panose="020B0502040204020203" pitchFamily="34" charset="0"/>
              </a:rPr>
              <a:t> between 2019 and 2023. </a:t>
            </a:r>
          </a:p>
        </p:txBody>
      </p:sp>
      <p:cxnSp>
        <p:nvCxnSpPr>
          <p:cNvPr id="1172" name="Straight Connector 1171">
            <a:extLst>
              <a:ext uri="{FF2B5EF4-FFF2-40B4-BE49-F238E27FC236}">
                <a16:creationId xmlns:a16="http://schemas.microsoft.com/office/drawing/2014/main" id="{17104936-5FAA-C5C1-9149-A888DFDFD112}"/>
              </a:ext>
            </a:extLst>
          </p:cNvPr>
          <p:cNvCxnSpPr/>
          <p:nvPr/>
        </p:nvCxnSpPr>
        <p:spPr>
          <a:xfrm>
            <a:off x="815148" y="3514955"/>
            <a:ext cx="2605548" cy="0"/>
          </a:xfrm>
          <a:prstGeom prst="line">
            <a:avLst/>
          </a:prstGeom>
          <a:ln/>
        </p:spPr>
        <p:style>
          <a:lnRef idx="1">
            <a:schemeClr val="accent3"/>
          </a:lnRef>
          <a:fillRef idx="0">
            <a:schemeClr val="accent3"/>
          </a:fillRef>
          <a:effectRef idx="0">
            <a:schemeClr val="accent3"/>
          </a:effectRef>
          <a:fontRef idx="minor">
            <a:schemeClr val="tx1"/>
          </a:fontRef>
        </p:style>
      </p:cxnSp>
      <p:grpSp>
        <p:nvGrpSpPr>
          <p:cNvPr id="1039" name="Group 1038">
            <a:extLst>
              <a:ext uri="{FF2B5EF4-FFF2-40B4-BE49-F238E27FC236}">
                <a16:creationId xmlns:a16="http://schemas.microsoft.com/office/drawing/2014/main" id="{DB7CCB2C-FB4D-C4C0-250A-DA2071FFCE10}"/>
              </a:ext>
            </a:extLst>
          </p:cNvPr>
          <p:cNvGrpSpPr/>
          <p:nvPr/>
        </p:nvGrpSpPr>
        <p:grpSpPr>
          <a:xfrm>
            <a:off x="4233075" y="1415007"/>
            <a:ext cx="7496826" cy="4940186"/>
            <a:chOff x="2454978" y="1399472"/>
            <a:chExt cx="7496826" cy="4940186"/>
          </a:xfrm>
        </p:grpSpPr>
        <p:grpSp>
          <p:nvGrpSpPr>
            <p:cNvPr id="1040" name="State Shapes">
              <a:extLst>
                <a:ext uri="{FF2B5EF4-FFF2-40B4-BE49-F238E27FC236}">
                  <a16:creationId xmlns:a16="http://schemas.microsoft.com/office/drawing/2014/main" id="{05FE6910-85A2-366C-8660-5501472BB5F1}"/>
                </a:ext>
              </a:extLst>
            </p:cNvPr>
            <p:cNvGrpSpPr/>
            <p:nvPr/>
          </p:nvGrpSpPr>
          <p:grpSpPr>
            <a:xfrm>
              <a:off x="2454978" y="1399472"/>
              <a:ext cx="7460222" cy="4266691"/>
              <a:chOff x="609598" y="1367242"/>
              <a:chExt cx="7460222" cy="4266691"/>
            </a:xfrm>
            <a:solidFill>
              <a:schemeClr val="tx2">
                <a:lumMod val="20000"/>
                <a:lumOff val="80000"/>
              </a:schemeClr>
            </a:solidFill>
          </p:grpSpPr>
          <p:sp>
            <p:nvSpPr>
              <p:cNvPr id="1235" name="Freeform 43">
                <a:extLst>
                  <a:ext uri="{FF2B5EF4-FFF2-40B4-BE49-F238E27FC236}">
                    <a16:creationId xmlns:a16="http://schemas.microsoft.com/office/drawing/2014/main" id="{E7EF24A6-EFFA-E555-2E46-4DA8460FA2BF}"/>
                  </a:ext>
                </a:extLst>
              </p:cNvPr>
              <p:cNvSpPr>
                <a:spLocks/>
              </p:cNvSpPr>
              <p:nvPr/>
            </p:nvSpPr>
            <p:spPr bwMode="auto">
              <a:xfrm>
                <a:off x="7584483" y="2390146"/>
                <a:ext cx="191537" cy="160488"/>
              </a:xfrm>
              <a:custGeom>
                <a:avLst/>
                <a:gdLst>
                  <a:gd name="T0" fmla="*/ 11 w 622"/>
                  <a:gd name="T1" fmla="*/ 61 h 519"/>
                  <a:gd name="T2" fmla="*/ 28 w 622"/>
                  <a:gd name="T3" fmla="*/ 46 h 519"/>
                  <a:gd name="T4" fmla="*/ 53 w 622"/>
                  <a:gd name="T5" fmla="*/ 36 h 519"/>
                  <a:gd name="T6" fmla="*/ 83 w 622"/>
                  <a:gd name="T7" fmla="*/ 19 h 519"/>
                  <a:gd name="T8" fmla="*/ 101 w 622"/>
                  <a:gd name="T9" fmla="*/ 6 h 519"/>
                  <a:gd name="T10" fmla="*/ 115 w 622"/>
                  <a:gd name="T11" fmla="*/ 0 h 519"/>
                  <a:gd name="T12" fmla="*/ 118 w 622"/>
                  <a:gd name="T13" fmla="*/ 6 h 519"/>
                  <a:gd name="T14" fmla="*/ 111 w 622"/>
                  <a:gd name="T15" fmla="*/ 16 h 519"/>
                  <a:gd name="T16" fmla="*/ 85 w 622"/>
                  <a:gd name="T17" fmla="*/ 39 h 519"/>
                  <a:gd name="T18" fmla="*/ 50 w 622"/>
                  <a:gd name="T19" fmla="*/ 68 h 519"/>
                  <a:gd name="T20" fmla="*/ 27 w 622"/>
                  <a:gd name="T21" fmla="*/ 84 h 519"/>
                  <a:gd name="T22" fmla="*/ 17 w 622"/>
                  <a:gd name="T23" fmla="*/ 94 h 519"/>
                  <a:gd name="T24" fmla="*/ 2 w 622"/>
                  <a:gd name="T25" fmla="*/ 99 h 519"/>
                  <a:gd name="T26" fmla="*/ 0 w 622"/>
                  <a:gd name="T27" fmla="*/ 84 h 519"/>
                  <a:gd name="T28" fmla="*/ 11 w 622"/>
                  <a:gd name="T29" fmla="*/ 61 h 5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2" h="519">
                    <a:moveTo>
                      <a:pt x="60" y="322"/>
                    </a:moveTo>
                    <a:lnTo>
                      <a:pt x="147" y="240"/>
                    </a:lnTo>
                    <a:lnTo>
                      <a:pt x="281" y="187"/>
                    </a:lnTo>
                    <a:lnTo>
                      <a:pt x="435" y="101"/>
                    </a:lnTo>
                    <a:lnTo>
                      <a:pt x="531" y="34"/>
                    </a:lnTo>
                    <a:lnTo>
                      <a:pt x="608" y="0"/>
                    </a:lnTo>
                    <a:lnTo>
                      <a:pt x="622" y="34"/>
                    </a:lnTo>
                    <a:lnTo>
                      <a:pt x="584" y="82"/>
                    </a:lnTo>
                    <a:lnTo>
                      <a:pt x="450" y="202"/>
                    </a:lnTo>
                    <a:lnTo>
                      <a:pt x="262" y="355"/>
                    </a:lnTo>
                    <a:lnTo>
                      <a:pt x="142" y="442"/>
                    </a:lnTo>
                    <a:lnTo>
                      <a:pt x="89" y="495"/>
                    </a:lnTo>
                    <a:lnTo>
                      <a:pt x="8" y="519"/>
                    </a:lnTo>
                    <a:lnTo>
                      <a:pt x="0" y="442"/>
                    </a:lnTo>
                    <a:lnTo>
                      <a:pt x="60" y="322"/>
                    </a:lnTo>
                    <a:close/>
                  </a:path>
                </a:pathLst>
              </a:custGeom>
              <a:solidFill>
                <a:schemeClr val="accent4">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1236" name="Freeform 45">
                <a:extLst>
                  <a:ext uri="{FF2B5EF4-FFF2-40B4-BE49-F238E27FC236}">
                    <a16:creationId xmlns:a16="http://schemas.microsoft.com/office/drawing/2014/main" id="{91849C3B-61D2-C845-3387-FE321541A269}"/>
                  </a:ext>
                </a:extLst>
              </p:cNvPr>
              <p:cNvSpPr>
                <a:spLocks/>
              </p:cNvSpPr>
              <p:nvPr/>
            </p:nvSpPr>
            <p:spPr bwMode="auto">
              <a:xfrm>
                <a:off x="5581456" y="1965422"/>
                <a:ext cx="672004" cy="311248"/>
              </a:xfrm>
              <a:custGeom>
                <a:avLst/>
                <a:gdLst>
                  <a:gd name="T0" fmla="*/ 0 w 2182"/>
                  <a:gd name="T1" fmla="*/ 106 h 1010"/>
                  <a:gd name="T2" fmla="*/ 28 w 2182"/>
                  <a:gd name="T3" fmla="*/ 92 h 1010"/>
                  <a:gd name="T4" fmla="*/ 59 w 2182"/>
                  <a:gd name="T5" fmla="*/ 67 h 1010"/>
                  <a:gd name="T6" fmla="*/ 77 w 2182"/>
                  <a:gd name="T7" fmla="*/ 47 h 1010"/>
                  <a:gd name="T8" fmla="*/ 104 w 2182"/>
                  <a:gd name="T9" fmla="*/ 17 h 1010"/>
                  <a:gd name="T10" fmla="*/ 147 w 2182"/>
                  <a:gd name="T11" fmla="*/ 0 h 1010"/>
                  <a:gd name="T12" fmla="*/ 148 w 2182"/>
                  <a:gd name="T13" fmla="*/ 20 h 1010"/>
                  <a:gd name="T14" fmla="*/ 132 w 2182"/>
                  <a:gd name="T15" fmla="*/ 30 h 1010"/>
                  <a:gd name="T16" fmla="*/ 113 w 2182"/>
                  <a:gd name="T17" fmla="*/ 39 h 1010"/>
                  <a:gd name="T18" fmla="*/ 120 w 2182"/>
                  <a:gd name="T19" fmla="*/ 52 h 1010"/>
                  <a:gd name="T20" fmla="*/ 117 w 2182"/>
                  <a:gd name="T21" fmla="*/ 55 h 1010"/>
                  <a:gd name="T22" fmla="*/ 121 w 2182"/>
                  <a:gd name="T23" fmla="*/ 69 h 1010"/>
                  <a:gd name="T24" fmla="*/ 141 w 2182"/>
                  <a:gd name="T25" fmla="*/ 57 h 1010"/>
                  <a:gd name="T26" fmla="*/ 160 w 2182"/>
                  <a:gd name="T27" fmla="*/ 56 h 1010"/>
                  <a:gd name="T28" fmla="*/ 190 w 2182"/>
                  <a:gd name="T29" fmla="*/ 78 h 1010"/>
                  <a:gd name="T30" fmla="*/ 213 w 2182"/>
                  <a:gd name="T31" fmla="*/ 77 h 1010"/>
                  <a:gd name="T32" fmla="*/ 233 w 2182"/>
                  <a:gd name="T33" fmla="*/ 86 h 1010"/>
                  <a:gd name="T34" fmla="*/ 249 w 2182"/>
                  <a:gd name="T35" fmla="*/ 78 h 1010"/>
                  <a:gd name="T36" fmla="*/ 259 w 2182"/>
                  <a:gd name="T37" fmla="*/ 69 h 1010"/>
                  <a:gd name="T38" fmla="*/ 282 w 2182"/>
                  <a:gd name="T39" fmla="*/ 53 h 1010"/>
                  <a:gd name="T40" fmla="*/ 311 w 2182"/>
                  <a:gd name="T41" fmla="*/ 43 h 1010"/>
                  <a:gd name="T42" fmla="*/ 327 w 2182"/>
                  <a:gd name="T43" fmla="*/ 36 h 1010"/>
                  <a:gd name="T44" fmla="*/ 335 w 2182"/>
                  <a:gd name="T45" fmla="*/ 53 h 1010"/>
                  <a:gd name="T46" fmla="*/ 345 w 2182"/>
                  <a:gd name="T47" fmla="*/ 69 h 1010"/>
                  <a:gd name="T48" fmla="*/ 366 w 2182"/>
                  <a:gd name="T49" fmla="*/ 68 h 1010"/>
                  <a:gd name="T50" fmla="*/ 382 w 2182"/>
                  <a:gd name="T51" fmla="*/ 59 h 1010"/>
                  <a:gd name="T52" fmla="*/ 406 w 2182"/>
                  <a:gd name="T53" fmla="*/ 62 h 1010"/>
                  <a:gd name="T54" fmla="*/ 414 w 2182"/>
                  <a:gd name="T55" fmla="*/ 78 h 1010"/>
                  <a:gd name="T56" fmla="*/ 414 w 2182"/>
                  <a:gd name="T57" fmla="*/ 95 h 1010"/>
                  <a:gd name="T58" fmla="*/ 404 w 2182"/>
                  <a:gd name="T59" fmla="*/ 88 h 1010"/>
                  <a:gd name="T60" fmla="*/ 388 w 2182"/>
                  <a:gd name="T61" fmla="*/ 86 h 1010"/>
                  <a:gd name="T62" fmla="*/ 371 w 2182"/>
                  <a:gd name="T63" fmla="*/ 103 h 1010"/>
                  <a:gd name="T64" fmla="*/ 354 w 2182"/>
                  <a:gd name="T65" fmla="*/ 95 h 1010"/>
                  <a:gd name="T66" fmla="*/ 338 w 2182"/>
                  <a:gd name="T67" fmla="*/ 92 h 1010"/>
                  <a:gd name="T68" fmla="*/ 319 w 2182"/>
                  <a:gd name="T69" fmla="*/ 95 h 1010"/>
                  <a:gd name="T70" fmla="*/ 302 w 2182"/>
                  <a:gd name="T71" fmla="*/ 112 h 1010"/>
                  <a:gd name="T72" fmla="*/ 268 w 2182"/>
                  <a:gd name="T73" fmla="*/ 138 h 1010"/>
                  <a:gd name="T74" fmla="*/ 259 w 2182"/>
                  <a:gd name="T75" fmla="*/ 155 h 1010"/>
                  <a:gd name="T76" fmla="*/ 250 w 2182"/>
                  <a:gd name="T77" fmla="*/ 155 h 1010"/>
                  <a:gd name="T78" fmla="*/ 250 w 2182"/>
                  <a:gd name="T79" fmla="*/ 138 h 1010"/>
                  <a:gd name="T80" fmla="*/ 234 w 2182"/>
                  <a:gd name="T81" fmla="*/ 133 h 1010"/>
                  <a:gd name="T82" fmla="*/ 224 w 2182"/>
                  <a:gd name="T83" fmla="*/ 135 h 1010"/>
                  <a:gd name="T84" fmla="*/ 220 w 2182"/>
                  <a:gd name="T85" fmla="*/ 145 h 1010"/>
                  <a:gd name="T86" fmla="*/ 213 w 2182"/>
                  <a:gd name="T87" fmla="*/ 174 h 1010"/>
                  <a:gd name="T88" fmla="*/ 194 w 2182"/>
                  <a:gd name="T89" fmla="*/ 192 h 1010"/>
                  <a:gd name="T90" fmla="*/ 176 w 2182"/>
                  <a:gd name="T91" fmla="*/ 174 h 1010"/>
                  <a:gd name="T92" fmla="*/ 175 w 2182"/>
                  <a:gd name="T93" fmla="*/ 162 h 1010"/>
                  <a:gd name="T94" fmla="*/ 147 w 2182"/>
                  <a:gd name="T95" fmla="*/ 140 h 1010"/>
                  <a:gd name="T96" fmla="*/ 113 w 2182"/>
                  <a:gd name="T97" fmla="*/ 146 h 1010"/>
                  <a:gd name="T98" fmla="*/ 108 w 2182"/>
                  <a:gd name="T99" fmla="*/ 134 h 1010"/>
                  <a:gd name="T100" fmla="*/ 84 w 2182"/>
                  <a:gd name="T101" fmla="*/ 135 h 1010"/>
                  <a:gd name="T102" fmla="*/ 61 w 2182"/>
                  <a:gd name="T103" fmla="*/ 134 h 1010"/>
                  <a:gd name="T104" fmla="*/ 28 w 2182"/>
                  <a:gd name="T105" fmla="*/ 134 h 1010"/>
                  <a:gd name="T106" fmla="*/ 11 w 2182"/>
                  <a:gd name="T107" fmla="*/ 121 h 1010"/>
                  <a:gd name="T108" fmla="*/ 0 w 2182"/>
                  <a:gd name="T109" fmla="*/ 106 h 10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2" h="1010">
                    <a:moveTo>
                      <a:pt x="0" y="557"/>
                    </a:moveTo>
                    <a:lnTo>
                      <a:pt x="148" y="482"/>
                    </a:lnTo>
                    <a:lnTo>
                      <a:pt x="310" y="350"/>
                    </a:lnTo>
                    <a:lnTo>
                      <a:pt x="406" y="248"/>
                    </a:lnTo>
                    <a:lnTo>
                      <a:pt x="549" y="90"/>
                    </a:lnTo>
                    <a:lnTo>
                      <a:pt x="776" y="0"/>
                    </a:lnTo>
                    <a:lnTo>
                      <a:pt x="778" y="104"/>
                    </a:lnTo>
                    <a:lnTo>
                      <a:pt x="694" y="158"/>
                    </a:lnTo>
                    <a:lnTo>
                      <a:pt x="598" y="206"/>
                    </a:lnTo>
                    <a:lnTo>
                      <a:pt x="634" y="272"/>
                    </a:lnTo>
                    <a:lnTo>
                      <a:pt x="616" y="290"/>
                    </a:lnTo>
                    <a:lnTo>
                      <a:pt x="640" y="363"/>
                    </a:lnTo>
                    <a:lnTo>
                      <a:pt x="742" y="302"/>
                    </a:lnTo>
                    <a:lnTo>
                      <a:pt x="844" y="297"/>
                    </a:lnTo>
                    <a:lnTo>
                      <a:pt x="1003" y="408"/>
                    </a:lnTo>
                    <a:lnTo>
                      <a:pt x="1120" y="404"/>
                    </a:lnTo>
                    <a:lnTo>
                      <a:pt x="1229" y="453"/>
                    </a:lnTo>
                    <a:lnTo>
                      <a:pt x="1312" y="410"/>
                    </a:lnTo>
                    <a:lnTo>
                      <a:pt x="1366" y="362"/>
                    </a:lnTo>
                    <a:lnTo>
                      <a:pt x="1486" y="278"/>
                    </a:lnTo>
                    <a:lnTo>
                      <a:pt x="1638" y="227"/>
                    </a:lnTo>
                    <a:lnTo>
                      <a:pt x="1726" y="188"/>
                    </a:lnTo>
                    <a:lnTo>
                      <a:pt x="1768" y="278"/>
                    </a:lnTo>
                    <a:lnTo>
                      <a:pt x="1819" y="363"/>
                    </a:lnTo>
                    <a:lnTo>
                      <a:pt x="1930" y="356"/>
                    </a:lnTo>
                    <a:lnTo>
                      <a:pt x="2014" y="308"/>
                    </a:lnTo>
                    <a:lnTo>
                      <a:pt x="2140" y="326"/>
                    </a:lnTo>
                    <a:lnTo>
                      <a:pt x="2182" y="408"/>
                    </a:lnTo>
                    <a:lnTo>
                      <a:pt x="2182" y="499"/>
                    </a:lnTo>
                    <a:lnTo>
                      <a:pt x="2128" y="464"/>
                    </a:lnTo>
                    <a:lnTo>
                      <a:pt x="2046" y="453"/>
                    </a:lnTo>
                    <a:lnTo>
                      <a:pt x="1955" y="544"/>
                    </a:lnTo>
                    <a:lnTo>
                      <a:pt x="1865" y="499"/>
                    </a:lnTo>
                    <a:lnTo>
                      <a:pt x="1780" y="482"/>
                    </a:lnTo>
                    <a:lnTo>
                      <a:pt x="1683" y="499"/>
                    </a:lnTo>
                    <a:lnTo>
                      <a:pt x="1592" y="589"/>
                    </a:lnTo>
                    <a:lnTo>
                      <a:pt x="1411" y="725"/>
                    </a:lnTo>
                    <a:lnTo>
                      <a:pt x="1366" y="816"/>
                    </a:lnTo>
                    <a:lnTo>
                      <a:pt x="1320" y="816"/>
                    </a:lnTo>
                    <a:lnTo>
                      <a:pt x="1320" y="725"/>
                    </a:lnTo>
                    <a:lnTo>
                      <a:pt x="1234" y="698"/>
                    </a:lnTo>
                    <a:lnTo>
                      <a:pt x="1180" y="710"/>
                    </a:lnTo>
                    <a:lnTo>
                      <a:pt x="1162" y="764"/>
                    </a:lnTo>
                    <a:lnTo>
                      <a:pt x="1120" y="914"/>
                    </a:lnTo>
                    <a:lnTo>
                      <a:pt x="1020" y="1010"/>
                    </a:lnTo>
                    <a:lnTo>
                      <a:pt x="928" y="914"/>
                    </a:lnTo>
                    <a:lnTo>
                      <a:pt x="924" y="853"/>
                    </a:lnTo>
                    <a:lnTo>
                      <a:pt x="777" y="736"/>
                    </a:lnTo>
                    <a:lnTo>
                      <a:pt x="598" y="767"/>
                    </a:lnTo>
                    <a:lnTo>
                      <a:pt x="568" y="707"/>
                    </a:lnTo>
                    <a:lnTo>
                      <a:pt x="442" y="710"/>
                    </a:lnTo>
                    <a:lnTo>
                      <a:pt x="321" y="703"/>
                    </a:lnTo>
                    <a:lnTo>
                      <a:pt x="147" y="706"/>
                    </a:lnTo>
                    <a:lnTo>
                      <a:pt x="58" y="637"/>
                    </a:lnTo>
                    <a:lnTo>
                      <a:pt x="0" y="557"/>
                    </a:lnTo>
                    <a:close/>
                  </a:path>
                </a:pathLst>
              </a:custGeom>
              <a:solidFill>
                <a:schemeClr val="accent4">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37" name="Freeform 56">
                <a:extLst>
                  <a:ext uri="{FF2B5EF4-FFF2-40B4-BE49-F238E27FC236}">
                    <a16:creationId xmlns:a16="http://schemas.microsoft.com/office/drawing/2014/main" id="{8B325C73-D4AD-184F-4004-A21BA427A800}"/>
                  </a:ext>
                </a:extLst>
              </p:cNvPr>
              <p:cNvSpPr>
                <a:spLocks/>
              </p:cNvSpPr>
              <p:nvPr/>
            </p:nvSpPr>
            <p:spPr bwMode="auto">
              <a:xfrm>
                <a:off x="7480598" y="2970494"/>
                <a:ext cx="61682" cy="116719"/>
              </a:xfrm>
              <a:custGeom>
                <a:avLst/>
                <a:gdLst>
                  <a:gd name="T0" fmla="*/ 1 w 198"/>
                  <a:gd name="T1" fmla="*/ 4 h 384"/>
                  <a:gd name="T2" fmla="*/ 16 w 198"/>
                  <a:gd name="T3" fmla="*/ 3 h 384"/>
                  <a:gd name="T4" fmla="*/ 32 w 198"/>
                  <a:gd name="T5" fmla="*/ 0 h 384"/>
                  <a:gd name="T6" fmla="*/ 38 w 198"/>
                  <a:gd name="T7" fmla="*/ 24 h 384"/>
                  <a:gd name="T8" fmla="*/ 37 w 198"/>
                  <a:gd name="T9" fmla="*/ 45 h 384"/>
                  <a:gd name="T10" fmla="*/ 30 w 198"/>
                  <a:gd name="T11" fmla="*/ 61 h 384"/>
                  <a:gd name="T12" fmla="*/ 24 w 198"/>
                  <a:gd name="T13" fmla="*/ 70 h 384"/>
                  <a:gd name="T14" fmla="*/ 18 w 198"/>
                  <a:gd name="T15" fmla="*/ 72 h 384"/>
                  <a:gd name="T16" fmla="*/ 10 w 198"/>
                  <a:gd name="T17" fmla="*/ 59 h 384"/>
                  <a:gd name="T18" fmla="*/ 6 w 198"/>
                  <a:gd name="T19" fmla="*/ 41 h 384"/>
                  <a:gd name="T20" fmla="*/ 0 w 198"/>
                  <a:gd name="T21" fmla="*/ 27 h 384"/>
                  <a:gd name="T22" fmla="*/ 1 w 198"/>
                  <a:gd name="T23" fmla="*/ 4 h 3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8" h="384">
                    <a:moveTo>
                      <a:pt x="3" y="20"/>
                    </a:moveTo>
                    <a:lnTo>
                      <a:pt x="84" y="18"/>
                    </a:lnTo>
                    <a:lnTo>
                      <a:pt x="168" y="0"/>
                    </a:lnTo>
                    <a:lnTo>
                      <a:pt x="198" y="126"/>
                    </a:lnTo>
                    <a:lnTo>
                      <a:pt x="192" y="240"/>
                    </a:lnTo>
                    <a:lnTo>
                      <a:pt x="156" y="324"/>
                    </a:lnTo>
                    <a:lnTo>
                      <a:pt x="125" y="372"/>
                    </a:lnTo>
                    <a:lnTo>
                      <a:pt x="96" y="384"/>
                    </a:lnTo>
                    <a:lnTo>
                      <a:pt x="54" y="312"/>
                    </a:lnTo>
                    <a:lnTo>
                      <a:pt x="30" y="216"/>
                    </a:lnTo>
                    <a:lnTo>
                      <a:pt x="0" y="144"/>
                    </a:lnTo>
                    <a:lnTo>
                      <a:pt x="3" y="20"/>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38" name="Rectangle 62">
                <a:extLst>
                  <a:ext uri="{FF2B5EF4-FFF2-40B4-BE49-F238E27FC236}">
                    <a16:creationId xmlns:a16="http://schemas.microsoft.com/office/drawing/2014/main" id="{CFF33B93-B8B7-F262-545F-B9508F3A45F3}"/>
                  </a:ext>
                </a:extLst>
              </p:cNvPr>
              <p:cNvSpPr>
                <a:spLocks noChangeArrowheads="1"/>
              </p:cNvSpPr>
              <p:nvPr/>
            </p:nvSpPr>
            <p:spPr bwMode="auto">
              <a:xfrm>
                <a:off x="609598" y="4072830"/>
                <a:ext cx="1641055" cy="1561103"/>
              </a:xfrm>
              <a:prstGeom prst="rect">
                <a:avLst/>
              </a:prstGeom>
              <a:noFill/>
              <a:ln w="3175"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39" name="Wyoming">
                <a:extLst>
                  <a:ext uri="{FF2B5EF4-FFF2-40B4-BE49-F238E27FC236}">
                    <a16:creationId xmlns:a16="http://schemas.microsoft.com/office/drawing/2014/main" id="{82D4D4BC-2316-6EDB-2E52-8DC8E6E584BA}"/>
                  </a:ext>
                </a:extLst>
              </p:cNvPr>
              <p:cNvSpPr>
                <a:spLocks/>
              </p:cNvSpPr>
              <p:nvPr/>
            </p:nvSpPr>
            <p:spPr bwMode="auto">
              <a:xfrm>
                <a:off x="3240803" y="2390146"/>
                <a:ext cx="847310" cy="687339"/>
              </a:xfrm>
              <a:custGeom>
                <a:avLst/>
                <a:gdLst>
                  <a:gd name="T0" fmla="*/ 0 w 2757"/>
                  <a:gd name="T1" fmla="*/ 382 h 2235"/>
                  <a:gd name="T2" fmla="*/ 96 w 2757"/>
                  <a:gd name="T3" fmla="*/ 388 h 2235"/>
                  <a:gd name="T4" fmla="*/ 157 w 2757"/>
                  <a:gd name="T5" fmla="*/ 394 h 2235"/>
                  <a:gd name="T6" fmla="*/ 510 w 2757"/>
                  <a:gd name="T7" fmla="*/ 424 h 2235"/>
                  <a:gd name="T8" fmla="*/ 522 w 2757"/>
                  <a:gd name="T9" fmla="*/ 39 h 2235"/>
                  <a:gd name="T10" fmla="*/ 156 w 2757"/>
                  <a:gd name="T11" fmla="*/ 11 h 2235"/>
                  <a:gd name="T12" fmla="*/ 45 w 2757"/>
                  <a:gd name="T13" fmla="*/ 0 h 2235"/>
                  <a:gd name="T14" fmla="*/ 35 w 2757"/>
                  <a:gd name="T15" fmla="*/ 35 h 2235"/>
                  <a:gd name="T16" fmla="*/ 8 w 2757"/>
                  <a:gd name="T17" fmla="*/ 291 h 2235"/>
                  <a:gd name="T18" fmla="*/ 3 w 2757"/>
                  <a:gd name="T19" fmla="*/ 334 h 2235"/>
                  <a:gd name="T20" fmla="*/ 0 w 2757"/>
                  <a:gd name="T21" fmla="*/ 382 h 22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57" h="2235">
                    <a:moveTo>
                      <a:pt x="0" y="2014"/>
                    </a:moveTo>
                    <a:lnTo>
                      <a:pt x="508" y="2044"/>
                    </a:lnTo>
                    <a:lnTo>
                      <a:pt x="828" y="2078"/>
                    </a:lnTo>
                    <a:lnTo>
                      <a:pt x="2696" y="2235"/>
                    </a:lnTo>
                    <a:lnTo>
                      <a:pt x="2757" y="208"/>
                    </a:lnTo>
                    <a:lnTo>
                      <a:pt x="824" y="60"/>
                    </a:lnTo>
                    <a:lnTo>
                      <a:pt x="238" y="0"/>
                    </a:lnTo>
                    <a:lnTo>
                      <a:pt x="185" y="184"/>
                    </a:lnTo>
                    <a:lnTo>
                      <a:pt x="44" y="1536"/>
                    </a:lnTo>
                    <a:lnTo>
                      <a:pt x="16" y="1760"/>
                    </a:lnTo>
                    <a:lnTo>
                      <a:pt x="0" y="2014"/>
                    </a:lnTo>
                    <a:close/>
                  </a:path>
                </a:pathLst>
              </a:custGeom>
              <a:solidFill>
                <a:schemeClr val="accent4">
                  <a:lumMod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40" name="Wisconsin">
                <a:extLst>
                  <a:ext uri="{FF2B5EF4-FFF2-40B4-BE49-F238E27FC236}">
                    <a16:creationId xmlns:a16="http://schemas.microsoft.com/office/drawing/2014/main" id="{6421FF68-B9C9-C952-D9B2-61149C76EF0F}"/>
                  </a:ext>
                </a:extLst>
              </p:cNvPr>
              <p:cNvSpPr>
                <a:spLocks/>
              </p:cNvSpPr>
              <p:nvPr/>
            </p:nvSpPr>
            <p:spPr bwMode="auto">
              <a:xfrm>
                <a:off x="5300642" y="2101593"/>
                <a:ext cx="676874" cy="666266"/>
              </a:xfrm>
              <a:custGeom>
                <a:avLst/>
                <a:gdLst>
                  <a:gd name="T0" fmla="*/ 51 w 2202"/>
                  <a:gd name="T1" fmla="*/ 13 h 2170"/>
                  <a:gd name="T2" fmla="*/ 28 w 2202"/>
                  <a:gd name="T3" fmla="*/ 41 h 2170"/>
                  <a:gd name="T4" fmla="*/ 40 w 2202"/>
                  <a:gd name="T5" fmla="*/ 76 h 2170"/>
                  <a:gd name="T6" fmla="*/ 19 w 2202"/>
                  <a:gd name="T7" fmla="*/ 103 h 2170"/>
                  <a:gd name="T8" fmla="*/ 0 w 2202"/>
                  <a:gd name="T9" fmla="*/ 126 h 2170"/>
                  <a:gd name="T10" fmla="*/ 23 w 2202"/>
                  <a:gd name="T11" fmla="*/ 155 h 2170"/>
                  <a:gd name="T12" fmla="*/ 19 w 2202"/>
                  <a:gd name="T13" fmla="*/ 196 h 2170"/>
                  <a:gd name="T14" fmla="*/ 11 w 2202"/>
                  <a:gd name="T15" fmla="*/ 217 h 2170"/>
                  <a:gd name="T16" fmla="*/ 30 w 2202"/>
                  <a:gd name="T17" fmla="*/ 226 h 2170"/>
                  <a:gd name="T18" fmla="*/ 56 w 2202"/>
                  <a:gd name="T19" fmla="*/ 223 h 2170"/>
                  <a:gd name="T20" fmla="*/ 95 w 2202"/>
                  <a:gd name="T21" fmla="*/ 257 h 2170"/>
                  <a:gd name="T22" fmla="*/ 153 w 2202"/>
                  <a:gd name="T23" fmla="*/ 297 h 2170"/>
                  <a:gd name="T24" fmla="*/ 142 w 2202"/>
                  <a:gd name="T25" fmla="*/ 326 h 2170"/>
                  <a:gd name="T26" fmla="*/ 154 w 2202"/>
                  <a:gd name="T27" fmla="*/ 341 h 2170"/>
                  <a:gd name="T28" fmla="*/ 154 w 2202"/>
                  <a:gd name="T29" fmla="*/ 367 h 2170"/>
                  <a:gd name="T30" fmla="*/ 162 w 2202"/>
                  <a:gd name="T31" fmla="*/ 391 h 2170"/>
                  <a:gd name="T32" fmla="*/ 186 w 2202"/>
                  <a:gd name="T33" fmla="*/ 402 h 2170"/>
                  <a:gd name="T34" fmla="*/ 204 w 2202"/>
                  <a:gd name="T35" fmla="*/ 411 h 2170"/>
                  <a:gd name="T36" fmla="*/ 400 w 2202"/>
                  <a:gd name="T37" fmla="*/ 381 h 2170"/>
                  <a:gd name="T38" fmla="*/ 400 w 2202"/>
                  <a:gd name="T39" fmla="*/ 341 h 2170"/>
                  <a:gd name="T40" fmla="*/ 383 w 2202"/>
                  <a:gd name="T41" fmla="*/ 324 h 2170"/>
                  <a:gd name="T42" fmla="*/ 380 w 2202"/>
                  <a:gd name="T43" fmla="*/ 294 h 2170"/>
                  <a:gd name="T44" fmla="*/ 383 w 2202"/>
                  <a:gd name="T45" fmla="*/ 267 h 2170"/>
                  <a:gd name="T46" fmla="*/ 389 w 2202"/>
                  <a:gd name="T47" fmla="*/ 256 h 2170"/>
                  <a:gd name="T48" fmla="*/ 383 w 2202"/>
                  <a:gd name="T49" fmla="*/ 227 h 2170"/>
                  <a:gd name="T50" fmla="*/ 389 w 2202"/>
                  <a:gd name="T51" fmla="*/ 205 h 2170"/>
                  <a:gd name="T52" fmla="*/ 389 w 2202"/>
                  <a:gd name="T53" fmla="*/ 188 h 2170"/>
                  <a:gd name="T54" fmla="*/ 417 w 2202"/>
                  <a:gd name="T55" fmla="*/ 125 h 2170"/>
                  <a:gd name="T56" fmla="*/ 411 w 2202"/>
                  <a:gd name="T57" fmla="*/ 108 h 2170"/>
                  <a:gd name="T58" fmla="*/ 400 w 2202"/>
                  <a:gd name="T59" fmla="*/ 125 h 2170"/>
                  <a:gd name="T60" fmla="*/ 389 w 2202"/>
                  <a:gd name="T61" fmla="*/ 142 h 2170"/>
                  <a:gd name="T62" fmla="*/ 383 w 2202"/>
                  <a:gd name="T63" fmla="*/ 159 h 2170"/>
                  <a:gd name="T64" fmla="*/ 355 w 2202"/>
                  <a:gd name="T65" fmla="*/ 199 h 2170"/>
                  <a:gd name="T66" fmla="*/ 355 w 2202"/>
                  <a:gd name="T67" fmla="*/ 176 h 2170"/>
                  <a:gd name="T68" fmla="*/ 356 w 2202"/>
                  <a:gd name="T69" fmla="*/ 155 h 2170"/>
                  <a:gd name="T70" fmla="*/ 368 w 2202"/>
                  <a:gd name="T71" fmla="*/ 135 h 2170"/>
                  <a:gd name="T72" fmla="*/ 366 w 2202"/>
                  <a:gd name="T73" fmla="*/ 108 h 2170"/>
                  <a:gd name="T74" fmla="*/ 349 w 2202"/>
                  <a:gd name="T75" fmla="*/ 91 h 2170"/>
                  <a:gd name="T76" fmla="*/ 348 w 2202"/>
                  <a:gd name="T77" fmla="*/ 79 h 2170"/>
                  <a:gd name="T78" fmla="*/ 320 w 2202"/>
                  <a:gd name="T79" fmla="*/ 57 h 2170"/>
                  <a:gd name="T80" fmla="*/ 286 w 2202"/>
                  <a:gd name="T81" fmla="*/ 63 h 2170"/>
                  <a:gd name="T82" fmla="*/ 281 w 2202"/>
                  <a:gd name="T83" fmla="*/ 51 h 2170"/>
                  <a:gd name="T84" fmla="*/ 260 w 2202"/>
                  <a:gd name="T85" fmla="*/ 52 h 2170"/>
                  <a:gd name="T86" fmla="*/ 233 w 2202"/>
                  <a:gd name="T87" fmla="*/ 50 h 2170"/>
                  <a:gd name="T88" fmla="*/ 201 w 2202"/>
                  <a:gd name="T89" fmla="*/ 51 h 2170"/>
                  <a:gd name="T90" fmla="*/ 184 w 2202"/>
                  <a:gd name="T91" fmla="*/ 38 h 2170"/>
                  <a:gd name="T92" fmla="*/ 173 w 2202"/>
                  <a:gd name="T93" fmla="*/ 23 h 2170"/>
                  <a:gd name="T94" fmla="*/ 127 w 2202"/>
                  <a:gd name="T95" fmla="*/ 23 h 2170"/>
                  <a:gd name="T96" fmla="*/ 122 w 2202"/>
                  <a:gd name="T97" fmla="*/ 0 h 2170"/>
                  <a:gd name="T98" fmla="*/ 70 w 2202"/>
                  <a:gd name="T99" fmla="*/ 23 h 2170"/>
                  <a:gd name="T100" fmla="*/ 51 w 2202"/>
                  <a:gd name="T101" fmla="*/ 13 h 21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2" h="2170">
                    <a:moveTo>
                      <a:pt x="267" y="70"/>
                    </a:moveTo>
                    <a:lnTo>
                      <a:pt x="150" y="216"/>
                    </a:lnTo>
                    <a:lnTo>
                      <a:pt x="209" y="400"/>
                    </a:lnTo>
                    <a:lnTo>
                      <a:pt x="102" y="544"/>
                    </a:lnTo>
                    <a:lnTo>
                      <a:pt x="0" y="667"/>
                    </a:lnTo>
                    <a:lnTo>
                      <a:pt x="119" y="820"/>
                    </a:lnTo>
                    <a:lnTo>
                      <a:pt x="102" y="1035"/>
                    </a:lnTo>
                    <a:lnTo>
                      <a:pt x="59" y="1146"/>
                    </a:lnTo>
                    <a:lnTo>
                      <a:pt x="158" y="1195"/>
                    </a:lnTo>
                    <a:lnTo>
                      <a:pt x="297" y="1177"/>
                    </a:lnTo>
                    <a:lnTo>
                      <a:pt x="501" y="1359"/>
                    </a:lnTo>
                    <a:lnTo>
                      <a:pt x="809" y="1567"/>
                    </a:lnTo>
                    <a:lnTo>
                      <a:pt x="750" y="1723"/>
                    </a:lnTo>
                    <a:lnTo>
                      <a:pt x="814" y="1802"/>
                    </a:lnTo>
                    <a:lnTo>
                      <a:pt x="814" y="1938"/>
                    </a:lnTo>
                    <a:lnTo>
                      <a:pt x="854" y="2066"/>
                    </a:lnTo>
                    <a:lnTo>
                      <a:pt x="982" y="2122"/>
                    </a:lnTo>
                    <a:lnTo>
                      <a:pt x="1078" y="2170"/>
                    </a:lnTo>
                    <a:lnTo>
                      <a:pt x="2112" y="2010"/>
                    </a:lnTo>
                    <a:lnTo>
                      <a:pt x="2112" y="1800"/>
                    </a:lnTo>
                    <a:lnTo>
                      <a:pt x="2022" y="1710"/>
                    </a:lnTo>
                    <a:lnTo>
                      <a:pt x="2006" y="1554"/>
                    </a:lnTo>
                    <a:lnTo>
                      <a:pt x="2022" y="1410"/>
                    </a:lnTo>
                    <a:lnTo>
                      <a:pt x="2052" y="1350"/>
                    </a:lnTo>
                    <a:lnTo>
                      <a:pt x="2022" y="1200"/>
                    </a:lnTo>
                    <a:lnTo>
                      <a:pt x="2052" y="1080"/>
                    </a:lnTo>
                    <a:lnTo>
                      <a:pt x="2052" y="990"/>
                    </a:lnTo>
                    <a:lnTo>
                      <a:pt x="2202" y="660"/>
                    </a:lnTo>
                    <a:lnTo>
                      <a:pt x="2172" y="570"/>
                    </a:lnTo>
                    <a:lnTo>
                      <a:pt x="2112" y="660"/>
                    </a:lnTo>
                    <a:lnTo>
                      <a:pt x="2052" y="750"/>
                    </a:lnTo>
                    <a:lnTo>
                      <a:pt x="2022" y="840"/>
                    </a:lnTo>
                    <a:lnTo>
                      <a:pt x="1872" y="1050"/>
                    </a:lnTo>
                    <a:lnTo>
                      <a:pt x="1872" y="930"/>
                    </a:lnTo>
                    <a:lnTo>
                      <a:pt x="1878" y="818"/>
                    </a:lnTo>
                    <a:lnTo>
                      <a:pt x="1942" y="714"/>
                    </a:lnTo>
                    <a:lnTo>
                      <a:pt x="1932" y="570"/>
                    </a:lnTo>
                    <a:lnTo>
                      <a:pt x="1842" y="480"/>
                    </a:lnTo>
                    <a:lnTo>
                      <a:pt x="1838" y="418"/>
                    </a:lnTo>
                    <a:lnTo>
                      <a:pt x="1692" y="300"/>
                    </a:lnTo>
                    <a:lnTo>
                      <a:pt x="1512" y="330"/>
                    </a:lnTo>
                    <a:lnTo>
                      <a:pt x="1482" y="270"/>
                    </a:lnTo>
                    <a:lnTo>
                      <a:pt x="1374" y="274"/>
                    </a:lnTo>
                    <a:lnTo>
                      <a:pt x="1230" y="266"/>
                    </a:lnTo>
                    <a:lnTo>
                      <a:pt x="1062" y="270"/>
                    </a:lnTo>
                    <a:lnTo>
                      <a:pt x="974" y="202"/>
                    </a:lnTo>
                    <a:lnTo>
                      <a:pt x="912" y="120"/>
                    </a:lnTo>
                    <a:lnTo>
                      <a:pt x="672" y="120"/>
                    </a:lnTo>
                    <a:lnTo>
                      <a:pt x="642" y="0"/>
                    </a:lnTo>
                    <a:lnTo>
                      <a:pt x="372" y="120"/>
                    </a:lnTo>
                    <a:lnTo>
                      <a:pt x="267" y="70"/>
                    </a:lnTo>
                    <a:close/>
                  </a:path>
                </a:pathLst>
              </a:custGeom>
              <a:solidFill>
                <a:schemeClr val="accent4">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41" name="West Virginia">
                <a:extLst>
                  <a:ext uri="{FF2B5EF4-FFF2-40B4-BE49-F238E27FC236}">
                    <a16:creationId xmlns:a16="http://schemas.microsoft.com/office/drawing/2014/main" id="{F7617CFC-7F6A-EA39-1A35-07A22D749A8F}"/>
                  </a:ext>
                </a:extLst>
              </p:cNvPr>
              <p:cNvSpPr>
                <a:spLocks/>
              </p:cNvSpPr>
              <p:nvPr/>
            </p:nvSpPr>
            <p:spPr bwMode="auto">
              <a:xfrm>
                <a:off x="6664130" y="2805142"/>
                <a:ext cx="550264" cy="538200"/>
              </a:xfrm>
              <a:custGeom>
                <a:avLst/>
                <a:gdLst>
                  <a:gd name="T0" fmla="*/ 100 w 1790"/>
                  <a:gd name="T1" fmla="*/ 5 h 1751"/>
                  <a:gd name="T2" fmla="*/ 113 w 1790"/>
                  <a:gd name="T3" fmla="*/ 0 h 1751"/>
                  <a:gd name="T4" fmla="*/ 118 w 1790"/>
                  <a:gd name="T5" fmla="*/ 52 h 1751"/>
                  <a:gd name="T6" fmla="*/ 130 w 1790"/>
                  <a:gd name="T7" fmla="*/ 72 h 1751"/>
                  <a:gd name="T8" fmla="*/ 166 w 1790"/>
                  <a:gd name="T9" fmla="*/ 65 h 1751"/>
                  <a:gd name="T10" fmla="*/ 187 w 1790"/>
                  <a:gd name="T11" fmla="*/ 49 h 1751"/>
                  <a:gd name="T12" fmla="*/ 204 w 1790"/>
                  <a:gd name="T13" fmla="*/ 49 h 1751"/>
                  <a:gd name="T14" fmla="*/ 209 w 1790"/>
                  <a:gd name="T15" fmla="*/ 78 h 1751"/>
                  <a:gd name="T16" fmla="*/ 221 w 1790"/>
                  <a:gd name="T17" fmla="*/ 78 h 1751"/>
                  <a:gd name="T18" fmla="*/ 239 w 1790"/>
                  <a:gd name="T19" fmla="*/ 58 h 1751"/>
                  <a:gd name="T20" fmla="*/ 259 w 1790"/>
                  <a:gd name="T21" fmla="*/ 46 h 1751"/>
                  <a:gd name="T22" fmla="*/ 280 w 1790"/>
                  <a:gd name="T23" fmla="*/ 42 h 1751"/>
                  <a:gd name="T24" fmla="*/ 289 w 1790"/>
                  <a:gd name="T25" fmla="*/ 27 h 1751"/>
                  <a:gd name="T26" fmla="*/ 302 w 1790"/>
                  <a:gd name="T27" fmla="*/ 21 h 1751"/>
                  <a:gd name="T28" fmla="*/ 318 w 1790"/>
                  <a:gd name="T29" fmla="*/ 32 h 1751"/>
                  <a:gd name="T30" fmla="*/ 339 w 1790"/>
                  <a:gd name="T31" fmla="*/ 40 h 1751"/>
                  <a:gd name="T32" fmla="*/ 321 w 1790"/>
                  <a:gd name="T33" fmla="*/ 61 h 1751"/>
                  <a:gd name="T34" fmla="*/ 295 w 1790"/>
                  <a:gd name="T35" fmla="*/ 62 h 1751"/>
                  <a:gd name="T36" fmla="*/ 287 w 1790"/>
                  <a:gd name="T37" fmla="*/ 74 h 1751"/>
                  <a:gd name="T38" fmla="*/ 279 w 1790"/>
                  <a:gd name="T39" fmla="*/ 100 h 1751"/>
                  <a:gd name="T40" fmla="*/ 225 w 1790"/>
                  <a:gd name="T41" fmla="*/ 188 h 1751"/>
                  <a:gd name="T42" fmla="*/ 203 w 1790"/>
                  <a:gd name="T43" fmla="*/ 206 h 1751"/>
                  <a:gd name="T44" fmla="*/ 187 w 1790"/>
                  <a:gd name="T45" fmla="*/ 245 h 1751"/>
                  <a:gd name="T46" fmla="*/ 191 w 1790"/>
                  <a:gd name="T47" fmla="*/ 268 h 1751"/>
                  <a:gd name="T48" fmla="*/ 185 w 1790"/>
                  <a:gd name="T49" fmla="*/ 286 h 1751"/>
                  <a:gd name="T50" fmla="*/ 149 w 1790"/>
                  <a:gd name="T51" fmla="*/ 303 h 1751"/>
                  <a:gd name="T52" fmla="*/ 121 w 1790"/>
                  <a:gd name="T53" fmla="*/ 317 h 1751"/>
                  <a:gd name="T54" fmla="*/ 106 w 1790"/>
                  <a:gd name="T55" fmla="*/ 332 h 1751"/>
                  <a:gd name="T56" fmla="*/ 92 w 1790"/>
                  <a:gd name="T57" fmla="*/ 327 h 1751"/>
                  <a:gd name="T58" fmla="*/ 80 w 1790"/>
                  <a:gd name="T59" fmla="*/ 312 h 1751"/>
                  <a:gd name="T60" fmla="*/ 59 w 1790"/>
                  <a:gd name="T61" fmla="*/ 314 h 1751"/>
                  <a:gd name="T62" fmla="*/ 35 w 1790"/>
                  <a:gd name="T63" fmla="*/ 296 h 1751"/>
                  <a:gd name="T64" fmla="*/ 15 w 1790"/>
                  <a:gd name="T65" fmla="*/ 279 h 1751"/>
                  <a:gd name="T66" fmla="*/ 11 w 1790"/>
                  <a:gd name="T67" fmla="*/ 245 h 1751"/>
                  <a:gd name="T68" fmla="*/ 0 w 1790"/>
                  <a:gd name="T69" fmla="*/ 233 h 1751"/>
                  <a:gd name="T70" fmla="*/ 23 w 1790"/>
                  <a:gd name="T71" fmla="*/ 210 h 1751"/>
                  <a:gd name="T72" fmla="*/ 28 w 1790"/>
                  <a:gd name="T73" fmla="*/ 191 h 1751"/>
                  <a:gd name="T74" fmla="*/ 28 w 1790"/>
                  <a:gd name="T75" fmla="*/ 165 h 1751"/>
                  <a:gd name="T76" fmla="*/ 47 w 1790"/>
                  <a:gd name="T77" fmla="*/ 168 h 1751"/>
                  <a:gd name="T78" fmla="*/ 54 w 1790"/>
                  <a:gd name="T79" fmla="*/ 150 h 1751"/>
                  <a:gd name="T80" fmla="*/ 52 w 1790"/>
                  <a:gd name="T81" fmla="*/ 131 h 1751"/>
                  <a:gd name="T82" fmla="*/ 71 w 1790"/>
                  <a:gd name="T83" fmla="*/ 117 h 1751"/>
                  <a:gd name="T84" fmla="*/ 91 w 1790"/>
                  <a:gd name="T85" fmla="*/ 90 h 1751"/>
                  <a:gd name="T86" fmla="*/ 103 w 1790"/>
                  <a:gd name="T87" fmla="*/ 56 h 1751"/>
                  <a:gd name="T88" fmla="*/ 100 w 1790"/>
                  <a:gd name="T89" fmla="*/ 5 h 17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90" h="1751">
                    <a:moveTo>
                      <a:pt x="527" y="24"/>
                    </a:moveTo>
                    <a:lnTo>
                      <a:pt x="599" y="0"/>
                    </a:lnTo>
                    <a:lnTo>
                      <a:pt x="623" y="272"/>
                    </a:lnTo>
                    <a:lnTo>
                      <a:pt x="686" y="380"/>
                    </a:lnTo>
                    <a:lnTo>
                      <a:pt x="879" y="344"/>
                    </a:lnTo>
                    <a:lnTo>
                      <a:pt x="986" y="260"/>
                    </a:lnTo>
                    <a:lnTo>
                      <a:pt x="1076" y="260"/>
                    </a:lnTo>
                    <a:lnTo>
                      <a:pt x="1106" y="410"/>
                    </a:lnTo>
                    <a:lnTo>
                      <a:pt x="1166" y="410"/>
                    </a:lnTo>
                    <a:lnTo>
                      <a:pt x="1262" y="304"/>
                    </a:lnTo>
                    <a:lnTo>
                      <a:pt x="1366" y="240"/>
                    </a:lnTo>
                    <a:lnTo>
                      <a:pt x="1478" y="224"/>
                    </a:lnTo>
                    <a:lnTo>
                      <a:pt x="1526" y="140"/>
                    </a:lnTo>
                    <a:lnTo>
                      <a:pt x="1595" y="113"/>
                    </a:lnTo>
                    <a:lnTo>
                      <a:pt x="1678" y="168"/>
                    </a:lnTo>
                    <a:lnTo>
                      <a:pt x="1790" y="213"/>
                    </a:lnTo>
                    <a:lnTo>
                      <a:pt x="1694" y="320"/>
                    </a:lnTo>
                    <a:lnTo>
                      <a:pt x="1560" y="325"/>
                    </a:lnTo>
                    <a:lnTo>
                      <a:pt x="1513" y="391"/>
                    </a:lnTo>
                    <a:lnTo>
                      <a:pt x="1471" y="525"/>
                    </a:lnTo>
                    <a:lnTo>
                      <a:pt x="1190" y="991"/>
                    </a:lnTo>
                    <a:lnTo>
                      <a:pt x="1070" y="1087"/>
                    </a:lnTo>
                    <a:lnTo>
                      <a:pt x="987" y="1291"/>
                    </a:lnTo>
                    <a:lnTo>
                      <a:pt x="1007" y="1414"/>
                    </a:lnTo>
                    <a:lnTo>
                      <a:pt x="976" y="1510"/>
                    </a:lnTo>
                    <a:lnTo>
                      <a:pt x="786" y="1597"/>
                    </a:lnTo>
                    <a:lnTo>
                      <a:pt x="639" y="1672"/>
                    </a:lnTo>
                    <a:lnTo>
                      <a:pt x="561" y="1751"/>
                    </a:lnTo>
                    <a:lnTo>
                      <a:pt x="486" y="1726"/>
                    </a:lnTo>
                    <a:lnTo>
                      <a:pt x="423" y="1648"/>
                    </a:lnTo>
                    <a:lnTo>
                      <a:pt x="309" y="1654"/>
                    </a:lnTo>
                    <a:lnTo>
                      <a:pt x="186" y="1562"/>
                    </a:lnTo>
                    <a:lnTo>
                      <a:pt x="77" y="1471"/>
                    </a:lnTo>
                    <a:lnTo>
                      <a:pt x="56" y="1292"/>
                    </a:lnTo>
                    <a:lnTo>
                      <a:pt x="0" y="1228"/>
                    </a:lnTo>
                    <a:lnTo>
                      <a:pt x="123" y="1109"/>
                    </a:lnTo>
                    <a:lnTo>
                      <a:pt x="150" y="1007"/>
                    </a:lnTo>
                    <a:lnTo>
                      <a:pt x="150" y="872"/>
                    </a:lnTo>
                    <a:lnTo>
                      <a:pt x="248" y="886"/>
                    </a:lnTo>
                    <a:lnTo>
                      <a:pt x="287" y="792"/>
                    </a:lnTo>
                    <a:lnTo>
                      <a:pt x="273" y="690"/>
                    </a:lnTo>
                    <a:lnTo>
                      <a:pt x="374" y="615"/>
                    </a:lnTo>
                    <a:lnTo>
                      <a:pt x="483" y="476"/>
                    </a:lnTo>
                    <a:lnTo>
                      <a:pt x="543" y="294"/>
                    </a:lnTo>
                    <a:lnTo>
                      <a:pt x="527" y="24"/>
                    </a:lnTo>
                    <a:close/>
                  </a:path>
                </a:pathLst>
              </a:custGeom>
              <a:solidFill>
                <a:schemeClr val="accent4">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42" name="Washington DC">
                <a:extLst>
                  <a:ext uri="{FF2B5EF4-FFF2-40B4-BE49-F238E27FC236}">
                    <a16:creationId xmlns:a16="http://schemas.microsoft.com/office/drawing/2014/main" id="{51EDA212-20CC-D3C8-FEA6-CD524202C516}"/>
                  </a:ext>
                </a:extLst>
              </p:cNvPr>
              <p:cNvSpPr>
                <a:spLocks/>
              </p:cNvSpPr>
              <p:nvPr/>
            </p:nvSpPr>
            <p:spPr bwMode="auto">
              <a:xfrm>
                <a:off x="7237119" y="2868365"/>
                <a:ext cx="38956" cy="35664"/>
              </a:xfrm>
              <a:custGeom>
                <a:avLst/>
                <a:gdLst>
                  <a:gd name="T0" fmla="*/ 0 w 51"/>
                  <a:gd name="T1" fmla="*/ 8 h 51"/>
                  <a:gd name="T2" fmla="*/ 10 w 51"/>
                  <a:gd name="T3" fmla="*/ 0 h 51"/>
                  <a:gd name="T4" fmla="*/ 24 w 51"/>
                  <a:gd name="T5" fmla="*/ 10 h 51"/>
                  <a:gd name="T6" fmla="*/ 10 w 51"/>
                  <a:gd name="T7" fmla="*/ 22 h 51"/>
                  <a:gd name="T8" fmla="*/ 10 w 51"/>
                  <a:gd name="T9" fmla="*/ 16 h 51"/>
                  <a:gd name="T10" fmla="*/ 9 w 51"/>
                  <a:gd name="T11" fmla="*/ 13 h 51"/>
                  <a:gd name="T12" fmla="*/ 6 w 51"/>
                  <a:gd name="T13" fmla="*/ 10 h 51"/>
                  <a:gd name="T14" fmla="*/ 0 w 51"/>
                  <a:gd name="T15" fmla="*/ 8 h 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51">
                    <a:moveTo>
                      <a:pt x="0" y="18"/>
                    </a:moveTo>
                    <a:lnTo>
                      <a:pt x="21" y="0"/>
                    </a:lnTo>
                    <a:lnTo>
                      <a:pt x="51" y="24"/>
                    </a:lnTo>
                    <a:lnTo>
                      <a:pt x="22" y="51"/>
                    </a:lnTo>
                    <a:lnTo>
                      <a:pt x="22" y="38"/>
                    </a:lnTo>
                    <a:lnTo>
                      <a:pt x="20" y="29"/>
                    </a:lnTo>
                    <a:lnTo>
                      <a:pt x="12" y="23"/>
                    </a:lnTo>
                    <a:lnTo>
                      <a:pt x="0" y="18"/>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43" name="Washington">
                <a:extLst>
                  <a:ext uri="{FF2B5EF4-FFF2-40B4-BE49-F238E27FC236}">
                    <a16:creationId xmlns:a16="http://schemas.microsoft.com/office/drawing/2014/main" id="{25DD2843-EED1-0934-E6A1-FF37E29F9E94}"/>
                  </a:ext>
                </a:extLst>
              </p:cNvPr>
              <p:cNvSpPr>
                <a:spLocks/>
              </p:cNvSpPr>
              <p:nvPr/>
            </p:nvSpPr>
            <p:spPr bwMode="auto">
              <a:xfrm>
                <a:off x="1953607" y="1530972"/>
                <a:ext cx="827831" cy="603043"/>
              </a:xfrm>
              <a:custGeom>
                <a:avLst/>
                <a:gdLst>
                  <a:gd name="T0" fmla="*/ 17 w 2687"/>
                  <a:gd name="T1" fmla="*/ 25 h 1962"/>
                  <a:gd name="T2" fmla="*/ 0 w 2687"/>
                  <a:gd name="T3" fmla="*/ 48 h 1962"/>
                  <a:gd name="T4" fmla="*/ 11 w 2687"/>
                  <a:gd name="T5" fmla="*/ 93 h 1962"/>
                  <a:gd name="T6" fmla="*/ 15 w 2687"/>
                  <a:gd name="T7" fmla="*/ 130 h 1962"/>
                  <a:gd name="T8" fmla="*/ 6 w 2687"/>
                  <a:gd name="T9" fmla="*/ 150 h 1962"/>
                  <a:gd name="T10" fmla="*/ 22 w 2687"/>
                  <a:gd name="T11" fmla="*/ 166 h 1962"/>
                  <a:gd name="T12" fmla="*/ 6 w 2687"/>
                  <a:gd name="T13" fmla="*/ 173 h 1962"/>
                  <a:gd name="T14" fmla="*/ 23 w 2687"/>
                  <a:gd name="T15" fmla="*/ 196 h 1962"/>
                  <a:gd name="T16" fmla="*/ 0 w 2687"/>
                  <a:gd name="T17" fmla="*/ 213 h 1962"/>
                  <a:gd name="T18" fmla="*/ 6 w 2687"/>
                  <a:gd name="T19" fmla="*/ 230 h 1962"/>
                  <a:gd name="T20" fmla="*/ 28 w 2687"/>
                  <a:gd name="T21" fmla="*/ 236 h 1962"/>
                  <a:gd name="T22" fmla="*/ 47 w 2687"/>
                  <a:gd name="T23" fmla="*/ 246 h 1962"/>
                  <a:gd name="T24" fmla="*/ 63 w 2687"/>
                  <a:gd name="T25" fmla="*/ 264 h 1962"/>
                  <a:gd name="T26" fmla="*/ 74 w 2687"/>
                  <a:gd name="T27" fmla="*/ 309 h 1962"/>
                  <a:gd name="T28" fmla="*/ 106 w 2687"/>
                  <a:gd name="T29" fmla="*/ 310 h 1962"/>
                  <a:gd name="T30" fmla="*/ 142 w 2687"/>
                  <a:gd name="T31" fmla="*/ 309 h 1962"/>
                  <a:gd name="T32" fmla="*/ 171 w 2687"/>
                  <a:gd name="T33" fmla="*/ 338 h 1962"/>
                  <a:gd name="T34" fmla="*/ 194 w 2687"/>
                  <a:gd name="T35" fmla="*/ 321 h 1962"/>
                  <a:gd name="T36" fmla="*/ 233 w 2687"/>
                  <a:gd name="T37" fmla="*/ 344 h 1962"/>
                  <a:gd name="T38" fmla="*/ 285 w 2687"/>
                  <a:gd name="T39" fmla="*/ 338 h 1962"/>
                  <a:gd name="T40" fmla="*/ 302 w 2687"/>
                  <a:gd name="T41" fmla="*/ 349 h 1962"/>
                  <a:gd name="T42" fmla="*/ 322 w 2687"/>
                  <a:gd name="T43" fmla="*/ 341 h 1962"/>
                  <a:gd name="T44" fmla="*/ 352 w 2687"/>
                  <a:gd name="T45" fmla="*/ 341 h 1962"/>
                  <a:gd name="T46" fmla="*/ 371 w 2687"/>
                  <a:gd name="T47" fmla="*/ 354 h 1962"/>
                  <a:gd name="T48" fmla="*/ 427 w 2687"/>
                  <a:gd name="T49" fmla="*/ 372 h 1962"/>
                  <a:gd name="T50" fmla="*/ 456 w 2687"/>
                  <a:gd name="T51" fmla="*/ 372 h 1962"/>
                  <a:gd name="T52" fmla="*/ 456 w 2687"/>
                  <a:gd name="T53" fmla="*/ 338 h 1962"/>
                  <a:gd name="T54" fmla="*/ 467 w 2687"/>
                  <a:gd name="T55" fmla="*/ 298 h 1962"/>
                  <a:gd name="T56" fmla="*/ 478 w 2687"/>
                  <a:gd name="T57" fmla="*/ 258 h 1962"/>
                  <a:gd name="T58" fmla="*/ 484 w 2687"/>
                  <a:gd name="T59" fmla="*/ 232 h 1962"/>
                  <a:gd name="T60" fmla="*/ 482 w 2687"/>
                  <a:gd name="T61" fmla="*/ 196 h 1962"/>
                  <a:gd name="T62" fmla="*/ 494 w 2687"/>
                  <a:gd name="T63" fmla="*/ 159 h 1962"/>
                  <a:gd name="T64" fmla="*/ 501 w 2687"/>
                  <a:gd name="T65" fmla="*/ 120 h 1962"/>
                  <a:gd name="T66" fmla="*/ 510 w 2687"/>
                  <a:gd name="T67" fmla="*/ 102 h 1962"/>
                  <a:gd name="T68" fmla="*/ 439 w 2687"/>
                  <a:gd name="T69" fmla="*/ 78 h 1962"/>
                  <a:gd name="T70" fmla="*/ 389 w 2687"/>
                  <a:gd name="T71" fmla="*/ 66 h 1962"/>
                  <a:gd name="T72" fmla="*/ 321 w 2687"/>
                  <a:gd name="T73" fmla="*/ 54 h 1962"/>
                  <a:gd name="T74" fmla="*/ 234 w 2687"/>
                  <a:gd name="T75" fmla="*/ 35 h 1962"/>
                  <a:gd name="T76" fmla="*/ 137 w 2687"/>
                  <a:gd name="T77" fmla="*/ 0 h 1962"/>
                  <a:gd name="T78" fmla="*/ 144 w 2687"/>
                  <a:gd name="T79" fmla="*/ 26 h 1962"/>
                  <a:gd name="T80" fmla="*/ 165 w 2687"/>
                  <a:gd name="T81" fmla="*/ 42 h 1962"/>
                  <a:gd name="T82" fmla="*/ 142 w 2687"/>
                  <a:gd name="T83" fmla="*/ 53 h 1962"/>
                  <a:gd name="T84" fmla="*/ 159 w 2687"/>
                  <a:gd name="T85" fmla="*/ 71 h 1962"/>
                  <a:gd name="T86" fmla="*/ 154 w 2687"/>
                  <a:gd name="T87" fmla="*/ 116 h 1962"/>
                  <a:gd name="T88" fmla="*/ 137 w 2687"/>
                  <a:gd name="T89" fmla="*/ 162 h 1962"/>
                  <a:gd name="T90" fmla="*/ 108 w 2687"/>
                  <a:gd name="T91" fmla="*/ 179 h 1962"/>
                  <a:gd name="T92" fmla="*/ 120 w 2687"/>
                  <a:gd name="T93" fmla="*/ 156 h 1962"/>
                  <a:gd name="T94" fmla="*/ 125 w 2687"/>
                  <a:gd name="T95" fmla="*/ 156 h 1962"/>
                  <a:gd name="T96" fmla="*/ 125 w 2687"/>
                  <a:gd name="T97" fmla="*/ 110 h 1962"/>
                  <a:gd name="T98" fmla="*/ 114 w 2687"/>
                  <a:gd name="T99" fmla="*/ 105 h 1962"/>
                  <a:gd name="T100" fmla="*/ 125 w 2687"/>
                  <a:gd name="T101" fmla="*/ 93 h 1962"/>
                  <a:gd name="T102" fmla="*/ 104 w 2687"/>
                  <a:gd name="T103" fmla="*/ 73 h 1962"/>
                  <a:gd name="T104" fmla="*/ 80 w 2687"/>
                  <a:gd name="T105" fmla="*/ 62 h 1962"/>
                  <a:gd name="T106" fmla="*/ 54 w 2687"/>
                  <a:gd name="T107" fmla="*/ 50 h 1962"/>
                  <a:gd name="T108" fmla="*/ 17 w 2687"/>
                  <a:gd name="T109" fmla="*/ 25 h 19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87" h="1962">
                    <a:moveTo>
                      <a:pt x="90" y="132"/>
                    </a:moveTo>
                    <a:lnTo>
                      <a:pt x="0" y="252"/>
                    </a:lnTo>
                    <a:lnTo>
                      <a:pt x="60" y="492"/>
                    </a:lnTo>
                    <a:lnTo>
                      <a:pt x="81" y="686"/>
                    </a:lnTo>
                    <a:lnTo>
                      <a:pt x="30" y="792"/>
                    </a:lnTo>
                    <a:lnTo>
                      <a:pt x="118" y="878"/>
                    </a:lnTo>
                    <a:lnTo>
                      <a:pt x="30" y="912"/>
                    </a:lnTo>
                    <a:lnTo>
                      <a:pt x="120" y="1032"/>
                    </a:lnTo>
                    <a:lnTo>
                      <a:pt x="0" y="1122"/>
                    </a:lnTo>
                    <a:lnTo>
                      <a:pt x="30" y="1212"/>
                    </a:lnTo>
                    <a:lnTo>
                      <a:pt x="145" y="1243"/>
                    </a:lnTo>
                    <a:lnTo>
                      <a:pt x="246" y="1298"/>
                    </a:lnTo>
                    <a:lnTo>
                      <a:pt x="330" y="1392"/>
                    </a:lnTo>
                    <a:lnTo>
                      <a:pt x="390" y="1632"/>
                    </a:lnTo>
                    <a:lnTo>
                      <a:pt x="556" y="1637"/>
                    </a:lnTo>
                    <a:lnTo>
                      <a:pt x="750" y="1632"/>
                    </a:lnTo>
                    <a:lnTo>
                      <a:pt x="900" y="1782"/>
                    </a:lnTo>
                    <a:lnTo>
                      <a:pt x="1020" y="1692"/>
                    </a:lnTo>
                    <a:lnTo>
                      <a:pt x="1230" y="1812"/>
                    </a:lnTo>
                    <a:lnTo>
                      <a:pt x="1501" y="1782"/>
                    </a:lnTo>
                    <a:lnTo>
                      <a:pt x="1591" y="1842"/>
                    </a:lnTo>
                    <a:lnTo>
                      <a:pt x="1699" y="1801"/>
                    </a:lnTo>
                    <a:lnTo>
                      <a:pt x="1855" y="1801"/>
                    </a:lnTo>
                    <a:lnTo>
                      <a:pt x="1955" y="1865"/>
                    </a:lnTo>
                    <a:lnTo>
                      <a:pt x="2251" y="1962"/>
                    </a:lnTo>
                    <a:lnTo>
                      <a:pt x="2401" y="1962"/>
                    </a:lnTo>
                    <a:lnTo>
                      <a:pt x="2401" y="1782"/>
                    </a:lnTo>
                    <a:lnTo>
                      <a:pt x="2461" y="1572"/>
                    </a:lnTo>
                    <a:lnTo>
                      <a:pt x="2521" y="1362"/>
                    </a:lnTo>
                    <a:lnTo>
                      <a:pt x="2550" y="1225"/>
                    </a:lnTo>
                    <a:lnTo>
                      <a:pt x="2540" y="1033"/>
                    </a:lnTo>
                    <a:lnTo>
                      <a:pt x="2604" y="841"/>
                    </a:lnTo>
                    <a:lnTo>
                      <a:pt x="2641" y="631"/>
                    </a:lnTo>
                    <a:lnTo>
                      <a:pt x="2687" y="539"/>
                    </a:lnTo>
                    <a:lnTo>
                      <a:pt x="2312" y="411"/>
                    </a:lnTo>
                    <a:lnTo>
                      <a:pt x="2047" y="347"/>
                    </a:lnTo>
                    <a:lnTo>
                      <a:pt x="1690" y="283"/>
                    </a:lnTo>
                    <a:lnTo>
                      <a:pt x="1233" y="183"/>
                    </a:lnTo>
                    <a:lnTo>
                      <a:pt x="721" y="0"/>
                    </a:lnTo>
                    <a:lnTo>
                      <a:pt x="758" y="137"/>
                    </a:lnTo>
                    <a:lnTo>
                      <a:pt x="870" y="222"/>
                    </a:lnTo>
                    <a:lnTo>
                      <a:pt x="750" y="282"/>
                    </a:lnTo>
                    <a:lnTo>
                      <a:pt x="840" y="372"/>
                    </a:lnTo>
                    <a:lnTo>
                      <a:pt x="810" y="612"/>
                    </a:lnTo>
                    <a:lnTo>
                      <a:pt x="720" y="852"/>
                    </a:lnTo>
                    <a:lnTo>
                      <a:pt x="570" y="942"/>
                    </a:lnTo>
                    <a:lnTo>
                      <a:pt x="630" y="822"/>
                    </a:lnTo>
                    <a:lnTo>
                      <a:pt x="660" y="822"/>
                    </a:lnTo>
                    <a:lnTo>
                      <a:pt x="660" y="582"/>
                    </a:lnTo>
                    <a:lnTo>
                      <a:pt x="600" y="552"/>
                    </a:lnTo>
                    <a:lnTo>
                      <a:pt x="660" y="492"/>
                    </a:lnTo>
                    <a:lnTo>
                      <a:pt x="547" y="384"/>
                    </a:lnTo>
                    <a:lnTo>
                      <a:pt x="419" y="329"/>
                    </a:lnTo>
                    <a:lnTo>
                      <a:pt x="282" y="265"/>
                    </a:lnTo>
                    <a:lnTo>
                      <a:pt x="90" y="132"/>
                    </a:lnTo>
                    <a:close/>
                  </a:path>
                </a:pathLst>
              </a:custGeom>
              <a:solidFill>
                <a:schemeClr val="accent4">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44" name="Virgina">
                <a:extLst>
                  <a:ext uri="{FF2B5EF4-FFF2-40B4-BE49-F238E27FC236}">
                    <a16:creationId xmlns:a16="http://schemas.microsoft.com/office/drawing/2014/main" id="{8E67A68A-68CF-36F2-5073-714626A845D6}"/>
                  </a:ext>
                </a:extLst>
              </p:cNvPr>
              <p:cNvSpPr>
                <a:spLocks/>
              </p:cNvSpPr>
              <p:nvPr/>
            </p:nvSpPr>
            <p:spPr bwMode="auto">
              <a:xfrm>
                <a:off x="6703086" y="2869987"/>
                <a:ext cx="809976" cy="594938"/>
              </a:xfrm>
              <a:custGeom>
                <a:avLst/>
                <a:gdLst>
                  <a:gd name="T0" fmla="*/ 10 w 2495"/>
                  <a:gd name="T1" fmla="*/ 256 h 1836"/>
                  <a:gd name="T2" fmla="*/ 35 w 2495"/>
                  <a:gd name="T3" fmla="*/ 274 h 1836"/>
                  <a:gd name="T4" fmla="*/ 55 w 2495"/>
                  <a:gd name="T5" fmla="*/ 272 h 1836"/>
                  <a:gd name="T6" fmla="*/ 68 w 2495"/>
                  <a:gd name="T7" fmla="*/ 288 h 1836"/>
                  <a:gd name="T8" fmla="*/ 82 w 2495"/>
                  <a:gd name="T9" fmla="*/ 292 h 1836"/>
                  <a:gd name="T10" fmla="*/ 97 w 2495"/>
                  <a:gd name="T11" fmla="*/ 277 h 1836"/>
                  <a:gd name="T12" fmla="*/ 127 w 2495"/>
                  <a:gd name="T13" fmla="*/ 262 h 1836"/>
                  <a:gd name="T14" fmla="*/ 161 w 2495"/>
                  <a:gd name="T15" fmla="*/ 247 h 1836"/>
                  <a:gd name="T16" fmla="*/ 167 w 2495"/>
                  <a:gd name="T17" fmla="*/ 228 h 1836"/>
                  <a:gd name="T18" fmla="*/ 162 w 2495"/>
                  <a:gd name="T19" fmla="*/ 205 h 1836"/>
                  <a:gd name="T20" fmla="*/ 179 w 2495"/>
                  <a:gd name="T21" fmla="*/ 166 h 1836"/>
                  <a:gd name="T22" fmla="*/ 202 w 2495"/>
                  <a:gd name="T23" fmla="*/ 148 h 1836"/>
                  <a:gd name="T24" fmla="*/ 229 w 2495"/>
                  <a:gd name="T25" fmla="*/ 102 h 1836"/>
                  <a:gd name="T26" fmla="*/ 255 w 2495"/>
                  <a:gd name="T27" fmla="*/ 60 h 1836"/>
                  <a:gd name="T28" fmla="*/ 262 w 2495"/>
                  <a:gd name="T29" fmla="*/ 34 h 1836"/>
                  <a:gd name="T30" fmla="*/ 272 w 2495"/>
                  <a:gd name="T31" fmla="*/ 22 h 1836"/>
                  <a:gd name="T32" fmla="*/ 297 w 2495"/>
                  <a:gd name="T33" fmla="*/ 20 h 1836"/>
                  <a:gd name="T34" fmla="*/ 315 w 2495"/>
                  <a:gd name="T35" fmla="*/ 0 h 1836"/>
                  <a:gd name="T36" fmla="*/ 339 w 2495"/>
                  <a:gd name="T37" fmla="*/ 11 h 1836"/>
                  <a:gd name="T38" fmla="*/ 340 w 2495"/>
                  <a:gd name="T39" fmla="*/ 16 h 1836"/>
                  <a:gd name="T40" fmla="*/ 340 w 2495"/>
                  <a:gd name="T41" fmla="*/ 21 h 1836"/>
                  <a:gd name="T42" fmla="*/ 338 w 2495"/>
                  <a:gd name="T43" fmla="*/ 37 h 1836"/>
                  <a:gd name="T44" fmla="*/ 350 w 2495"/>
                  <a:gd name="T45" fmla="*/ 57 h 1836"/>
                  <a:gd name="T46" fmla="*/ 407 w 2495"/>
                  <a:gd name="T47" fmla="*/ 91 h 1836"/>
                  <a:gd name="T48" fmla="*/ 431 w 2495"/>
                  <a:gd name="T49" fmla="*/ 87 h 1836"/>
                  <a:gd name="T50" fmla="*/ 452 w 2495"/>
                  <a:gd name="T51" fmla="*/ 108 h 1836"/>
                  <a:gd name="T52" fmla="*/ 447 w 2495"/>
                  <a:gd name="T53" fmla="*/ 119 h 1836"/>
                  <a:gd name="T54" fmla="*/ 424 w 2495"/>
                  <a:gd name="T55" fmla="*/ 108 h 1836"/>
                  <a:gd name="T56" fmla="*/ 418 w 2495"/>
                  <a:gd name="T57" fmla="*/ 131 h 1836"/>
                  <a:gd name="T58" fmla="*/ 458 w 2495"/>
                  <a:gd name="T59" fmla="*/ 142 h 1836"/>
                  <a:gd name="T60" fmla="*/ 464 w 2495"/>
                  <a:gd name="T61" fmla="*/ 171 h 1836"/>
                  <a:gd name="T62" fmla="*/ 447 w 2495"/>
                  <a:gd name="T63" fmla="*/ 188 h 1836"/>
                  <a:gd name="T64" fmla="*/ 482 w 2495"/>
                  <a:gd name="T65" fmla="*/ 193 h 1836"/>
                  <a:gd name="T66" fmla="*/ 499 w 2495"/>
                  <a:gd name="T67" fmla="*/ 193 h 1836"/>
                  <a:gd name="T68" fmla="*/ 493 w 2495"/>
                  <a:gd name="T69" fmla="*/ 217 h 1836"/>
                  <a:gd name="T70" fmla="*/ 457 w 2495"/>
                  <a:gd name="T71" fmla="*/ 234 h 1836"/>
                  <a:gd name="T72" fmla="*/ 414 w 2495"/>
                  <a:gd name="T73" fmla="*/ 240 h 1836"/>
                  <a:gd name="T74" fmla="*/ 255 w 2495"/>
                  <a:gd name="T75" fmla="*/ 287 h 1836"/>
                  <a:gd name="T76" fmla="*/ 181 w 2495"/>
                  <a:gd name="T77" fmla="*/ 318 h 1836"/>
                  <a:gd name="T78" fmla="*/ 80 w 2495"/>
                  <a:gd name="T79" fmla="*/ 346 h 1836"/>
                  <a:gd name="T80" fmla="*/ 54 w 2495"/>
                  <a:gd name="T81" fmla="*/ 359 h 1836"/>
                  <a:gd name="T82" fmla="*/ 7 w 2495"/>
                  <a:gd name="T83" fmla="*/ 367 h 1836"/>
                  <a:gd name="T84" fmla="*/ 11 w 2495"/>
                  <a:gd name="T85" fmla="*/ 350 h 1836"/>
                  <a:gd name="T86" fmla="*/ 0 w 2495"/>
                  <a:gd name="T87" fmla="*/ 324 h 1836"/>
                  <a:gd name="T88" fmla="*/ 12 w 2495"/>
                  <a:gd name="T89" fmla="*/ 303 h 1836"/>
                  <a:gd name="T90" fmla="*/ 13 w 2495"/>
                  <a:gd name="T91" fmla="*/ 280 h 1836"/>
                  <a:gd name="T92" fmla="*/ 10 w 2495"/>
                  <a:gd name="T93" fmla="*/ 256 h 18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5" h="1836">
                    <a:moveTo>
                      <a:pt x="51" y="1279"/>
                    </a:moveTo>
                    <a:lnTo>
                      <a:pt x="175" y="1371"/>
                    </a:lnTo>
                    <a:lnTo>
                      <a:pt x="277" y="1363"/>
                    </a:lnTo>
                    <a:lnTo>
                      <a:pt x="339" y="1440"/>
                    </a:lnTo>
                    <a:lnTo>
                      <a:pt x="411" y="1462"/>
                    </a:lnTo>
                    <a:lnTo>
                      <a:pt x="486" y="1386"/>
                    </a:lnTo>
                    <a:lnTo>
                      <a:pt x="637" y="1310"/>
                    </a:lnTo>
                    <a:lnTo>
                      <a:pt x="804" y="1234"/>
                    </a:lnTo>
                    <a:lnTo>
                      <a:pt x="835" y="1143"/>
                    </a:lnTo>
                    <a:lnTo>
                      <a:pt x="811" y="1026"/>
                    </a:lnTo>
                    <a:lnTo>
                      <a:pt x="895" y="831"/>
                    </a:lnTo>
                    <a:lnTo>
                      <a:pt x="1010" y="740"/>
                    </a:lnTo>
                    <a:lnTo>
                      <a:pt x="1146" y="512"/>
                    </a:lnTo>
                    <a:lnTo>
                      <a:pt x="1275" y="299"/>
                    </a:lnTo>
                    <a:lnTo>
                      <a:pt x="1312" y="170"/>
                    </a:lnTo>
                    <a:lnTo>
                      <a:pt x="1358" y="109"/>
                    </a:lnTo>
                    <a:lnTo>
                      <a:pt x="1487" y="102"/>
                    </a:lnTo>
                    <a:lnTo>
                      <a:pt x="1574" y="0"/>
                    </a:lnTo>
                    <a:lnTo>
                      <a:pt x="1694" y="56"/>
                    </a:lnTo>
                    <a:lnTo>
                      <a:pt x="1698" y="78"/>
                    </a:lnTo>
                    <a:lnTo>
                      <a:pt x="1698" y="106"/>
                    </a:lnTo>
                    <a:lnTo>
                      <a:pt x="1692" y="185"/>
                    </a:lnTo>
                    <a:lnTo>
                      <a:pt x="1751" y="284"/>
                    </a:lnTo>
                    <a:lnTo>
                      <a:pt x="2034" y="455"/>
                    </a:lnTo>
                    <a:lnTo>
                      <a:pt x="2154" y="436"/>
                    </a:lnTo>
                    <a:lnTo>
                      <a:pt x="2262" y="540"/>
                    </a:lnTo>
                    <a:lnTo>
                      <a:pt x="2233" y="597"/>
                    </a:lnTo>
                    <a:lnTo>
                      <a:pt x="2119" y="540"/>
                    </a:lnTo>
                    <a:lnTo>
                      <a:pt x="2091" y="654"/>
                    </a:lnTo>
                    <a:lnTo>
                      <a:pt x="2290" y="711"/>
                    </a:lnTo>
                    <a:lnTo>
                      <a:pt x="2319" y="853"/>
                    </a:lnTo>
                    <a:lnTo>
                      <a:pt x="2233" y="940"/>
                    </a:lnTo>
                    <a:lnTo>
                      <a:pt x="2412" y="968"/>
                    </a:lnTo>
                    <a:lnTo>
                      <a:pt x="2495" y="968"/>
                    </a:lnTo>
                    <a:lnTo>
                      <a:pt x="2467" y="1088"/>
                    </a:lnTo>
                    <a:lnTo>
                      <a:pt x="2285" y="1173"/>
                    </a:lnTo>
                    <a:lnTo>
                      <a:pt x="2072" y="1199"/>
                    </a:lnTo>
                    <a:lnTo>
                      <a:pt x="1273" y="1436"/>
                    </a:lnTo>
                    <a:lnTo>
                      <a:pt x="904" y="1593"/>
                    </a:lnTo>
                    <a:lnTo>
                      <a:pt x="402" y="1733"/>
                    </a:lnTo>
                    <a:lnTo>
                      <a:pt x="268" y="1794"/>
                    </a:lnTo>
                    <a:lnTo>
                      <a:pt x="34" y="1836"/>
                    </a:lnTo>
                    <a:lnTo>
                      <a:pt x="54" y="1753"/>
                    </a:lnTo>
                    <a:lnTo>
                      <a:pt x="0" y="1620"/>
                    </a:lnTo>
                    <a:lnTo>
                      <a:pt x="58" y="1517"/>
                    </a:lnTo>
                    <a:lnTo>
                      <a:pt x="66" y="1400"/>
                    </a:lnTo>
                    <a:lnTo>
                      <a:pt x="51" y="1279"/>
                    </a:lnTo>
                    <a:close/>
                  </a:path>
                </a:pathLst>
              </a:custGeom>
              <a:solidFill>
                <a:schemeClr val="accent4">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45" name="Vermont">
                <a:extLst>
                  <a:ext uri="{FF2B5EF4-FFF2-40B4-BE49-F238E27FC236}">
                    <a16:creationId xmlns:a16="http://schemas.microsoft.com/office/drawing/2014/main" id="{94C77970-E008-ABD6-BFFB-B36577F61464}"/>
                  </a:ext>
                </a:extLst>
              </p:cNvPr>
              <p:cNvSpPr>
                <a:spLocks/>
              </p:cNvSpPr>
              <p:nvPr/>
            </p:nvSpPr>
            <p:spPr bwMode="auto">
              <a:xfrm>
                <a:off x="7404309" y="1798450"/>
                <a:ext cx="227248" cy="403649"/>
              </a:xfrm>
              <a:custGeom>
                <a:avLst/>
                <a:gdLst>
                  <a:gd name="T0" fmla="*/ 0 w 734"/>
                  <a:gd name="T1" fmla="*/ 48 h 1311"/>
                  <a:gd name="T2" fmla="*/ 68 w 734"/>
                  <a:gd name="T3" fmla="*/ 27 h 1311"/>
                  <a:gd name="T4" fmla="*/ 106 w 734"/>
                  <a:gd name="T5" fmla="*/ 4 h 1311"/>
                  <a:gd name="T6" fmla="*/ 124 w 734"/>
                  <a:gd name="T7" fmla="*/ 0 h 1311"/>
                  <a:gd name="T8" fmla="*/ 136 w 734"/>
                  <a:gd name="T9" fmla="*/ 34 h 1311"/>
                  <a:gd name="T10" fmla="*/ 140 w 734"/>
                  <a:gd name="T11" fmla="*/ 56 h 1311"/>
                  <a:gd name="T12" fmla="*/ 124 w 734"/>
                  <a:gd name="T13" fmla="*/ 80 h 1311"/>
                  <a:gd name="T14" fmla="*/ 122 w 734"/>
                  <a:gd name="T15" fmla="*/ 126 h 1311"/>
                  <a:gd name="T16" fmla="*/ 124 w 734"/>
                  <a:gd name="T17" fmla="*/ 154 h 1311"/>
                  <a:gd name="T18" fmla="*/ 126 w 734"/>
                  <a:gd name="T19" fmla="*/ 182 h 1311"/>
                  <a:gd name="T20" fmla="*/ 134 w 734"/>
                  <a:gd name="T21" fmla="*/ 217 h 1311"/>
                  <a:gd name="T22" fmla="*/ 140 w 734"/>
                  <a:gd name="T23" fmla="*/ 231 h 1311"/>
                  <a:gd name="T24" fmla="*/ 87 w 734"/>
                  <a:gd name="T25" fmla="*/ 249 h 1311"/>
                  <a:gd name="T26" fmla="*/ 77 w 734"/>
                  <a:gd name="T27" fmla="*/ 219 h 1311"/>
                  <a:gd name="T28" fmla="*/ 71 w 734"/>
                  <a:gd name="T29" fmla="*/ 181 h 1311"/>
                  <a:gd name="T30" fmla="*/ 34 w 734"/>
                  <a:gd name="T31" fmla="*/ 121 h 1311"/>
                  <a:gd name="T32" fmla="*/ 23 w 734"/>
                  <a:gd name="T33" fmla="*/ 78 h 1311"/>
                  <a:gd name="T34" fmla="*/ 16 w 734"/>
                  <a:gd name="T35" fmla="*/ 60 h 1311"/>
                  <a:gd name="T36" fmla="*/ 0 w 734"/>
                  <a:gd name="T37" fmla="*/ 48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4" h="1311">
                    <a:moveTo>
                      <a:pt x="0" y="255"/>
                    </a:moveTo>
                    <a:lnTo>
                      <a:pt x="358" y="143"/>
                    </a:lnTo>
                    <a:lnTo>
                      <a:pt x="558" y="23"/>
                    </a:lnTo>
                    <a:lnTo>
                      <a:pt x="651" y="0"/>
                    </a:lnTo>
                    <a:lnTo>
                      <a:pt x="711" y="180"/>
                    </a:lnTo>
                    <a:lnTo>
                      <a:pt x="734" y="295"/>
                    </a:lnTo>
                    <a:lnTo>
                      <a:pt x="651" y="420"/>
                    </a:lnTo>
                    <a:lnTo>
                      <a:pt x="638" y="663"/>
                    </a:lnTo>
                    <a:lnTo>
                      <a:pt x="651" y="810"/>
                    </a:lnTo>
                    <a:lnTo>
                      <a:pt x="662" y="959"/>
                    </a:lnTo>
                    <a:lnTo>
                      <a:pt x="702" y="1143"/>
                    </a:lnTo>
                    <a:lnTo>
                      <a:pt x="734" y="1215"/>
                    </a:lnTo>
                    <a:lnTo>
                      <a:pt x="454" y="1311"/>
                    </a:lnTo>
                    <a:lnTo>
                      <a:pt x="406" y="1155"/>
                    </a:lnTo>
                    <a:lnTo>
                      <a:pt x="374" y="953"/>
                    </a:lnTo>
                    <a:lnTo>
                      <a:pt x="180" y="639"/>
                    </a:lnTo>
                    <a:lnTo>
                      <a:pt x="122" y="409"/>
                    </a:lnTo>
                    <a:lnTo>
                      <a:pt x="82" y="315"/>
                    </a:lnTo>
                    <a:lnTo>
                      <a:pt x="0" y="255"/>
                    </a:lnTo>
                    <a:close/>
                  </a:path>
                </a:pathLst>
              </a:custGeom>
              <a:solidFill>
                <a:schemeClr val="accent4">
                  <a:lumMod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46" name="Utah">
                <a:extLst>
                  <a:ext uri="{FF2B5EF4-FFF2-40B4-BE49-F238E27FC236}">
                    <a16:creationId xmlns:a16="http://schemas.microsoft.com/office/drawing/2014/main" id="{E4B92909-6B73-8544-BB50-5DEA156B6B8D}"/>
                  </a:ext>
                </a:extLst>
              </p:cNvPr>
              <p:cNvSpPr>
                <a:spLocks/>
              </p:cNvSpPr>
              <p:nvPr/>
            </p:nvSpPr>
            <p:spPr bwMode="auto">
              <a:xfrm>
                <a:off x="2802540" y="2792174"/>
                <a:ext cx="693106" cy="864038"/>
              </a:xfrm>
              <a:custGeom>
                <a:avLst/>
                <a:gdLst>
                  <a:gd name="T0" fmla="*/ 71 w 2254"/>
                  <a:gd name="T1" fmla="*/ 0 h 2808"/>
                  <a:gd name="T2" fmla="*/ 181 w 2254"/>
                  <a:gd name="T3" fmla="*/ 16 h 2808"/>
                  <a:gd name="T4" fmla="*/ 279 w 2254"/>
                  <a:gd name="T5" fmla="*/ 42 h 2808"/>
                  <a:gd name="T6" fmla="*/ 273 w 2254"/>
                  <a:gd name="T7" fmla="*/ 81 h 2808"/>
                  <a:gd name="T8" fmla="*/ 270 w 2254"/>
                  <a:gd name="T9" fmla="*/ 133 h 2808"/>
                  <a:gd name="T10" fmla="*/ 365 w 2254"/>
                  <a:gd name="T11" fmla="*/ 139 h 2808"/>
                  <a:gd name="T12" fmla="*/ 427 w 2254"/>
                  <a:gd name="T13" fmla="*/ 146 h 2808"/>
                  <a:gd name="T14" fmla="*/ 405 w 2254"/>
                  <a:gd name="T15" fmla="*/ 284 h 2808"/>
                  <a:gd name="T16" fmla="*/ 383 w 2254"/>
                  <a:gd name="T17" fmla="*/ 533 h 2808"/>
                  <a:gd name="T18" fmla="*/ 0 w 2254"/>
                  <a:gd name="T19" fmla="*/ 476 h 2808"/>
                  <a:gd name="T20" fmla="*/ 11 w 2254"/>
                  <a:gd name="T21" fmla="*/ 386 h 2808"/>
                  <a:gd name="T22" fmla="*/ 36 w 2254"/>
                  <a:gd name="T23" fmla="*/ 231 h 2808"/>
                  <a:gd name="T24" fmla="*/ 44 w 2254"/>
                  <a:gd name="T25" fmla="*/ 159 h 2808"/>
                  <a:gd name="T26" fmla="*/ 50 w 2254"/>
                  <a:gd name="T27" fmla="*/ 95 h 2808"/>
                  <a:gd name="T28" fmla="*/ 65 w 2254"/>
                  <a:gd name="T29" fmla="*/ 22 h 2808"/>
                  <a:gd name="T30" fmla="*/ 71 w 2254"/>
                  <a:gd name="T31" fmla="*/ 0 h 28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54" h="2808">
                    <a:moveTo>
                      <a:pt x="377" y="0"/>
                    </a:moveTo>
                    <a:lnTo>
                      <a:pt x="956" y="85"/>
                    </a:lnTo>
                    <a:lnTo>
                      <a:pt x="1472" y="220"/>
                    </a:lnTo>
                    <a:lnTo>
                      <a:pt x="1441" y="428"/>
                    </a:lnTo>
                    <a:lnTo>
                      <a:pt x="1423" y="702"/>
                    </a:lnTo>
                    <a:lnTo>
                      <a:pt x="1926" y="730"/>
                    </a:lnTo>
                    <a:lnTo>
                      <a:pt x="2254" y="767"/>
                    </a:lnTo>
                    <a:lnTo>
                      <a:pt x="2136" y="1498"/>
                    </a:lnTo>
                    <a:lnTo>
                      <a:pt x="2024" y="2808"/>
                    </a:lnTo>
                    <a:lnTo>
                      <a:pt x="0" y="2509"/>
                    </a:lnTo>
                    <a:lnTo>
                      <a:pt x="56" y="2032"/>
                    </a:lnTo>
                    <a:lnTo>
                      <a:pt x="189" y="1219"/>
                    </a:lnTo>
                    <a:lnTo>
                      <a:pt x="234" y="838"/>
                    </a:lnTo>
                    <a:lnTo>
                      <a:pt x="266" y="501"/>
                    </a:lnTo>
                    <a:lnTo>
                      <a:pt x="345" y="118"/>
                    </a:lnTo>
                    <a:lnTo>
                      <a:pt x="377" y="0"/>
                    </a:lnTo>
                    <a:close/>
                  </a:path>
                </a:pathLst>
              </a:custGeom>
              <a:solidFill>
                <a:schemeClr val="accent4">
                  <a:lumMod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47" name="Texas">
                <a:extLst>
                  <a:ext uri="{FF2B5EF4-FFF2-40B4-BE49-F238E27FC236}">
                    <a16:creationId xmlns:a16="http://schemas.microsoft.com/office/drawing/2014/main" id="{CE963323-49D3-F774-9304-EC12A535DFE2}"/>
                  </a:ext>
                </a:extLst>
              </p:cNvPr>
              <p:cNvSpPr>
                <a:spLocks/>
              </p:cNvSpPr>
              <p:nvPr/>
            </p:nvSpPr>
            <p:spPr bwMode="auto">
              <a:xfrm>
                <a:off x="3674198" y="3772929"/>
                <a:ext cx="1770910" cy="1655126"/>
              </a:xfrm>
              <a:custGeom>
                <a:avLst/>
                <a:gdLst>
                  <a:gd name="T0" fmla="*/ 11 w 5759"/>
                  <a:gd name="T1" fmla="*/ 444 h 5383"/>
                  <a:gd name="T2" fmla="*/ 68 w 5759"/>
                  <a:gd name="T3" fmla="*/ 494 h 5383"/>
                  <a:gd name="T4" fmla="*/ 108 w 5759"/>
                  <a:gd name="T5" fmla="*/ 540 h 5383"/>
                  <a:gd name="T6" fmla="*/ 137 w 5759"/>
                  <a:gd name="T7" fmla="*/ 574 h 5383"/>
                  <a:gd name="T8" fmla="*/ 163 w 5759"/>
                  <a:gd name="T9" fmla="*/ 636 h 5383"/>
                  <a:gd name="T10" fmla="*/ 205 w 5759"/>
                  <a:gd name="T11" fmla="*/ 693 h 5383"/>
                  <a:gd name="T12" fmla="*/ 271 w 5759"/>
                  <a:gd name="T13" fmla="*/ 730 h 5383"/>
                  <a:gd name="T14" fmla="*/ 313 w 5759"/>
                  <a:gd name="T15" fmla="*/ 710 h 5383"/>
                  <a:gd name="T16" fmla="*/ 353 w 5759"/>
                  <a:gd name="T17" fmla="*/ 666 h 5383"/>
                  <a:gd name="T18" fmla="*/ 412 w 5759"/>
                  <a:gd name="T19" fmla="*/ 661 h 5383"/>
                  <a:gd name="T20" fmla="*/ 488 w 5759"/>
                  <a:gd name="T21" fmla="*/ 727 h 5383"/>
                  <a:gd name="T22" fmla="*/ 563 w 5759"/>
                  <a:gd name="T23" fmla="*/ 841 h 5383"/>
                  <a:gd name="T24" fmla="*/ 606 w 5759"/>
                  <a:gd name="T25" fmla="*/ 909 h 5383"/>
                  <a:gd name="T26" fmla="*/ 637 w 5759"/>
                  <a:gd name="T27" fmla="*/ 983 h 5383"/>
                  <a:gd name="T28" fmla="*/ 745 w 5759"/>
                  <a:gd name="T29" fmla="*/ 1018 h 5383"/>
                  <a:gd name="T30" fmla="*/ 811 w 5759"/>
                  <a:gd name="T31" fmla="*/ 1021 h 5383"/>
                  <a:gd name="T32" fmla="*/ 794 w 5759"/>
                  <a:gd name="T33" fmla="*/ 979 h 5383"/>
                  <a:gd name="T34" fmla="*/ 768 w 5759"/>
                  <a:gd name="T35" fmla="*/ 938 h 5383"/>
                  <a:gd name="T36" fmla="*/ 773 w 5759"/>
                  <a:gd name="T37" fmla="*/ 892 h 5383"/>
                  <a:gd name="T38" fmla="*/ 777 w 5759"/>
                  <a:gd name="T39" fmla="*/ 868 h 5383"/>
                  <a:gd name="T40" fmla="*/ 762 w 5759"/>
                  <a:gd name="T41" fmla="*/ 830 h 5383"/>
                  <a:gd name="T42" fmla="*/ 779 w 5759"/>
                  <a:gd name="T43" fmla="*/ 796 h 5383"/>
                  <a:gd name="T44" fmla="*/ 830 w 5759"/>
                  <a:gd name="T45" fmla="*/ 762 h 5383"/>
                  <a:gd name="T46" fmla="*/ 859 w 5759"/>
                  <a:gd name="T47" fmla="*/ 739 h 5383"/>
                  <a:gd name="T48" fmla="*/ 930 w 5759"/>
                  <a:gd name="T49" fmla="*/ 725 h 5383"/>
                  <a:gd name="T50" fmla="*/ 955 w 5759"/>
                  <a:gd name="T51" fmla="*/ 688 h 5383"/>
                  <a:gd name="T52" fmla="*/ 967 w 5759"/>
                  <a:gd name="T53" fmla="*/ 636 h 5383"/>
                  <a:gd name="T54" fmla="*/ 1001 w 5759"/>
                  <a:gd name="T55" fmla="*/ 653 h 5383"/>
                  <a:gd name="T56" fmla="*/ 1080 w 5759"/>
                  <a:gd name="T57" fmla="*/ 625 h 5383"/>
                  <a:gd name="T58" fmla="*/ 1075 w 5759"/>
                  <a:gd name="T59" fmla="*/ 523 h 5383"/>
                  <a:gd name="T60" fmla="*/ 1083 w 5759"/>
                  <a:gd name="T61" fmla="*/ 469 h 5383"/>
                  <a:gd name="T62" fmla="*/ 1049 w 5759"/>
                  <a:gd name="T63" fmla="*/ 422 h 5383"/>
                  <a:gd name="T64" fmla="*/ 1038 w 5759"/>
                  <a:gd name="T65" fmla="*/ 367 h 5383"/>
                  <a:gd name="T66" fmla="*/ 1038 w 5759"/>
                  <a:gd name="T67" fmla="*/ 317 h 5383"/>
                  <a:gd name="T68" fmla="*/ 1036 w 5759"/>
                  <a:gd name="T69" fmla="*/ 277 h 5383"/>
                  <a:gd name="T70" fmla="*/ 991 w 5759"/>
                  <a:gd name="T71" fmla="*/ 256 h 5383"/>
                  <a:gd name="T72" fmla="*/ 940 w 5759"/>
                  <a:gd name="T73" fmla="*/ 233 h 5383"/>
                  <a:gd name="T74" fmla="*/ 895 w 5759"/>
                  <a:gd name="T75" fmla="*/ 237 h 5383"/>
                  <a:gd name="T76" fmla="*/ 797 w 5759"/>
                  <a:gd name="T77" fmla="*/ 248 h 5383"/>
                  <a:gd name="T78" fmla="*/ 744 w 5759"/>
                  <a:gd name="T79" fmla="*/ 237 h 5383"/>
                  <a:gd name="T80" fmla="*/ 686 w 5759"/>
                  <a:gd name="T81" fmla="*/ 217 h 5383"/>
                  <a:gd name="T82" fmla="*/ 611 w 5759"/>
                  <a:gd name="T83" fmla="*/ 205 h 5383"/>
                  <a:gd name="T84" fmla="*/ 566 w 5759"/>
                  <a:gd name="T85" fmla="*/ 191 h 5383"/>
                  <a:gd name="T86" fmla="*/ 535 w 5759"/>
                  <a:gd name="T87" fmla="*/ 163 h 5383"/>
                  <a:gd name="T88" fmla="*/ 535 w 5759"/>
                  <a:gd name="T89" fmla="*/ 118 h 5383"/>
                  <a:gd name="T90" fmla="*/ 539 w 5759"/>
                  <a:gd name="T91" fmla="*/ 38 h 5383"/>
                  <a:gd name="T92" fmla="*/ 473 w 5759"/>
                  <a:gd name="T93" fmla="*/ 0 h 5383"/>
                  <a:gd name="T94" fmla="*/ 305 w 5759"/>
                  <a:gd name="T95" fmla="*/ 3 h 5383"/>
                  <a:gd name="T96" fmla="*/ 303 w 5759"/>
                  <a:gd name="T97" fmla="*/ 433 h 53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759" h="5383">
                    <a:moveTo>
                      <a:pt x="0" y="2219"/>
                    </a:moveTo>
                    <a:lnTo>
                      <a:pt x="60" y="2339"/>
                    </a:lnTo>
                    <a:lnTo>
                      <a:pt x="199" y="2439"/>
                    </a:lnTo>
                    <a:lnTo>
                      <a:pt x="361" y="2605"/>
                    </a:lnTo>
                    <a:lnTo>
                      <a:pt x="421" y="2755"/>
                    </a:lnTo>
                    <a:lnTo>
                      <a:pt x="571" y="2845"/>
                    </a:lnTo>
                    <a:lnTo>
                      <a:pt x="661" y="2875"/>
                    </a:lnTo>
                    <a:lnTo>
                      <a:pt x="721" y="3025"/>
                    </a:lnTo>
                    <a:lnTo>
                      <a:pt x="841" y="3175"/>
                    </a:lnTo>
                    <a:lnTo>
                      <a:pt x="863" y="3351"/>
                    </a:lnTo>
                    <a:lnTo>
                      <a:pt x="951" y="3519"/>
                    </a:lnTo>
                    <a:lnTo>
                      <a:pt x="1081" y="3655"/>
                    </a:lnTo>
                    <a:lnTo>
                      <a:pt x="1261" y="3685"/>
                    </a:lnTo>
                    <a:lnTo>
                      <a:pt x="1431" y="3847"/>
                    </a:lnTo>
                    <a:lnTo>
                      <a:pt x="1535" y="3815"/>
                    </a:lnTo>
                    <a:lnTo>
                      <a:pt x="1651" y="3745"/>
                    </a:lnTo>
                    <a:lnTo>
                      <a:pt x="1681" y="3595"/>
                    </a:lnTo>
                    <a:lnTo>
                      <a:pt x="1863" y="3511"/>
                    </a:lnTo>
                    <a:lnTo>
                      <a:pt x="1981" y="3415"/>
                    </a:lnTo>
                    <a:lnTo>
                      <a:pt x="2175" y="3487"/>
                    </a:lnTo>
                    <a:lnTo>
                      <a:pt x="2319" y="3567"/>
                    </a:lnTo>
                    <a:lnTo>
                      <a:pt x="2575" y="3831"/>
                    </a:lnTo>
                    <a:lnTo>
                      <a:pt x="2735" y="4095"/>
                    </a:lnTo>
                    <a:lnTo>
                      <a:pt x="2972" y="4435"/>
                    </a:lnTo>
                    <a:lnTo>
                      <a:pt x="3122" y="4555"/>
                    </a:lnTo>
                    <a:lnTo>
                      <a:pt x="3199" y="4791"/>
                    </a:lnTo>
                    <a:lnTo>
                      <a:pt x="3327" y="5023"/>
                    </a:lnTo>
                    <a:lnTo>
                      <a:pt x="3362" y="5185"/>
                    </a:lnTo>
                    <a:lnTo>
                      <a:pt x="3631" y="5279"/>
                    </a:lnTo>
                    <a:lnTo>
                      <a:pt x="3932" y="5365"/>
                    </a:lnTo>
                    <a:lnTo>
                      <a:pt x="4119" y="5383"/>
                    </a:lnTo>
                    <a:lnTo>
                      <a:pt x="4279" y="5383"/>
                    </a:lnTo>
                    <a:lnTo>
                      <a:pt x="4207" y="5271"/>
                    </a:lnTo>
                    <a:lnTo>
                      <a:pt x="4191" y="5159"/>
                    </a:lnTo>
                    <a:lnTo>
                      <a:pt x="4119" y="5079"/>
                    </a:lnTo>
                    <a:lnTo>
                      <a:pt x="4052" y="4945"/>
                    </a:lnTo>
                    <a:lnTo>
                      <a:pt x="4079" y="4839"/>
                    </a:lnTo>
                    <a:lnTo>
                      <a:pt x="4082" y="4705"/>
                    </a:lnTo>
                    <a:lnTo>
                      <a:pt x="3975" y="4639"/>
                    </a:lnTo>
                    <a:lnTo>
                      <a:pt x="4103" y="4575"/>
                    </a:lnTo>
                    <a:lnTo>
                      <a:pt x="4112" y="4435"/>
                    </a:lnTo>
                    <a:lnTo>
                      <a:pt x="4022" y="4375"/>
                    </a:lnTo>
                    <a:lnTo>
                      <a:pt x="4202" y="4345"/>
                    </a:lnTo>
                    <a:lnTo>
                      <a:pt x="4112" y="4195"/>
                    </a:lnTo>
                    <a:lnTo>
                      <a:pt x="4322" y="4165"/>
                    </a:lnTo>
                    <a:lnTo>
                      <a:pt x="4382" y="4015"/>
                    </a:lnTo>
                    <a:lnTo>
                      <a:pt x="4472" y="4015"/>
                    </a:lnTo>
                    <a:lnTo>
                      <a:pt x="4532" y="3895"/>
                    </a:lnTo>
                    <a:lnTo>
                      <a:pt x="4772" y="3895"/>
                    </a:lnTo>
                    <a:lnTo>
                      <a:pt x="4911" y="3823"/>
                    </a:lnTo>
                    <a:lnTo>
                      <a:pt x="5042" y="3745"/>
                    </a:lnTo>
                    <a:lnTo>
                      <a:pt x="5042" y="3625"/>
                    </a:lnTo>
                    <a:lnTo>
                      <a:pt x="5192" y="3535"/>
                    </a:lnTo>
                    <a:lnTo>
                      <a:pt x="5102" y="3355"/>
                    </a:lnTo>
                    <a:lnTo>
                      <a:pt x="5252" y="3325"/>
                    </a:lnTo>
                    <a:lnTo>
                      <a:pt x="5282" y="3445"/>
                    </a:lnTo>
                    <a:lnTo>
                      <a:pt x="5463" y="3391"/>
                    </a:lnTo>
                    <a:lnTo>
                      <a:pt x="5702" y="3295"/>
                    </a:lnTo>
                    <a:lnTo>
                      <a:pt x="5695" y="3031"/>
                    </a:lnTo>
                    <a:lnTo>
                      <a:pt x="5672" y="2755"/>
                    </a:lnTo>
                    <a:lnTo>
                      <a:pt x="5759" y="2671"/>
                    </a:lnTo>
                    <a:lnTo>
                      <a:pt x="5719" y="2471"/>
                    </a:lnTo>
                    <a:lnTo>
                      <a:pt x="5612" y="2305"/>
                    </a:lnTo>
                    <a:lnTo>
                      <a:pt x="5535" y="2223"/>
                    </a:lnTo>
                    <a:lnTo>
                      <a:pt x="5462" y="2035"/>
                    </a:lnTo>
                    <a:lnTo>
                      <a:pt x="5479" y="1935"/>
                    </a:lnTo>
                    <a:lnTo>
                      <a:pt x="5463" y="1799"/>
                    </a:lnTo>
                    <a:lnTo>
                      <a:pt x="5479" y="1671"/>
                    </a:lnTo>
                    <a:lnTo>
                      <a:pt x="5439" y="1559"/>
                    </a:lnTo>
                    <a:lnTo>
                      <a:pt x="5471" y="1463"/>
                    </a:lnTo>
                    <a:lnTo>
                      <a:pt x="5432" y="1345"/>
                    </a:lnTo>
                    <a:lnTo>
                      <a:pt x="5231" y="1351"/>
                    </a:lnTo>
                    <a:lnTo>
                      <a:pt x="5075" y="1317"/>
                    </a:lnTo>
                    <a:lnTo>
                      <a:pt x="4964" y="1226"/>
                    </a:lnTo>
                    <a:lnTo>
                      <a:pt x="4865" y="1271"/>
                    </a:lnTo>
                    <a:lnTo>
                      <a:pt x="4727" y="1251"/>
                    </a:lnTo>
                    <a:lnTo>
                      <a:pt x="4479" y="1350"/>
                    </a:lnTo>
                    <a:lnTo>
                      <a:pt x="4208" y="1305"/>
                    </a:lnTo>
                    <a:lnTo>
                      <a:pt x="4055" y="1319"/>
                    </a:lnTo>
                    <a:lnTo>
                      <a:pt x="3927" y="1251"/>
                    </a:lnTo>
                    <a:lnTo>
                      <a:pt x="3786" y="1287"/>
                    </a:lnTo>
                    <a:lnTo>
                      <a:pt x="3620" y="1143"/>
                    </a:lnTo>
                    <a:lnTo>
                      <a:pt x="3392" y="1179"/>
                    </a:lnTo>
                    <a:lnTo>
                      <a:pt x="3227" y="1079"/>
                    </a:lnTo>
                    <a:lnTo>
                      <a:pt x="3084" y="1068"/>
                    </a:lnTo>
                    <a:lnTo>
                      <a:pt x="2988" y="1005"/>
                    </a:lnTo>
                    <a:lnTo>
                      <a:pt x="2828" y="989"/>
                    </a:lnTo>
                    <a:lnTo>
                      <a:pt x="2823" y="858"/>
                    </a:lnTo>
                    <a:lnTo>
                      <a:pt x="2786" y="740"/>
                    </a:lnTo>
                    <a:lnTo>
                      <a:pt x="2823" y="620"/>
                    </a:lnTo>
                    <a:lnTo>
                      <a:pt x="2852" y="458"/>
                    </a:lnTo>
                    <a:lnTo>
                      <a:pt x="2843" y="198"/>
                    </a:lnTo>
                    <a:lnTo>
                      <a:pt x="2825" y="0"/>
                    </a:lnTo>
                    <a:lnTo>
                      <a:pt x="2498" y="0"/>
                    </a:lnTo>
                    <a:lnTo>
                      <a:pt x="2156" y="9"/>
                    </a:lnTo>
                    <a:lnTo>
                      <a:pt x="1611" y="18"/>
                    </a:lnTo>
                    <a:lnTo>
                      <a:pt x="1629" y="1167"/>
                    </a:lnTo>
                    <a:lnTo>
                      <a:pt x="1598" y="2282"/>
                    </a:lnTo>
                    <a:lnTo>
                      <a:pt x="0" y="2219"/>
                    </a:lnTo>
                    <a:close/>
                  </a:path>
                </a:pathLst>
              </a:custGeom>
              <a:solidFill>
                <a:schemeClr val="accent4">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black"/>
                  </a:solidFill>
                  <a:effectLst/>
                  <a:uLnTx/>
                  <a:uFillTx/>
                  <a:latin typeface="Segoe UI Semibold"/>
                  <a:ea typeface="+mn-ea"/>
                  <a:cs typeface="+mn-cs"/>
                </a:endParaRPr>
              </a:p>
            </p:txBody>
          </p:sp>
          <p:sp>
            <p:nvSpPr>
              <p:cNvPr id="1248" name="Tennessee">
                <a:extLst>
                  <a:ext uri="{FF2B5EF4-FFF2-40B4-BE49-F238E27FC236}">
                    <a16:creationId xmlns:a16="http://schemas.microsoft.com/office/drawing/2014/main" id="{EAF66AF0-C782-1BE4-60EC-EC33360C894B}"/>
                  </a:ext>
                </a:extLst>
              </p:cNvPr>
              <p:cNvSpPr>
                <a:spLocks/>
              </p:cNvSpPr>
              <p:nvPr/>
            </p:nvSpPr>
            <p:spPr bwMode="auto">
              <a:xfrm>
                <a:off x="5820066" y="3430881"/>
                <a:ext cx="1014499" cy="465251"/>
              </a:xfrm>
              <a:custGeom>
                <a:avLst/>
                <a:gdLst>
                  <a:gd name="T0" fmla="*/ 27 w 3296"/>
                  <a:gd name="T1" fmla="*/ 190 h 1514"/>
                  <a:gd name="T2" fmla="*/ 28 w 3296"/>
                  <a:gd name="T3" fmla="*/ 207 h 1514"/>
                  <a:gd name="T4" fmla="*/ 17 w 3296"/>
                  <a:gd name="T5" fmla="*/ 222 h 1514"/>
                  <a:gd name="T6" fmla="*/ 16 w 3296"/>
                  <a:gd name="T7" fmla="*/ 238 h 1514"/>
                  <a:gd name="T8" fmla="*/ 5 w 3296"/>
                  <a:gd name="T9" fmla="*/ 250 h 1514"/>
                  <a:gd name="T10" fmla="*/ 0 w 3296"/>
                  <a:gd name="T11" fmla="*/ 287 h 1514"/>
                  <a:gd name="T12" fmla="*/ 10 w 3296"/>
                  <a:gd name="T13" fmla="*/ 286 h 1514"/>
                  <a:gd name="T14" fmla="*/ 44 w 3296"/>
                  <a:gd name="T15" fmla="*/ 280 h 1514"/>
                  <a:gd name="T16" fmla="*/ 77 w 3296"/>
                  <a:gd name="T17" fmla="*/ 277 h 1514"/>
                  <a:gd name="T18" fmla="*/ 97 w 3296"/>
                  <a:gd name="T19" fmla="*/ 273 h 1514"/>
                  <a:gd name="T20" fmla="*/ 114 w 3296"/>
                  <a:gd name="T21" fmla="*/ 273 h 1514"/>
                  <a:gd name="T22" fmla="*/ 143 w 3296"/>
                  <a:gd name="T23" fmla="*/ 272 h 1514"/>
                  <a:gd name="T24" fmla="*/ 157 w 3296"/>
                  <a:gd name="T25" fmla="*/ 261 h 1514"/>
                  <a:gd name="T26" fmla="*/ 162 w 3296"/>
                  <a:gd name="T27" fmla="*/ 250 h 1514"/>
                  <a:gd name="T28" fmla="*/ 181 w 3296"/>
                  <a:gd name="T29" fmla="*/ 255 h 1514"/>
                  <a:gd name="T30" fmla="*/ 196 w 3296"/>
                  <a:gd name="T31" fmla="*/ 244 h 1514"/>
                  <a:gd name="T32" fmla="*/ 208 w 3296"/>
                  <a:gd name="T33" fmla="*/ 248 h 1514"/>
                  <a:gd name="T34" fmla="*/ 211 w 3296"/>
                  <a:gd name="T35" fmla="*/ 260 h 1514"/>
                  <a:gd name="T36" fmla="*/ 236 w 3296"/>
                  <a:gd name="T37" fmla="*/ 256 h 1514"/>
                  <a:gd name="T38" fmla="*/ 275 w 3296"/>
                  <a:gd name="T39" fmla="*/ 244 h 1514"/>
                  <a:gd name="T40" fmla="*/ 302 w 3296"/>
                  <a:gd name="T41" fmla="*/ 241 h 1514"/>
                  <a:gd name="T42" fmla="*/ 338 w 3296"/>
                  <a:gd name="T43" fmla="*/ 228 h 1514"/>
                  <a:gd name="T44" fmla="*/ 373 w 3296"/>
                  <a:gd name="T45" fmla="*/ 227 h 1514"/>
                  <a:gd name="T46" fmla="*/ 396 w 3296"/>
                  <a:gd name="T47" fmla="*/ 216 h 1514"/>
                  <a:gd name="T48" fmla="*/ 426 w 3296"/>
                  <a:gd name="T49" fmla="*/ 218 h 1514"/>
                  <a:gd name="T50" fmla="*/ 447 w 3296"/>
                  <a:gd name="T51" fmla="*/ 204 h 1514"/>
                  <a:gd name="T52" fmla="*/ 447 w 3296"/>
                  <a:gd name="T53" fmla="*/ 176 h 1514"/>
                  <a:gd name="T54" fmla="*/ 464 w 3296"/>
                  <a:gd name="T55" fmla="*/ 171 h 1514"/>
                  <a:gd name="T56" fmla="*/ 479 w 3296"/>
                  <a:gd name="T57" fmla="*/ 146 h 1514"/>
                  <a:gd name="T58" fmla="*/ 550 w 3296"/>
                  <a:gd name="T59" fmla="*/ 92 h 1514"/>
                  <a:gd name="T60" fmla="*/ 543 w 3296"/>
                  <a:gd name="T61" fmla="*/ 74 h 1514"/>
                  <a:gd name="T62" fmla="*/ 612 w 3296"/>
                  <a:gd name="T63" fmla="*/ 39 h 1514"/>
                  <a:gd name="T64" fmla="*/ 625 w 3296"/>
                  <a:gd name="T65" fmla="*/ 21 h 1514"/>
                  <a:gd name="T66" fmla="*/ 624 w 3296"/>
                  <a:gd name="T67" fmla="*/ 0 h 1514"/>
                  <a:gd name="T68" fmla="*/ 598 w 3296"/>
                  <a:gd name="T69" fmla="*/ 12 h 1514"/>
                  <a:gd name="T70" fmla="*/ 551 w 3296"/>
                  <a:gd name="T71" fmla="*/ 20 h 1514"/>
                  <a:gd name="T72" fmla="*/ 491 w 3296"/>
                  <a:gd name="T73" fmla="*/ 35 h 1514"/>
                  <a:gd name="T74" fmla="*/ 450 w 3296"/>
                  <a:gd name="T75" fmla="*/ 46 h 1514"/>
                  <a:gd name="T76" fmla="*/ 396 w 3296"/>
                  <a:gd name="T77" fmla="*/ 55 h 1514"/>
                  <a:gd name="T78" fmla="*/ 352 w 3296"/>
                  <a:gd name="T79" fmla="*/ 61 h 1514"/>
                  <a:gd name="T80" fmla="*/ 279 w 3296"/>
                  <a:gd name="T81" fmla="*/ 76 h 1514"/>
                  <a:gd name="T82" fmla="*/ 228 w 3296"/>
                  <a:gd name="T83" fmla="*/ 92 h 1514"/>
                  <a:gd name="T84" fmla="*/ 193 w 3296"/>
                  <a:gd name="T85" fmla="*/ 91 h 1514"/>
                  <a:gd name="T86" fmla="*/ 131 w 3296"/>
                  <a:gd name="T87" fmla="*/ 116 h 1514"/>
                  <a:gd name="T88" fmla="*/ 104 w 3296"/>
                  <a:gd name="T89" fmla="*/ 117 h 1514"/>
                  <a:gd name="T90" fmla="*/ 82 w 3296"/>
                  <a:gd name="T91" fmla="*/ 123 h 1514"/>
                  <a:gd name="T92" fmla="*/ 60 w 3296"/>
                  <a:gd name="T93" fmla="*/ 120 h 1514"/>
                  <a:gd name="T94" fmla="*/ 43 w 3296"/>
                  <a:gd name="T95" fmla="*/ 127 h 1514"/>
                  <a:gd name="T96" fmla="*/ 36 w 3296"/>
                  <a:gd name="T97" fmla="*/ 144 h 1514"/>
                  <a:gd name="T98" fmla="*/ 27 w 3296"/>
                  <a:gd name="T99" fmla="*/ 162 h 1514"/>
                  <a:gd name="T100" fmla="*/ 32 w 3296"/>
                  <a:gd name="T101" fmla="*/ 179 h 1514"/>
                  <a:gd name="T102" fmla="*/ 27 w 3296"/>
                  <a:gd name="T103" fmla="*/ 190 h 15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6" h="1514">
                    <a:moveTo>
                      <a:pt x="140" y="1004"/>
                    </a:moveTo>
                    <a:lnTo>
                      <a:pt x="150" y="1093"/>
                    </a:lnTo>
                    <a:lnTo>
                      <a:pt x="92" y="1169"/>
                    </a:lnTo>
                    <a:lnTo>
                      <a:pt x="86" y="1255"/>
                    </a:lnTo>
                    <a:lnTo>
                      <a:pt x="29" y="1321"/>
                    </a:lnTo>
                    <a:lnTo>
                      <a:pt x="0" y="1514"/>
                    </a:lnTo>
                    <a:lnTo>
                      <a:pt x="51" y="1511"/>
                    </a:lnTo>
                    <a:lnTo>
                      <a:pt x="231" y="1475"/>
                    </a:lnTo>
                    <a:lnTo>
                      <a:pt x="405" y="1463"/>
                    </a:lnTo>
                    <a:lnTo>
                      <a:pt x="513" y="1439"/>
                    </a:lnTo>
                    <a:lnTo>
                      <a:pt x="603" y="1439"/>
                    </a:lnTo>
                    <a:lnTo>
                      <a:pt x="753" y="1433"/>
                    </a:lnTo>
                    <a:lnTo>
                      <a:pt x="826" y="1378"/>
                    </a:lnTo>
                    <a:lnTo>
                      <a:pt x="856" y="1318"/>
                    </a:lnTo>
                    <a:lnTo>
                      <a:pt x="957" y="1343"/>
                    </a:lnTo>
                    <a:lnTo>
                      <a:pt x="1036" y="1288"/>
                    </a:lnTo>
                    <a:lnTo>
                      <a:pt x="1095" y="1307"/>
                    </a:lnTo>
                    <a:lnTo>
                      <a:pt x="1113" y="1373"/>
                    </a:lnTo>
                    <a:lnTo>
                      <a:pt x="1246" y="1348"/>
                    </a:lnTo>
                    <a:lnTo>
                      <a:pt x="1449" y="1289"/>
                    </a:lnTo>
                    <a:lnTo>
                      <a:pt x="1593" y="1271"/>
                    </a:lnTo>
                    <a:lnTo>
                      <a:pt x="1784" y="1205"/>
                    </a:lnTo>
                    <a:lnTo>
                      <a:pt x="1965" y="1198"/>
                    </a:lnTo>
                    <a:lnTo>
                      <a:pt x="2090" y="1139"/>
                    </a:lnTo>
                    <a:lnTo>
                      <a:pt x="2246" y="1151"/>
                    </a:lnTo>
                    <a:lnTo>
                      <a:pt x="2355" y="1078"/>
                    </a:lnTo>
                    <a:lnTo>
                      <a:pt x="2357" y="931"/>
                    </a:lnTo>
                    <a:lnTo>
                      <a:pt x="2445" y="903"/>
                    </a:lnTo>
                    <a:lnTo>
                      <a:pt x="2528" y="769"/>
                    </a:lnTo>
                    <a:lnTo>
                      <a:pt x="2900" y="483"/>
                    </a:lnTo>
                    <a:lnTo>
                      <a:pt x="2865" y="388"/>
                    </a:lnTo>
                    <a:lnTo>
                      <a:pt x="3225" y="208"/>
                    </a:lnTo>
                    <a:lnTo>
                      <a:pt x="3296" y="113"/>
                    </a:lnTo>
                    <a:lnTo>
                      <a:pt x="3293" y="0"/>
                    </a:lnTo>
                    <a:lnTo>
                      <a:pt x="3152" y="65"/>
                    </a:lnTo>
                    <a:lnTo>
                      <a:pt x="2906" y="107"/>
                    </a:lnTo>
                    <a:lnTo>
                      <a:pt x="2590" y="182"/>
                    </a:lnTo>
                    <a:lnTo>
                      <a:pt x="2372" y="245"/>
                    </a:lnTo>
                    <a:lnTo>
                      <a:pt x="2086" y="292"/>
                    </a:lnTo>
                    <a:lnTo>
                      <a:pt x="1856" y="322"/>
                    </a:lnTo>
                    <a:lnTo>
                      <a:pt x="1472" y="400"/>
                    </a:lnTo>
                    <a:lnTo>
                      <a:pt x="1200" y="485"/>
                    </a:lnTo>
                    <a:lnTo>
                      <a:pt x="1017" y="479"/>
                    </a:lnTo>
                    <a:lnTo>
                      <a:pt x="689" y="613"/>
                    </a:lnTo>
                    <a:lnTo>
                      <a:pt x="549" y="617"/>
                    </a:lnTo>
                    <a:lnTo>
                      <a:pt x="435" y="649"/>
                    </a:lnTo>
                    <a:lnTo>
                      <a:pt x="315" y="632"/>
                    </a:lnTo>
                    <a:lnTo>
                      <a:pt x="228" y="671"/>
                    </a:lnTo>
                    <a:lnTo>
                      <a:pt x="189" y="761"/>
                    </a:lnTo>
                    <a:lnTo>
                      <a:pt x="140" y="853"/>
                    </a:lnTo>
                    <a:lnTo>
                      <a:pt x="170" y="943"/>
                    </a:lnTo>
                    <a:lnTo>
                      <a:pt x="140" y="1004"/>
                    </a:lnTo>
                    <a:close/>
                  </a:path>
                </a:pathLst>
              </a:custGeom>
              <a:solidFill>
                <a:schemeClr val="accent4">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49" name="South Dakota">
                <a:extLst>
                  <a:ext uri="{FF2B5EF4-FFF2-40B4-BE49-F238E27FC236}">
                    <a16:creationId xmlns:a16="http://schemas.microsoft.com/office/drawing/2014/main" id="{432B3E0F-2FF7-3D20-E71D-3CA7F12FAFEB}"/>
                  </a:ext>
                </a:extLst>
              </p:cNvPr>
              <p:cNvSpPr>
                <a:spLocks/>
              </p:cNvSpPr>
              <p:nvPr/>
            </p:nvSpPr>
            <p:spPr bwMode="auto">
              <a:xfrm>
                <a:off x="4079997" y="2307470"/>
                <a:ext cx="868411" cy="512263"/>
              </a:xfrm>
              <a:custGeom>
                <a:avLst/>
                <a:gdLst>
                  <a:gd name="T0" fmla="*/ 0 w 2822"/>
                  <a:gd name="T1" fmla="*/ 276 h 1670"/>
                  <a:gd name="T2" fmla="*/ 108 w 2822"/>
                  <a:gd name="T3" fmla="*/ 285 h 1670"/>
                  <a:gd name="T4" fmla="*/ 217 w 2822"/>
                  <a:gd name="T5" fmla="*/ 286 h 1670"/>
                  <a:gd name="T6" fmla="*/ 295 w 2822"/>
                  <a:gd name="T7" fmla="*/ 285 h 1670"/>
                  <a:gd name="T8" fmla="*/ 349 w 2822"/>
                  <a:gd name="T9" fmla="*/ 283 h 1670"/>
                  <a:gd name="T10" fmla="*/ 376 w 2822"/>
                  <a:gd name="T11" fmla="*/ 281 h 1670"/>
                  <a:gd name="T12" fmla="*/ 422 w 2822"/>
                  <a:gd name="T13" fmla="*/ 298 h 1670"/>
                  <a:gd name="T14" fmla="*/ 439 w 2822"/>
                  <a:gd name="T15" fmla="*/ 286 h 1670"/>
                  <a:gd name="T16" fmla="*/ 473 w 2822"/>
                  <a:gd name="T17" fmla="*/ 286 h 1670"/>
                  <a:gd name="T18" fmla="*/ 485 w 2822"/>
                  <a:gd name="T19" fmla="*/ 303 h 1670"/>
                  <a:gd name="T20" fmla="*/ 535 w 2822"/>
                  <a:gd name="T21" fmla="*/ 316 h 1670"/>
                  <a:gd name="T22" fmla="*/ 535 w 2822"/>
                  <a:gd name="T23" fmla="*/ 259 h 1670"/>
                  <a:gd name="T24" fmla="*/ 528 w 2822"/>
                  <a:gd name="T25" fmla="*/ 233 h 1670"/>
                  <a:gd name="T26" fmla="*/ 533 w 2822"/>
                  <a:gd name="T27" fmla="*/ 181 h 1670"/>
                  <a:gd name="T28" fmla="*/ 526 w 2822"/>
                  <a:gd name="T29" fmla="*/ 72 h 1670"/>
                  <a:gd name="T30" fmla="*/ 502 w 2822"/>
                  <a:gd name="T31" fmla="*/ 43 h 1670"/>
                  <a:gd name="T32" fmla="*/ 509 w 2822"/>
                  <a:gd name="T33" fmla="*/ 22 h 1670"/>
                  <a:gd name="T34" fmla="*/ 507 w 2822"/>
                  <a:gd name="T35" fmla="*/ 0 h 1670"/>
                  <a:gd name="T36" fmla="*/ 388 w 2822"/>
                  <a:gd name="T37" fmla="*/ 3 h 1670"/>
                  <a:gd name="T38" fmla="*/ 10 w 2822"/>
                  <a:gd name="T39" fmla="*/ 10 h 1670"/>
                  <a:gd name="T40" fmla="*/ 5 w 2822"/>
                  <a:gd name="T41" fmla="*/ 90 h 1670"/>
                  <a:gd name="T42" fmla="*/ 0 w 2822"/>
                  <a:gd name="T43" fmla="*/ 276 h 16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22" h="1670">
                    <a:moveTo>
                      <a:pt x="0" y="1456"/>
                    </a:moveTo>
                    <a:lnTo>
                      <a:pt x="570" y="1505"/>
                    </a:lnTo>
                    <a:lnTo>
                      <a:pt x="1143" y="1513"/>
                    </a:lnTo>
                    <a:lnTo>
                      <a:pt x="1558" y="1505"/>
                    </a:lnTo>
                    <a:lnTo>
                      <a:pt x="1842" y="1496"/>
                    </a:lnTo>
                    <a:lnTo>
                      <a:pt x="1985" y="1483"/>
                    </a:lnTo>
                    <a:lnTo>
                      <a:pt x="2225" y="1573"/>
                    </a:lnTo>
                    <a:lnTo>
                      <a:pt x="2315" y="1513"/>
                    </a:lnTo>
                    <a:lnTo>
                      <a:pt x="2496" y="1513"/>
                    </a:lnTo>
                    <a:lnTo>
                      <a:pt x="2556" y="1603"/>
                    </a:lnTo>
                    <a:lnTo>
                      <a:pt x="2822" y="1670"/>
                    </a:lnTo>
                    <a:lnTo>
                      <a:pt x="2822" y="1369"/>
                    </a:lnTo>
                    <a:lnTo>
                      <a:pt x="2785" y="1232"/>
                    </a:lnTo>
                    <a:lnTo>
                      <a:pt x="2813" y="957"/>
                    </a:lnTo>
                    <a:lnTo>
                      <a:pt x="2776" y="382"/>
                    </a:lnTo>
                    <a:lnTo>
                      <a:pt x="2646" y="226"/>
                    </a:lnTo>
                    <a:lnTo>
                      <a:pt x="2685" y="118"/>
                    </a:lnTo>
                    <a:lnTo>
                      <a:pt x="2674" y="0"/>
                    </a:lnTo>
                    <a:lnTo>
                      <a:pt x="2045" y="16"/>
                    </a:lnTo>
                    <a:lnTo>
                      <a:pt x="54" y="54"/>
                    </a:lnTo>
                    <a:lnTo>
                      <a:pt x="28" y="476"/>
                    </a:lnTo>
                    <a:lnTo>
                      <a:pt x="0" y="1456"/>
                    </a:lnTo>
                    <a:close/>
                  </a:path>
                </a:pathLst>
              </a:custGeom>
              <a:solidFill>
                <a:schemeClr val="accent4">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50" name="South Carolina">
                <a:extLst>
                  <a:ext uri="{FF2B5EF4-FFF2-40B4-BE49-F238E27FC236}">
                    <a16:creationId xmlns:a16="http://schemas.microsoft.com/office/drawing/2014/main" id="{B6844221-21F6-4693-798C-2AD2E5F07307}"/>
                  </a:ext>
                </a:extLst>
              </p:cNvPr>
              <p:cNvSpPr>
                <a:spLocks/>
              </p:cNvSpPr>
              <p:nvPr/>
            </p:nvSpPr>
            <p:spPr bwMode="auto">
              <a:xfrm>
                <a:off x="6694971" y="3618926"/>
                <a:ext cx="608699" cy="486324"/>
              </a:xfrm>
              <a:custGeom>
                <a:avLst/>
                <a:gdLst>
                  <a:gd name="T0" fmla="*/ 0 w 1978"/>
                  <a:gd name="T1" fmla="*/ 68 h 1580"/>
                  <a:gd name="T2" fmla="*/ 67 w 1978"/>
                  <a:gd name="T3" fmla="*/ 37 h 1580"/>
                  <a:gd name="T4" fmla="*/ 114 w 1978"/>
                  <a:gd name="T5" fmla="*/ 23 h 1580"/>
                  <a:gd name="T6" fmla="*/ 150 w 1978"/>
                  <a:gd name="T7" fmla="*/ 13 h 1580"/>
                  <a:gd name="T8" fmla="*/ 182 w 1978"/>
                  <a:gd name="T9" fmla="*/ 17 h 1580"/>
                  <a:gd name="T10" fmla="*/ 199 w 1978"/>
                  <a:gd name="T11" fmla="*/ 34 h 1580"/>
                  <a:gd name="T12" fmla="*/ 234 w 1978"/>
                  <a:gd name="T13" fmla="*/ 23 h 1580"/>
                  <a:gd name="T14" fmla="*/ 279 w 1978"/>
                  <a:gd name="T15" fmla="*/ 0 h 1580"/>
                  <a:gd name="T16" fmla="*/ 325 w 1978"/>
                  <a:gd name="T17" fmla="*/ 40 h 1580"/>
                  <a:gd name="T18" fmla="*/ 364 w 1978"/>
                  <a:gd name="T19" fmla="*/ 63 h 1580"/>
                  <a:gd name="T20" fmla="*/ 375 w 1978"/>
                  <a:gd name="T21" fmla="*/ 85 h 1580"/>
                  <a:gd name="T22" fmla="*/ 359 w 1978"/>
                  <a:gd name="T23" fmla="*/ 119 h 1580"/>
                  <a:gd name="T24" fmla="*/ 330 w 1978"/>
                  <a:gd name="T25" fmla="*/ 148 h 1580"/>
                  <a:gd name="T26" fmla="*/ 330 w 1978"/>
                  <a:gd name="T27" fmla="*/ 176 h 1580"/>
                  <a:gd name="T28" fmla="*/ 307 w 1978"/>
                  <a:gd name="T29" fmla="*/ 193 h 1580"/>
                  <a:gd name="T30" fmla="*/ 296 w 1978"/>
                  <a:gd name="T31" fmla="*/ 222 h 1580"/>
                  <a:gd name="T32" fmla="*/ 273 w 1978"/>
                  <a:gd name="T33" fmla="*/ 249 h 1580"/>
                  <a:gd name="T34" fmla="*/ 247 w 1978"/>
                  <a:gd name="T35" fmla="*/ 246 h 1580"/>
                  <a:gd name="T36" fmla="*/ 237 w 1978"/>
                  <a:gd name="T37" fmla="*/ 257 h 1580"/>
                  <a:gd name="T38" fmla="*/ 234 w 1978"/>
                  <a:gd name="T39" fmla="*/ 275 h 1580"/>
                  <a:gd name="T40" fmla="*/ 230 w 1978"/>
                  <a:gd name="T41" fmla="*/ 300 h 1580"/>
                  <a:gd name="T42" fmla="*/ 206 w 1978"/>
                  <a:gd name="T43" fmla="*/ 274 h 1580"/>
                  <a:gd name="T44" fmla="*/ 178 w 1978"/>
                  <a:gd name="T45" fmla="*/ 249 h 1580"/>
                  <a:gd name="T46" fmla="*/ 184 w 1978"/>
                  <a:gd name="T47" fmla="*/ 232 h 1580"/>
                  <a:gd name="T48" fmla="*/ 145 w 1978"/>
                  <a:gd name="T49" fmla="*/ 198 h 1580"/>
                  <a:gd name="T50" fmla="*/ 118 w 1978"/>
                  <a:gd name="T51" fmla="*/ 185 h 1580"/>
                  <a:gd name="T52" fmla="*/ 99 w 1978"/>
                  <a:gd name="T53" fmla="*/ 166 h 1580"/>
                  <a:gd name="T54" fmla="*/ 75 w 1978"/>
                  <a:gd name="T55" fmla="*/ 152 h 1580"/>
                  <a:gd name="T56" fmla="*/ 48 w 1978"/>
                  <a:gd name="T57" fmla="*/ 141 h 1580"/>
                  <a:gd name="T58" fmla="*/ 43 w 1978"/>
                  <a:gd name="T59" fmla="*/ 122 h 1580"/>
                  <a:gd name="T60" fmla="*/ 21 w 1978"/>
                  <a:gd name="T61" fmla="*/ 114 h 1580"/>
                  <a:gd name="T62" fmla="*/ 8 w 1978"/>
                  <a:gd name="T63" fmla="*/ 95 h 1580"/>
                  <a:gd name="T64" fmla="*/ 0 w 1978"/>
                  <a:gd name="T65" fmla="*/ 68 h 15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78" h="1580">
                    <a:moveTo>
                      <a:pt x="0" y="359"/>
                    </a:moveTo>
                    <a:lnTo>
                      <a:pt x="352" y="195"/>
                    </a:lnTo>
                    <a:lnTo>
                      <a:pt x="599" y="120"/>
                    </a:lnTo>
                    <a:lnTo>
                      <a:pt x="793" y="67"/>
                    </a:lnTo>
                    <a:lnTo>
                      <a:pt x="960" y="90"/>
                    </a:lnTo>
                    <a:lnTo>
                      <a:pt x="1050" y="180"/>
                    </a:lnTo>
                    <a:lnTo>
                      <a:pt x="1233" y="123"/>
                    </a:lnTo>
                    <a:lnTo>
                      <a:pt x="1470" y="0"/>
                    </a:lnTo>
                    <a:lnTo>
                      <a:pt x="1714" y="211"/>
                    </a:lnTo>
                    <a:lnTo>
                      <a:pt x="1921" y="330"/>
                    </a:lnTo>
                    <a:lnTo>
                      <a:pt x="1978" y="450"/>
                    </a:lnTo>
                    <a:lnTo>
                      <a:pt x="1891" y="629"/>
                    </a:lnTo>
                    <a:lnTo>
                      <a:pt x="1741" y="779"/>
                    </a:lnTo>
                    <a:lnTo>
                      <a:pt x="1741" y="929"/>
                    </a:lnTo>
                    <a:lnTo>
                      <a:pt x="1621" y="1019"/>
                    </a:lnTo>
                    <a:lnTo>
                      <a:pt x="1561" y="1169"/>
                    </a:lnTo>
                    <a:lnTo>
                      <a:pt x="1441" y="1309"/>
                    </a:lnTo>
                    <a:lnTo>
                      <a:pt x="1305" y="1297"/>
                    </a:lnTo>
                    <a:lnTo>
                      <a:pt x="1249" y="1353"/>
                    </a:lnTo>
                    <a:lnTo>
                      <a:pt x="1233" y="1449"/>
                    </a:lnTo>
                    <a:lnTo>
                      <a:pt x="1211" y="1580"/>
                    </a:lnTo>
                    <a:lnTo>
                      <a:pt x="1088" y="1442"/>
                    </a:lnTo>
                    <a:lnTo>
                      <a:pt x="941" y="1311"/>
                    </a:lnTo>
                    <a:lnTo>
                      <a:pt x="971" y="1220"/>
                    </a:lnTo>
                    <a:lnTo>
                      <a:pt x="765" y="1042"/>
                    </a:lnTo>
                    <a:lnTo>
                      <a:pt x="621" y="973"/>
                    </a:lnTo>
                    <a:lnTo>
                      <a:pt x="521" y="874"/>
                    </a:lnTo>
                    <a:lnTo>
                      <a:pt x="397" y="798"/>
                    </a:lnTo>
                    <a:lnTo>
                      <a:pt x="253" y="742"/>
                    </a:lnTo>
                    <a:lnTo>
                      <a:pt x="228" y="641"/>
                    </a:lnTo>
                    <a:lnTo>
                      <a:pt x="109" y="598"/>
                    </a:lnTo>
                    <a:lnTo>
                      <a:pt x="43" y="500"/>
                    </a:lnTo>
                    <a:lnTo>
                      <a:pt x="0" y="359"/>
                    </a:lnTo>
                    <a:close/>
                  </a:path>
                </a:pathLst>
              </a:custGeom>
              <a:solidFill>
                <a:schemeClr val="accent4">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51" name="Rhode Island">
                <a:extLst>
                  <a:ext uri="{FF2B5EF4-FFF2-40B4-BE49-F238E27FC236}">
                    <a16:creationId xmlns:a16="http://schemas.microsoft.com/office/drawing/2014/main" id="{9614FB47-DB8D-7582-6557-2756ADB16469}"/>
                  </a:ext>
                </a:extLst>
              </p:cNvPr>
              <p:cNvSpPr>
                <a:spLocks/>
              </p:cNvSpPr>
              <p:nvPr/>
            </p:nvSpPr>
            <p:spPr bwMode="auto">
              <a:xfrm>
                <a:off x="7728949" y="2224795"/>
                <a:ext cx="95769" cy="110234"/>
              </a:xfrm>
              <a:custGeom>
                <a:avLst/>
                <a:gdLst>
                  <a:gd name="T0" fmla="*/ 0 w 314"/>
                  <a:gd name="T1" fmla="*/ 13 h 363"/>
                  <a:gd name="T2" fmla="*/ 42 w 314"/>
                  <a:gd name="T3" fmla="*/ 0 h 363"/>
                  <a:gd name="T4" fmla="*/ 59 w 314"/>
                  <a:gd name="T5" fmla="*/ 32 h 363"/>
                  <a:gd name="T6" fmla="*/ 51 w 314"/>
                  <a:gd name="T7" fmla="*/ 36 h 363"/>
                  <a:gd name="T8" fmla="*/ 45 w 314"/>
                  <a:gd name="T9" fmla="*/ 53 h 363"/>
                  <a:gd name="T10" fmla="*/ 29 w 314"/>
                  <a:gd name="T11" fmla="*/ 68 h 363"/>
                  <a:gd name="T12" fmla="*/ 26 w 314"/>
                  <a:gd name="T13" fmla="*/ 37 h 363"/>
                  <a:gd name="T14" fmla="*/ 0 w 314"/>
                  <a:gd name="T15" fmla="*/ 13 h 3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363">
                    <a:moveTo>
                      <a:pt x="0" y="69"/>
                    </a:moveTo>
                    <a:lnTo>
                      <a:pt x="225" y="0"/>
                    </a:lnTo>
                    <a:lnTo>
                      <a:pt x="314" y="171"/>
                    </a:lnTo>
                    <a:lnTo>
                      <a:pt x="273" y="192"/>
                    </a:lnTo>
                    <a:lnTo>
                      <a:pt x="237" y="282"/>
                    </a:lnTo>
                    <a:lnTo>
                      <a:pt x="156" y="363"/>
                    </a:lnTo>
                    <a:lnTo>
                      <a:pt x="138" y="195"/>
                    </a:lnTo>
                    <a:lnTo>
                      <a:pt x="0" y="69"/>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52" name="Pennsylvania">
                <a:extLst>
                  <a:ext uri="{FF2B5EF4-FFF2-40B4-BE49-F238E27FC236}">
                    <a16:creationId xmlns:a16="http://schemas.microsoft.com/office/drawing/2014/main" id="{DBB1D1A6-943D-FBC6-0F2F-A740103CDA00}"/>
                  </a:ext>
                </a:extLst>
              </p:cNvPr>
              <p:cNvSpPr>
                <a:spLocks/>
              </p:cNvSpPr>
              <p:nvPr/>
            </p:nvSpPr>
            <p:spPr bwMode="auto">
              <a:xfrm>
                <a:off x="6784247" y="2403115"/>
                <a:ext cx="712584" cy="518746"/>
              </a:xfrm>
              <a:custGeom>
                <a:avLst/>
                <a:gdLst>
                  <a:gd name="T0" fmla="*/ 0 w 2320"/>
                  <a:gd name="T1" fmla="*/ 115 h 1689"/>
                  <a:gd name="T2" fmla="*/ 21 w 2320"/>
                  <a:gd name="T3" fmla="*/ 97 h 1689"/>
                  <a:gd name="T4" fmla="*/ 45 w 2320"/>
                  <a:gd name="T5" fmla="*/ 98 h 1689"/>
                  <a:gd name="T6" fmla="*/ 118 w 2320"/>
                  <a:gd name="T7" fmla="*/ 74 h 1689"/>
                  <a:gd name="T8" fmla="*/ 226 w 2320"/>
                  <a:gd name="T9" fmla="*/ 38 h 1689"/>
                  <a:gd name="T10" fmla="*/ 350 w 2320"/>
                  <a:gd name="T11" fmla="*/ 0 h 1689"/>
                  <a:gd name="T12" fmla="*/ 399 w 2320"/>
                  <a:gd name="T13" fmla="*/ 33 h 1689"/>
                  <a:gd name="T14" fmla="*/ 417 w 2320"/>
                  <a:gd name="T15" fmla="*/ 41 h 1689"/>
                  <a:gd name="T16" fmla="*/ 402 w 2320"/>
                  <a:gd name="T17" fmla="*/ 64 h 1689"/>
                  <a:gd name="T18" fmla="*/ 392 w 2320"/>
                  <a:gd name="T19" fmla="*/ 92 h 1689"/>
                  <a:gd name="T20" fmla="*/ 412 w 2320"/>
                  <a:gd name="T21" fmla="*/ 124 h 1689"/>
                  <a:gd name="T22" fmla="*/ 438 w 2320"/>
                  <a:gd name="T23" fmla="*/ 143 h 1689"/>
                  <a:gd name="T24" fmla="*/ 439 w 2320"/>
                  <a:gd name="T25" fmla="*/ 159 h 1689"/>
                  <a:gd name="T26" fmla="*/ 429 w 2320"/>
                  <a:gd name="T27" fmla="*/ 177 h 1689"/>
                  <a:gd name="T28" fmla="*/ 422 w 2320"/>
                  <a:gd name="T29" fmla="*/ 196 h 1689"/>
                  <a:gd name="T30" fmla="*/ 408 w 2320"/>
                  <a:gd name="T31" fmla="*/ 211 h 1689"/>
                  <a:gd name="T32" fmla="*/ 386 w 2320"/>
                  <a:gd name="T33" fmla="*/ 213 h 1689"/>
                  <a:gd name="T34" fmla="*/ 374 w 2320"/>
                  <a:gd name="T35" fmla="*/ 221 h 1689"/>
                  <a:gd name="T36" fmla="*/ 362 w 2320"/>
                  <a:gd name="T37" fmla="*/ 225 h 1689"/>
                  <a:gd name="T38" fmla="*/ 338 w 2320"/>
                  <a:gd name="T39" fmla="*/ 224 h 1689"/>
                  <a:gd name="T40" fmla="*/ 325 w 2320"/>
                  <a:gd name="T41" fmla="*/ 225 h 1689"/>
                  <a:gd name="T42" fmla="*/ 298 w 2320"/>
                  <a:gd name="T43" fmla="*/ 237 h 1689"/>
                  <a:gd name="T44" fmla="*/ 277 w 2320"/>
                  <a:gd name="T45" fmla="*/ 242 h 1689"/>
                  <a:gd name="T46" fmla="*/ 262 w 2320"/>
                  <a:gd name="T47" fmla="*/ 259 h 1689"/>
                  <a:gd name="T48" fmla="*/ 229 w 2320"/>
                  <a:gd name="T49" fmla="*/ 265 h 1689"/>
                  <a:gd name="T50" fmla="*/ 204 w 2320"/>
                  <a:gd name="T51" fmla="*/ 274 h 1689"/>
                  <a:gd name="T52" fmla="*/ 164 w 2320"/>
                  <a:gd name="T53" fmla="*/ 285 h 1689"/>
                  <a:gd name="T54" fmla="*/ 130 w 2320"/>
                  <a:gd name="T55" fmla="*/ 297 h 1689"/>
                  <a:gd name="T56" fmla="*/ 113 w 2320"/>
                  <a:gd name="T57" fmla="*/ 297 h 1689"/>
                  <a:gd name="T58" fmla="*/ 93 w 2320"/>
                  <a:gd name="T59" fmla="*/ 313 h 1689"/>
                  <a:gd name="T60" fmla="*/ 56 w 2320"/>
                  <a:gd name="T61" fmla="*/ 320 h 1689"/>
                  <a:gd name="T62" fmla="*/ 44 w 2320"/>
                  <a:gd name="T63" fmla="*/ 300 h 1689"/>
                  <a:gd name="T64" fmla="*/ 39 w 2320"/>
                  <a:gd name="T65" fmla="*/ 248 h 1689"/>
                  <a:gd name="T66" fmla="*/ 26 w 2320"/>
                  <a:gd name="T67" fmla="*/ 252 h 1689"/>
                  <a:gd name="T68" fmla="*/ 23 w 2320"/>
                  <a:gd name="T69" fmla="*/ 196 h 1689"/>
                  <a:gd name="T70" fmla="*/ 0 w 2320"/>
                  <a:gd name="T71" fmla="*/ 115 h 16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320" h="1689">
                    <a:moveTo>
                      <a:pt x="0" y="606"/>
                    </a:moveTo>
                    <a:lnTo>
                      <a:pt x="112" y="510"/>
                    </a:lnTo>
                    <a:lnTo>
                      <a:pt x="238" y="516"/>
                    </a:lnTo>
                    <a:lnTo>
                      <a:pt x="622" y="390"/>
                    </a:lnTo>
                    <a:lnTo>
                      <a:pt x="1192" y="198"/>
                    </a:lnTo>
                    <a:lnTo>
                      <a:pt x="1852" y="0"/>
                    </a:lnTo>
                    <a:lnTo>
                      <a:pt x="2110" y="174"/>
                    </a:lnTo>
                    <a:lnTo>
                      <a:pt x="2206" y="216"/>
                    </a:lnTo>
                    <a:lnTo>
                      <a:pt x="2122" y="336"/>
                    </a:lnTo>
                    <a:lnTo>
                      <a:pt x="2071" y="486"/>
                    </a:lnTo>
                    <a:lnTo>
                      <a:pt x="2176" y="654"/>
                    </a:lnTo>
                    <a:lnTo>
                      <a:pt x="2314" y="756"/>
                    </a:lnTo>
                    <a:lnTo>
                      <a:pt x="2320" y="840"/>
                    </a:lnTo>
                    <a:lnTo>
                      <a:pt x="2266" y="935"/>
                    </a:lnTo>
                    <a:lnTo>
                      <a:pt x="2230" y="1037"/>
                    </a:lnTo>
                    <a:lnTo>
                      <a:pt x="2156" y="1115"/>
                    </a:lnTo>
                    <a:lnTo>
                      <a:pt x="2042" y="1125"/>
                    </a:lnTo>
                    <a:lnTo>
                      <a:pt x="1978" y="1167"/>
                    </a:lnTo>
                    <a:lnTo>
                      <a:pt x="1912" y="1189"/>
                    </a:lnTo>
                    <a:lnTo>
                      <a:pt x="1786" y="1181"/>
                    </a:lnTo>
                    <a:lnTo>
                      <a:pt x="1718" y="1187"/>
                    </a:lnTo>
                    <a:lnTo>
                      <a:pt x="1574" y="1251"/>
                    </a:lnTo>
                    <a:lnTo>
                      <a:pt x="1462" y="1275"/>
                    </a:lnTo>
                    <a:lnTo>
                      <a:pt x="1382" y="1367"/>
                    </a:lnTo>
                    <a:lnTo>
                      <a:pt x="1208" y="1397"/>
                    </a:lnTo>
                    <a:lnTo>
                      <a:pt x="1080" y="1445"/>
                    </a:lnTo>
                    <a:lnTo>
                      <a:pt x="866" y="1505"/>
                    </a:lnTo>
                    <a:lnTo>
                      <a:pt x="687" y="1568"/>
                    </a:lnTo>
                    <a:lnTo>
                      <a:pt x="597" y="1568"/>
                    </a:lnTo>
                    <a:lnTo>
                      <a:pt x="489" y="1653"/>
                    </a:lnTo>
                    <a:lnTo>
                      <a:pt x="297" y="1689"/>
                    </a:lnTo>
                    <a:lnTo>
                      <a:pt x="234" y="1581"/>
                    </a:lnTo>
                    <a:lnTo>
                      <a:pt x="208" y="1307"/>
                    </a:lnTo>
                    <a:lnTo>
                      <a:pt x="136" y="1329"/>
                    </a:lnTo>
                    <a:lnTo>
                      <a:pt x="122" y="1035"/>
                    </a:lnTo>
                    <a:lnTo>
                      <a:pt x="0" y="606"/>
                    </a:lnTo>
                    <a:close/>
                  </a:path>
                </a:pathLst>
              </a:custGeom>
              <a:solidFill>
                <a:schemeClr val="accent4">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53" name="Oregon">
                <a:extLst>
                  <a:ext uri="{FF2B5EF4-FFF2-40B4-BE49-F238E27FC236}">
                    <a16:creationId xmlns:a16="http://schemas.microsoft.com/office/drawing/2014/main" id="{320273A9-2ACE-328F-243A-829D1EB6BFB0}"/>
                  </a:ext>
                </a:extLst>
              </p:cNvPr>
              <p:cNvSpPr>
                <a:spLocks/>
              </p:cNvSpPr>
              <p:nvPr/>
            </p:nvSpPr>
            <p:spPr bwMode="auto">
              <a:xfrm>
                <a:off x="1721490" y="1903820"/>
                <a:ext cx="1001514" cy="820267"/>
              </a:xfrm>
              <a:custGeom>
                <a:avLst/>
                <a:gdLst>
                  <a:gd name="T0" fmla="*/ 150 w 3256"/>
                  <a:gd name="T1" fmla="*/ 0 h 2669"/>
                  <a:gd name="T2" fmla="*/ 127 w 3256"/>
                  <a:gd name="T3" fmla="*/ 29 h 2669"/>
                  <a:gd name="T4" fmla="*/ 132 w 3256"/>
                  <a:gd name="T5" fmla="*/ 68 h 2669"/>
                  <a:gd name="T6" fmla="*/ 109 w 3256"/>
                  <a:gd name="T7" fmla="*/ 85 h 2669"/>
                  <a:gd name="T8" fmla="*/ 103 w 3256"/>
                  <a:gd name="T9" fmla="*/ 114 h 2669"/>
                  <a:gd name="T10" fmla="*/ 91 w 3256"/>
                  <a:gd name="T11" fmla="*/ 139 h 2669"/>
                  <a:gd name="T12" fmla="*/ 79 w 3256"/>
                  <a:gd name="T13" fmla="*/ 173 h 2669"/>
                  <a:gd name="T14" fmla="*/ 58 w 3256"/>
                  <a:gd name="T15" fmla="*/ 207 h 2669"/>
                  <a:gd name="T16" fmla="*/ 30 w 3256"/>
                  <a:gd name="T17" fmla="*/ 240 h 2669"/>
                  <a:gd name="T18" fmla="*/ 29 w 3256"/>
                  <a:gd name="T19" fmla="*/ 263 h 2669"/>
                  <a:gd name="T20" fmla="*/ 12 w 3256"/>
                  <a:gd name="T21" fmla="*/ 284 h 2669"/>
                  <a:gd name="T22" fmla="*/ 17 w 3256"/>
                  <a:gd name="T23" fmla="*/ 325 h 2669"/>
                  <a:gd name="T24" fmla="*/ 0 w 3256"/>
                  <a:gd name="T25" fmla="*/ 357 h 2669"/>
                  <a:gd name="T26" fmla="*/ 9 w 3256"/>
                  <a:gd name="T27" fmla="*/ 370 h 2669"/>
                  <a:gd name="T28" fmla="*/ 46 w 3256"/>
                  <a:gd name="T29" fmla="*/ 381 h 2669"/>
                  <a:gd name="T30" fmla="*/ 302 w 3256"/>
                  <a:gd name="T31" fmla="*/ 460 h 2669"/>
                  <a:gd name="T32" fmla="*/ 524 w 3256"/>
                  <a:gd name="T33" fmla="*/ 506 h 2669"/>
                  <a:gd name="T34" fmla="*/ 547 w 3256"/>
                  <a:gd name="T35" fmla="*/ 352 h 2669"/>
                  <a:gd name="T36" fmla="*/ 569 w 3256"/>
                  <a:gd name="T37" fmla="*/ 318 h 2669"/>
                  <a:gd name="T38" fmla="*/ 552 w 3256"/>
                  <a:gd name="T39" fmla="*/ 296 h 2669"/>
                  <a:gd name="T40" fmla="*/ 552 w 3256"/>
                  <a:gd name="T41" fmla="*/ 273 h 2669"/>
                  <a:gd name="T42" fmla="*/ 581 w 3256"/>
                  <a:gd name="T43" fmla="*/ 256 h 2669"/>
                  <a:gd name="T44" fmla="*/ 586 w 3256"/>
                  <a:gd name="T45" fmla="*/ 227 h 2669"/>
                  <a:gd name="T46" fmla="*/ 586 w 3256"/>
                  <a:gd name="T47" fmla="*/ 222 h 2669"/>
                  <a:gd name="T48" fmla="*/ 592 w 3256"/>
                  <a:gd name="T49" fmla="*/ 210 h 2669"/>
                  <a:gd name="T50" fmla="*/ 615 w 3256"/>
                  <a:gd name="T51" fmla="*/ 205 h 2669"/>
                  <a:gd name="T52" fmla="*/ 617 w 3256"/>
                  <a:gd name="T53" fmla="*/ 187 h 2669"/>
                  <a:gd name="T54" fmla="*/ 615 w 3256"/>
                  <a:gd name="T55" fmla="*/ 165 h 2669"/>
                  <a:gd name="T56" fmla="*/ 598 w 3256"/>
                  <a:gd name="T57" fmla="*/ 142 h 2669"/>
                  <a:gd name="T58" fmla="*/ 571 w 3256"/>
                  <a:gd name="T59" fmla="*/ 142 h 2669"/>
                  <a:gd name="T60" fmla="*/ 514 w 3256"/>
                  <a:gd name="T61" fmla="*/ 124 h 2669"/>
                  <a:gd name="T62" fmla="*/ 496 w 3256"/>
                  <a:gd name="T63" fmla="*/ 111 h 2669"/>
                  <a:gd name="T64" fmla="*/ 466 w 3256"/>
                  <a:gd name="T65" fmla="*/ 111 h 2669"/>
                  <a:gd name="T66" fmla="*/ 446 w 3256"/>
                  <a:gd name="T67" fmla="*/ 119 h 2669"/>
                  <a:gd name="T68" fmla="*/ 428 w 3256"/>
                  <a:gd name="T69" fmla="*/ 108 h 2669"/>
                  <a:gd name="T70" fmla="*/ 377 w 3256"/>
                  <a:gd name="T71" fmla="*/ 114 h 2669"/>
                  <a:gd name="T72" fmla="*/ 337 w 3256"/>
                  <a:gd name="T73" fmla="*/ 91 h 2669"/>
                  <a:gd name="T74" fmla="*/ 314 w 3256"/>
                  <a:gd name="T75" fmla="*/ 108 h 2669"/>
                  <a:gd name="T76" fmla="*/ 286 w 3256"/>
                  <a:gd name="T77" fmla="*/ 79 h 2669"/>
                  <a:gd name="T78" fmla="*/ 252 w 3256"/>
                  <a:gd name="T79" fmla="*/ 80 h 2669"/>
                  <a:gd name="T80" fmla="*/ 218 w 3256"/>
                  <a:gd name="T81" fmla="*/ 79 h 2669"/>
                  <a:gd name="T82" fmla="*/ 206 w 3256"/>
                  <a:gd name="T83" fmla="*/ 34 h 2669"/>
                  <a:gd name="T84" fmla="*/ 191 w 3256"/>
                  <a:gd name="T85" fmla="*/ 16 h 2669"/>
                  <a:gd name="T86" fmla="*/ 171 w 3256"/>
                  <a:gd name="T87" fmla="*/ 5 h 2669"/>
                  <a:gd name="T88" fmla="*/ 150 w 3256"/>
                  <a:gd name="T89" fmla="*/ 0 h 26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56" h="2669">
                    <a:moveTo>
                      <a:pt x="789" y="0"/>
                    </a:moveTo>
                    <a:lnTo>
                      <a:pt x="672" y="155"/>
                    </a:lnTo>
                    <a:lnTo>
                      <a:pt x="694" y="359"/>
                    </a:lnTo>
                    <a:lnTo>
                      <a:pt x="574" y="449"/>
                    </a:lnTo>
                    <a:lnTo>
                      <a:pt x="544" y="599"/>
                    </a:lnTo>
                    <a:lnTo>
                      <a:pt x="480" y="731"/>
                    </a:lnTo>
                    <a:lnTo>
                      <a:pt x="416" y="915"/>
                    </a:lnTo>
                    <a:lnTo>
                      <a:pt x="304" y="1091"/>
                    </a:lnTo>
                    <a:lnTo>
                      <a:pt x="160" y="1267"/>
                    </a:lnTo>
                    <a:lnTo>
                      <a:pt x="152" y="1387"/>
                    </a:lnTo>
                    <a:lnTo>
                      <a:pt x="64" y="1499"/>
                    </a:lnTo>
                    <a:lnTo>
                      <a:pt x="88" y="1715"/>
                    </a:lnTo>
                    <a:lnTo>
                      <a:pt x="0" y="1883"/>
                    </a:lnTo>
                    <a:lnTo>
                      <a:pt x="48" y="1952"/>
                    </a:lnTo>
                    <a:lnTo>
                      <a:pt x="244" y="2009"/>
                    </a:lnTo>
                    <a:lnTo>
                      <a:pt x="1594" y="2429"/>
                    </a:lnTo>
                    <a:lnTo>
                      <a:pt x="2765" y="2669"/>
                    </a:lnTo>
                    <a:lnTo>
                      <a:pt x="2885" y="1859"/>
                    </a:lnTo>
                    <a:lnTo>
                      <a:pt x="3005" y="1679"/>
                    </a:lnTo>
                    <a:lnTo>
                      <a:pt x="2915" y="1559"/>
                    </a:lnTo>
                    <a:lnTo>
                      <a:pt x="2915" y="1439"/>
                    </a:lnTo>
                    <a:lnTo>
                      <a:pt x="3065" y="1349"/>
                    </a:lnTo>
                    <a:lnTo>
                      <a:pt x="3095" y="1199"/>
                    </a:lnTo>
                    <a:lnTo>
                      <a:pt x="3095" y="1169"/>
                    </a:lnTo>
                    <a:lnTo>
                      <a:pt x="3125" y="1109"/>
                    </a:lnTo>
                    <a:lnTo>
                      <a:pt x="3245" y="1079"/>
                    </a:lnTo>
                    <a:lnTo>
                      <a:pt x="3256" y="987"/>
                    </a:lnTo>
                    <a:lnTo>
                      <a:pt x="3245" y="869"/>
                    </a:lnTo>
                    <a:lnTo>
                      <a:pt x="3158" y="749"/>
                    </a:lnTo>
                    <a:lnTo>
                      <a:pt x="3012" y="749"/>
                    </a:lnTo>
                    <a:lnTo>
                      <a:pt x="2715" y="653"/>
                    </a:lnTo>
                    <a:lnTo>
                      <a:pt x="2615" y="587"/>
                    </a:lnTo>
                    <a:lnTo>
                      <a:pt x="2460" y="587"/>
                    </a:lnTo>
                    <a:lnTo>
                      <a:pt x="2351" y="629"/>
                    </a:lnTo>
                    <a:lnTo>
                      <a:pt x="2259" y="569"/>
                    </a:lnTo>
                    <a:lnTo>
                      <a:pt x="1989" y="599"/>
                    </a:lnTo>
                    <a:lnTo>
                      <a:pt x="1779" y="480"/>
                    </a:lnTo>
                    <a:lnTo>
                      <a:pt x="1659" y="569"/>
                    </a:lnTo>
                    <a:lnTo>
                      <a:pt x="1508" y="419"/>
                    </a:lnTo>
                    <a:lnTo>
                      <a:pt x="1331" y="423"/>
                    </a:lnTo>
                    <a:lnTo>
                      <a:pt x="1148" y="419"/>
                    </a:lnTo>
                    <a:lnTo>
                      <a:pt x="1088" y="180"/>
                    </a:lnTo>
                    <a:lnTo>
                      <a:pt x="1010" y="87"/>
                    </a:lnTo>
                    <a:lnTo>
                      <a:pt x="905" y="29"/>
                    </a:lnTo>
                    <a:lnTo>
                      <a:pt x="789" y="0"/>
                    </a:lnTo>
                    <a:close/>
                  </a:path>
                </a:pathLst>
              </a:custGeom>
              <a:solidFill>
                <a:schemeClr val="accent4">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54" name="Oklahoma">
                <a:extLst>
                  <a:ext uri="{FF2B5EF4-FFF2-40B4-BE49-F238E27FC236}">
                    <a16:creationId xmlns:a16="http://schemas.microsoft.com/office/drawing/2014/main" id="{957C23E8-5FEB-5485-1B73-5A409C789568}"/>
                  </a:ext>
                </a:extLst>
              </p:cNvPr>
              <p:cNvSpPr>
                <a:spLocks/>
              </p:cNvSpPr>
              <p:nvPr/>
            </p:nvSpPr>
            <p:spPr bwMode="auto">
              <a:xfrm>
                <a:off x="4169273" y="3657832"/>
                <a:ext cx="1113514" cy="530095"/>
              </a:xfrm>
              <a:custGeom>
                <a:avLst/>
                <a:gdLst>
                  <a:gd name="T0" fmla="*/ 3 w 3616"/>
                  <a:gd name="T1" fmla="*/ 24 h 1724"/>
                  <a:gd name="T2" fmla="*/ 0 w 3616"/>
                  <a:gd name="T3" fmla="*/ 74 h 1724"/>
                  <a:gd name="T4" fmla="*/ 109 w 3616"/>
                  <a:gd name="T5" fmla="*/ 73 h 1724"/>
                  <a:gd name="T6" fmla="*/ 169 w 3616"/>
                  <a:gd name="T7" fmla="*/ 71 h 1724"/>
                  <a:gd name="T8" fmla="*/ 231 w 3616"/>
                  <a:gd name="T9" fmla="*/ 71 h 1724"/>
                  <a:gd name="T10" fmla="*/ 234 w 3616"/>
                  <a:gd name="T11" fmla="*/ 106 h 1724"/>
                  <a:gd name="T12" fmla="*/ 235 w 3616"/>
                  <a:gd name="T13" fmla="*/ 158 h 1724"/>
                  <a:gd name="T14" fmla="*/ 230 w 3616"/>
                  <a:gd name="T15" fmla="*/ 187 h 1724"/>
                  <a:gd name="T16" fmla="*/ 223 w 3616"/>
                  <a:gd name="T17" fmla="*/ 211 h 1724"/>
                  <a:gd name="T18" fmla="*/ 230 w 3616"/>
                  <a:gd name="T19" fmla="*/ 234 h 1724"/>
                  <a:gd name="T20" fmla="*/ 231 w 3616"/>
                  <a:gd name="T21" fmla="*/ 259 h 1724"/>
                  <a:gd name="T22" fmla="*/ 261 w 3616"/>
                  <a:gd name="T23" fmla="*/ 262 h 1724"/>
                  <a:gd name="T24" fmla="*/ 280 w 3616"/>
                  <a:gd name="T25" fmla="*/ 274 h 1724"/>
                  <a:gd name="T26" fmla="*/ 306 w 3616"/>
                  <a:gd name="T27" fmla="*/ 276 h 1724"/>
                  <a:gd name="T28" fmla="*/ 338 w 3616"/>
                  <a:gd name="T29" fmla="*/ 295 h 1724"/>
                  <a:gd name="T30" fmla="*/ 381 w 3616"/>
                  <a:gd name="T31" fmla="*/ 288 h 1724"/>
                  <a:gd name="T32" fmla="*/ 412 w 3616"/>
                  <a:gd name="T33" fmla="*/ 315 h 1724"/>
                  <a:gd name="T34" fmla="*/ 440 w 3616"/>
                  <a:gd name="T35" fmla="*/ 309 h 1724"/>
                  <a:gd name="T36" fmla="*/ 464 w 3616"/>
                  <a:gd name="T37" fmla="*/ 321 h 1724"/>
                  <a:gd name="T38" fmla="*/ 492 w 3616"/>
                  <a:gd name="T39" fmla="*/ 319 h 1724"/>
                  <a:gd name="T40" fmla="*/ 544 w 3616"/>
                  <a:gd name="T41" fmla="*/ 327 h 1724"/>
                  <a:gd name="T42" fmla="*/ 591 w 3616"/>
                  <a:gd name="T43" fmla="*/ 309 h 1724"/>
                  <a:gd name="T44" fmla="*/ 617 w 3616"/>
                  <a:gd name="T45" fmla="*/ 312 h 1724"/>
                  <a:gd name="T46" fmla="*/ 636 w 3616"/>
                  <a:gd name="T47" fmla="*/ 303 h 1724"/>
                  <a:gd name="T48" fmla="*/ 657 w 3616"/>
                  <a:gd name="T49" fmla="*/ 321 h 1724"/>
                  <a:gd name="T50" fmla="*/ 686 w 3616"/>
                  <a:gd name="T51" fmla="*/ 327 h 1724"/>
                  <a:gd name="T52" fmla="*/ 686 w 3616"/>
                  <a:gd name="T53" fmla="*/ 173 h 1724"/>
                  <a:gd name="T54" fmla="*/ 673 w 3616"/>
                  <a:gd name="T55" fmla="*/ 112 h 1724"/>
                  <a:gd name="T56" fmla="*/ 669 w 3616"/>
                  <a:gd name="T57" fmla="*/ 74 h 1724"/>
                  <a:gd name="T58" fmla="*/ 669 w 3616"/>
                  <a:gd name="T59" fmla="*/ 48 h 1724"/>
                  <a:gd name="T60" fmla="*/ 664 w 3616"/>
                  <a:gd name="T61" fmla="*/ 26 h 1724"/>
                  <a:gd name="T62" fmla="*/ 654 w 3616"/>
                  <a:gd name="T63" fmla="*/ 0 h 1724"/>
                  <a:gd name="T64" fmla="*/ 587 w 3616"/>
                  <a:gd name="T65" fmla="*/ 5 h 1724"/>
                  <a:gd name="T66" fmla="*/ 344 w 3616"/>
                  <a:gd name="T67" fmla="*/ 25 h 1724"/>
                  <a:gd name="T68" fmla="*/ 219 w 3616"/>
                  <a:gd name="T69" fmla="*/ 25 h 1724"/>
                  <a:gd name="T70" fmla="*/ 79 w 3616"/>
                  <a:gd name="T71" fmla="*/ 25 h 1724"/>
                  <a:gd name="T72" fmla="*/ 3 w 3616"/>
                  <a:gd name="T73" fmla="*/ 24 h 17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16" h="1724">
                    <a:moveTo>
                      <a:pt x="14" y="124"/>
                    </a:moveTo>
                    <a:lnTo>
                      <a:pt x="0" y="392"/>
                    </a:lnTo>
                    <a:lnTo>
                      <a:pt x="573" y="383"/>
                    </a:lnTo>
                    <a:lnTo>
                      <a:pt x="893" y="374"/>
                    </a:lnTo>
                    <a:lnTo>
                      <a:pt x="1215" y="374"/>
                    </a:lnTo>
                    <a:lnTo>
                      <a:pt x="1231" y="557"/>
                    </a:lnTo>
                    <a:lnTo>
                      <a:pt x="1241" y="831"/>
                    </a:lnTo>
                    <a:lnTo>
                      <a:pt x="1213" y="987"/>
                    </a:lnTo>
                    <a:lnTo>
                      <a:pt x="1177" y="1115"/>
                    </a:lnTo>
                    <a:lnTo>
                      <a:pt x="1213" y="1233"/>
                    </a:lnTo>
                    <a:lnTo>
                      <a:pt x="1215" y="1364"/>
                    </a:lnTo>
                    <a:lnTo>
                      <a:pt x="1378" y="1380"/>
                    </a:lnTo>
                    <a:lnTo>
                      <a:pt x="1478" y="1444"/>
                    </a:lnTo>
                    <a:lnTo>
                      <a:pt x="1615" y="1453"/>
                    </a:lnTo>
                    <a:lnTo>
                      <a:pt x="1780" y="1553"/>
                    </a:lnTo>
                    <a:lnTo>
                      <a:pt x="2009" y="1517"/>
                    </a:lnTo>
                    <a:lnTo>
                      <a:pt x="2173" y="1663"/>
                    </a:lnTo>
                    <a:lnTo>
                      <a:pt x="2319" y="1627"/>
                    </a:lnTo>
                    <a:lnTo>
                      <a:pt x="2446" y="1694"/>
                    </a:lnTo>
                    <a:lnTo>
                      <a:pt x="2594" y="1681"/>
                    </a:lnTo>
                    <a:lnTo>
                      <a:pt x="2866" y="1724"/>
                    </a:lnTo>
                    <a:lnTo>
                      <a:pt x="3115" y="1627"/>
                    </a:lnTo>
                    <a:lnTo>
                      <a:pt x="3252" y="1645"/>
                    </a:lnTo>
                    <a:lnTo>
                      <a:pt x="3353" y="1599"/>
                    </a:lnTo>
                    <a:lnTo>
                      <a:pt x="3462" y="1691"/>
                    </a:lnTo>
                    <a:lnTo>
                      <a:pt x="3616" y="1724"/>
                    </a:lnTo>
                    <a:lnTo>
                      <a:pt x="3616" y="914"/>
                    </a:lnTo>
                    <a:lnTo>
                      <a:pt x="3545" y="593"/>
                    </a:lnTo>
                    <a:lnTo>
                      <a:pt x="3526" y="392"/>
                    </a:lnTo>
                    <a:lnTo>
                      <a:pt x="3526" y="254"/>
                    </a:lnTo>
                    <a:lnTo>
                      <a:pt x="3499" y="136"/>
                    </a:lnTo>
                    <a:lnTo>
                      <a:pt x="3446" y="0"/>
                    </a:lnTo>
                    <a:lnTo>
                      <a:pt x="3096" y="28"/>
                    </a:lnTo>
                    <a:lnTo>
                      <a:pt x="1814" y="134"/>
                    </a:lnTo>
                    <a:lnTo>
                      <a:pt x="1155" y="134"/>
                    </a:lnTo>
                    <a:lnTo>
                      <a:pt x="416" y="130"/>
                    </a:lnTo>
                    <a:lnTo>
                      <a:pt x="14" y="124"/>
                    </a:lnTo>
                    <a:close/>
                  </a:path>
                </a:pathLst>
              </a:custGeom>
              <a:solidFill>
                <a:schemeClr val="accent4">
                  <a:lumMod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55" name="Ohio">
                <a:extLst>
                  <a:ext uri="{FF2B5EF4-FFF2-40B4-BE49-F238E27FC236}">
                    <a16:creationId xmlns:a16="http://schemas.microsoft.com/office/drawing/2014/main" id="{7B3A44EE-3DA9-C58C-35A5-704844012B07}"/>
                  </a:ext>
                </a:extLst>
              </p:cNvPr>
              <p:cNvSpPr>
                <a:spLocks/>
              </p:cNvSpPr>
              <p:nvPr/>
            </p:nvSpPr>
            <p:spPr bwMode="auto">
              <a:xfrm>
                <a:off x="6305403" y="2587918"/>
                <a:ext cx="525917" cy="594938"/>
              </a:xfrm>
              <a:custGeom>
                <a:avLst/>
                <a:gdLst>
                  <a:gd name="T0" fmla="*/ 0 w 1707"/>
                  <a:gd name="T1" fmla="*/ 109 h 1934"/>
                  <a:gd name="T2" fmla="*/ 23 w 1707"/>
                  <a:gd name="T3" fmla="*/ 94 h 1934"/>
                  <a:gd name="T4" fmla="*/ 60 w 1707"/>
                  <a:gd name="T5" fmla="*/ 93 h 1934"/>
                  <a:gd name="T6" fmla="*/ 60 w 1707"/>
                  <a:gd name="T7" fmla="*/ 85 h 1934"/>
                  <a:gd name="T8" fmla="*/ 96 w 1707"/>
                  <a:gd name="T9" fmla="*/ 82 h 1934"/>
                  <a:gd name="T10" fmla="*/ 122 w 1707"/>
                  <a:gd name="T11" fmla="*/ 90 h 1934"/>
                  <a:gd name="T12" fmla="*/ 153 w 1707"/>
                  <a:gd name="T13" fmla="*/ 99 h 1934"/>
                  <a:gd name="T14" fmla="*/ 218 w 1707"/>
                  <a:gd name="T15" fmla="*/ 59 h 1934"/>
                  <a:gd name="T16" fmla="*/ 295 w 1707"/>
                  <a:gd name="T17" fmla="*/ 0 h 1934"/>
                  <a:gd name="T18" fmla="*/ 318 w 1707"/>
                  <a:gd name="T19" fmla="*/ 82 h 1934"/>
                  <a:gd name="T20" fmla="*/ 321 w 1707"/>
                  <a:gd name="T21" fmla="*/ 140 h 1934"/>
                  <a:gd name="T22" fmla="*/ 324 w 1707"/>
                  <a:gd name="T23" fmla="*/ 190 h 1934"/>
                  <a:gd name="T24" fmla="*/ 312 w 1707"/>
                  <a:gd name="T25" fmla="*/ 225 h 1934"/>
                  <a:gd name="T26" fmla="*/ 292 w 1707"/>
                  <a:gd name="T27" fmla="*/ 250 h 1934"/>
                  <a:gd name="T28" fmla="*/ 272 w 1707"/>
                  <a:gd name="T29" fmla="*/ 265 h 1934"/>
                  <a:gd name="T30" fmla="*/ 275 w 1707"/>
                  <a:gd name="T31" fmla="*/ 284 h 1934"/>
                  <a:gd name="T32" fmla="*/ 268 w 1707"/>
                  <a:gd name="T33" fmla="*/ 302 h 1934"/>
                  <a:gd name="T34" fmla="*/ 250 w 1707"/>
                  <a:gd name="T35" fmla="*/ 299 h 1934"/>
                  <a:gd name="T36" fmla="*/ 250 w 1707"/>
                  <a:gd name="T37" fmla="*/ 325 h 1934"/>
                  <a:gd name="T38" fmla="*/ 244 w 1707"/>
                  <a:gd name="T39" fmla="*/ 344 h 1934"/>
                  <a:gd name="T40" fmla="*/ 221 w 1707"/>
                  <a:gd name="T41" fmla="*/ 367 h 1934"/>
                  <a:gd name="T42" fmla="*/ 206 w 1707"/>
                  <a:gd name="T43" fmla="*/ 349 h 1934"/>
                  <a:gd name="T44" fmla="*/ 184 w 1707"/>
                  <a:gd name="T45" fmla="*/ 332 h 1934"/>
                  <a:gd name="T46" fmla="*/ 168 w 1707"/>
                  <a:gd name="T47" fmla="*/ 349 h 1934"/>
                  <a:gd name="T48" fmla="*/ 147 w 1707"/>
                  <a:gd name="T49" fmla="*/ 356 h 1934"/>
                  <a:gd name="T50" fmla="*/ 113 w 1707"/>
                  <a:gd name="T51" fmla="*/ 356 h 1934"/>
                  <a:gd name="T52" fmla="*/ 83 w 1707"/>
                  <a:gd name="T53" fmla="*/ 352 h 1934"/>
                  <a:gd name="T54" fmla="*/ 52 w 1707"/>
                  <a:gd name="T55" fmla="*/ 332 h 1934"/>
                  <a:gd name="T56" fmla="*/ 46 w 1707"/>
                  <a:gd name="T57" fmla="*/ 293 h 1934"/>
                  <a:gd name="T58" fmla="*/ 32 w 1707"/>
                  <a:gd name="T59" fmla="*/ 258 h 1934"/>
                  <a:gd name="T60" fmla="*/ 29 w 1707"/>
                  <a:gd name="T61" fmla="*/ 206 h 1934"/>
                  <a:gd name="T62" fmla="*/ 20 w 1707"/>
                  <a:gd name="T63" fmla="*/ 189 h 1934"/>
                  <a:gd name="T64" fmla="*/ 7 w 1707"/>
                  <a:gd name="T65" fmla="*/ 150 h 1934"/>
                  <a:gd name="T66" fmla="*/ 13 w 1707"/>
                  <a:gd name="T67" fmla="*/ 135 h 1934"/>
                  <a:gd name="T68" fmla="*/ 0 w 1707"/>
                  <a:gd name="T69" fmla="*/ 109 h 19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07" h="1934">
                    <a:moveTo>
                      <a:pt x="0" y="575"/>
                    </a:moveTo>
                    <a:lnTo>
                      <a:pt x="123" y="496"/>
                    </a:lnTo>
                    <a:lnTo>
                      <a:pt x="315" y="488"/>
                    </a:lnTo>
                    <a:lnTo>
                      <a:pt x="315" y="448"/>
                    </a:lnTo>
                    <a:lnTo>
                      <a:pt x="507" y="432"/>
                    </a:lnTo>
                    <a:lnTo>
                      <a:pt x="643" y="472"/>
                    </a:lnTo>
                    <a:lnTo>
                      <a:pt x="805" y="523"/>
                    </a:lnTo>
                    <a:lnTo>
                      <a:pt x="1147" y="312"/>
                    </a:lnTo>
                    <a:lnTo>
                      <a:pt x="1555" y="0"/>
                    </a:lnTo>
                    <a:lnTo>
                      <a:pt x="1675" y="433"/>
                    </a:lnTo>
                    <a:lnTo>
                      <a:pt x="1691" y="736"/>
                    </a:lnTo>
                    <a:lnTo>
                      <a:pt x="1707" y="1000"/>
                    </a:lnTo>
                    <a:lnTo>
                      <a:pt x="1645" y="1184"/>
                    </a:lnTo>
                    <a:lnTo>
                      <a:pt x="1539" y="1320"/>
                    </a:lnTo>
                    <a:lnTo>
                      <a:pt x="1435" y="1394"/>
                    </a:lnTo>
                    <a:lnTo>
                      <a:pt x="1451" y="1496"/>
                    </a:lnTo>
                    <a:lnTo>
                      <a:pt x="1411" y="1592"/>
                    </a:lnTo>
                    <a:lnTo>
                      <a:pt x="1315" y="1574"/>
                    </a:lnTo>
                    <a:lnTo>
                      <a:pt x="1315" y="1712"/>
                    </a:lnTo>
                    <a:lnTo>
                      <a:pt x="1285" y="1814"/>
                    </a:lnTo>
                    <a:lnTo>
                      <a:pt x="1165" y="1934"/>
                    </a:lnTo>
                    <a:lnTo>
                      <a:pt x="1083" y="1840"/>
                    </a:lnTo>
                    <a:lnTo>
                      <a:pt x="971" y="1752"/>
                    </a:lnTo>
                    <a:lnTo>
                      <a:pt x="883" y="1840"/>
                    </a:lnTo>
                    <a:lnTo>
                      <a:pt x="775" y="1874"/>
                    </a:lnTo>
                    <a:lnTo>
                      <a:pt x="595" y="1874"/>
                    </a:lnTo>
                    <a:lnTo>
                      <a:pt x="435" y="1856"/>
                    </a:lnTo>
                    <a:lnTo>
                      <a:pt x="275" y="1750"/>
                    </a:lnTo>
                    <a:lnTo>
                      <a:pt x="242" y="1544"/>
                    </a:lnTo>
                    <a:lnTo>
                      <a:pt x="170" y="1361"/>
                    </a:lnTo>
                    <a:lnTo>
                      <a:pt x="153" y="1085"/>
                    </a:lnTo>
                    <a:lnTo>
                      <a:pt x="107" y="998"/>
                    </a:lnTo>
                    <a:lnTo>
                      <a:pt x="35" y="791"/>
                    </a:lnTo>
                    <a:lnTo>
                      <a:pt x="66" y="710"/>
                    </a:lnTo>
                    <a:lnTo>
                      <a:pt x="0" y="575"/>
                    </a:lnTo>
                    <a:close/>
                  </a:path>
                </a:pathLst>
              </a:custGeom>
              <a:solidFill>
                <a:schemeClr val="accent4">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1256" name="North Dakota">
                <a:extLst>
                  <a:ext uri="{FF2B5EF4-FFF2-40B4-BE49-F238E27FC236}">
                    <a16:creationId xmlns:a16="http://schemas.microsoft.com/office/drawing/2014/main" id="{FE183537-E2E0-CCC5-34C3-4A17C427326E}"/>
                  </a:ext>
                </a:extLst>
              </p:cNvPr>
              <p:cNvSpPr>
                <a:spLocks/>
              </p:cNvSpPr>
              <p:nvPr/>
            </p:nvSpPr>
            <p:spPr bwMode="auto">
              <a:xfrm>
                <a:off x="4096230" y="1845461"/>
                <a:ext cx="805106" cy="478219"/>
              </a:xfrm>
              <a:custGeom>
                <a:avLst/>
                <a:gdLst>
                  <a:gd name="T0" fmla="*/ 14 w 2622"/>
                  <a:gd name="T1" fmla="*/ 7 h 1560"/>
                  <a:gd name="T2" fmla="*/ 0 w 2622"/>
                  <a:gd name="T3" fmla="*/ 295 h 1560"/>
                  <a:gd name="T4" fmla="*/ 496 w 2622"/>
                  <a:gd name="T5" fmla="*/ 284 h 1560"/>
                  <a:gd name="T6" fmla="*/ 486 w 2622"/>
                  <a:gd name="T7" fmla="*/ 217 h 1560"/>
                  <a:gd name="T8" fmla="*/ 477 w 2622"/>
                  <a:gd name="T9" fmla="*/ 130 h 1560"/>
                  <a:gd name="T10" fmla="*/ 454 w 2622"/>
                  <a:gd name="T11" fmla="*/ 99 h 1560"/>
                  <a:gd name="T12" fmla="*/ 447 w 2622"/>
                  <a:gd name="T13" fmla="*/ 58 h 1560"/>
                  <a:gd name="T14" fmla="*/ 443 w 2622"/>
                  <a:gd name="T15" fmla="*/ 0 h 1560"/>
                  <a:gd name="T16" fmla="*/ 355 w 2622"/>
                  <a:gd name="T17" fmla="*/ 3 h 1560"/>
                  <a:gd name="T18" fmla="*/ 310 w 2622"/>
                  <a:gd name="T19" fmla="*/ 12 h 1560"/>
                  <a:gd name="T20" fmla="*/ 236 w 2622"/>
                  <a:gd name="T21" fmla="*/ 9 h 1560"/>
                  <a:gd name="T22" fmla="*/ 140 w 2622"/>
                  <a:gd name="T23" fmla="*/ 10 h 1560"/>
                  <a:gd name="T24" fmla="*/ 14 w 2622"/>
                  <a:gd name="T25" fmla="*/ 7 h 15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22" h="1560">
                    <a:moveTo>
                      <a:pt x="72" y="35"/>
                    </a:moveTo>
                    <a:lnTo>
                      <a:pt x="0" y="1560"/>
                    </a:lnTo>
                    <a:lnTo>
                      <a:pt x="2622" y="1503"/>
                    </a:lnTo>
                    <a:lnTo>
                      <a:pt x="2568" y="1149"/>
                    </a:lnTo>
                    <a:lnTo>
                      <a:pt x="2520" y="690"/>
                    </a:lnTo>
                    <a:lnTo>
                      <a:pt x="2400" y="525"/>
                    </a:lnTo>
                    <a:lnTo>
                      <a:pt x="2364" y="309"/>
                    </a:lnTo>
                    <a:lnTo>
                      <a:pt x="2340" y="0"/>
                    </a:lnTo>
                    <a:lnTo>
                      <a:pt x="1878" y="15"/>
                    </a:lnTo>
                    <a:lnTo>
                      <a:pt x="1638" y="63"/>
                    </a:lnTo>
                    <a:lnTo>
                      <a:pt x="1248" y="45"/>
                    </a:lnTo>
                    <a:lnTo>
                      <a:pt x="738" y="51"/>
                    </a:lnTo>
                    <a:lnTo>
                      <a:pt x="72" y="35"/>
                    </a:lnTo>
                    <a:close/>
                  </a:path>
                </a:pathLst>
              </a:custGeom>
              <a:solidFill>
                <a:schemeClr val="accent4">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57" name="North Carolina">
                <a:extLst>
                  <a:ext uri="{FF2B5EF4-FFF2-40B4-BE49-F238E27FC236}">
                    <a16:creationId xmlns:a16="http://schemas.microsoft.com/office/drawing/2014/main" id="{28A88E9C-1956-6D08-1E04-8FC7B7CD7789}"/>
                  </a:ext>
                </a:extLst>
              </p:cNvPr>
              <p:cNvSpPr>
                <a:spLocks/>
              </p:cNvSpPr>
              <p:nvPr/>
            </p:nvSpPr>
            <p:spPr bwMode="auto">
              <a:xfrm>
                <a:off x="6545636" y="3221762"/>
                <a:ext cx="1051833" cy="539820"/>
              </a:xfrm>
              <a:custGeom>
                <a:avLst/>
                <a:gdLst>
                  <a:gd name="T0" fmla="*/ 0 w 3422"/>
                  <a:gd name="T1" fmla="*/ 333 h 1760"/>
                  <a:gd name="T2" fmla="*/ 32 w 3422"/>
                  <a:gd name="T3" fmla="*/ 329 h 1760"/>
                  <a:gd name="T4" fmla="*/ 70 w 3422"/>
                  <a:gd name="T5" fmla="*/ 317 h 1760"/>
                  <a:gd name="T6" fmla="*/ 92 w 3422"/>
                  <a:gd name="T7" fmla="*/ 314 h 1760"/>
                  <a:gd name="T8" fmla="*/ 161 w 3422"/>
                  <a:gd name="T9" fmla="*/ 282 h 1760"/>
                  <a:gd name="T10" fmla="*/ 205 w 3422"/>
                  <a:gd name="T11" fmla="*/ 268 h 1760"/>
                  <a:gd name="T12" fmla="*/ 243 w 3422"/>
                  <a:gd name="T13" fmla="*/ 258 h 1760"/>
                  <a:gd name="T14" fmla="*/ 275 w 3422"/>
                  <a:gd name="T15" fmla="*/ 262 h 1760"/>
                  <a:gd name="T16" fmla="*/ 292 w 3422"/>
                  <a:gd name="T17" fmla="*/ 280 h 1760"/>
                  <a:gd name="T18" fmla="*/ 327 w 3422"/>
                  <a:gd name="T19" fmla="*/ 268 h 1760"/>
                  <a:gd name="T20" fmla="*/ 371 w 3422"/>
                  <a:gd name="T21" fmla="*/ 246 h 1760"/>
                  <a:gd name="T22" fmla="*/ 418 w 3422"/>
                  <a:gd name="T23" fmla="*/ 286 h 1760"/>
                  <a:gd name="T24" fmla="*/ 457 w 3422"/>
                  <a:gd name="T25" fmla="*/ 308 h 1760"/>
                  <a:gd name="T26" fmla="*/ 467 w 3422"/>
                  <a:gd name="T27" fmla="*/ 331 h 1760"/>
                  <a:gd name="T28" fmla="*/ 506 w 3422"/>
                  <a:gd name="T29" fmla="*/ 301 h 1760"/>
                  <a:gd name="T30" fmla="*/ 525 w 3422"/>
                  <a:gd name="T31" fmla="*/ 276 h 1760"/>
                  <a:gd name="T32" fmla="*/ 537 w 3422"/>
                  <a:gd name="T33" fmla="*/ 246 h 1760"/>
                  <a:gd name="T34" fmla="*/ 554 w 3422"/>
                  <a:gd name="T35" fmla="*/ 217 h 1760"/>
                  <a:gd name="T36" fmla="*/ 582 w 3422"/>
                  <a:gd name="T37" fmla="*/ 202 h 1760"/>
                  <a:gd name="T38" fmla="*/ 603 w 3422"/>
                  <a:gd name="T39" fmla="*/ 187 h 1760"/>
                  <a:gd name="T40" fmla="*/ 614 w 3422"/>
                  <a:gd name="T41" fmla="*/ 176 h 1760"/>
                  <a:gd name="T42" fmla="*/ 603 w 3422"/>
                  <a:gd name="T43" fmla="*/ 165 h 1760"/>
                  <a:gd name="T44" fmla="*/ 568 w 3422"/>
                  <a:gd name="T45" fmla="*/ 182 h 1760"/>
                  <a:gd name="T46" fmla="*/ 563 w 3422"/>
                  <a:gd name="T47" fmla="*/ 165 h 1760"/>
                  <a:gd name="T48" fmla="*/ 582 w 3422"/>
                  <a:gd name="T49" fmla="*/ 160 h 1760"/>
                  <a:gd name="T50" fmla="*/ 592 w 3422"/>
                  <a:gd name="T51" fmla="*/ 148 h 1760"/>
                  <a:gd name="T52" fmla="*/ 591 w 3422"/>
                  <a:gd name="T53" fmla="*/ 125 h 1760"/>
                  <a:gd name="T54" fmla="*/ 625 w 3422"/>
                  <a:gd name="T55" fmla="*/ 114 h 1760"/>
                  <a:gd name="T56" fmla="*/ 645 w 3422"/>
                  <a:gd name="T57" fmla="*/ 90 h 1760"/>
                  <a:gd name="T58" fmla="*/ 648 w 3422"/>
                  <a:gd name="T59" fmla="*/ 68 h 1760"/>
                  <a:gd name="T60" fmla="*/ 625 w 3422"/>
                  <a:gd name="T61" fmla="*/ 45 h 1760"/>
                  <a:gd name="T62" fmla="*/ 620 w 3422"/>
                  <a:gd name="T63" fmla="*/ 68 h 1760"/>
                  <a:gd name="T64" fmla="*/ 602 w 3422"/>
                  <a:gd name="T65" fmla="*/ 63 h 1760"/>
                  <a:gd name="T66" fmla="*/ 570 w 3422"/>
                  <a:gd name="T67" fmla="*/ 70 h 1760"/>
                  <a:gd name="T68" fmla="*/ 551 w 3422"/>
                  <a:gd name="T69" fmla="*/ 51 h 1760"/>
                  <a:gd name="T70" fmla="*/ 564 w 3422"/>
                  <a:gd name="T71" fmla="*/ 39 h 1760"/>
                  <a:gd name="T72" fmla="*/ 586 w 3422"/>
                  <a:gd name="T73" fmla="*/ 49 h 1760"/>
                  <a:gd name="T74" fmla="*/ 599 w 3422"/>
                  <a:gd name="T75" fmla="*/ 34 h 1760"/>
                  <a:gd name="T76" fmla="*/ 620 w 3422"/>
                  <a:gd name="T77" fmla="*/ 28 h 1760"/>
                  <a:gd name="T78" fmla="*/ 591 w 3422"/>
                  <a:gd name="T79" fmla="*/ 0 h 1760"/>
                  <a:gd name="T80" fmla="*/ 554 w 3422"/>
                  <a:gd name="T81" fmla="*/ 17 h 1760"/>
                  <a:gd name="T82" fmla="*/ 512 w 3422"/>
                  <a:gd name="T83" fmla="*/ 23 h 1760"/>
                  <a:gd name="T84" fmla="*/ 351 w 3422"/>
                  <a:gd name="T85" fmla="*/ 70 h 1760"/>
                  <a:gd name="T86" fmla="*/ 280 w 3422"/>
                  <a:gd name="T87" fmla="*/ 101 h 1760"/>
                  <a:gd name="T88" fmla="*/ 178 w 3422"/>
                  <a:gd name="T89" fmla="*/ 129 h 1760"/>
                  <a:gd name="T90" fmla="*/ 178 w 3422"/>
                  <a:gd name="T91" fmla="*/ 151 h 1760"/>
                  <a:gd name="T92" fmla="*/ 165 w 3422"/>
                  <a:gd name="T93" fmla="*/ 169 h 1760"/>
                  <a:gd name="T94" fmla="*/ 97 w 3422"/>
                  <a:gd name="T95" fmla="*/ 202 h 1760"/>
                  <a:gd name="T96" fmla="*/ 103 w 3422"/>
                  <a:gd name="T97" fmla="*/ 220 h 1760"/>
                  <a:gd name="T98" fmla="*/ 32 w 3422"/>
                  <a:gd name="T99" fmla="*/ 275 h 1760"/>
                  <a:gd name="T100" fmla="*/ 18 w 3422"/>
                  <a:gd name="T101" fmla="*/ 300 h 1760"/>
                  <a:gd name="T102" fmla="*/ 1 w 3422"/>
                  <a:gd name="T103" fmla="*/ 305 h 1760"/>
                  <a:gd name="T104" fmla="*/ 0 w 3422"/>
                  <a:gd name="T105" fmla="*/ 333 h 17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422" h="1760">
                    <a:moveTo>
                      <a:pt x="0" y="1760"/>
                    </a:moveTo>
                    <a:lnTo>
                      <a:pt x="168" y="1738"/>
                    </a:lnTo>
                    <a:lnTo>
                      <a:pt x="369" y="1675"/>
                    </a:lnTo>
                    <a:lnTo>
                      <a:pt x="487" y="1657"/>
                    </a:lnTo>
                    <a:lnTo>
                      <a:pt x="848" y="1490"/>
                    </a:lnTo>
                    <a:lnTo>
                      <a:pt x="1082" y="1419"/>
                    </a:lnTo>
                    <a:lnTo>
                      <a:pt x="1283" y="1365"/>
                    </a:lnTo>
                    <a:lnTo>
                      <a:pt x="1452" y="1386"/>
                    </a:lnTo>
                    <a:lnTo>
                      <a:pt x="1542" y="1478"/>
                    </a:lnTo>
                    <a:lnTo>
                      <a:pt x="1726" y="1418"/>
                    </a:lnTo>
                    <a:lnTo>
                      <a:pt x="1961" y="1298"/>
                    </a:lnTo>
                    <a:lnTo>
                      <a:pt x="2209" y="1511"/>
                    </a:lnTo>
                    <a:lnTo>
                      <a:pt x="2411" y="1626"/>
                    </a:lnTo>
                    <a:lnTo>
                      <a:pt x="2468" y="1748"/>
                    </a:lnTo>
                    <a:lnTo>
                      <a:pt x="2672" y="1590"/>
                    </a:lnTo>
                    <a:lnTo>
                      <a:pt x="2772" y="1460"/>
                    </a:lnTo>
                    <a:lnTo>
                      <a:pt x="2836" y="1300"/>
                    </a:lnTo>
                    <a:lnTo>
                      <a:pt x="2924" y="1148"/>
                    </a:lnTo>
                    <a:lnTo>
                      <a:pt x="3076" y="1068"/>
                    </a:lnTo>
                    <a:lnTo>
                      <a:pt x="3182" y="990"/>
                    </a:lnTo>
                    <a:lnTo>
                      <a:pt x="3244" y="932"/>
                    </a:lnTo>
                    <a:lnTo>
                      <a:pt x="3182" y="870"/>
                    </a:lnTo>
                    <a:lnTo>
                      <a:pt x="3002" y="960"/>
                    </a:lnTo>
                    <a:lnTo>
                      <a:pt x="2972" y="870"/>
                    </a:lnTo>
                    <a:lnTo>
                      <a:pt x="3076" y="844"/>
                    </a:lnTo>
                    <a:lnTo>
                      <a:pt x="3124" y="780"/>
                    </a:lnTo>
                    <a:lnTo>
                      <a:pt x="3122" y="660"/>
                    </a:lnTo>
                    <a:lnTo>
                      <a:pt x="3302" y="600"/>
                    </a:lnTo>
                    <a:lnTo>
                      <a:pt x="3404" y="476"/>
                    </a:lnTo>
                    <a:lnTo>
                      <a:pt x="3422" y="360"/>
                    </a:lnTo>
                    <a:lnTo>
                      <a:pt x="3302" y="240"/>
                    </a:lnTo>
                    <a:lnTo>
                      <a:pt x="3272" y="360"/>
                    </a:lnTo>
                    <a:lnTo>
                      <a:pt x="3180" y="332"/>
                    </a:lnTo>
                    <a:lnTo>
                      <a:pt x="3012" y="372"/>
                    </a:lnTo>
                    <a:lnTo>
                      <a:pt x="2912" y="270"/>
                    </a:lnTo>
                    <a:lnTo>
                      <a:pt x="2980" y="204"/>
                    </a:lnTo>
                    <a:lnTo>
                      <a:pt x="3092" y="260"/>
                    </a:lnTo>
                    <a:lnTo>
                      <a:pt x="3164" y="180"/>
                    </a:lnTo>
                    <a:lnTo>
                      <a:pt x="3272" y="150"/>
                    </a:lnTo>
                    <a:lnTo>
                      <a:pt x="3122" y="0"/>
                    </a:lnTo>
                    <a:lnTo>
                      <a:pt x="2924" y="92"/>
                    </a:lnTo>
                    <a:lnTo>
                      <a:pt x="2702" y="120"/>
                    </a:lnTo>
                    <a:lnTo>
                      <a:pt x="1852" y="372"/>
                    </a:lnTo>
                    <a:lnTo>
                      <a:pt x="1477" y="532"/>
                    </a:lnTo>
                    <a:lnTo>
                      <a:pt x="939" y="683"/>
                    </a:lnTo>
                    <a:lnTo>
                      <a:pt x="942" y="797"/>
                    </a:lnTo>
                    <a:lnTo>
                      <a:pt x="871" y="892"/>
                    </a:lnTo>
                    <a:lnTo>
                      <a:pt x="513" y="1070"/>
                    </a:lnTo>
                    <a:lnTo>
                      <a:pt x="545" y="1164"/>
                    </a:lnTo>
                    <a:lnTo>
                      <a:pt x="171" y="1451"/>
                    </a:lnTo>
                    <a:lnTo>
                      <a:pt x="93" y="1583"/>
                    </a:lnTo>
                    <a:lnTo>
                      <a:pt x="3" y="1614"/>
                    </a:lnTo>
                    <a:lnTo>
                      <a:pt x="0" y="1760"/>
                    </a:lnTo>
                    <a:close/>
                  </a:path>
                </a:pathLst>
              </a:custGeom>
              <a:solidFill>
                <a:schemeClr val="accent4">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58" name="New York">
                <a:extLst>
                  <a:ext uri="{FF2B5EF4-FFF2-40B4-BE49-F238E27FC236}">
                    <a16:creationId xmlns:a16="http://schemas.microsoft.com/office/drawing/2014/main" id="{46CD386A-2BB2-6A50-BB75-69436B8E2EE7}"/>
                  </a:ext>
                </a:extLst>
              </p:cNvPr>
              <p:cNvSpPr>
                <a:spLocks/>
              </p:cNvSpPr>
              <p:nvPr/>
            </p:nvSpPr>
            <p:spPr bwMode="auto">
              <a:xfrm>
                <a:off x="6816710" y="1876262"/>
                <a:ext cx="800238" cy="684098"/>
              </a:xfrm>
              <a:custGeom>
                <a:avLst/>
                <a:gdLst>
                  <a:gd name="T0" fmla="*/ 0 w 2597"/>
                  <a:gd name="T1" fmla="*/ 421 h 2224"/>
                  <a:gd name="T2" fmla="*/ 24 w 2597"/>
                  <a:gd name="T3" fmla="*/ 422 h 2224"/>
                  <a:gd name="T4" fmla="*/ 207 w 2597"/>
                  <a:gd name="T5" fmla="*/ 361 h 2224"/>
                  <a:gd name="T6" fmla="*/ 330 w 2597"/>
                  <a:gd name="T7" fmla="*/ 324 h 2224"/>
                  <a:gd name="T8" fmla="*/ 380 w 2597"/>
                  <a:gd name="T9" fmla="*/ 357 h 2224"/>
                  <a:gd name="T10" fmla="*/ 398 w 2597"/>
                  <a:gd name="T11" fmla="*/ 365 h 2224"/>
                  <a:gd name="T12" fmla="*/ 436 w 2597"/>
                  <a:gd name="T13" fmla="*/ 367 h 2224"/>
                  <a:gd name="T14" fmla="*/ 474 w 2597"/>
                  <a:gd name="T15" fmla="*/ 373 h 2224"/>
                  <a:gd name="T16" fmla="*/ 493 w 2597"/>
                  <a:gd name="T17" fmla="*/ 346 h 2224"/>
                  <a:gd name="T18" fmla="*/ 483 w 2597"/>
                  <a:gd name="T19" fmla="*/ 334 h 2224"/>
                  <a:gd name="T20" fmla="*/ 482 w 2597"/>
                  <a:gd name="T21" fmla="*/ 314 h 2224"/>
                  <a:gd name="T22" fmla="*/ 465 w 2597"/>
                  <a:gd name="T23" fmla="*/ 301 h 2224"/>
                  <a:gd name="T24" fmla="*/ 459 w 2597"/>
                  <a:gd name="T25" fmla="*/ 278 h 2224"/>
                  <a:gd name="T26" fmla="*/ 454 w 2597"/>
                  <a:gd name="T27" fmla="*/ 241 h 2224"/>
                  <a:gd name="T28" fmla="*/ 447 w 2597"/>
                  <a:gd name="T29" fmla="*/ 198 h 2224"/>
                  <a:gd name="T30" fmla="*/ 439 w 2597"/>
                  <a:gd name="T31" fmla="*/ 170 h 2224"/>
                  <a:gd name="T32" fmla="*/ 433 w 2597"/>
                  <a:gd name="T33" fmla="*/ 132 h 2224"/>
                  <a:gd name="T34" fmla="*/ 396 w 2597"/>
                  <a:gd name="T35" fmla="*/ 73 h 2224"/>
                  <a:gd name="T36" fmla="*/ 385 w 2597"/>
                  <a:gd name="T37" fmla="*/ 28 h 2224"/>
                  <a:gd name="T38" fmla="*/ 377 w 2597"/>
                  <a:gd name="T39" fmla="*/ 11 h 2224"/>
                  <a:gd name="T40" fmla="*/ 362 w 2597"/>
                  <a:gd name="T41" fmla="*/ 0 h 2224"/>
                  <a:gd name="T42" fmla="*/ 351 w 2597"/>
                  <a:gd name="T43" fmla="*/ 11 h 2224"/>
                  <a:gd name="T44" fmla="*/ 328 w 2597"/>
                  <a:gd name="T45" fmla="*/ 16 h 2224"/>
                  <a:gd name="T46" fmla="*/ 301 w 2597"/>
                  <a:gd name="T47" fmla="*/ 29 h 2224"/>
                  <a:gd name="T48" fmla="*/ 260 w 2597"/>
                  <a:gd name="T49" fmla="*/ 39 h 2224"/>
                  <a:gd name="T50" fmla="*/ 243 w 2597"/>
                  <a:gd name="T51" fmla="*/ 61 h 2224"/>
                  <a:gd name="T52" fmla="*/ 225 w 2597"/>
                  <a:gd name="T53" fmla="*/ 85 h 2224"/>
                  <a:gd name="T54" fmla="*/ 227 w 2597"/>
                  <a:gd name="T55" fmla="*/ 108 h 2224"/>
                  <a:gd name="T56" fmla="*/ 233 w 2597"/>
                  <a:gd name="T57" fmla="*/ 123 h 2224"/>
                  <a:gd name="T58" fmla="*/ 197 w 2597"/>
                  <a:gd name="T59" fmla="*/ 159 h 2224"/>
                  <a:gd name="T60" fmla="*/ 211 w 2597"/>
                  <a:gd name="T61" fmla="*/ 165 h 2224"/>
                  <a:gd name="T62" fmla="*/ 225 w 2597"/>
                  <a:gd name="T63" fmla="*/ 159 h 2224"/>
                  <a:gd name="T64" fmla="*/ 228 w 2597"/>
                  <a:gd name="T65" fmla="*/ 173 h 2224"/>
                  <a:gd name="T66" fmla="*/ 214 w 2597"/>
                  <a:gd name="T67" fmla="*/ 187 h 2224"/>
                  <a:gd name="T68" fmla="*/ 237 w 2597"/>
                  <a:gd name="T69" fmla="*/ 198 h 2224"/>
                  <a:gd name="T70" fmla="*/ 242 w 2597"/>
                  <a:gd name="T71" fmla="*/ 216 h 2224"/>
                  <a:gd name="T72" fmla="*/ 213 w 2597"/>
                  <a:gd name="T73" fmla="*/ 225 h 2224"/>
                  <a:gd name="T74" fmla="*/ 183 w 2597"/>
                  <a:gd name="T75" fmla="*/ 243 h 2224"/>
                  <a:gd name="T76" fmla="*/ 151 w 2597"/>
                  <a:gd name="T77" fmla="*/ 267 h 2224"/>
                  <a:gd name="T78" fmla="*/ 120 w 2597"/>
                  <a:gd name="T79" fmla="*/ 261 h 2224"/>
                  <a:gd name="T80" fmla="*/ 88 w 2597"/>
                  <a:gd name="T81" fmla="*/ 273 h 2224"/>
                  <a:gd name="T82" fmla="*/ 60 w 2597"/>
                  <a:gd name="T83" fmla="*/ 291 h 2224"/>
                  <a:gd name="T84" fmla="*/ 58 w 2597"/>
                  <a:gd name="T85" fmla="*/ 310 h 2224"/>
                  <a:gd name="T86" fmla="*/ 77 w 2597"/>
                  <a:gd name="T87" fmla="*/ 329 h 2224"/>
                  <a:gd name="T88" fmla="*/ 76 w 2597"/>
                  <a:gd name="T89" fmla="*/ 351 h 2224"/>
                  <a:gd name="T90" fmla="*/ 60 w 2597"/>
                  <a:gd name="T91" fmla="*/ 369 h 2224"/>
                  <a:gd name="T92" fmla="*/ 0 w 2597"/>
                  <a:gd name="T93" fmla="*/ 421 h 22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97" h="2224">
                    <a:moveTo>
                      <a:pt x="0" y="2218"/>
                    </a:moveTo>
                    <a:lnTo>
                      <a:pt x="128" y="2224"/>
                    </a:lnTo>
                    <a:lnTo>
                      <a:pt x="1088" y="1905"/>
                    </a:lnTo>
                    <a:lnTo>
                      <a:pt x="1737" y="1708"/>
                    </a:lnTo>
                    <a:lnTo>
                      <a:pt x="2003" y="1884"/>
                    </a:lnTo>
                    <a:lnTo>
                      <a:pt x="2094" y="1924"/>
                    </a:lnTo>
                    <a:lnTo>
                      <a:pt x="2298" y="1936"/>
                    </a:lnTo>
                    <a:lnTo>
                      <a:pt x="2498" y="1968"/>
                    </a:lnTo>
                    <a:lnTo>
                      <a:pt x="2597" y="1826"/>
                    </a:lnTo>
                    <a:lnTo>
                      <a:pt x="2546" y="1760"/>
                    </a:lnTo>
                    <a:lnTo>
                      <a:pt x="2538" y="1656"/>
                    </a:lnTo>
                    <a:lnTo>
                      <a:pt x="2450" y="1584"/>
                    </a:lnTo>
                    <a:lnTo>
                      <a:pt x="2417" y="1466"/>
                    </a:lnTo>
                    <a:lnTo>
                      <a:pt x="2394" y="1272"/>
                    </a:lnTo>
                    <a:lnTo>
                      <a:pt x="2357" y="1046"/>
                    </a:lnTo>
                    <a:lnTo>
                      <a:pt x="2314" y="896"/>
                    </a:lnTo>
                    <a:lnTo>
                      <a:pt x="2282" y="696"/>
                    </a:lnTo>
                    <a:lnTo>
                      <a:pt x="2087" y="386"/>
                    </a:lnTo>
                    <a:lnTo>
                      <a:pt x="2027" y="146"/>
                    </a:lnTo>
                    <a:lnTo>
                      <a:pt x="1986" y="56"/>
                    </a:lnTo>
                    <a:lnTo>
                      <a:pt x="1906" y="0"/>
                    </a:lnTo>
                    <a:lnTo>
                      <a:pt x="1847" y="56"/>
                    </a:lnTo>
                    <a:lnTo>
                      <a:pt x="1727" y="86"/>
                    </a:lnTo>
                    <a:lnTo>
                      <a:pt x="1586" y="152"/>
                    </a:lnTo>
                    <a:lnTo>
                      <a:pt x="1367" y="206"/>
                    </a:lnTo>
                    <a:lnTo>
                      <a:pt x="1282" y="320"/>
                    </a:lnTo>
                    <a:lnTo>
                      <a:pt x="1186" y="446"/>
                    </a:lnTo>
                    <a:lnTo>
                      <a:pt x="1194" y="568"/>
                    </a:lnTo>
                    <a:lnTo>
                      <a:pt x="1226" y="648"/>
                    </a:lnTo>
                    <a:lnTo>
                      <a:pt x="1036" y="836"/>
                    </a:lnTo>
                    <a:lnTo>
                      <a:pt x="1114" y="872"/>
                    </a:lnTo>
                    <a:lnTo>
                      <a:pt x="1186" y="836"/>
                    </a:lnTo>
                    <a:lnTo>
                      <a:pt x="1202" y="912"/>
                    </a:lnTo>
                    <a:lnTo>
                      <a:pt x="1126" y="986"/>
                    </a:lnTo>
                    <a:lnTo>
                      <a:pt x="1247" y="1046"/>
                    </a:lnTo>
                    <a:lnTo>
                      <a:pt x="1277" y="1136"/>
                    </a:lnTo>
                    <a:lnTo>
                      <a:pt x="1122" y="1184"/>
                    </a:lnTo>
                    <a:lnTo>
                      <a:pt x="962" y="1280"/>
                    </a:lnTo>
                    <a:lnTo>
                      <a:pt x="796" y="1406"/>
                    </a:lnTo>
                    <a:lnTo>
                      <a:pt x="634" y="1376"/>
                    </a:lnTo>
                    <a:lnTo>
                      <a:pt x="466" y="1440"/>
                    </a:lnTo>
                    <a:lnTo>
                      <a:pt x="314" y="1536"/>
                    </a:lnTo>
                    <a:lnTo>
                      <a:pt x="306" y="1632"/>
                    </a:lnTo>
                    <a:lnTo>
                      <a:pt x="406" y="1736"/>
                    </a:lnTo>
                    <a:lnTo>
                      <a:pt x="402" y="1848"/>
                    </a:lnTo>
                    <a:lnTo>
                      <a:pt x="316" y="1946"/>
                    </a:lnTo>
                    <a:lnTo>
                      <a:pt x="0" y="2218"/>
                    </a:lnTo>
                    <a:close/>
                  </a:path>
                </a:pathLst>
              </a:custGeom>
              <a:solidFill>
                <a:schemeClr val="accent4">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dirty="0">
                  <a:ln>
                    <a:noFill/>
                  </a:ln>
                  <a:solidFill>
                    <a:srgbClr val="000000"/>
                  </a:solidFill>
                  <a:effectLst/>
                  <a:uLnTx/>
                  <a:uFillTx/>
                  <a:latin typeface="Arial" charset="0"/>
                  <a:ea typeface="+mn-ea"/>
                  <a:cs typeface="+mn-cs"/>
                </a:endParaRPr>
              </a:p>
            </p:txBody>
          </p:sp>
          <p:sp>
            <p:nvSpPr>
              <p:cNvPr id="1259" name="New Mexico">
                <a:extLst>
                  <a:ext uri="{FF2B5EF4-FFF2-40B4-BE49-F238E27FC236}">
                    <a16:creationId xmlns:a16="http://schemas.microsoft.com/office/drawing/2014/main" id="{7682E14E-2364-7F35-0FC3-9403BC36D130}"/>
                  </a:ext>
                </a:extLst>
              </p:cNvPr>
              <p:cNvSpPr>
                <a:spLocks/>
              </p:cNvSpPr>
              <p:nvPr/>
            </p:nvSpPr>
            <p:spPr bwMode="auto">
              <a:xfrm>
                <a:off x="3357674" y="3656212"/>
                <a:ext cx="816469" cy="893217"/>
              </a:xfrm>
              <a:custGeom>
                <a:avLst/>
                <a:gdLst>
                  <a:gd name="T0" fmla="*/ 41 w 2655"/>
                  <a:gd name="T1" fmla="*/ 0 h 2904"/>
                  <a:gd name="T2" fmla="*/ 261 w 2655"/>
                  <a:gd name="T3" fmla="*/ 16 h 2904"/>
                  <a:gd name="T4" fmla="*/ 411 w 2655"/>
                  <a:gd name="T5" fmla="*/ 23 h 2904"/>
                  <a:gd name="T6" fmla="*/ 503 w 2655"/>
                  <a:gd name="T7" fmla="*/ 25 h 2904"/>
                  <a:gd name="T8" fmla="*/ 500 w 2655"/>
                  <a:gd name="T9" fmla="*/ 75 h 2904"/>
                  <a:gd name="T10" fmla="*/ 503 w 2655"/>
                  <a:gd name="T11" fmla="*/ 283 h 2904"/>
                  <a:gd name="T12" fmla="*/ 497 w 2655"/>
                  <a:gd name="T13" fmla="*/ 505 h 2904"/>
                  <a:gd name="T14" fmla="*/ 194 w 2655"/>
                  <a:gd name="T15" fmla="*/ 494 h 2904"/>
                  <a:gd name="T16" fmla="*/ 206 w 2655"/>
                  <a:gd name="T17" fmla="*/ 516 h 2904"/>
                  <a:gd name="T18" fmla="*/ 171 w 2655"/>
                  <a:gd name="T19" fmla="*/ 510 h 2904"/>
                  <a:gd name="T20" fmla="*/ 130 w 2655"/>
                  <a:gd name="T21" fmla="*/ 512 h 2904"/>
                  <a:gd name="T22" fmla="*/ 80 w 2655"/>
                  <a:gd name="T23" fmla="*/ 505 h 2904"/>
                  <a:gd name="T24" fmla="*/ 78 w 2655"/>
                  <a:gd name="T25" fmla="*/ 532 h 2904"/>
                  <a:gd name="T26" fmla="*/ 73 w 2655"/>
                  <a:gd name="T27" fmla="*/ 551 h 2904"/>
                  <a:gd name="T28" fmla="*/ 0 w 2655"/>
                  <a:gd name="T29" fmla="*/ 549 h 2904"/>
                  <a:gd name="T30" fmla="*/ 41 w 2655"/>
                  <a:gd name="T31" fmla="*/ 0 h 29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55" h="2904">
                    <a:moveTo>
                      <a:pt x="217" y="0"/>
                    </a:moveTo>
                    <a:lnTo>
                      <a:pt x="1377" y="84"/>
                    </a:lnTo>
                    <a:lnTo>
                      <a:pt x="2169" y="122"/>
                    </a:lnTo>
                    <a:lnTo>
                      <a:pt x="2653" y="132"/>
                    </a:lnTo>
                    <a:lnTo>
                      <a:pt x="2637" y="396"/>
                    </a:lnTo>
                    <a:lnTo>
                      <a:pt x="2655" y="1494"/>
                    </a:lnTo>
                    <a:lnTo>
                      <a:pt x="2625" y="2664"/>
                    </a:lnTo>
                    <a:lnTo>
                      <a:pt x="1026" y="2601"/>
                    </a:lnTo>
                    <a:lnTo>
                      <a:pt x="1086" y="2721"/>
                    </a:lnTo>
                    <a:lnTo>
                      <a:pt x="903" y="2688"/>
                    </a:lnTo>
                    <a:lnTo>
                      <a:pt x="687" y="2700"/>
                    </a:lnTo>
                    <a:lnTo>
                      <a:pt x="423" y="2664"/>
                    </a:lnTo>
                    <a:lnTo>
                      <a:pt x="411" y="2802"/>
                    </a:lnTo>
                    <a:lnTo>
                      <a:pt x="387" y="2904"/>
                    </a:lnTo>
                    <a:lnTo>
                      <a:pt x="0" y="2892"/>
                    </a:lnTo>
                    <a:lnTo>
                      <a:pt x="217" y="0"/>
                    </a:lnTo>
                    <a:close/>
                  </a:path>
                </a:pathLst>
              </a:custGeom>
              <a:solidFill>
                <a:schemeClr val="accent4">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60" name="New Jersey">
                <a:extLst>
                  <a:ext uri="{FF2B5EF4-FFF2-40B4-BE49-F238E27FC236}">
                    <a16:creationId xmlns:a16="http://schemas.microsoft.com/office/drawing/2014/main" id="{B9A9A99F-F1B5-D9E9-DA93-62AE155267EA}"/>
                  </a:ext>
                </a:extLst>
              </p:cNvPr>
              <p:cNvSpPr>
                <a:spLocks/>
              </p:cNvSpPr>
              <p:nvPr/>
            </p:nvSpPr>
            <p:spPr bwMode="auto">
              <a:xfrm>
                <a:off x="7420541" y="2467958"/>
                <a:ext cx="185044" cy="366365"/>
              </a:xfrm>
              <a:custGeom>
                <a:avLst/>
                <a:gdLst>
                  <a:gd name="T0" fmla="*/ 10 w 601"/>
                  <a:gd name="T1" fmla="*/ 23 h 1190"/>
                  <a:gd name="T2" fmla="*/ 0 w 601"/>
                  <a:gd name="T3" fmla="*/ 51 h 1190"/>
                  <a:gd name="T4" fmla="*/ 20 w 601"/>
                  <a:gd name="T5" fmla="*/ 84 h 1190"/>
                  <a:gd name="T6" fmla="*/ 46 w 601"/>
                  <a:gd name="T7" fmla="*/ 103 h 1190"/>
                  <a:gd name="T8" fmla="*/ 47 w 601"/>
                  <a:gd name="T9" fmla="*/ 119 h 1190"/>
                  <a:gd name="T10" fmla="*/ 38 w 601"/>
                  <a:gd name="T11" fmla="*/ 136 h 1190"/>
                  <a:gd name="T12" fmla="*/ 30 w 601"/>
                  <a:gd name="T13" fmla="*/ 156 h 1190"/>
                  <a:gd name="T14" fmla="*/ 17 w 601"/>
                  <a:gd name="T15" fmla="*/ 171 h 1190"/>
                  <a:gd name="T16" fmla="*/ 27 w 601"/>
                  <a:gd name="T17" fmla="*/ 201 h 1190"/>
                  <a:gd name="T18" fmla="*/ 48 w 601"/>
                  <a:gd name="T19" fmla="*/ 198 h 1190"/>
                  <a:gd name="T20" fmla="*/ 66 w 601"/>
                  <a:gd name="T21" fmla="*/ 216 h 1190"/>
                  <a:gd name="T22" fmla="*/ 85 w 601"/>
                  <a:gd name="T23" fmla="*/ 226 h 1190"/>
                  <a:gd name="T24" fmla="*/ 91 w 601"/>
                  <a:gd name="T25" fmla="*/ 188 h 1190"/>
                  <a:gd name="T26" fmla="*/ 97 w 601"/>
                  <a:gd name="T27" fmla="*/ 165 h 1190"/>
                  <a:gd name="T28" fmla="*/ 102 w 601"/>
                  <a:gd name="T29" fmla="*/ 137 h 1190"/>
                  <a:gd name="T30" fmla="*/ 114 w 601"/>
                  <a:gd name="T31" fmla="*/ 108 h 1190"/>
                  <a:gd name="T32" fmla="*/ 108 w 601"/>
                  <a:gd name="T33" fmla="*/ 74 h 1190"/>
                  <a:gd name="T34" fmla="*/ 86 w 601"/>
                  <a:gd name="T35" fmla="*/ 57 h 1190"/>
                  <a:gd name="T36" fmla="*/ 86 w 601"/>
                  <a:gd name="T37" fmla="*/ 33 h 1190"/>
                  <a:gd name="T38" fmla="*/ 102 w 601"/>
                  <a:gd name="T39" fmla="*/ 9 h 1190"/>
                  <a:gd name="T40" fmla="*/ 64 w 601"/>
                  <a:gd name="T41" fmla="*/ 2 h 1190"/>
                  <a:gd name="T42" fmla="*/ 26 w 601"/>
                  <a:gd name="T43" fmla="*/ 0 h 1190"/>
                  <a:gd name="T44" fmla="*/ 10 w 601"/>
                  <a:gd name="T45" fmla="*/ 23 h 119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1" h="1190">
                    <a:moveTo>
                      <a:pt x="54" y="119"/>
                    </a:moveTo>
                    <a:lnTo>
                      <a:pt x="0" y="269"/>
                    </a:lnTo>
                    <a:lnTo>
                      <a:pt x="106" y="440"/>
                    </a:lnTo>
                    <a:lnTo>
                      <a:pt x="244" y="540"/>
                    </a:lnTo>
                    <a:lnTo>
                      <a:pt x="250" y="624"/>
                    </a:lnTo>
                    <a:lnTo>
                      <a:pt x="199" y="716"/>
                    </a:lnTo>
                    <a:lnTo>
                      <a:pt x="159" y="821"/>
                    </a:lnTo>
                    <a:lnTo>
                      <a:pt x="87" y="902"/>
                    </a:lnTo>
                    <a:lnTo>
                      <a:pt x="141" y="1059"/>
                    </a:lnTo>
                    <a:lnTo>
                      <a:pt x="254" y="1044"/>
                    </a:lnTo>
                    <a:lnTo>
                      <a:pt x="346" y="1135"/>
                    </a:lnTo>
                    <a:lnTo>
                      <a:pt x="446" y="1190"/>
                    </a:lnTo>
                    <a:lnTo>
                      <a:pt x="481" y="989"/>
                    </a:lnTo>
                    <a:lnTo>
                      <a:pt x="511" y="869"/>
                    </a:lnTo>
                    <a:lnTo>
                      <a:pt x="538" y="724"/>
                    </a:lnTo>
                    <a:lnTo>
                      <a:pt x="601" y="569"/>
                    </a:lnTo>
                    <a:lnTo>
                      <a:pt x="571" y="389"/>
                    </a:lnTo>
                    <a:lnTo>
                      <a:pt x="451" y="299"/>
                    </a:lnTo>
                    <a:lnTo>
                      <a:pt x="455" y="175"/>
                    </a:lnTo>
                    <a:lnTo>
                      <a:pt x="540" y="45"/>
                    </a:lnTo>
                    <a:lnTo>
                      <a:pt x="340" y="12"/>
                    </a:lnTo>
                    <a:lnTo>
                      <a:pt x="135" y="0"/>
                    </a:lnTo>
                    <a:lnTo>
                      <a:pt x="54" y="119"/>
                    </a:lnTo>
                    <a:close/>
                  </a:path>
                </a:pathLst>
              </a:custGeom>
              <a:grp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61" name="New Hampshire">
                <a:extLst>
                  <a:ext uri="{FF2B5EF4-FFF2-40B4-BE49-F238E27FC236}">
                    <a16:creationId xmlns:a16="http://schemas.microsoft.com/office/drawing/2014/main" id="{2195B9AE-9D37-179C-C313-EF051BE135A9}"/>
                  </a:ext>
                </a:extLst>
              </p:cNvPr>
              <p:cNvSpPr>
                <a:spLocks/>
              </p:cNvSpPr>
              <p:nvPr/>
            </p:nvSpPr>
            <p:spPr bwMode="auto">
              <a:xfrm>
                <a:off x="7602339" y="1769271"/>
                <a:ext cx="188291" cy="402029"/>
              </a:xfrm>
              <a:custGeom>
                <a:avLst/>
                <a:gdLst>
                  <a:gd name="T0" fmla="*/ 66 w 615"/>
                  <a:gd name="T1" fmla="*/ 233 h 1311"/>
                  <a:gd name="T2" fmla="*/ 96 w 615"/>
                  <a:gd name="T3" fmla="*/ 224 h 1311"/>
                  <a:gd name="T4" fmla="*/ 107 w 615"/>
                  <a:gd name="T5" fmla="*/ 201 h 1311"/>
                  <a:gd name="T6" fmla="*/ 107 w 615"/>
                  <a:gd name="T7" fmla="*/ 184 h 1311"/>
                  <a:gd name="T8" fmla="*/ 116 w 615"/>
                  <a:gd name="T9" fmla="*/ 170 h 1311"/>
                  <a:gd name="T10" fmla="*/ 96 w 615"/>
                  <a:gd name="T11" fmla="*/ 162 h 1311"/>
                  <a:gd name="T12" fmla="*/ 89 w 615"/>
                  <a:gd name="T13" fmla="*/ 136 h 1311"/>
                  <a:gd name="T14" fmla="*/ 54 w 615"/>
                  <a:gd name="T15" fmla="*/ 74 h 1311"/>
                  <a:gd name="T16" fmla="*/ 25 w 615"/>
                  <a:gd name="T17" fmla="*/ 0 h 1311"/>
                  <a:gd name="T18" fmla="*/ 9 w 615"/>
                  <a:gd name="T19" fmla="*/ 6 h 1311"/>
                  <a:gd name="T20" fmla="*/ 2 w 615"/>
                  <a:gd name="T21" fmla="*/ 18 h 1311"/>
                  <a:gd name="T22" fmla="*/ 14 w 615"/>
                  <a:gd name="T23" fmla="*/ 52 h 1311"/>
                  <a:gd name="T24" fmla="*/ 18 w 615"/>
                  <a:gd name="T25" fmla="*/ 74 h 1311"/>
                  <a:gd name="T26" fmla="*/ 2 w 615"/>
                  <a:gd name="T27" fmla="*/ 97 h 1311"/>
                  <a:gd name="T28" fmla="*/ 0 w 615"/>
                  <a:gd name="T29" fmla="*/ 145 h 1311"/>
                  <a:gd name="T30" fmla="*/ 5 w 615"/>
                  <a:gd name="T31" fmla="*/ 200 h 1311"/>
                  <a:gd name="T32" fmla="*/ 12 w 615"/>
                  <a:gd name="T33" fmla="*/ 234 h 1311"/>
                  <a:gd name="T34" fmla="*/ 18 w 615"/>
                  <a:gd name="T35" fmla="*/ 248 h 1311"/>
                  <a:gd name="T36" fmla="*/ 66 w 615"/>
                  <a:gd name="T37" fmla="*/ 233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5" h="1311">
                    <a:moveTo>
                      <a:pt x="349" y="1231"/>
                    </a:moveTo>
                    <a:lnTo>
                      <a:pt x="507" y="1183"/>
                    </a:lnTo>
                    <a:lnTo>
                      <a:pt x="567" y="1063"/>
                    </a:lnTo>
                    <a:lnTo>
                      <a:pt x="567" y="975"/>
                    </a:lnTo>
                    <a:lnTo>
                      <a:pt x="615" y="900"/>
                    </a:lnTo>
                    <a:lnTo>
                      <a:pt x="508" y="859"/>
                    </a:lnTo>
                    <a:lnTo>
                      <a:pt x="472" y="721"/>
                    </a:lnTo>
                    <a:lnTo>
                      <a:pt x="285" y="390"/>
                    </a:lnTo>
                    <a:lnTo>
                      <a:pt x="135" y="0"/>
                    </a:lnTo>
                    <a:lnTo>
                      <a:pt x="46" y="31"/>
                    </a:lnTo>
                    <a:lnTo>
                      <a:pt x="13" y="97"/>
                    </a:lnTo>
                    <a:lnTo>
                      <a:pt x="75" y="277"/>
                    </a:lnTo>
                    <a:lnTo>
                      <a:pt x="96" y="393"/>
                    </a:lnTo>
                    <a:lnTo>
                      <a:pt x="12" y="514"/>
                    </a:lnTo>
                    <a:lnTo>
                      <a:pt x="0" y="766"/>
                    </a:lnTo>
                    <a:lnTo>
                      <a:pt x="24" y="1056"/>
                    </a:lnTo>
                    <a:lnTo>
                      <a:pt x="64" y="1239"/>
                    </a:lnTo>
                    <a:lnTo>
                      <a:pt x="96" y="1311"/>
                    </a:lnTo>
                    <a:lnTo>
                      <a:pt x="349" y="1231"/>
                    </a:lnTo>
                    <a:close/>
                  </a:path>
                </a:pathLst>
              </a:custGeom>
              <a:solidFill>
                <a:schemeClr val="accent4">
                  <a:lumMod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62" name="Nevada">
                <a:extLst>
                  <a:ext uri="{FF2B5EF4-FFF2-40B4-BE49-F238E27FC236}">
                    <a16:creationId xmlns:a16="http://schemas.microsoft.com/office/drawing/2014/main" id="{B7076B66-C31D-CF63-FE79-ADFAB9447818}"/>
                  </a:ext>
                </a:extLst>
              </p:cNvPr>
              <p:cNvSpPr>
                <a:spLocks/>
              </p:cNvSpPr>
              <p:nvPr/>
            </p:nvSpPr>
            <p:spPr bwMode="auto">
              <a:xfrm>
                <a:off x="2130536" y="2649518"/>
                <a:ext cx="788875" cy="1189874"/>
              </a:xfrm>
              <a:custGeom>
                <a:avLst/>
                <a:gdLst>
                  <a:gd name="T0" fmla="*/ 49 w 2565"/>
                  <a:gd name="T1" fmla="*/ 0 h 3871"/>
                  <a:gd name="T2" fmla="*/ 272 w 2565"/>
                  <a:gd name="T3" fmla="*/ 46 h 3871"/>
                  <a:gd name="T4" fmla="*/ 486 w 2565"/>
                  <a:gd name="T5" fmla="*/ 88 h 3871"/>
                  <a:gd name="T6" fmla="*/ 480 w 2565"/>
                  <a:gd name="T7" fmla="*/ 110 h 3871"/>
                  <a:gd name="T8" fmla="*/ 465 w 2565"/>
                  <a:gd name="T9" fmla="*/ 183 h 3871"/>
                  <a:gd name="T10" fmla="*/ 458 w 2565"/>
                  <a:gd name="T11" fmla="*/ 251 h 3871"/>
                  <a:gd name="T12" fmla="*/ 450 w 2565"/>
                  <a:gd name="T13" fmla="*/ 318 h 3871"/>
                  <a:gd name="T14" fmla="*/ 425 w 2565"/>
                  <a:gd name="T15" fmla="*/ 472 h 3871"/>
                  <a:gd name="T16" fmla="*/ 414 w 2565"/>
                  <a:gd name="T17" fmla="*/ 569 h 3871"/>
                  <a:gd name="T18" fmla="*/ 409 w 2565"/>
                  <a:gd name="T19" fmla="*/ 587 h 3871"/>
                  <a:gd name="T20" fmla="*/ 409 w 2565"/>
                  <a:gd name="T21" fmla="*/ 612 h 3871"/>
                  <a:gd name="T22" fmla="*/ 399 w 2565"/>
                  <a:gd name="T23" fmla="*/ 624 h 3871"/>
                  <a:gd name="T24" fmla="*/ 404 w 2565"/>
                  <a:gd name="T25" fmla="*/ 652 h 3871"/>
                  <a:gd name="T26" fmla="*/ 376 w 2565"/>
                  <a:gd name="T27" fmla="*/ 642 h 3871"/>
                  <a:gd name="T28" fmla="*/ 357 w 2565"/>
                  <a:gd name="T29" fmla="*/ 637 h 3871"/>
                  <a:gd name="T30" fmla="*/ 342 w 2565"/>
                  <a:gd name="T31" fmla="*/ 646 h 3871"/>
                  <a:gd name="T32" fmla="*/ 341 w 2565"/>
                  <a:gd name="T33" fmla="*/ 662 h 3871"/>
                  <a:gd name="T34" fmla="*/ 348 w 2565"/>
                  <a:gd name="T35" fmla="*/ 695 h 3871"/>
                  <a:gd name="T36" fmla="*/ 346 w 2565"/>
                  <a:gd name="T37" fmla="*/ 718 h 3871"/>
                  <a:gd name="T38" fmla="*/ 333 w 2565"/>
                  <a:gd name="T39" fmla="*/ 734 h 3871"/>
                  <a:gd name="T40" fmla="*/ 214 w 2565"/>
                  <a:gd name="T41" fmla="*/ 579 h 3871"/>
                  <a:gd name="T42" fmla="*/ 170 w 2565"/>
                  <a:gd name="T43" fmla="*/ 523 h 3871"/>
                  <a:gd name="T44" fmla="*/ 108 w 2565"/>
                  <a:gd name="T45" fmla="*/ 424 h 3871"/>
                  <a:gd name="T46" fmla="*/ 27 w 2565"/>
                  <a:gd name="T47" fmla="*/ 323 h 3871"/>
                  <a:gd name="T48" fmla="*/ 0 w 2565"/>
                  <a:gd name="T49" fmla="*/ 277 h 3871"/>
                  <a:gd name="T50" fmla="*/ 49 w 2565"/>
                  <a:gd name="T51" fmla="*/ 0 h 38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565" h="3871">
                    <a:moveTo>
                      <a:pt x="261" y="0"/>
                    </a:moveTo>
                    <a:lnTo>
                      <a:pt x="1437" y="241"/>
                    </a:lnTo>
                    <a:lnTo>
                      <a:pt x="2565" y="465"/>
                    </a:lnTo>
                    <a:lnTo>
                      <a:pt x="2532" y="580"/>
                    </a:lnTo>
                    <a:lnTo>
                      <a:pt x="2454" y="964"/>
                    </a:lnTo>
                    <a:lnTo>
                      <a:pt x="2418" y="1324"/>
                    </a:lnTo>
                    <a:lnTo>
                      <a:pt x="2376" y="1678"/>
                    </a:lnTo>
                    <a:lnTo>
                      <a:pt x="2243" y="2489"/>
                    </a:lnTo>
                    <a:lnTo>
                      <a:pt x="2183" y="2999"/>
                    </a:lnTo>
                    <a:lnTo>
                      <a:pt x="2160" y="3094"/>
                    </a:lnTo>
                    <a:lnTo>
                      <a:pt x="2160" y="3226"/>
                    </a:lnTo>
                    <a:lnTo>
                      <a:pt x="2106" y="3292"/>
                    </a:lnTo>
                    <a:lnTo>
                      <a:pt x="2130" y="3436"/>
                    </a:lnTo>
                    <a:lnTo>
                      <a:pt x="1986" y="3388"/>
                    </a:lnTo>
                    <a:lnTo>
                      <a:pt x="1883" y="3359"/>
                    </a:lnTo>
                    <a:lnTo>
                      <a:pt x="1806" y="3406"/>
                    </a:lnTo>
                    <a:lnTo>
                      <a:pt x="1800" y="3490"/>
                    </a:lnTo>
                    <a:lnTo>
                      <a:pt x="1836" y="3664"/>
                    </a:lnTo>
                    <a:lnTo>
                      <a:pt x="1824" y="3784"/>
                    </a:lnTo>
                    <a:lnTo>
                      <a:pt x="1757" y="3871"/>
                    </a:lnTo>
                    <a:lnTo>
                      <a:pt x="1130" y="3054"/>
                    </a:lnTo>
                    <a:lnTo>
                      <a:pt x="899" y="2758"/>
                    </a:lnTo>
                    <a:lnTo>
                      <a:pt x="569" y="2236"/>
                    </a:lnTo>
                    <a:lnTo>
                      <a:pt x="144" y="1702"/>
                    </a:lnTo>
                    <a:lnTo>
                      <a:pt x="0" y="1459"/>
                    </a:lnTo>
                    <a:lnTo>
                      <a:pt x="261" y="0"/>
                    </a:lnTo>
                    <a:close/>
                  </a:path>
                </a:pathLst>
              </a:custGeom>
              <a:solidFill>
                <a:schemeClr val="accent4">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63" name="Nebraska">
                <a:extLst>
                  <a:ext uri="{FF2B5EF4-FFF2-40B4-BE49-F238E27FC236}">
                    <a16:creationId xmlns:a16="http://schemas.microsoft.com/office/drawing/2014/main" id="{722ED3A6-7BBA-D813-5DC5-F005E31E3C79}"/>
                  </a:ext>
                </a:extLst>
              </p:cNvPr>
              <p:cNvSpPr>
                <a:spLocks/>
              </p:cNvSpPr>
              <p:nvPr/>
            </p:nvSpPr>
            <p:spPr bwMode="auto">
              <a:xfrm>
                <a:off x="4070258" y="2756510"/>
                <a:ext cx="1020992" cy="455525"/>
              </a:xfrm>
              <a:custGeom>
                <a:avLst/>
                <a:gdLst>
                  <a:gd name="T0" fmla="*/ 7 w 3321"/>
                  <a:gd name="T1" fmla="*/ 0 h 1486"/>
                  <a:gd name="T2" fmla="*/ 0 w 3321"/>
                  <a:gd name="T3" fmla="*/ 197 h 1486"/>
                  <a:gd name="T4" fmla="*/ 123 w 3321"/>
                  <a:gd name="T5" fmla="*/ 200 h 1486"/>
                  <a:gd name="T6" fmla="*/ 146 w 3321"/>
                  <a:gd name="T7" fmla="*/ 196 h 1486"/>
                  <a:gd name="T8" fmla="*/ 144 w 3321"/>
                  <a:gd name="T9" fmla="*/ 218 h 1486"/>
                  <a:gd name="T10" fmla="*/ 147 w 3321"/>
                  <a:gd name="T11" fmla="*/ 252 h 1486"/>
                  <a:gd name="T12" fmla="*/ 150 w 3321"/>
                  <a:gd name="T13" fmla="*/ 281 h 1486"/>
                  <a:gd name="T14" fmla="*/ 413 w 3321"/>
                  <a:gd name="T15" fmla="*/ 281 h 1486"/>
                  <a:gd name="T16" fmla="*/ 529 w 3321"/>
                  <a:gd name="T17" fmla="*/ 275 h 1486"/>
                  <a:gd name="T18" fmla="*/ 557 w 3321"/>
                  <a:gd name="T19" fmla="*/ 272 h 1486"/>
                  <a:gd name="T20" fmla="*/ 588 w 3321"/>
                  <a:gd name="T21" fmla="*/ 271 h 1486"/>
                  <a:gd name="T22" fmla="*/ 629 w 3321"/>
                  <a:gd name="T23" fmla="*/ 269 h 1486"/>
                  <a:gd name="T24" fmla="*/ 607 w 3321"/>
                  <a:gd name="T25" fmla="*/ 225 h 1486"/>
                  <a:gd name="T26" fmla="*/ 607 w 3321"/>
                  <a:gd name="T27" fmla="*/ 179 h 1486"/>
                  <a:gd name="T28" fmla="*/ 556 w 3321"/>
                  <a:gd name="T29" fmla="*/ 78 h 1486"/>
                  <a:gd name="T30" fmla="*/ 540 w 3321"/>
                  <a:gd name="T31" fmla="*/ 40 h 1486"/>
                  <a:gd name="T32" fmla="*/ 490 w 3321"/>
                  <a:gd name="T33" fmla="*/ 28 h 1486"/>
                  <a:gd name="T34" fmla="*/ 480 w 3321"/>
                  <a:gd name="T35" fmla="*/ 11 h 1486"/>
                  <a:gd name="T36" fmla="*/ 445 w 3321"/>
                  <a:gd name="T37" fmla="*/ 11 h 1486"/>
                  <a:gd name="T38" fmla="*/ 428 w 3321"/>
                  <a:gd name="T39" fmla="*/ 22 h 1486"/>
                  <a:gd name="T40" fmla="*/ 382 w 3321"/>
                  <a:gd name="T41" fmla="*/ 5 h 1486"/>
                  <a:gd name="T42" fmla="*/ 353 w 3321"/>
                  <a:gd name="T43" fmla="*/ 8 h 1486"/>
                  <a:gd name="T44" fmla="*/ 301 w 3321"/>
                  <a:gd name="T45" fmla="*/ 9 h 1486"/>
                  <a:gd name="T46" fmla="*/ 220 w 3321"/>
                  <a:gd name="T47" fmla="*/ 11 h 1486"/>
                  <a:gd name="T48" fmla="*/ 115 w 3321"/>
                  <a:gd name="T49" fmla="*/ 9 h 1486"/>
                  <a:gd name="T50" fmla="*/ 7 w 3321"/>
                  <a:gd name="T51" fmla="*/ 0 h 14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321" h="1486">
                    <a:moveTo>
                      <a:pt x="35" y="0"/>
                    </a:moveTo>
                    <a:lnTo>
                      <a:pt x="0" y="1044"/>
                    </a:lnTo>
                    <a:lnTo>
                      <a:pt x="651" y="1058"/>
                    </a:lnTo>
                    <a:lnTo>
                      <a:pt x="769" y="1034"/>
                    </a:lnTo>
                    <a:lnTo>
                      <a:pt x="761" y="1152"/>
                    </a:lnTo>
                    <a:lnTo>
                      <a:pt x="775" y="1332"/>
                    </a:lnTo>
                    <a:lnTo>
                      <a:pt x="793" y="1486"/>
                    </a:lnTo>
                    <a:lnTo>
                      <a:pt x="2181" y="1486"/>
                    </a:lnTo>
                    <a:lnTo>
                      <a:pt x="2791" y="1454"/>
                    </a:lnTo>
                    <a:lnTo>
                      <a:pt x="2939" y="1436"/>
                    </a:lnTo>
                    <a:lnTo>
                      <a:pt x="3107" y="1432"/>
                    </a:lnTo>
                    <a:lnTo>
                      <a:pt x="3321" y="1424"/>
                    </a:lnTo>
                    <a:lnTo>
                      <a:pt x="3203" y="1190"/>
                    </a:lnTo>
                    <a:lnTo>
                      <a:pt x="3203" y="946"/>
                    </a:lnTo>
                    <a:lnTo>
                      <a:pt x="2937" y="414"/>
                    </a:lnTo>
                    <a:lnTo>
                      <a:pt x="2849" y="212"/>
                    </a:lnTo>
                    <a:lnTo>
                      <a:pt x="2587" y="146"/>
                    </a:lnTo>
                    <a:lnTo>
                      <a:pt x="2533" y="56"/>
                    </a:lnTo>
                    <a:lnTo>
                      <a:pt x="2348" y="58"/>
                    </a:lnTo>
                    <a:lnTo>
                      <a:pt x="2259" y="116"/>
                    </a:lnTo>
                    <a:lnTo>
                      <a:pt x="2017" y="24"/>
                    </a:lnTo>
                    <a:lnTo>
                      <a:pt x="1862" y="42"/>
                    </a:lnTo>
                    <a:lnTo>
                      <a:pt x="1587" y="50"/>
                    </a:lnTo>
                    <a:lnTo>
                      <a:pt x="1159" y="56"/>
                    </a:lnTo>
                    <a:lnTo>
                      <a:pt x="607" y="48"/>
                    </a:lnTo>
                    <a:lnTo>
                      <a:pt x="35" y="0"/>
                    </a:lnTo>
                    <a:close/>
                  </a:path>
                </a:pathLst>
              </a:custGeom>
              <a:solidFill>
                <a:schemeClr val="accent4">
                  <a:lumMod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64" name="Montana">
                <a:extLst>
                  <a:ext uri="{FF2B5EF4-FFF2-40B4-BE49-F238E27FC236}">
                    <a16:creationId xmlns:a16="http://schemas.microsoft.com/office/drawing/2014/main" id="{E38ABCA0-2E4F-7E1D-9D74-539889EB56DC}"/>
                  </a:ext>
                </a:extLst>
              </p:cNvPr>
              <p:cNvSpPr>
                <a:spLocks/>
              </p:cNvSpPr>
              <p:nvPr/>
            </p:nvSpPr>
            <p:spPr bwMode="auto">
              <a:xfrm>
                <a:off x="2864222" y="1712532"/>
                <a:ext cx="1253110" cy="752182"/>
              </a:xfrm>
              <a:custGeom>
                <a:avLst/>
                <a:gdLst>
                  <a:gd name="T0" fmla="*/ 6 w 4076"/>
                  <a:gd name="T1" fmla="*/ 0 h 2449"/>
                  <a:gd name="T2" fmla="*/ 221 w 4076"/>
                  <a:gd name="T3" fmla="*/ 36 h 2449"/>
                  <a:gd name="T4" fmla="*/ 511 w 4076"/>
                  <a:gd name="T5" fmla="*/ 70 h 2449"/>
                  <a:gd name="T6" fmla="*/ 772 w 4076"/>
                  <a:gd name="T7" fmla="*/ 88 h 2449"/>
                  <a:gd name="T8" fmla="*/ 755 w 4076"/>
                  <a:gd name="T9" fmla="*/ 457 h 2449"/>
                  <a:gd name="T10" fmla="*/ 385 w 4076"/>
                  <a:gd name="T11" fmla="*/ 429 h 2449"/>
                  <a:gd name="T12" fmla="*/ 277 w 4076"/>
                  <a:gd name="T13" fmla="*/ 417 h 2449"/>
                  <a:gd name="T14" fmla="*/ 267 w 4076"/>
                  <a:gd name="T15" fmla="*/ 452 h 2449"/>
                  <a:gd name="T16" fmla="*/ 239 w 4076"/>
                  <a:gd name="T17" fmla="*/ 441 h 2449"/>
                  <a:gd name="T18" fmla="*/ 239 w 4076"/>
                  <a:gd name="T19" fmla="*/ 459 h 2449"/>
                  <a:gd name="T20" fmla="*/ 217 w 4076"/>
                  <a:gd name="T21" fmla="*/ 464 h 2449"/>
                  <a:gd name="T22" fmla="*/ 199 w 4076"/>
                  <a:gd name="T23" fmla="*/ 453 h 2449"/>
                  <a:gd name="T24" fmla="*/ 154 w 4076"/>
                  <a:gd name="T25" fmla="*/ 453 h 2449"/>
                  <a:gd name="T26" fmla="*/ 136 w 4076"/>
                  <a:gd name="T27" fmla="*/ 444 h 2449"/>
                  <a:gd name="T28" fmla="*/ 120 w 4076"/>
                  <a:gd name="T29" fmla="*/ 426 h 2449"/>
                  <a:gd name="T30" fmla="*/ 110 w 4076"/>
                  <a:gd name="T31" fmla="*/ 409 h 2449"/>
                  <a:gd name="T32" fmla="*/ 108 w 4076"/>
                  <a:gd name="T33" fmla="*/ 380 h 2449"/>
                  <a:gd name="T34" fmla="*/ 92 w 4076"/>
                  <a:gd name="T35" fmla="*/ 327 h 2449"/>
                  <a:gd name="T36" fmla="*/ 60 w 4076"/>
                  <a:gd name="T37" fmla="*/ 329 h 2449"/>
                  <a:gd name="T38" fmla="*/ 60 w 4076"/>
                  <a:gd name="T39" fmla="*/ 287 h 2449"/>
                  <a:gd name="T40" fmla="*/ 80 w 4076"/>
                  <a:gd name="T41" fmla="*/ 231 h 2449"/>
                  <a:gd name="T42" fmla="*/ 57 w 4076"/>
                  <a:gd name="T43" fmla="*/ 219 h 2449"/>
                  <a:gd name="T44" fmla="*/ 46 w 4076"/>
                  <a:gd name="T45" fmla="*/ 197 h 2449"/>
                  <a:gd name="T46" fmla="*/ 18 w 4076"/>
                  <a:gd name="T47" fmla="*/ 167 h 2449"/>
                  <a:gd name="T48" fmla="*/ 0 w 4076"/>
                  <a:gd name="T49" fmla="*/ 140 h 2449"/>
                  <a:gd name="T50" fmla="*/ 0 w 4076"/>
                  <a:gd name="T51" fmla="*/ 87 h 2449"/>
                  <a:gd name="T52" fmla="*/ 1 w 4076"/>
                  <a:gd name="T53" fmla="*/ 49 h 2449"/>
                  <a:gd name="T54" fmla="*/ 6 w 4076"/>
                  <a:gd name="T55" fmla="*/ 0 h 24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076" h="2449">
                    <a:moveTo>
                      <a:pt x="31" y="0"/>
                    </a:moveTo>
                    <a:lnTo>
                      <a:pt x="1165" y="192"/>
                    </a:lnTo>
                    <a:lnTo>
                      <a:pt x="2696" y="372"/>
                    </a:lnTo>
                    <a:lnTo>
                      <a:pt x="4076" y="462"/>
                    </a:lnTo>
                    <a:lnTo>
                      <a:pt x="3986" y="2412"/>
                    </a:lnTo>
                    <a:lnTo>
                      <a:pt x="2035" y="2262"/>
                    </a:lnTo>
                    <a:lnTo>
                      <a:pt x="1465" y="2202"/>
                    </a:lnTo>
                    <a:lnTo>
                      <a:pt x="1410" y="2388"/>
                    </a:lnTo>
                    <a:lnTo>
                      <a:pt x="1264" y="2329"/>
                    </a:lnTo>
                    <a:lnTo>
                      <a:pt x="1262" y="2421"/>
                    </a:lnTo>
                    <a:lnTo>
                      <a:pt x="1146" y="2449"/>
                    </a:lnTo>
                    <a:lnTo>
                      <a:pt x="1053" y="2390"/>
                    </a:lnTo>
                    <a:lnTo>
                      <a:pt x="811" y="2390"/>
                    </a:lnTo>
                    <a:lnTo>
                      <a:pt x="720" y="2341"/>
                    </a:lnTo>
                    <a:lnTo>
                      <a:pt x="632" y="2251"/>
                    </a:lnTo>
                    <a:lnTo>
                      <a:pt x="583" y="2159"/>
                    </a:lnTo>
                    <a:lnTo>
                      <a:pt x="572" y="2005"/>
                    </a:lnTo>
                    <a:lnTo>
                      <a:pt x="486" y="1727"/>
                    </a:lnTo>
                    <a:lnTo>
                      <a:pt x="319" y="1736"/>
                    </a:lnTo>
                    <a:lnTo>
                      <a:pt x="318" y="1515"/>
                    </a:lnTo>
                    <a:lnTo>
                      <a:pt x="421" y="1220"/>
                    </a:lnTo>
                    <a:lnTo>
                      <a:pt x="303" y="1154"/>
                    </a:lnTo>
                    <a:lnTo>
                      <a:pt x="241" y="1040"/>
                    </a:lnTo>
                    <a:lnTo>
                      <a:pt x="94" y="881"/>
                    </a:lnTo>
                    <a:lnTo>
                      <a:pt x="1" y="737"/>
                    </a:lnTo>
                    <a:lnTo>
                      <a:pt x="0" y="461"/>
                    </a:lnTo>
                    <a:lnTo>
                      <a:pt x="6" y="257"/>
                    </a:lnTo>
                    <a:lnTo>
                      <a:pt x="31" y="0"/>
                    </a:lnTo>
                    <a:close/>
                  </a:path>
                </a:pathLst>
              </a:custGeom>
              <a:solidFill>
                <a:schemeClr val="accent4">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65" name="Missouri">
                <a:extLst>
                  <a:ext uri="{FF2B5EF4-FFF2-40B4-BE49-F238E27FC236}">
                    <a16:creationId xmlns:a16="http://schemas.microsoft.com/office/drawing/2014/main" id="{2836BC8D-1698-410D-E440-D50C8DCD0F7E}"/>
                  </a:ext>
                </a:extLst>
              </p:cNvPr>
              <p:cNvSpPr>
                <a:spLocks/>
              </p:cNvSpPr>
              <p:nvPr/>
            </p:nvSpPr>
            <p:spPr bwMode="auto">
              <a:xfrm>
                <a:off x="5055540" y="3075864"/>
                <a:ext cx="861918" cy="677613"/>
              </a:xfrm>
              <a:custGeom>
                <a:avLst/>
                <a:gdLst>
                  <a:gd name="T0" fmla="*/ 0 w 2800"/>
                  <a:gd name="T1" fmla="*/ 29 h 2206"/>
                  <a:gd name="T2" fmla="*/ 22 w 2800"/>
                  <a:gd name="T3" fmla="*/ 73 h 2206"/>
                  <a:gd name="T4" fmla="*/ 47 w 2800"/>
                  <a:gd name="T5" fmla="*/ 86 h 2206"/>
                  <a:gd name="T6" fmla="*/ 69 w 2800"/>
                  <a:gd name="T7" fmla="*/ 98 h 2206"/>
                  <a:gd name="T8" fmla="*/ 63 w 2800"/>
                  <a:gd name="T9" fmla="*/ 115 h 2206"/>
                  <a:gd name="T10" fmla="*/ 74 w 2800"/>
                  <a:gd name="T11" fmla="*/ 146 h 2206"/>
                  <a:gd name="T12" fmla="*/ 97 w 2800"/>
                  <a:gd name="T13" fmla="*/ 160 h 2206"/>
                  <a:gd name="T14" fmla="*/ 101 w 2800"/>
                  <a:gd name="T15" fmla="*/ 211 h 2206"/>
                  <a:gd name="T16" fmla="*/ 101 w 2800"/>
                  <a:gd name="T17" fmla="*/ 271 h 2206"/>
                  <a:gd name="T18" fmla="*/ 107 w 2800"/>
                  <a:gd name="T19" fmla="*/ 324 h 2206"/>
                  <a:gd name="T20" fmla="*/ 107 w 2800"/>
                  <a:gd name="T21" fmla="*/ 359 h 2206"/>
                  <a:gd name="T22" fmla="*/ 117 w 2800"/>
                  <a:gd name="T23" fmla="*/ 385 h 2206"/>
                  <a:gd name="T24" fmla="*/ 122 w 2800"/>
                  <a:gd name="T25" fmla="*/ 409 h 2206"/>
                  <a:gd name="T26" fmla="*/ 335 w 2800"/>
                  <a:gd name="T27" fmla="*/ 382 h 2206"/>
                  <a:gd name="T28" fmla="*/ 393 w 2800"/>
                  <a:gd name="T29" fmla="*/ 376 h 2206"/>
                  <a:gd name="T30" fmla="*/ 452 w 2800"/>
                  <a:gd name="T31" fmla="*/ 364 h 2206"/>
                  <a:gd name="T32" fmla="*/ 463 w 2800"/>
                  <a:gd name="T33" fmla="*/ 375 h 2206"/>
                  <a:gd name="T34" fmla="*/ 446 w 2800"/>
                  <a:gd name="T35" fmla="*/ 398 h 2206"/>
                  <a:gd name="T36" fmla="*/ 458 w 2800"/>
                  <a:gd name="T37" fmla="*/ 409 h 2206"/>
                  <a:gd name="T38" fmla="*/ 478 w 2800"/>
                  <a:gd name="T39" fmla="*/ 418 h 2206"/>
                  <a:gd name="T40" fmla="*/ 497 w 2800"/>
                  <a:gd name="T41" fmla="*/ 409 h 2206"/>
                  <a:gd name="T42" fmla="*/ 503 w 2800"/>
                  <a:gd name="T43" fmla="*/ 398 h 2206"/>
                  <a:gd name="T44" fmla="*/ 497 w 2800"/>
                  <a:gd name="T45" fmla="*/ 381 h 2206"/>
                  <a:gd name="T46" fmla="*/ 507 w 2800"/>
                  <a:gd name="T47" fmla="*/ 363 h 2206"/>
                  <a:gd name="T48" fmla="*/ 515 w 2800"/>
                  <a:gd name="T49" fmla="*/ 347 h 2206"/>
                  <a:gd name="T50" fmla="*/ 531 w 2800"/>
                  <a:gd name="T51" fmla="*/ 339 h 2206"/>
                  <a:gd name="T52" fmla="*/ 529 w 2800"/>
                  <a:gd name="T53" fmla="*/ 324 h 2206"/>
                  <a:gd name="T54" fmla="*/ 528 w 2800"/>
                  <a:gd name="T55" fmla="*/ 306 h 2206"/>
                  <a:gd name="T56" fmla="*/ 509 w 2800"/>
                  <a:gd name="T57" fmla="*/ 296 h 2206"/>
                  <a:gd name="T58" fmla="*/ 492 w 2800"/>
                  <a:gd name="T59" fmla="*/ 273 h 2206"/>
                  <a:gd name="T60" fmla="*/ 486 w 2800"/>
                  <a:gd name="T61" fmla="*/ 244 h 2206"/>
                  <a:gd name="T62" fmla="*/ 458 w 2800"/>
                  <a:gd name="T63" fmla="*/ 222 h 2206"/>
                  <a:gd name="T64" fmla="*/ 435 w 2800"/>
                  <a:gd name="T65" fmla="*/ 210 h 2206"/>
                  <a:gd name="T66" fmla="*/ 418 w 2800"/>
                  <a:gd name="T67" fmla="*/ 187 h 2206"/>
                  <a:gd name="T68" fmla="*/ 426 w 2800"/>
                  <a:gd name="T69" fmla="*/ 166 h 2206"/>
                  <a:gd name="T70" fmla="*/ 429 w 2800"/>
                  <a:gd name="T71" fmla="*/ 142 h 2206"/>
                  <a:gd name="T72" fmla="*/ 414 w 2800"/>
                  <a:gd name="T73" fmla="*/ 133 h 2206"/>
                  <a:gd name="T74" fmla="*/ 396 w 2800"/>
                  <a:gd name="T75" fmla="*/ 128 h 2206"/>
                  <a:gd name="T76" fmla="*/ 378 w 2800"/>
                  <a:gd name="T77" fmla="*/ 114 h 2206"/>
                  <a:gd name="T78" fmla="*/ 355 w 2800"/>
                  <a:gd name="T79" fmla="*/ 85 h 2206"/>
                  <a:gd name="T80" fmla="*/ 337 w 2800"/>
                  <a:gd name="T81" fmla="*/ 74 h 2206"/>
                  <a:gd name="T82" fmla="*/ 321 w 2800"/>
                  <a:gd name="T83" fmla="*/ 51 h 2206"/>
                  <a:gd name="T84" fmla="*/ 315 w 2800"/>
                  <a:gd name="T85" fmla="*/ 21 h 2206"/>
                  <a:gd name="T86" fmla="*/ 287 w 2800"/>
                  <a:gd name="T87" fmla="*/ 0 h 2206"/>
                  <a:gd name="T88" fmla="*/ 260 w 2800"/>
                  <a:gd name="T89" fmla="*/ 4 h 2206"/>
                  <a:gd name="T90" fmla="*/ 200 w 2800"/>
                  <a:gd name="T91" fmla="*/ 15 h 2206"/>
                  <a:gd name="T92" fmla="*/ 122 w 2800"/>
                  <a:gd name="T93" fmla="*/ 22 h 2206"/>
                  <a:gd name="T94" fmla="*/ 58 w 2800"/>
                  <a:gd name="T95" fmla="*/ 26 h 2206"/>
                  <a:gd name="T96" fmla="*/ 0 w 2800"/>
                  <a:gd name="T97" fmla="*/ 29 h 220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00" h="2206">
                    <a:moveTo>
                      <a:pt x="0" y="152"/>
                    </a:moveTo>
                    <a:lnTo>
                      <a:pt x="118" y="387"/>
                    </a:lnTo>
                    <a:lnTo>
                      <a:pt x="247" y="452"/>
                    </a:lnTo>
                    <a:lnTo>
                      <a:pt x="363" y="518"/>
                    </a:lnTo>
                    <a:lnTo>
                      <a:pt x="333" y="608"/>
                    </a:lnTo>
                    <a:lnTo>
                      <a:pt x="388" y="771"/>
                    </a:lnTo>
                    <a:lnTo>
                      <a:pt x="513" y="845"/>
                    </a:lnTo>
                    <a:lnTo>
                      <a:pt x="535" y="1115"/>
                    </a:lnTo>
                    <a:lnTo>
                      <a:pt x="535" y="1431"/>
                    </a:lnTo>
                    <a:lnTo>
                      <a:pt x="562" y="1710"/>
                    </a:lnTo>
                    <a:lnTo>
                      <a:pt x="562" y="1895"/>
                    </a:lnTo>
                    <a:lnTo>
                      <a:pt x="618" y="2034"/>
                    </a:lnTo>
                    <a:lnTo>
                      <a:pt x="645" y="2160"/>
                    </a:lnTo>
                    <a:lnTo>
                      <a:pt x="1769" y="2014"/>
                    </a:lnTo>
                    <a:lnTo>
                      <a:pt x="2073" y="1982"/>
                    </a:lnTo>
                    <a:lnTo>
                      <a:pt x="2383" y="1920"/>
                    </a:lnTo>
                    <a:lnTo>
                      <a:pt x="2443" y="1980"/>
                    </a:lnTo>
                    <a:lnTo>
                      <a:pt x="2353" y="2100"/>
                    </a:lnTo>
                    <a:lnTo>
                      <a:pt x="2413" y="2160"/>
                    </a:lnTo>
                    <a:lnTo>
                      <a:pt x="2520" y="2206"/>
                    </a:lnTo>
                    <a:lnTo>
                      <a:pt x="2623" y="2160"/>
                    </a:lnTo>
                    <a:lnTo>
                      <a:pt x="2653" y="2100"/>
                    </a:lnTo>
                    <a:lnTo>
                      <a:pt x="2623" y="2010"/>
                    </a:lnTo>
                    <a:lnTo>
                      <a:pt x="2672" y="1918"/>
                    </a:lnTo>
                    <a:lnTo>
                      <a:pt x="2713" y="1830"/>
                    </a:lnTo>
                    <a:lnTo>
                      <a:pt x="2800" y="1790"/>
                    </a:lnTo>
                    <a:lnTo>
                      <a:pt x="2792" y="1710"/>
                    </a:lnTo>
                    <a:lnTo>
                      <a:pt x="2784" y="1614"/>
                    </a:lnTo>
                    <a:lnTo>
                      <a:pt x="2683" y="1560"/>
                    </a:lnTo>
                    <a:lnTo>
                      <a:pt x="2593" y="1440"/>
                    </a:lnTo>
                    <a:lnTo>
                      <a:pt x="2563" y="1290"/>
                    </a:lnTo>
                    <a:lnTo>
                      <a:pt x="2413" y="1170"/>
                    </a:lnTo>
                    <a:lnTo>
                      <a:pt x="2293" y="1110"/>
                    </a:lnTo>
                    <a:lnTo>
                      <a:pt x="2203" y="989"/>
                    </a:lnTo>
                    <a:lnTo>
                      <a:pt x="2248" y="878"/>
                    </a:lnTo>
                    <a:lnTo>
                      <a:pt x="2263" y="749"/>
                    </a:lnTo>
                    <a:lnTo>
                      <a:pt x="2184" y="702"/>
                    </a:lnTo>
                    <a:lnTo>
                      <a:pt x="2089" y="678"/>
                    </a:lnTo>
                    <a:lnTo>
                      <a:pt x="1994" y="599"/>
                    </a:lnTo>
                    <a:lnTo>
                      <a:pt x="1874" y="449"/>
                    </a:lnTo>
                    <a:lnTo>
                      <a:pt x="1777" y="390"/>
                    </a:lnTo>
                    <a:lnTo>
                      <a:pt x="1694" y="269"/>
                    </a:lnTo>
                    <a:lnTo>
                      <a:pt x="1659" y="110"/>
                    </a:lnTo>
                    <a:lnTo>
                      <a:pt x="1511" y="0"/>
                    </a:lnTo>
                    <a:lnTo>
                      <a:pt x="1373" y="23"/>
                    </a:lnTo>
                    <a:lnTo>
                      <a:pt x="1055" y="80"/>
                    </a:lnTo>
                    <a:lnTo>
                      <a:pt x="643" y="117"/>
                    </a:lnTo>
                    <a:lnTo>
                      <a:pt x="306" y="135"/>
                    </a:lnTo>
                    <a:lnTo>
                      <a:pt x="0" y="152"/>
                    </a:lnTo>
                    <a:close/>
                  </a:path>
                </a:pathLst>
              </a:custGeom>
              <a:solidFill>
                <a:schemeClr val="accent4">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66" name="Mississippi">
                <a:extLst>
                  <a:ext uri="{FF2B5EF4-FFF2-40B4-BE49-F238E27FC236}">
                    <a16:creationId xmlns:a16="http://schemas.microsoft.com/office/drawing/2014/main" id="{A94F6299-B92A-0DF1-B48F-B9161E95B612}"/>
                  </a:ext>
                </a:extLst>
              </p:cNvPr>
              <p:cNvSpPr>
                <a:spLocks/>
              </p:cNvSpPr>
              <p:nvPr/>
            </p:nvSpPr>
            <p:spPr bwMode="auto">
              <a:xfrm>
                <a:off x="5699950" y="3871816"/>
                <a:ext cx="431771" cy="748941"/>
              </a:xfrm>
              <a:custGeom>
                <a:avLst/>
                <a:gdLst>
                  <a:gd name="T0" fmla="*/ 74 w 1400"/>
                  <a:gd name="T1" fmla="*/ 16 h 2439"/>
                  <a:gd name="T2" fmla="*/ 63 w 1400"/>
                  <a:gd name="T3" fmla="*/ 36 h 2439"/>
                  <a:gd name="T4" fmla="*/ 46 w 1400"/>
                  <a:gd name="T5" fmla="*/ 82 h 2439"/>
                  <a:gd name="T6" fmla="*/ 25 w 1400"/>
                  <a:gd name="T7" fmla="*/ 110 h 2439"/>
                  <a:gd name="T8" fmla="*/ 17 w 1400"/>
                  <a:gd name="T9" fmla="*/ 147 h 2439"/>
                  <a:gd name="T10" fmla="*/ 20 w 1400"/>
                  <a:gd name="T11" fmla="*/ 200 h 2439"/>
                  <a:gd name="T12" fmla="*/ 17 w 1400"/>
                  <a:gd name="T13" fmla="*/ 231 h 2439"/>
                  <a:gd name="T14" fmla="*/ 26 w 1400"/>
                  <a:gd name="T15" fmla="*/ 252 h 2439"/>
                  <a:gd name="T16" fmla="*/ 34 w 1400"/>
                  <a:gd name="T17" fmla="*/ 265 h 2439"/>
                  <a:gd name="T18" fmla="*/ 29 w 1400"/>
                  <a:gd name="T19" fmla="*/ 279 h 2439"/>
                  <a:gd name="T20" fmla="*/ 34 w 1400"/>
                  <a:gd name="T21" fmla="*/ 293 h 2439"/>
                  <a:gd name="T22" fmla="*/ 23 w 1400"/>
                  <a:gd name="T23" fmla="*/ 311 h 2439"/>
                  <a:gd name="T24" fmla="*/ 23 w 1400"/>
                  <a:gd name="T25" fmla="*/ 333 h 2439"/>
                  <a:gd name="T26" fmla="*/ 5 w 1400"/>
                  <a:gd name="T27" fmla="*/ 359 h 2439"/>
                  <a:gd name="T28" fmla="*/ 0 w 1400"/>
                  <a:gd name="T29" fmla="*/ 384 h 2439"/>
                  <a:gd name="T30" fmla="*/ 1 w 1400"/>
                  <a:gd name="T31" fmla="*/ 407 h 2439"/>
                  <a:gd name="T32" fmla="*/ 84 w 1400"/>
                  <a:gd name="T33" fmla="*/ 407 h 2439"/>
                  <a:gd name="T34" fmla="*/ 111 w 1400"/>
                  <a:gd name="T35" fmla="*/ 402 h 2439"/>
                  <a:gd name="T36" fmla="*/ 139 w 1400"/>
                  <a:gd name="T37" fmla="*/ 397 h 2439"/>
                  <a:gd name="T38" fmla="*/ 154 w 1400"/>
                  <a:gd name="T39" fmla="*/ 401 h 2439"/>
                  <a:gd name="T40" fmla="*/ 151 w 1400"/>
                  <a:gd name="T41" fmla="*/ 421 h 2439"/>
                  <a:gd name="T42" fmla="*/ 161 w 1400"/>
                  <a:gd name="T43" fmla="*/ 446 h 2439"/>
                  <a:gd name="T44" fmla="*/ 173 w 1400"/>
                  <a:gd name="T45" fmla="*/ 462 h 2439"/>
                  <a:gd name="T46" fmla="*/ 218 w 1400"/>
                  <a:gd name="T47" fmla="*/ 437 h 2439"/>
                  <a:gd name="T48" fmla="*/ 258 w 1400"/>
                  <a:gd name="T49" fmla="*/ 437 h 2439"/>
                  <a:gd name="T50" fmla="*/ 264 w 1400"/>
                  <a:gd name="T51" fmla="*/ 426 h 2439"/>
                  <a:gd name="T52" fmla="*/ 266 w 1400"/>
                  <a:gd name="T53" fmla="*/ 386 h 2439"/>
                  <a:gd name="T54" fmla="*/ 259 w 1400"/>
                  <a:gd name="T55" fmla="*/ 336 h 2439"/>
                  <a:gd name="T56" fmla="*/ 252 w 1400"/>
                  <a:gd name="T57" fmla="*/ 278 h 2439"/>
                  <a:gd name="T58" fmla="*/ 243 w 1400"/>
                  <a:gd name="T59" fmla="*/ 159 h 2439"/>
                  <a:gd name="T60" fmla="*/ 235 w 1400"/>
                  <a:gd name="T61" fmla="*/ 96 h 2439"/>
                  <a:gd name="T62" fmla="*/ 236 w 1400"/>
                  <a:gd name="T63" fmla="*/ 52 h 2439"/>
                  <a:gd name="T64" fmla="*/ 218 w 1400"/>
                  <a:gd name="T65" fmla="*/ 0 h 2439"/>
                  <a:gd name="T66" fmla="*/ 188 w 1400"/>
                  <a:gd name="T67" fmla="*/ 1 h 2439"/>
                  <a:gd name="T68" fmla="*/ 171 w 1400"/>
                  <a:gd name="T69" fmla="*/ 1 h 2439"/>
                  <a:gd name="T70" fmla="*/ 149 w 1400"/>
                  <a:gd name="T71" fmla="*/ 6 h 2439"/>
                  <a:gd name="T72" fmla="*/ 118 w 1400"/>
                  <a:gd name="T73" fmla="*/ 8 h 2439"/>
                  <a:gd name="T74" fmla="*/ 84 w 1400"/>
                  <a:gd name="T75" fmla="*/ 15 h 2439"/>
                  <a:gd name="T76" fmla="*/ 74 w 1400"/>
                  <a:gd name="T77" fmla="*/ 16 h 24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0" h="2439">
                    <a:moveTo>
                      <a:pt x="390" y="83"/>
                    </a:moveTo>
                    <a:lnTo>
                      <a:pt x="330" y="189"/>
                    </a:lnTo>
                    <a:lnTo>
                      <a:pt x="241" y="431"/>
                    </a:lnTo>
                    <a:lnTo>
                      <a:pt x="129" y="582"/>
                    </a:lnTo>
                    <a:lnTo>
                      <a:pt x="87" y="774"/>
                    </a:lnTo>
                    <a:lnTo>
                      <a:pt x="106" y="1056"/>
                    </a:lnTo>
                    <a:lnTo>
                      <a:pt x="90" y="1221"/>
                    </a:lnTo>
                    <a:lnTo>
                      <a:pt x="139" y="1329"/>
                    </a:lnTo>
                    <a:lnTo>
                      <a:pt x="180" y="1398"/>
                    </a:lnTo>
                    <a:lnTo>
                      <a:pt x="151" y="1472"/>
                    </a:lnTo>
                    <a:lnTo>
                      <a:pt x="180" y="1548"/>
                    </a:lnTo>
                    <a:lnTo>
                      <a:pt x="120" y="1640"/>
                    </a:lnTo>
                    <a:lnTo>
                      <a:pt x="121" y="1758"/>
                    </a:lnTo>
                    <a:lnTo>
                      <a:pt x="25" y="1893"/>
                    </a:lnTo>
                    <a:lnTo>
                      <a:pt x="0" y="2027"/>
                    </a:lnTo>
                    <a:lnTo>
                      <a:pt x="3" y="2147"/>
                    </a:lnTo>
                    <a:lnTo>
                      <a:pt x="444" y="2151"/>
                    </a:lnTo>
                    <a:lnTo>
                      <a:pt x="585" y="2121"/>
                    </a:lnTo>
                    <a:lnTo>
                      <a:pt x="732" y="2097"/>
                    </a:lnTo>
                    <a:lnTo>
                      <a:pt x="811" y="2117"/>
                    </a:lnTo>
                    <a:lnTo>
                      <a:pt x="793" y="2223"/>
                    </a:lnTo>
                    <a:lnTo>
                      <a:pt x="847" y="2357"/>
                    </a:lnTo>
                    <a:lnTo>
                      <a:pt x="910" y="2439"/>
                    </a:lnTo>
                    <a:lnTo>
                      <a:pt x="1148" y="2309"/>
                    </a:lnTo>
                    <a:lnTo>
                      <a:pt x="1358" y="2309"/>
                    </a:lnTo>
                    <a:lnTo>
                      <a:pt x="1388" y="2249"/>
                    </a:lnTo>
                    <a:lnTo>
                      <a:pt x="1400" y="2037"/>
                    </a:lnTo>
                    <a:lnTo>
                      <a:pt x="1363" y="1772"/>
                    </a:lnTo>
                    <a:lnTo>
                      <a:pt x="1327" y="1470"/>
                    </a:lnTo>
                    <a:lnTo>
                      <a:pt x="1281" y="839"/>
                    </a:lnTo>
                    <a:lnTo>
                      <a:pt x="1238" y="509"/>
                    </a:lnTo>
                    <a:lnTo>
                      <a:pt x="1244" y="272"/>
                    </a:lnTo>
                    <a:lnTo>
                      <a:pt x="1146" y="0"/>
                    </a:lnTo>
                    <a:lnTo>
                      <a:pt x="988" y="5"/>
                    </a:lnTo>
                    <a:lnTo>
                      <a:pt x="900" y="6"/>
                    </a:lnTo>
                    <a:lnTo>
                      <a:pt x="786" y="30"/>
                    </a:lnTo>
                    <a:lnTo>
                      <a:pt x="621" y="42"/>
                    </a:lnTo>
                    <a:lnTo>
                      <a:pt x="444" y="77"/>
                    </a:lnTo>
                    <a:lnTo>
                      <a:pt x="390" y="83"/>
                    </a:lnTo>
                    <a:close/>
                  </a:path>
                </a:pathLst>
              </a:custGeom>
              <a:solidFill>
                <a:schemeClr val="accent4">
                  <a:lumMod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1267" name="Minnesota">
                <a:extLst>
                  <a:ext uri="{FF2B5EF4-FFF2-40B4-BE49-F238E27FC236}">
                    <a16:creationId xmlns:a16="http://schemas.microsoft.com/office/drawing/2014/main" id="{3F38434E-E2AC-F01D-3007-8B849D591E55}"/>
                  </a:ext>
                </a:extLst>
              </p:cNvPr>
              <p:cNvSpPr>
                <a:spLocks/>
              </p:cNvSpPr>
              <p:nvPr/>
            </p:nvSpPr>
            <p:spPr bwMode="auto">
              <a:xfrm>
                <a:off x="4813683" y="1770891"/>
                <a:ext cx="801861" cy="915912"/>
              </a:xfrm>
              <a:custGeom>
                <a:avLst/>
                <a:gdLst>
                  <a:gd name="T0" fmla="*/ 0 w 2604"/>
                  <a:gd name="T1" fmla="*/ 45 h 2977"/>
                  <a:gd name="T2" fmla="*/ 31 w 2604"/>
                  <a:gd name="T3" fmla="*/ 46 h 2977"/>
                  <a:gd name="T4" fmla="*/ 64 w 2604"/>
                  <a:gd name="T5" fmla="*/ 43 h 2977"/>
                  <a:gd name="T6" fmla="*/ 91 w 2604"/>
                  <a:gd name="T7" fmla="*/ 46 h 2977"/>
                  <a:gd name="T8" fmla="*/ 117 w 2604"/>
                  <a:gd name="T9" fmla="*/ 40 h 2977"/>
                  <a:gd name="T10" fmla="*/ 117 w 2604"/>
                  <a:gd name="T11" fmla="*/ 0 h 2977"/>
                  <a:gd name="T12" fmla="*/ 137 w 2604"/>
                  <a:gd name="T13" fmla="*/ 5 h 2977"/>
                  <a:gd name="T14" fmla="*/ 125 w 2604"/>
                  <a:gd name="T15" fmla="*/ 25 h 2977"/>
                  <a:gd name="T16" fmla="*/ 134 w 2604"/>
                  <a:gd name="T17" fmla="*/ 40 h 2977"/>
                  <a:gd name="T18" fmla="*/ 163 w 2604"/>
                  <a:gd name="T19" fmla="*/ 51 h 2977"/>
                  <a:gd name="T20" fmla="*/ 184 w 2604"/>
                  <a:gd name="T21" fmla="*/ 61 h 2977"/>
                  <a:gd name="T22" fmla="*/ 225 w 2604"/>
                  <a:gd name="T23" fmla="*/ 68 h 2977"/>
                  <a:gd name="T24" fmla="*/ 265 w 2604"/>
                  <a:gd name="T25" fmla="*/ 68 h 2977"/>
                  <a:gd name="T26" fmla="*/ 282 w 2604"/>
                  <a:gd name="T27" fmla="*/ 57 h 2977"/>
                  <a:gd name="T28" fmla="*/ 305 w 2604"/>
                  <a:gd name="T29" fmla="*/ 74 h 2977"/>
                  <a:gd name="T30" fmla="*/ 339 w 2604"/>
                  <a:gd name="T31" fmla="*/ 80 h 2977"/>
                  <a:gd name="T32" fmla="*/ 373 w 2604"/>
                  <a:gd name="T33" fmla="*/ 97 h 2977"/>
                  <a:gd name="T34" fmla="*/ 407 w 2604"/>
                  <a:gd name="T35" fmla="*/ 85 h 2977"/>
                  <a:gd name="T36" fmla="*/ 419 w 2604"/>
                  <a:gd name="T37" fmla="*/ 93 h 2977"/>
                  <a:gd name="T38" fmla="*/ 447 w 2604"/>
                  <a:gd name="T39" fmla="*/ 91 h 2977"/>
                  <a:gd name="T40" fmla="*/ 469 w 2604"/>
                  <a:gd name="T41" fmla="*/ 91 h 2977"/>
                  <a:gd name="T42" fmla="*/ 494 w 2604"/>
                  <a:gd name="T43" fmla="*/ 90 h 2977"/>
                  <a:gd name="T44" fmla="*/ 492 w 2604"/>
                  <a:gd name="T45" fmla="*/ 94 h 2977"/>
                  <a:gd name="T46" fmla="*/ 428 w 2604"/>
                  <a:gd name="T47" fmla="*/ 136 h 2977"/>
                  <a:gd name="T48" fmla="*/ 402 w 2604"/>
                  <a:gd name="T49" fmla="*/ 160 h 2977"/>
                  <a:gd name="T50" fmla="*/ 390 w 2604"/>
                  <a:gd name="T51" fmla="*/ 188 h 2977"/>
                  <a:gd name="T52" fmla="*/ 351 w 2604"/>
                  <a:gd name="T53" fmla="*/ 216 h 2977"/>
                  <a:gd name="T54" fmla="*/ 328 w 2604"/>
                  <a:gd name="T55" fmla="*/ 245 h 2977"/>
                  <a:gd name="T56" fmla="*/ 339 w 2604"/>
                  <a:gd name="T57" fmla="*/ 279 h 2977"/>
                  <a:gd name="T58" fmla="*/ 319 w 2604"/>
                  <a:gd name="T59" fmla="*/ 307 h 2977"/>
                  <a:gd name="T60" fmla="*/ 299 w 2604"/>
                  <a:gd name="T61" fmla="*/ 330 h 2977"/>
                  <a:gd name="T62" fmla="*/ 322 w 2604"/>
                  <a:gd name="T63" fmla="*/ 359 h 2977"/>
                  <a:gd name="T64" fmla="*/ 319 w 2604"/>
                  <a:gd name="T65" fmla="*/ 400 h 2977"/>
                  <a:gd name="T66" fmla="*/ 311 w 2604"/>
                  <a:gd name="T67" fmla="*/ 421 h 2977"/>
                  <a:gd name="T68" fmla="*/ 330 w 2604"/>
                  <a:gd name="T69" fmla="*/ 430 h 2977"/>
                  <a:gd name="T70" fmla="*/ 356 w 2604"/>
                  <a:gd name="T71" fmla="*/ 427 h 2977"/>
                  <a:gd name="T72" fmla="*/ 393 w 2604"/>
                  <a:gd name="T73" fmla="*/ 460 h 2977"/>
                  <a:gd name="T74" fmla="*/ 453 w 2604"/>
                  <a:gd name="T75" fmla="*/ 501 h 2977"/>
                  <a:gd name="T76" fmla="*/ 442 w 2604"/>
                  <a:gd name="T77" fmla="*/ 530 h 2977"/>
                  <a:gd name="T78" fmla="*/ 75 w 2604"/>
                  <a:gd name="T79" fmla="*/ 565 h 2977"/>
                  <a:gd name="T80" fmla="*/ 80 w 2604"/>
                  <a:gd name="T81" fmla="*/ 513 h 2977"/>
                  <a:gd name="T82" fmla="*/ 73 w 2604"/>
                  <a:gd name="T83" fmla="*/ 403 h 2977"/>
                  <a:gd name="T84" fmla="*/ 49 w 2604"/>
                  <a:gd name="T85" fmla="*/ 374 h 2977"/>
                  <a:gd name="T86" fmla="*/ 56 w 2604"/>
                  <a:gd name="T87" fmla="*/ 353 h 2977"/>
                  <a:gd name="T88" fmla="*/ 53 w 2604"/>
                  <a:gd name="T89" fmla="*/ 330 h 2977"/>
                  <a:gd name="T90" fmla="*/ 43 w 2604"/>
                  <a:gd name="T91" fmla="*/ 263 h 2977"/>
                  <a:gd name="T92" fmla="*/ 34 w 2604"/>
                  <a:gd name="T93" fmla="*/ 176 h 2977"/>
                  <a:gd name="T94" fmla="*/ 11 w 2604"/>
                  <a:gd name="T95" fmla="*/ 145 h 2977"/>
                  <a:gd name="T96" fmla="*/ 5 w 2604"/>
                  <a:gd name="T97" fmla="*/ 106 h 2977"/>
                  <a:gd name="T98" fmla="*/ 0 w 2604"/>
                  <a:gd name="T99" fmla="*/ 45 h 29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604" h="2977">
                    <a:moveTo>
                      <a:pt x="0" y="239"/>
                    </a:moveTo>
                    <a:lnTo>
                      <a:pt x="161" y="242"/>
                    </a:lnTo>
                    <a:lnTo>
                      <a:pt x="337" y="226"/>
                    </a:lnTo>
                    <a:lnTo>
                      <a:pt x="481" y="242"/>
                    </a:lnTo>
                    <a:lnTo>
                      <a:pt x="617" y="210"/>
                    </a:lnTo>
                    <a:lnTo>
                      <a:pt x="617" y="0"/>
                    </a:lnTo>
                    <a:lnTo>
                      <a:pt x="721" y="26"/>
                    </a:lnTo>
                    <a:lnTo>
                      <a:pt x="657" y="130"/>
                    </a:lnTo>
                    <a:lnTo>
                      <a:pt x="705" y="210"/>
                    </a:lnTo>
                    <a:lnTo>
                      <a:pt x="857" y="270"/>
                    </a:lnTo>
                    <a:lnTo>
                      <a:pt x="969" y="322"/>
                    </a:lnTo>
                    <a:lnTo>
                      <a:pt x="1187" y="360"/>
                    </a:lnTo>
                    <a:lnTo>
                      <a:pt x="1398" y="360"/>
                    </a:lnTo>
                    <a:lnTo>
                      <a:pt x="1488" y="300"/>
                    </a:lnTo>
                    <a:lnTo>
                      <a:pt x="1608" y="390"/>
                    </a:lnTo>
                    <a:lnTo>
                      <a:pt x="1788" y="420"/>
                    </a:lnTo>
                    <a:lnTo>
                      <a:pt x="1968" y="510"/>
                    </a:lnTo>
                    <a:lnTo>
                      <a:pt x="2148" y="450"/>
                    </a:lnTo>
                    <a:lnTo>
                      <a:pt x="2209" y="490"/>
                    </a:lnTo>
                    <a:lnTo>
                      <a:pt x="2358" y="480"/>
                    </a:lnTo>
                    <a:lnTo>
                      <a:pt x="2473" y="482"/>
                    </a:lnTo>
                    <a:lnTo>
                      <a:pt x="2604" y="476"/>
                    </a:lnTo>
                    <a:lnTo>
                      <a:pt x="2596" y="497"/>
                    </a:lnTo>
                    <a:lnTo>
                      <a:pt x="2257" y="714"/>
                    </a:lnTo>
                    <a:lnTo>
                      <a:pt x="2121" y="842"/>
                    </a:lnTo>
                    <a:lnTo>
                      <a:pt x="2058" y="990"/>
                    </a:lnTo>
                    <a:lnTo>
                      <a:pt x="1848" y="1140"/>
                    </a:lnTo>
                    <a:lnTo>
                      <a:pt x="1728" y="1290"/>
                    </a:lnTo>
                    <a:lnTo>
                      <a:pt x="1788" y="1470"/>
                    </a:lnTo>
                    <a:lnTo>
                      <a:pt x="1681" y="1618"/>
                    </a:lnTo>
                    <a:lnTo>
                      <a:pt x="1578" y="1740"/>
                    </a:lnTo>
                    <a:lnTo>
                      <a:pt x="1698" y="1890"/>
                    </a:lnTo>
                    <a:lnTo>
                      <a:pt x="1681" y="2106"/>
                    </a:lnTo>
                    <a:lnTo>
                      <a:pt x="1638" y="2220"/>
                    </a:lnTo>
                    <a:lnTo>
                      <a:pt x="1737" y="2266"/>
                    </a:lnTo>
                    <a:lnTo>
                      <a:pt x="1878" y="2250"/>
                    </a:lnTo>
                    <a:lnTo>
                      <a:pt x="2073" y="2426"/>
                    </a:lnTo>
                    <a:lnTo>
                      <a:pt x="2388" y="2640"/>
                    </a:lnTo>
                    <a:lnTo>
                      <a:pt x="2329" y="2794"/>
                    </a:lnTo>
                    <a:lnTo>
                      <a:pt x="394" y="2977"/>
                    </a:lnTo>
                    <a:lnTo>
                      <a:pt x="421" y="2701"/>
                    </a:lnTo>
                    <a:lnTo>
                      <a:pt x="385" y="2123"/>
                    </a:lnTo>
                    <a:lnTo>
                      <a:pt x="256" y="1969"/>
                    </a:lnTo>
                    <a:lnTo>
                      <a:pt x="294" y="1862"/>
                    </a:lnTo>
                    <a:lnTo>
                      <a:pt x="282" y="1741"/>
                    </a:lnTo>
                    <a:lnTo>
                      <a:pt x="229" y="1387"/>
                    </a:lnTo>
                    <a:lnTo>
                      <a:pt x="181" y="928"/>
                    </a:lnTo>
                    <a:lnTo>
                      <a:pt x="60" y="763"/>
                    </a:lnTo>
                    <a:lnTo>
                      <a:pt x="25" y="556"/>
                    </a:lnTo>
                    <a:lnTo>
                      <a:pt x="0" y="239"/>
                    </a:lnTo>
                    <a:close/>
                  </a:path>
                </a:pathLst>
              </a:custGeom>
              <a:solidFill>
                <a:schemeClr val="accent4">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68" name="Michigan">
                <a:extLst>
                  <a:ext uri="{FF2B5EF4-FFF2-40B4-BE49-F238E27FC236}">
                    <a16:creationId xmlns:a16="http://schemas.microsoft.com/office/drawing/2014/main" id="{E6D6C8B7-2DDC-718F-8435-873C44E5A43B}"/>
                  </a:ext>
                </a:extLst>
              </p:cNvPr>
              <p:cNvSpPr>
                <a:spLocks/>
              </p:cNvSpPr>
              <p:nvPr/>
            </p:nvSpPr>
            <p:spPr bwMode="auto">
              <a:xfrm>
                <a:off x="6044068" y="2155088"/>
                <a:ext cx="486960" cy="627360"/>
              </a:xfrm>
              <a:custGeom>
                <a:avLst/>
                <a:gdLst>
                  <a:gd name="T0" fmla="*/ 96 w 1586"/>
                  <a:gd name="T1" fmla="*/ 0 h 2040"/>
                  <a:gd name="T2" fmla="*/ 74 w 1586"/>
                  <a:gd name="T3" fmla="*/ 9 h 2040"/>
                  <a:gd name="T4" fmla="*/ 70 w 1586"/>
                  <a:gd name="T5" fmla="*/ 25 h 2040"/>
                  <a:gd name="T6" fmla="*/ 82 w 1586"/>
                  <a:gd name="T7" fmla="*/ 39 h 2040"/>
                  <a:gd name="T8" fmla="*/ 69 w 1586"/>
                  <a:gd name="T9" fmla="*/ 56 h 2040"/>
                  <a:gd name="T10" fmla="*/ 73 w 1586"/>
                  <a:gd name="T11" fmla="*/ 72 h 2040"/>
                  <a:gd name="T12" fmla="*/ 63 w 1586"/>
                  <a:gd name="T13" fmla="*/ 89 h 2040"/>
                  <a:gd name="T14" fmla="*/ 50 w 1586"/>
                  <a:gd name="T15" fmla="*/ 79 h 2040"/>
                  <a:gd name="T16" fmla="*/ 42 w 1586"/>
                  <a:gd name="T17" fmla="*/ 63 h 2040"/>
                  <a:gd name="T18" fmla="*/ 24 w 1586"/>
                  <a:gd name="T19" fmla="*/ 88 h 2040"/>
                  <a:gd name="T20" fmla="*/ 13 w 1586"/>
                  <a:gd name="T21" fmla="*/ 91 h 2040"/>
                  <a:gd name="T22" fmla="*/ 5 w 1586"/>
                  <a:gd name="T23" fmla="*/ 123 h 2040"/>
                  <a:gd name="T24" fmla="*/ 13 w 1586"/>
                  <a:gd name="T25" fmla="*/ 142 h 2040"/>
                  <a:gd name="T26" fmla="*/ 0 w 1586"/>
                  <a:gd name="T27" fmla="*/ 168 h 2040"/>
                  <a:gd name="T28" fmla="*/ 7 w 1586"/>
                  <a:gd name="T29" fmla="*/ 186 h 2040"/>
                  <a:gd name="T30" fmla="*/ 12 w 1586"/>
                  <a:gd name="T31" fmla="*/ 213 h 2040"/>
                  <a:gd name="T32" fmla="*/ 34 w 1586"/>
                  <a:gd name="T33" fmla="*/ 241 h 2040"/>
                  <a:gd name="T34" fmla="*/ 40 w 1586"/>
                  <a:gd name="T35" fmla="*/ 271 h 2040"/>
                  <a:gd name="T36" fmla="*/ 45 w 1586"/>
                  <a:gd name="T37" fmla="*/ 300 h 2040"/>
                  <a:gd name="T38" fmla="*/ 26 w 1586"/>
                  <a:gd name="T39" fmla="*/ 387 h 2040"/>
                  <a:gd name="T40" fmla="*/ 58 w 1586"/>
                  <a:gd name="T41" fmla="*/ 382 h 2040"/>
                  <a:gd name="T42" fmla="*/ 145 w 1586"/>
                  <a:gd name="T43" fmla="*/ 365 h 2040"/>
                  <a:gd name="T44" fmla="*/ 161 w 1586"/>
                  <a:gd name="T45" fmla="*/ 376 h 2040"/>
                  <a:gd name="T46" fmla="*/ 184 w 1586"/>
                  <a:gd name="T47" fmla="*/ 361 h 2040"/>
                  <a:gd name="T48" fmla="*/ 221 w 1586"/>
                  <a:gd name="T49" fmla="*/ 359 h 2040"/>
                  <a:gd name="T50" fmla="*/ 221 w 1586"/>
                  <a:gd name="T51" fmla="*/ 352 h 2040"/>
                  <a:gd name="T52" fmla="*/ 257 w 1586"/>
                  <a:gd name="T53" fmla="*/ 349 h 2040"/>
                  <a:gd name="T54" fmla="*/ 266 w 1586"/>
                  <a:gd name="T55" fmla="*/ 332 h 2040"/>
                  <a:gd name="T56" fmla="*/ 276 w 1586"/>
                  <a:gd name="T57" fmla="*/ 323 h 2040"/>
                  <a:gd name="T58" fmla="*/ 277 w 1586"/>
                  <a:gd name="T59" fmla="*/ 313 h 2040"/>
                  <a:gd name="T60" fmla="*/ 267 w 1586"/>
                  <a:gd name="T61" fmla="*/ 308 h 2040"/>
                  <a:gd name="T62" fmla="*/ 278 w 1586"/>
                  <a:gd name="T63" fmla="*/ 278 h 2040"/>
                  <a:gd name="T64" fmla="*/ 292 w 1586"/>
                  <a:gd name="T65" fmla="*/ 266 h 2040"/>
                  <a:gd name="T66" fmla="*/ 298 w 1586"/>
                  <a:gd name="T67" fmla="*/ 246 h 2040"/>
                  <a:gd name="T68" fmla="*/ 300 w 1586"/>
                  <a:gd name="T69" fmla="*/ 201 h 2040"/>
                  <a:gd name="T70" fmla="*/ 284 w 1586"/>
                  <a:gd name="T71" fmla="*/ 171 h 2040"/>
                  <a:gd name="T72" fmla="*/ 272 w 1586"/>
                  <a:gd name="T73" fmla="*/ 140 h 2040"/>
                  <a:gd name="T74" fmla="*/ 250 w 1586"/>
                  <a:gd name="T75" fmla="*/ 132 h 2040"/>
                  <a:gd name="T76" fmla="*/ 230 w 1586"/>
                  <a:gd name="T77" fmla="*/ 134 h 2040"/>
                  <a:gd name="T78" fmla="*/ 221 w 1586"/>
                  <a:gd name="T79" fmla="*/ 149 h 2040"/>
                  <a:gd name="T80" fmla="*/ 215 w 1586"/>
                  <a:gd name="T81" fmla="*/ 168 h 2040"/>
                  <a:gd name="T82" fmla="*/ 197 w 1586"/>
                  <a:gd name="T83" fmla="*/ 174 h 2040"/>
                  <a:gd name="T84" fmla="*/ 180 w 1586"/>
                  <a:gd name="T85" fmla="*/ 159 h 2040"/>
                  <a:gd name="T86" fmla="*/ 193 w 1586"/>
                  <a:gd name="T87" fmla="*/ 143 h 2040"/>
                  <a:gd name="T88" fmla="*/ 201 w 1586"/>
                  <a:gd name="T89" fmla="*/ 126 h 2040"/>
                  <a:gd name="T90" fmla="*/ 209 w 1586"/>
                  <a:gd name="T91" fmla="*/ 94 h 2040"/>
                  <a:gd name="T92" fmla="*/ 201 w 1586"/>
                  <a:gd name="T93" fmla="*/ 66 h 2040"/>
                  <a:gd name="T94" fmla="*/ 187 w 1586"/>
                  <a:gd name="T95" fmla="*/ 47 h 2040"/>
                  <a:gd name="T96" fmla="*/ 197 w 1586"/>
                  <a:gd name="T97" fmla="*/ 30 h 2040"/>
                  <a:gd name="T98" fmla="*/ 162 w 1586"/>
                  <a:gd name="T99" fmla="*/ 15 h 2040"/>
                  <a:gd name="T100" fmla="*/ 134 w 1586"/>
                  <a:gd name="T101" fmla="*/ 9 h 2040"/>
                  <a:gd name="T102" fmla="*/ 114 w 1586"/>
                  <a:gd name="T103" fmla="*/ 7 h 2040"/>
                  <a:gd name="T104" fmla="*/ 96 w 1586"/>
                  <a:gd name="T105" fmla="*/ 0 h 20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86" h="2040">
                    <a:moveTo>
                      <a:pt x="506" y="0"/>
                    </a:moveTo>
                    <a:lnTo>
                      <a:pt x="392" y="48"/>
                    </a:lnTo>
                    <a:lnTo>
                      <a:pt x="368" y="132"/>
                    </a:lnTo>
                    <a:lnTo>
                      <a:pt x="434" y="204"/>
                    </a:lnTo>
                    <a:lnTo>
                      <a:pt x="363" y="293"/>
                    </a:lnTo>
                    <a:lnTo>
                      <a:pt x="386" y="378"/>
                    </a:lnTo>
                    <a:lnTo>
                      <a:pt x="332" y="468"/>
                    </a:lnTo>
                    <a:lnTo>
                      <a:pt x="266" y="414"/>
                    </a:lnTo>
                    <a:lnTo>
                      <a:pt x="224" y="330"/>
                    </a:lnTo>
                    <a:lnTo>
                      <a:pt x="128" y="462"/>
                    </a:lnTo>
                    <a:lnTo>
                      <a:pt x="68" y="480"/>
                    </a:lnTo>
                    <a:lnTo>
                      <a:pt x="26" y="648"/>
                    </a:lnTo>
                    <a:lnTo>
                      <a:pt x="68" y="750"/>
                    </a:lnTo>
                    <a:lnTo>
                      <a:pt x="0" y="883"/>
                    </a:lnTo>
                    <a:lnTo>
                      <a:pt x="38" y="978"/>
                    </a:lnTo>
                    <a:lnTo>
                      <a:pt x="62" y="1122"/>
                    </a:lnTo>
                    <a:lnTo>
                      <a:pt x="182" y="1272"/>
                    </a:lnTo>
                    <a:lnTo>
                      <a:pt x="212" y="1428"/>
                    </a:lnTo>
                    <a:lnTo>
                      <a:pt x="236" y="1584"/>
                    </a:lnTo>
                    <a:lnTo>
                      <a:pt x="137" y="2040"/>
                    </a:lnTo>
                    <a:lnTo>
                      <a:pt x="304" y="2013"/>
                    </a:lnTo>
                    <a:lnTo>
                      <a:pt x="766" y="1926"/>
                    </a:lnTo>
                    <a:lnTo>
                      <a:pt x="851" y="1983"/>
                    </a:lnTo>
                    <a:lnTo>
                      <a:pt x="973" y="1905"/>
                    </a:lnTo>
                    <a:lnTo>
                      <a:pt x="1166" y="1895"/>
                    </a:lnTo>
                    <a:lnTo>
                      <a:pt x="1166" y="1857"/>
                    </a:lnTo>
                    <a:lnTo>
                      <a:pt x="1360" y="1841"/>
                    </a:lnTo>
                    <a:lnTo>
                      <a:pt x="1406" y="1752"/>
                    </a:lnTo>
                    <a:lnTo>
                      <a:pt x="1460" y="1704"/>
                    </a:lnTo>
                    <a:lnTo>
                      <a:pt x="1466" y="1650"/>
                    </a:lnTo>
                    <a:lnTo>
                      <a:pt x="1409" y="1626"/>
                    </a:lnTo>
                    <a:lnTo>
                      <a:pt x="1472" y="1464"/>
                    </a:lnTo>
                    <a:lnTo>
                      <a:pt x="1544" y="1404"/>
                    </a:lnTo>
                    <a:lnTo>
                      <a:pt x="1574" y="1296"/>
                    </a:lnTo>
                    <a:lnTo>
                      <a:pt x="1586" y="1062"/>
                    </a:lnTo>
                    <a:lnTo>
                      <a:pt x="1502" y="900"/>
                    </a:lnTo>
                    <a:lnTo>
                      <a:pt x="1436" y="738"/>
                    </a:lnTo>
                    <a:lnTo>
                      <a:pt x="1322" y="696"/>
                    </a:lnTo>
                    <a:lnTo>
                      <a:pt x="1214" y="708"/>
                    </a:lnTo>
                    <a:lnTo>
                      <a:pt x="1166" y="786"/>
                    </a:lnTo>
                    <a:lnTo>
                      <a:pt x="1136" y="888"/>
                    </a:lnTo>
                    <a:lnTo>
                      <a:pt x="1040" y="918"/>
                    </a:lnTo>
                    <a:lnTo>
                      <a:pt x="952" y="837"/>
                    </a:lnTo>
                    <a:lnTo>
                      <a:pt x="1022" y="756"/>
                    </a:lnTo>
                    <a:lnTo>
                      <a:pt x="1064" y="666"/>
                    </a:lnTo>
                    <a:lnTo>
                      <a:pt x="1106" y="498"/>
                    </a:lnTo>
                    <a:lnTo>
                      <a:pt x="1064" y="348"/>
                    </a:lnTo>
                    <a:lnTo>
                      <a:pt x="986" y="246"/>
                    </a:lnTo>
                    <a:lnTo>
                      <a:pt x="1040" y="156"/>
                    </a:lnTo>
                    <a:lnTo>
                      <a:pt x="854" y="78"/>
                    </a:lnTo>
                    <a:lnTo>
                      <a:pt x="710" y="48"/>
                    </a:lnTo>
                    <a:lnTo>
                      <a:pt x="602" y="36"/>
                    </a:lnTo>
                    <a:lnTo>
                      <a:pt x="506" y="0"/>
                    </a:lnTo>
                    <a:close/>
                  </a:path>
                </a:pathLst>
              </a:custGeom>
              <a:solidFill>
                <a:schemeClr val="accent4">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69" name="Massachusetts">
                <a:extLst>
                  <a:ext uri="{FF2B5EF4-FFF2-40B4-BE49-F238E27FC236}">
                    <a16:creationId xmlns:a16="http://schemas.microsoft.com/office/drawing/2014/main" id="{42FA5E92-CF1A-B162-C68A-CB8C48BBDCE7}"/>
                  </a:ext>
                </a:extLst>
              </p:cNvPr>
              <p:cNvSpPr>
                <a:spLocks/>
              </p:cNvSpPr>
              <p:nvPr/>
            </p:nvSpPr>
            <p:spPr bwMode="auto">
              <a:xfrm>
                <a:off x="7545527" y="2069170"/>
                <a:ext cx="423655" cy="260995"/>
              </a:xfrm>
              <a:custGeom>
                <a:avLst/>
                <a:gdLst>
                  <a:gd name="T0" fmla="*/ 142 w 1383"/>
                  <a:gd name="T1" fmla="*/ 17 h 850"/>
                  <a:gd name="T2" fmla="*/ 131 w 1383"/>
                  <a:gd name="T3" fmla="*/ 40 h 850"/>
                  <a:gd name="T4" fmla="*/ 53 w 1383"/>
                  <a:gd name="T5" fmla="*/ 64 h 850"/>
                  <a:gd name="T6" fmla="*/ 0 w 1383"/>
                  <a:gd name="T7" fmla="*/ 83 h 850"/>
                  <a:gd name="T8" fmla="*/ 6 w 1383"/>
                  <a:gd name="T9" fmla="*/ 122 h 850"/>
                  <a:gd name="T10" fmla="*/ 11 w 1383"/>
                  <a:gd name="T11" fmla="*/ 161 h 850"/>
                  <a:gd name="T12" fmla="*/ 113 w 1383"/>
                  <a:gd name="T13" fmla="*/ 109 h 850"/>
                  <a:gd name="T14" fmla="*/ 156 w 1383"/>
                  <a:gd name="T15" fmla="*/ 96 h 850"/>
                  <a:gd name="T16" fmla="*/ 172 w 1383"/>
                  <a:gd name="T17" fmla="*/ 128 h 850"/>
                  <a:gd name="T18" fmla="*/ 193 w 1383"/>
                  <a:gd name="T19" fmla="*/ 142 h 850"/>
                  <a:gd name="T20" fmla="*/ 201 w 1383"/>
                  <a:gd name="T21" fmla="*/ 125 h 850"/>
                  <a:gd name="T22" fmla="*/ 233 w 1383"/>
                  <a:gd name="T23" fmla="*/ 102 h 850"/>
                  <a:gd name="T24" fmla="*/ 261 w 1383"/>
                  <a:gd name="T25" fmla="*/ 85 h 850"/>
                  <a:gd name="T26" fmla="*/ 252 w 1383"/>
                  <a:gd name="T27" fmla="*/ 73 h 850"/>
                  <a:gd name="T28" fmla="*/ 250 w 1383"/>
                  <a:gd name="T29" fmla="*/ 62 h 850"/>
                  <a:gd name="T30" fmla="*/ 245 w 1383"/>
                  <a:gd name="T31" fmla="*/ 44 h 850"/>
                  <a:gd name="T32" fmla="*/ 240 w 1383"/>
                  <a:gd name="T33" fmla="*/ 50 h 850"/>
                  <a:gd name="T34" fmla="*/ 243 w 1383"/>
                  <a:gd name="T35" fmla="*/ 60 h 850"/>
                  <a:gd name="T36" fmla="*/ 240 w 1383"/>
                  <a:gd name="T37" fmla="*/ 70 h 850"/>
                  <a:gd name="T38" fmla="*/ 245 w 1383"/>
                  <a:gd name="T39" fmla="*/ 82 h 850"/>
                  <a:gd name="T40" fmla="*/ 227 w 1383"/>
                  <a:gd name="T41" fmla="*/ 97 h 850"/>
                  <a:gd name="T42" fmla="*/ 204 w 1383"/>
                  <a:gd name="T43" fmla="*/ 85 h 850"/>
                  <a:gd name="T44" fmla="*/ 176 w 1383"/>
                  <a:gd name="T45" fmla="*/ 51 h 850"/>
                  <a:gd name="T46" fmla="*/ 168 w 1383"/>
                  <a:gd name="T47" fmla="*/ 23 h 850"/>
                  <a:gd name="T48" fmla="*/ 142 w 1383"/>
                  <a:gd name="T49" fmla="*/ 0 h 850"/>
                  <a:gd name="T50" fmla="*/ 142 w 1383"/>
                  <a:gd name="T51" fmla="*/ 17 h 8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83" h="850">
                    <a:moveTo>
                      <a:pt x="753" y="90"/>
                    </a:moveTo>
                    <a:lnTo>
                      <a:pt x="693" y="210"/>
                    </a:lnTo>
                    <a:lnTo>
                      <a:pt x="281" y="340"/>
                    </a:lnTo>
                    <a:lnTo>
                      <a:pt x="0" y="436"/>
                    </a:lnTo>
                    <a:lnTo>
                      <a:pt x="30" y="645"/>
                    </a:lnTo>
                    <a:lnTo>
                      <a:pt x="57" y="850"/>
                    </a:lnTo>
                    <a:lnTo>
                      <a:pt x="597" y="573"/>
                    </a:lnTo>
                    <a:lnTo>
                      <a:pt x="825" y="507"/>
                    </a:lnTo>
                    <a:lnTo>
                      <a:pt x="913" y="675"/>
                    </a:lnTo>
                    <a:lnTo>
                      <a:pt x="1023" y="750"/>
                    </a:lnTo>
                    <a:lnTo>
                      <a:pt x="1065" y="659"/>
                    </a:lnTo>
                    <a:lnTo>
                      <a:pt x="1233" y="540"/>
                    </a:lnTo>
                    <a:lnTo>
                      <a:pt x="1383" y="450"/>
                    </a:lnTo>
                    <a:lnTo>
                      <a:pt x="1337" y="383"/>
                    </a:lnTo>
                    <a:lnTo>
                      <a:pt x="1325" y="325"/>
                    </a:lnTo>
                    <a:lnTo>
                      <a:pt x="1297" y="233"/>
                    </a:lnTo>
                    <a:lnTo>
                      <a:pt x="1273" y="263"/>
                    </a:lnTo>
                    <a:lnTo>
                      <a:pt x="1285" y="319"/>
                    </a:lnTo>
                    <a:lnTo>
                      <a:pt x="1273" y="371"/>
                    </a:lnTo>
                    <a:lnTo>
                      <a:pt x="1297" y="435"/>
                    </a:lnTo>
                    <a:lnTo>
                      <a:pt x="1203" y="510"/>
                    </a:lnTo>
                    <a:lnTo>
                      <a:pt x="1081" y="451"/>
                    </a:lnTo>
                    <a:lnTo>
                      <a:pt x="933" y="270"/>
                    </a:lnTo>
                    <a:lnTo>
                      <a:pt x="889" y="123"/>
                    </a:lnTo>
                    <a:lnTo>
                      <a:pt x="753" y="0"/>
                    </a:lnTo>
                    <a:lnTo>
                      <a:pt x="753" y="90"/>
                    </a:lnTo>
                    <a:close/>
                  </a:path>
                </a:pathLst>
              </a:custGeom>
              <a:solidFill>
                <a:schemeClr val="accent4">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70" name="Maryland">
                <a:extLst>
                  <a:ext uri="{FF2B5EF4-FFF2-40B4-BE49-F238E27FC236}">
                    <a16:creationId xmlns:a16="http://schemas.microsoft.com/office/drawing/2014/main" id="{16F4D5CA-5BB8-EE2D-D07C-F21087C17BB8}"/>
                  </a:ext>
                </a:extLst>
              </p:cNvPr>
              <p:cNvSpPr>
                <a:spLocks/>
              </p:cNvSpPr>
              <p:nvPr/>
            </p:nvSpPr>
            <p:spPr bwMode="auto">
              <a:xfrm>
                <a:off x="6993640" y="2748405"/>
                <a:ext cx="543771" cy="269100"/>
              </a:xfrm>
              <a:custGeom>
                <a:avLst/>
                <a:gdLst>
                  <a:gd name="T0" fmla="*/ 171 w 1675"/>
                  <a:gd name="T1" fmla="*/ 132 h 830"/>
                  <a:gd name="T2" fmla="*/ 227 w 1675"/>
                  <a:gd name="T3" fmla="*/ 166 h 830"/>
                  <a:gd name="T4" fmla="*/ 251 w 1675"/>
                  <a:gd name="T5" fmla="*/ 162 h 830"/>
                  <a:gd name="T6" fmla="*/ 254 w 1675"/>
                  <a:gd name="T7" fmla="*/ 147 h 830"/>
                  <a:gd name="T8" fmla="*/ 250 w 1675"/>
                  <a:gd name="T9" fmla="*/ 139 h 830"/>
                  <a:gd name="T10" fmla="*/ 250 w 1675"/>
                  <a:gd name="T11" fmla="*/ 129 h 830"/>
                  <a:gd name="T12" fmla="*/ 241 w 1675"/>
                  <a:gd name="T13" fmla="*/ 116 h 830"/>
                  <a:gd name="T14" fmla="*/ 233 w 1675"/>
                  <a:gd name="T15" fmla="*/ 99 h 830"/>
                  <a:gd name="T16" fmla="*/ 226 w 1675"/>
                  <a:gd name="T17" fmla="*/ 79 h 830"/>
                  <a:gd name="T18" fmla="*/ 218 w 1675"/>
                  <a:gd name="T19" fmla="*/ 68 h 830"/>
                  <a:gd name="T20" fmla="*/ 227 w 1675"/>
                  <a:gd name="T21" fmla="*/ 50 h 830"/>
                  <a:gd name="T22" fmla="*/ 227 w 1675"/>
                  <a:gd name="T23" fmla="*/ 28 h 830"/>
                  <a:gd name="T24" fmla="*/ 250 w 1675"/>
                  <a:gd name="T25" fmla="*/ 45 h 830"/>
                  <a:gd name="T26" fmla="*/ 246 w 1675"/>
                  <a:gd name="T27" fmla="*/ 68 h 830"/>
                  <a:gd name="T28" fmla="*/ 244 w 1675"/>
                  <a:gd name="T29" fmla="*/ 84 h 830"/>
                  <a:gd name="T30" fmla="*/ 255 w 1675"/>
                  <a:gd name="T31" fmla="*/ 92 h 830"/>
                  <a:gd name="T32" fmla="*/ 263 w 1675"/>
                  <a:gd name="T33" fmla="*/ 100 h 830"/>
                  <a:gd name="T34" fmla="*/ 259 w 1675"/>
                  <a:gd name="T35" fmla="*/ 111 h 830"/>
                  <a:gd name="T36" fmla="*/ 269 w 1675"/>
                  <a:gd name="T37" fmla="*/ 123 h 830"/>
                  <a:gd name="T38" fmla="*/ 284 w 1675"/>
                  <a:gd name="T39" fmla="*/ 124 h 830"/>
                  <a:gd name="T40" fmla="*/ 301 w 1675"/>
                  <a:gd name="T41" fmla="*/ 141 h 830"/>
                  <a:gd name="T42" fmla="*/ 316 w 1675"/>
                  <a:gd name="T43" fmla="*/ 141 h 830"/>
                  <a:gd name="T44" fmla="*/ 332 w 1675"/>
                  <a:gd name="T45" fmla="*/ 137 h 830"/>
                  <a:gd name="T46" fmla="*/ 334 w 1675"/>
                  <a:gd name="T47" fmla="*/ 118 h 830"/>
                  <a:gd name="T48" fmla="*/ 335 w 1675"/>
                  <a:gd name="T49" fmla="*/ 103 h 830"/>
                  <a:gd name="T50" fmla="*/ 321 w 1675"/>
                  <a:gd name="T51" fmla="*/ 105 h 830"/>
                  <a:gd name="T52" fmla="*/ 303 w 1675"/>
                  <a:gd name="T53" fmla="*/ 113 h 830"/>
                  <a:gd name="T54" fmla="*/ 297 w 1675"/>
                  <a:gd name="T55" fmla="*/ 102 h 830"/>
                  <a:gd name="T56" fmla="*/ 289 w 1675"/>
                  <a:gd name="T57" fmla="*/ 82 h 830"/>
                  <a:gd name="T58" fmla="*/ 284 w 1675"/>
                  <a:gd name="T59" fmla="*/ 63 h 830"/>
                  <a:gd name="T60" fmla="*/ 276 w 1675"/>
                  <a:gd name="T61" fmla="*/ 50 h 830"/>
                  <a:gd name="T62" fmla="*/ 272 w 1675"/>
                  <a:gd name="T63" fmla="*/ 33 h 830"/>
                  <a:gd name="T64" fmla="*/ 265 w 1675"/>
                  <a:gd name="T65" fmla="*/ 19 h 830"/>
                  <a:gd name="T66" fmla="*/ 258 w 1675"/>
                  <a:gd name="T67" fmla="*/ 0 h 830"/>
                  <a:gd name="T68" fmla="*/ 244 w 1675"/>
                  <a:gd name="T69" fmla="*/ 9 h 830"/>
                  <a:gd name="T70" fmla="*/ 233 w 1675"/>
                  <a:gd name="T71" fmla="*/ 13 h 830"/>
                  <a:gd name="T72" fmla="*/ 210 w 1675"/>
                  <a:gd name="T73" fmla="*/ 11 h 830"/>
                  <a:gd name="T74" fmla="*/ 195 w 1675"/>
                  <a:gd name="T75" fmla="*/ 13 h 830"/>
                  <a:gd name="T76" fmla="*/ 170 w 1675"/>
                  <a:gd name="T77" fmla="*/ 24 h 830"/>
                  <a:gd name="T78" fmla="*/ 147 w 1675"/>
                  <a:gd name="T79" fmla="*/ 29 h 830"/>
                  <a:gd name="T80" fmla="*/ 132 w 1675"/>
                  <a:gd name="T81" fmla="*/ 46 h 830"/>
                  <a:gd name="T82" fmla="*/ 100 w 1675"/>
                  <a:gd name="T83" fmla="*/ 52 h 830"/>
                  <a:gd name="T84" fmla="*/ 75 w 1675"/>
                  <a:gd name="T85" fmla="*/ 61 h 830"/>
                  <a:gd name="T86" fmla="*/ 33 w 1675"/>
                  <a:gd name="T87" fmla="*/ 73 h 830"/>
                  <a:gd name="T88" fmla="*/ 0 w 1675"/>
                  <a:gd name="T89" fmla="*/ 85 h 830"/>
                  <a:gd name="T90" fmla="*/ 6 w 1675"/>
                  <a:gd name="T91" fmla="*/ 113 h 830"/>
                  <a:gd name="T92" fmla="*/ 18 w 1675"/>
                  <a:gd name="T93" fmla="*/ 113 h 830"/>
                  <a:gd name="T94" fmla="*/ 36 w 1675"/>
                  <a:gd name="T95" fmla="*/ 92 h 830"/>
                  <a:gd name="T96" fmla="*/ 55 w 1675"/>
                  <a:gd name="T97" fmla="*/ 81 h 830"/>
                  <a:gd name="T98" fmla="*/ 76 w 1675"/>
                  <a:gd name="T99" fmla="*/ 78 h 830"/>
                  <a:gd name="T100" fmla="*/ 86 w 1675"/>
                  <a:gd name="T101" fmla="*/ 62 h 830"/>
                  <a:gd name="T102" fmla="*/ 98 w 1675"/>
                  <a:gd name="T103" fmla="*/ 56 h 830"/>
                  <a:gd name="T104" fmla="*/ 114 w 1675"/>
                  <a:gd name="T105" fmla="*/ 67 h 830"/>
                  <a:gd name="T106" fmla="*/ 136 w 1675"/>
                  <a:gd name="T107" fmla="*/ 76 h 830"/>
                  <a:gd name="T108" fmla="*/ 151 w 1675"/>
                  <a:gd name="T109" fmla="*/ 82 h 830"/>
                  <a:gd name="T110" fmla="*/ 160 w 1675"/>
                  <a:gd name="T111" fmla="*/ 74 h 830"/>
                  <a:gd name="T112" fmla="*/ 174 w 1675"/>
                  <a:gd name="T113" fmla="*/ 85 h 830"/>
                  <a:gd name="T114" fmla="*/ 161 w 1675"/>
                  <a:gd name="T115" fmla="*/ 97 h 830"/>
                  <a:gd name="T116" fmla="*/ 159 w 1675"/>
                  <a:gd name="T117" fmla="*/ 113 h 830"/>
                  <a:gd name="T118" fmla="*/ 171 w 1675"/>
                  <a:gd name="T119" fmla="*/ 132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75" h="830">
                    <a:moveTo>
                      <a:pt x="853" y="659"/>
                    </a:moveTo>
                    <a:lnTo>
                      <a:pt x="1136" y="830"/>
                    </a:lnTo>
                    <a:lnTo>
                      <a:pt x="1256" y="810"/>
                    </a:lnTo>
                    <a:lnTo>
                      <a:pt x="1269" y="736"/>
                    </a:lnTo>
                    <a:lnTo>
                      <a:pt x="1250" y="697"/>
                    </a:lnTo>
                    <a:lnTo>
                      <a:pt x="1250" y="646"/>
                    </a:lnTo>
                    <a:lnTo>
                      <a:pt x="1205" y="579"/>
                    </a:lnTo>
                    <a:lnTo>
                      <a:pt x="1165" y="494"/>
                    </a:lnTo>
                    <a:lnTo>
                      <a:pt x="1131" y="397"/>
                    </a:lnTo>
                    <a:lnTo>
                      <a:pt x="1091" y="340"/>
                    </a:lnTo>
                    <a:lnTo>
                      <a:pt x="1136" y="251"/>
                    </a:lnTo>
                    <a:lnTo>
                      <a:pt x="1136" y="138"/>
                    </a:lnTo>
                    <a:lnTo>
                      <a:pt x="1250" y="223"/>
                    </a:lnTo>
                    <a:lnTo>
                      <a:pt x="1228" y="340"/>
                    </a:lnTo>
                    <a:lnTo>
                      <a:pt x="1222" y="420"/>
                    </a:lnTo>
                    <a:lnTo>
                      <a:pt x="1273" y="460"/>
                    </a:lnTo>
                    <a:lnTo>
                      <a:pt x="1313" y="499"/>
                    </a:lnTo>
                    <a:lnTo>
                      <a:pt x="1296" y="556"/>
                    </a:lnTo>
                    <a:lnTo>
                      <a:pt x="1347" y="613"/>
                    </a:lnTo>
                    <a:lnTo>
                      <a:pt x="1421" y="619"/>
                    </a:lnTo>
                    <a:lnTo>
                      <a:pt x="1507" y="705"/>
                    </a:lnTo>
                    <a:lnTo>
                      <a:pt x="1581" y="703"/>
                    </a:lnTo>
                    <a:lnTo>
                      <a:pt x="1661" y="686"/>
                    </a:lnTo>
                    <a:lnTo>
                      <a:pt x="1672" y="590"/>
                    </a:lnTo>
                    <a:lnTo>
                      <a:pt x="1675" y="517"/>
                    </a:lnTo>
                    <a:lnTo>
                      <a:pt x="1605" y="527"/>
                    </a:lnTo>
                    <a:lnTo>
                      <a:pt x="1515" y="564"/>
                    </a:lnTo>
                    <a:lnTo>
                      <a:pt x="1484" y="511"/>
                    </a:lnTo>
                    <a:lnTo>
                      <a:pt x="1444" y="408"/>
                    </a:lnTo>
                    <a:lnTo>
                      <a:pt x="1418" y="314"/>
                    </a:lnTo>
                    <a:lnTo>
                      <a:pt x="1381" y="249"/>
                    </a:lnTo>
                    <a:lnTo>
                      <a:pt x="1362" y="163"/>
                    </a:lnTo>
                    <a:lnTo>
                      <a:pt x="1323" y="95"/>
                    </a:lnTo>
                    <a:lnTo>
                      <a:pt x="1288" y="0"/>
                    </a:lnTo>
                    <a:lnTo>
                      <a:pt x="1222" y="45"/>
                    </a:lnTo>
                    <a:lnTo>
                      <a:pt x="1165" y="63"/>
                    </a:lnTo>
                    <a:lnTo>
                      <a:pt x="1051" y="54"/>
                    </a:lnTo>
                    <a:lnTo>
                      <a:pt x="977" y="63"/>
                    </a:lnTo>
                    <a:lnTo>
                      <a:pt x="851" y="119"/>
                    </a:lnTo>
                    <a:lnTo>
                      <a:pt x="735" y="143"/>
                    </a:lnTo>
                    <a:lnTo>
                      <a:pt x="662" y="232"/>
                    </a:lnTo>
                    <a:lnTo>
                      <a:pt x="501" y="260"/>
                    </a:lnTo>
                    <a:lnTo>
                      <a:pt x="376" y="304"/>
                    </a:lnTo>
                    <a:lnTo>
                      <a:pt x="165" y="365"/>
                    </a:lnTo>
                    <a:lnTo>
                      <a:pt x="0" y="423"/>
                    </a:lnTo>
                    <a:lnTo>
                      <a:pt x="29" y="564"/>
                    </a:lnTo>
                    <a:lnTo>
                      <a:pt x="88" y="564"/>
                    </a:lnTo>
                    <a:lnTo>
                      <a:pt x="178" y="461"/>
                    </a:lnTo>
                    <a:lnTo>
                      <a:pt x="277" y="403"/>
                    </a:lnTo>
                    <a:lnTo>
                      <a:pt x="380" y="388"/>
                    </a:lnTo>
                    <a:lnTo>
                      <a:pt x="428" y="308"/>
                    </a:lnTo>
                    <a:lnTo>
                      <a:pt x="491" y="282"/>
                    </a:lnTo>
                    <a:lnTo>
                      <a:pt x="571" y="334"/>
                    </a:lnTo>
                    <a:lnTo>
                      <a:pt x="680" y="378"/>
                    </a:lnTo>
                    <a:lnTo>
                      <a:pt x="754" y="412"/>
                    </a:lnTo>
                    <a:lnTo>
                      <a:pt x="802" y="372"/>
                    </a:lnTo>
                    <a:lnTo>
                      <a:pt x="871" y="424"/>
                    </a:lnTo>
                    <a:lnTo>
                      <a:pt x="805" y="483"/>
                    </a:lnTo>
                    <a:lnTo>
                      <a:pt x="795" y="563"/>
                    </a:lnTo>
                    <a:lnTo>
                      <a:pt x="853" y="659"/>
                    </a:lnTo>
                    <a:close/>
                  </a:path>
                </a:pathLst>
              </a:custGeom>
              <a:solidFill>
                <a:schemeClr val="accent4">
                  <a:lumMod val="50000"/>
                </a:schemeClr>
              </a:solidFill>
              <a:ln w="6350" cmpd="sng">
                <a:no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71" name="Maine">
                <a:extLst>
                  <a:ext uri="{FF2B5EF4-FFF2-40B4-BE49-F238E27FC236}">
                    <a16:creationId xmlns:a16="http://schemas.microsoft.com/office/drawing/2014/main" id="{5C3A9880-F935-7FF4-2400-10AAEA5567F7}"/>
                  </a:ext>
                </a:extLst>
              </p:cNvPr>
              <p:cNvSpPr>
                <a:spLocks/>
              </p:cNvSpPr>
              <p:nvPr/>
            </p:nvSpPr>
            <p:spPr bwMode="auto">
              <a:xfrm>
                <a:off x="7642918" y="1367242"/>
                <a:ext cx="426902" cy="679234"/>
              </a:xfrm>
              <a:custGeom>
                <a:avLst/>
                <a:gdLst>
                  <a:gd name="T0" fmla="*/ 0 w 1386"/>
                  <a:gd name="T1" fmla="*/ 249 h 2211"/>
                  <a:gd name="T2" fmla="*/ 29 w 1386"/>
                  <a:gd name="T3" fmla="*/ 323 h 2211"/>
                  <a:gd name="T4" fmla="*/ 64 w 1386"/>
                  <a:gd name="T5" fmla="*/ 385 h 2211"/>
                  <a:gd name="T6" fmla="*/ 71 w 1386"/>
                  <a:gd name="T7" fmla="*/ 411 h 2211"/>
                  <a:gd name="T8" fmla="*/ 92 w 1386"/>
                  <a:gd name="T9" fmla="*/ 419 h 2211"/>
                  <a:gd name="T10" fmla="*/ 109 w 1386"/>
                  <a:gd name="T11" fmla="*/ 374 h 2211"/>
                  <a:gd name="T12" fmla="*/ 109 w 1386"/>
                  <a:gd name="T13" fmla="*/ 351 h 2211"/>
                  <a:gd name="T14" fmla="*/ 125 w 1386"/>
                  <a:gd name="T15" fmla="*/ 333 h 2211"/>
                  <a:gd name="T16" fmla="*/ 143 w 1386"/>
                  <a:gd name="T17" fmla="*/ 318 h 2211"/>
                  <a:gd name="T18" fmla="*/ 166 w 1386"/>
                  <a:gd name="T19" fmla="*/ 289 h 2211"/>
                  <a:gd name="T20" fmla="*/ 172 w 1386"/>
                  <a:gd name="T21" fmla="*/ 266 h 2211"/>
                  <a:gd name="T22" fmla="*/ 164 w 1386"/>
                  <a:gd name="T23" fmla="*/ 260 h 2211"/>
                  <a:gd name="T24" fmla="*/ 178 w 1386"/>
                  <a:gd name="T25" fmla="*/ 245 h 2211"/>
                  <a:gd name="T26" fmla="*/ 189 w 1386"/>
                  <a:gd name="T27" fmla="*/ 266 h 2211"/>
                  <a:gd name="T28" fmla="*/ 195 w 1386"/>
                  <a:gd name="T29" fmla="*/ 261 h 2211"/>
                  <a:gd name="T30" fmla="*/ 195 w 1386"/>
                  <a:gd name="T31" fmla="*/ 232 h 2211"/>
                  <a:gd name="T32" fmla="*/ 229 w 1386"/>
                  <a:gd name="T33" fmla="*/ 215 h 2211"/>
                  <a:gd name="T34" fmla="*/ 245 w 1386"/>
                  <a:gd name="T35" fmla="*/ 200 h 2211"/>
                  <a:gd name="T36" fmla="*/ 263 w 1386"/>
                  <a:gd name="T37" fmla="*/ 181 h 2211"/>
                  <a:gd name="T38" fmla="*/ 263 w 1386"/>
                  <a:gd name="T39" fmla="*/ 158 h 2211"/>
                  <a:gd name="T40" fmla="*/ 248 w 1386"/>
                  <a:gd name="T41" fmla="*/ 150 h 2211"/>
                  <a:gd name="T42" fmla="*/ 246 w 1386"/>
                  <a:gd name="T43" fmla="*/ 136 h 2211"/>
                  <a:gd name="T44" fmla="*/ 226 w 1386"/>
                  <a:gd name="T45" fmla="*/ 138 h 2211"/>
                  <a:gd name="T46" fmla="*/ 212 w 1386"/>
                  <a:gd name="T47" fmla="*/ 130 h 2211"/>
                  <a:gd name="T48" fmla="*/ 202 w 1386"/>
                  <a:gd name="T49" fmla="*/ 114 h 2211"/>
                  <a:gd name="T50" fmla="*/ 183 w 1386"/>
                  <a:gd name="T51" fmla="*/ 113 h 2211"/>
                  <a:gd name="T52" fmla="*/ 170 w 1386"/>
                  <a:gd name="T53" fmla="*/ 100 h 2211"/>
                  <a:gd name="T54" fmla="*/ 167 w 1386"/>
                  <a:gd name="T55" fmla="*/ 76 h 2211"/>
                  <a:gd name="T56" fmla="*/ 152 w 1386"/>
                  <a:gd name="T57" fmla="*/ 56 h 2211"/>
                  <a:gd name="T58" fmla="*/ 144 w 1386"/>
                  <a:gd name="T59" fmla="*/ 35 h 2211"/>
                  <a:gd name="T60" fmla="*/ 129 w 1386"/>
                  <a:gd name="T61" fmla="*/ 0 h 2211"/>
                  <a:gd name="T62" fmla="*/ 109 w 1386"/>
                  <a:gd name="T63" fmla="*/ 2 h 2211"/>
                  <a:gd name="T64" fmla="*/ 90 w 1386"/>
                  <a:gd name="T65" fmla="*/ 2 h 2211"/>
                  <a:gd name="T66" fmla="*/ 70 w 1386"/>
                  <a:gd name="T67" fmla="*/ 24 h 2211"/>
                  <a:gd name="T68" fmla="*/ 52 w 1386"/>
                  <a:gd name="T69" fmla="*/ 33 h 2211"/>
                  <a:gd name="T70" fmla="*/ 35 w 1386"/>
                  <a:gd name="T71" fmla="*/ 23 h 2211"/>
                  <a:gd name="T72" fmla="*/ 30 w 1386"/>
                  <a:gd name="T73" fmla="*/ 11 h 2211"/>
                  <a:gd name="T74" fmla="*/ 15 w 1386"/>
                  <a:gd name="T75" fmla="*/ 41 h 2211"/>
                  <a:gd name="T76" fmla="*/ 21 w 1386"/>
                  <a:gd name="T77" fmla="*/ 56 h 2211"/>
                  <a:gd name="T78" fmla="*/ 18 w 1386"/>
                  <a:gd name="T79" fmla="*/ 74 h 2211"/>
                  <a:gd name="T80" fmla="*/ 11 w 1386"/>
                  <a:gd name="T81" fmla="*/ 104 h 2211"/>
                  <a:gd name="T82" fmla="*/ 15 w 1386"/>
                  <a:gd name="T83" fmla="*/ 133 h 2211"/>
                  <a:gd name="T84" fmla="*/ 24 w 1386"/>
                  <a:gd name="T85" fmla="*/ 163 h 2211"/>
                  <a:gd name="T86" fmla="*/ 18 w 1386"/>
                  <a:gd name="T87" fmla="*/ 187 h 2211"/>
                  <a:gd name="T88" fmla="*/ 11 w 1386"/>
                  <a:gd name="T89" fmla="*/ 224 h 2211"/>
                  <a:gd name="T90" fmla="*/ 0 w 1386"/>
                  <a:gd name="T91" fmla="*/ 249 h 2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86" h="2211">
                    <a:moveTo>
                      <a:pt x="0" y="1313"/>
                    </a:moveTo>
                    <a:lnTo>
                      <a:pt x="153" y="1703"/>
                    </a:lnTo>
                    <a:lnTo>
                      <a:pt x="337" y="2030"/>
                    </a:lnTo>
                    <a:lnTo>
                      <a:pt x="373" y="2169"/>
                    </a:lnTo>
                    <a:lnTo>
                      <a:pt x="483" y="2211"/>
                    </a:lnTo>
                    <a:lnTo>
                      <a:pt x="576" y="1976"/>
                    </a:lnTo>
                    <a:lnTo>
                      <a:pt x="577" y="1853"/>
                    </a:lnTo>
                    <a:lnTo>
                      <a:pt x="657" y="1757"/>
                    </a:lnTo>
                    <a:lnTo>
                      <a:pt x="753" y="1677"/>
                    </a:lnTo>
                    <a:lnTo>
                      <a:pt x="876" y="1526"/>
                    </a:lnTo>
                    <a:lnTo>
                      <a:pt x="906" y="1406"/>
                    </a:lnTo>
                    <a:lnTo>
                      <a:pt x="865" y="1373"/>
                    </a:lnTo>
                    <a:lnTo>
                      <a:pt x="937" y="1293"/>
                    </a:lnTo>
                    <a:lnTo>
                      <a:pt x="996" y="1406"/>
                    </a:lnTo>
                    <a:lnTo>
                      <a:pt x="1026" y="1376"/>
                    </a:lnTo>
                    <a:lnTo>
                      <a:pt x="1026" y="1226"/>
                    </a:lnTo>
                    <a:lnTo>
                      <a:pt x="1206" y="1136"/>
                    </a:lnTo>
                    <a:lnTo>
                      <a:pt x="1289" y="1056"/>
                    </a:lnTo>
                    <a:lnTo>
                      <a:pt x="1386" y="956"/>
                    </a:lnTo>
                    <a:lnTo>
                      <a:pt x="1386" y="836"/>
                    </a:lnTo>
                    <a:lnTo>
                      <a:pt x="1305" y="792"/>
                    </a:lnTo>
                    <a:lnTo>
                      <a:pt x="1296" y="716"/>
                    </a:lnTo>
                    <a:lnTo>
                      <a:pt x="1193" y="728"/>
                    </a:lnTo>
                    <a:lnTo>
                      <a:pt x="1116" y="686"/>
                    </a:lnTo>
                    <a:lnTo>
                      <a:pt x="1065" y="600"/>
                    </a:lnTo>
                    <a:lnTo>
                      <a:pt x="966" y="596"/>
                    </a:lnTo>
                    <a:lnTo>
                      <a:pt x="897" y="528"/>
                    </a:lnTo>
                    <a:lnTo>
                      <a:pt x="881" y="400"/>
                    </a:lnTo>
                    <a:lnTo>
                      <a:pt x="801" y="296"/>
                    </a:lnTo>
                    <a:lnTo>
                      <a:pt x="761" y="184"/>
                    </a:lnTo>
                    <a:lnTo>
                      <a:pt x="681" y="0"/>
                    </a:lnTo>
                    <a:lnTo>
                      <a:pt x="577" y="8"/>
                    </a:lnTo>
                    <a:lnTo>
                      <a:pt x="473" y="8"/>
                    </a:lnTo>
                    <a:lnTo>
                      <a:pt x="369" y="128"/>
                    </a:lnTo>
                    <a:lnTo>
                      <a:pt x="276" y="176"/>
                    </a:lnTo>
                    <a:lnTo>
                      <a:pt x="185" y="120"/>
                    </a:lnTo>
                    <a:lnTo>
                      <a:pt x="156" y="56"/>
                    </a:lnTo>
                    <a:lnTo>
                      <a:pt x="81" y="216"/>
                    </a:lnTo>
                    <a:lnTo>
                      <a:pt x="113" y="296"/>
                    </a:lnTo>
                    <a:lnTo>
                      <a:pt x="97" y="392"/>
                    </a:lnTo>
                    <a:lnTo>
                      <a:pt x="57" y="549"/>
                    </a:lnTo>
                    <a:lnTo>
                      <a:pt x="81" y="704"/>
                    </a:lnTo>
                    <a:lnTo>
                      <a:pt x="129" y="861"/>
                    </a:lnTo>
                    <a:lnTo>
                      <a:pt x="96" y="986"/>
                    </a:lnTo>
                    <a:lnTo>
                      <a:pt x="57" y="1184"/>
                    </a:lnTo>
                    <a:lnTo>
                      <a:pt x="0" y="1313"/>
                    </a:lnTo>
                    <a:close/>
                  </a:path>
                </a:pathLst>
              </a:custGeom>
              <a:solidFill>
                <a:schemeClr val="accent4">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72" name="Lousiana">
                <a:extLst>
                  <a:ext uri="{FF2B5EF4-FFF2-40B4-BE49-F238E27FC236}">
                    <a16:creationId xmlns:a16="http://schemas.microsoft.com/office/drawing/2014/main" id="{5ED205D1-5874-6795-7C1E-BF5ADA0E5908}"/>
                  </a:ext>
                </a:extLst>
              </p:cNvPr>
              <p:cNvSpPr>
                <a:spLocks/>
              </p:cNvSpPr>
              <p:nvPr/>
            </p:nvSpPr>
            <p:spPr bwMode="auto">
              <a:xfrm>
                <a:off x="5354208" y="4220348"/>
                <a:ext cx="715830" cy="603043"/>
              </a:xfrm>
              <a:custGeom>
                <a:avLst/>
                <a:gdLst>
                  <a:gd name="T0" fmla="*/ 54 w 2329"/>
                  <a:gd name="T1" fmla="*/ 9 h 1959"/>
                  <a:gd name="T2" fmla="*/ 187 w 2329"/>
                  <a:gd name="T3" fmla="*/ 6 h 1959"/>
                  <a:gd name="T4" fmla="*/ 240 w 2329"/>
                  <a:gd name="T5" fmla="*/ 21 h 1959"/>
                  <a:gd name="T6" fmla="*/ 242 w 2329"/>
                  <a:gd name="T7" fmla="*/ 48 h 1959"/>
                  <a:gd name="T8" fmla="*/ 237 w 2329"/>
                  <a:gd name="T9" fmla="*/ 80 h 1959"/>
                  <a:gd name="T10" fmla="*/ 218 w 2329"/>
                  <a:gd name="T11" fmla="*/ 128 h 1959"/>
                  <a:gd name="T12" fmla="*/ 214 w 2329"/>
                  <a:gd name="T13" fmla="*/ 176 h 1959"/>
                  <a:gd name="T14" fmla="*/ 298 w 2329"/>
                  <a:gd name="T15" fmla="*/ 177 h 1959"/>
                  <a:gd name="T16" fmla="*/ 352 w 2329"/>
                  <a:gd name="T17" fmla="*/ 166 h 1959"/>
                  <a:gd name="T18" fmla="*/ 364 w 2329"/>
                  <a:gd name="T19" fmla="*/ 190 h 1959"/>
                  <a:gd name="T20" fmla="*/ 374 w 2329"/>
                  <a:gd name="T21" fmla="*/ 216 h 1959"/>
                  <a:gd name="T22" fmla="*/ 384 w 2329"/>
                  <a:gd name="T23" fmla="*/ 239 h 1959"/>
                  <a:gd name="T24" fmla="*/ 339 w 2329"/>
                  <a:gd name="T25" fmla="*/ 222 h 1959"/>
                  <a:gd name="T26" fmla="*/ 319 w 2329"/>
                  <a:gd name="T27" fmla="*/ 252 h 1959"/>
                  <a:gd name="T28" fmla="*/ 342 w 2329"/>
                  <a:gd name="T29" fmla="*/ 264 h 1959"/>
                  <a:gd name="T30" fmla="*/ 373 w 2329"/>
                  <a:gd name="T31" fmla="*/ 250 h 1959"/>
                  <a:gd name="T32" fmla="*/ 384 w 2329"/>
                  <a:gd name="T33" fmla="*/ 259 h 1959"/>
                  <a:gd name="T34" fmla="*/ 405 w 2329"/>
                  <a:gd name="T35" fmla="*/ 254 h 1959"/>
                  <a:gd name="T36" fmla="*/ 427 w 2329"/>
                  <a:gd name="T37" fmla="*/ 267 h 1959"/>
                  <a:gd name="T38" fmla="*/ 410 w 2329"/>
                  <a:gd name="T39" fmla="*/ 292 h 1959"/>
                  <a:gd name="T40" fmla="*/ 436 w 2329"/>
                  <a:gd name="T41" fmla="*/ 320 h 1959"/>
                  <a:gd name="T42" fmla="*/ 425 w 2329"/>
                  <a:gd name="T43" fmla="*/ 362 h 1959"/>
                  <a:gd name="T44" fmla="*/ 396 w 2329"/>
                  <a:gd name="T45" fmla="*/ 333 h 1959"/>
                  <a:gd name="T46" fmla="*/ 369 w 2329"/>
                  <a:gd name="T47" fmla="*/ 320 h 1959"/>
                  <a:gd name="T48" fmla="*/ 327 w 2329"/>
                  <a:gd name="T49" fmla="*/ 296 h 1959"/>
                  <a:gd name="T50" fmla="*/ 357 w 2329"/>
                  <a:gd name="T51" fmla="*/ 341 h 1959"/>
                  <a:gd name="T52" fmla="*/ 333 w 2329"/>
                  <a:gd name="T53" fmla="*/ 361 h 1959"/>
                  <a:gd name="T54" fmla="*/ 302 w 2329"/>
                  <a:gd name="T55" fmla="*/ 353 h 1959"/>
                  <a:gd name="T56" fmla="*/ 266 w 2329"/>
                  <a:gd name="T57" fmla="*/ 369 h 1959"/>
                  <a:gd name="T58" fmla="*/ 257 w 2329"/>
                  <a:gd name="T59" fmla="*/ 342 h 1959"/>
                  <a:gd name="T60" fmla="*/ 248 w 2329"/>
                  <a:gd name="T61" fmla="*/ 298 h 1959"/>
                  <a:gd name="T62" fmla="*/ 242 w 2329"/>
                  <a:gd name="T63" fmla="*/ 330 h 1959"/>
                  <a:gd name="T64" fmla="*/ 201 w 2329"/>
                  <a:gd name="T65" fmla="*/ 309 h 1959"/>
                  <a:gd name="T66" fmla="*/ 171 w 2329"/>
                  <a:gd name="T67" fmla="*/ 336 h 1959"/>
                  <a:gd name="T68" fmla="*/ 119 w 2329"/>
                  <a:gd name="T69" fmla="*/ 326 h 1959"/>
                  <a:gd name="T70" fmla="*/ 74 w 2329"/>
                  <a:gd name="T71" fmla="*/ 330 h 1959"/>
                  <a:gd name="T72" fmla="*/ 44 w 2329"/>
                  <a:gd name="T73" fmla="*/ 284 h 1959"/>
                  <a:gd name="T74" fmla="*/ 56 w 2329"/>
                  <a:gd name="T75" fmla="*/ 215 h 1959"/>
                  <a:gd name="T76" fmla="*/ 30 w 2329"/>
                  <a:gd name="T77" fmla="*/ 146 h 1959"/>
                  <a:gd name="T78" fmla="*/ 0 w 2329"/>
                  <a:gd name="T79" fmla="*/ 93 h 1959"/>
                  <a:gd name="T80" fmla="*/ 0 w 2329"/>
                  <a:gd name="T81" fmla="*/ 50 h 19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9" h="1959">
                    <a:moveTo>
                      <a:pt x="16" y="123"/>
                    </a:moveTo>
                    <a:lnTo>
                      <a:pt x="283" y="48"/>
                    </a:lnTo>
                    <a:lnTo>
                      <a:pt x="694" y="33"/>
                    </a:lnTo>
                    <a:lnTo>
                      <a:pt x="988" y="32"/>
                    </a:lnTo>
                    <a:lnTo>
                      <a:pt x="1216" y="0"/>
                    </a:lnTo>
                    <a:lnTo>
                      <a:pt x="1267" y="108"/>
                    </a:lnTo>
                    <a:lnTo>
                      <a:pt x="1309" y="177"/>
                    </a:lnTo>
                    <a:lnTo>
                      <a:pt x="1279" y="252"/>
                    </a:lnTo>
                    <a:lnTo>
                      <a:pt x="1309" y="327"/>
                    </a:lnTo>
                    <a:lnTo>
                      <a:pt x="1249" y="420"/>
                    </a:lnTo>
                    <a:lnTo>
                      <a:pt x="1249" y="537"/>
                    </a:lnTo>
                    <a:lnTo>
                      <a:pt x="1153" y="672"/>
                    </a:lnTo>
                    <a:lnTo>
                      <a:pt x="1129" y="807"/>
                    </a:lnTo>
                    <a:lnTo>
                      <a:pt x="1129" y="927"/>
                    </a:lnTo>
                    <a:lnTo>
                      <a:pt x="1339" y="927"/>
                    </a:lnTo>
                    <a:lnTo>
                      <a:pt x="1573" y="930"/>
                    </a:lnTo>
                    <a:lnTo>
                      <a:pt x="1729" y="897"/>
                    </a:lnTo>
                    <a:lnTo>
                      <a:pt x="1861" y="876"/>
                    </a:lnTo>
                    <a:lnTo>
                      <a:pt x="1939" y="897"/>
                    </a:lnTo>
                    <a:lnTo>
                      <a:pt x="1921" y="1002"/>
                    </a:lnTo>
                    <a:lnTo>
                      <a:pt x="1939" y="1047"/>
                    </a:lnTo>
                    <a:lnTo>
                      <a:pt x="1975" y="1137"/>
                    </a:lnTo>
                    <a:lnTo>
                      <a:pt x="2035" y="1215"/>
                    </a:lnTo>
                    <a:lnTo>
                      <a:pt x="2029" y="1257"/>
                    </a:lnTo>
                    <a:lnTo>
                      <a:pt x="1909" y="1209"/>
                    </a:lnTo>
                    <a:lnTo>
                      <a:pt x="1789" y="1167"/>
                    </a:lnTo>
                    <a:lnTo>
                      <a:pt x="1609" y="1257"/>
                    </a:lnTo>
                    <a:lnTo>
                      <a:pt x="1687" y="1329"/>
                    </a:lnTo>
                    <a:lnTo>
                      <a:pt x="1729" y="1497"/>
                    </a:lnTo>
                    <a:lnTo>
                      <a:pt x="1807" y="1392"/>
                    </a:lnTo>
                    <a:lnTo>
                      <a:pt x="1867" y="1299"/>
                    </a:lnTo>
                    <a:lnTo>
                      <a:pt x="1969" y="1317"/>
                    </a:lnTo>
                    <a:lnTo>
                      <a:pt x="1969" y="1377"/>
                    </a:lnTo>
                    <a:lnTo>
                      <a:pt x="2029" y="1362"/>
                    </a:lnTo>
                    <a:lnTo>
                      <a:pt x="2071" y="1314"/>
                    </a:lnTo>
                    <a:lnTo>
                      <a:pt x="2137" y="1338"/>
                    </a:lnTo>
                    <a:lnTo>
                      <a:pt x="2209" y="1347"/>
                    </a:lnTo>
                    <a:lnTo>
                      <a:pt x="2257" y="1407"/>
                    </a:lnTo>
                    <a:lnTo>
                      <a:pt x="2209" y="1470"/>
                    </a:lnTo>
                    <a:lnTo>
                      <a:pt x="2167" y="1536"/>
                    </a:lnTo>
                    <a:lnTo>
                      <a:pt x="2179" y="1647"/>
                    </a:lnTo>
                    <a:lnTo>
                      <a:pt x="2305" y="1683"/>
                    </a:lnTo>
                    <a:lnTo>
                      <a:pt x="2329" y="1797"/>
                    </a:lnTo>
                    <a:lnTo>
                      <a:pt x="2245" y="1905"/>
                    </a:lnTo>
                    <a:lnTo>
                      <a:pt x="2161" y="1815"/>
                    </a:lnTo>
                    <a:lnTo>
                      <a:pt x="2089" y="1755"/>
                    </a:lnTo>
                    <a:lnTo>
                      <a:pt x="2011" y="1731"/>
                    </a:lnTo>
                    <a:lnTo>
                      <a:pt x="1951" y="1683"/>
                    </a:lnTo>
                    <a:lnTo>
                      <a:pt x="1789" y="1557"/>
                    </a:lnTo>
                    <a:lnTo>
                      <a:pt x="1729" y="1557"/>
                    </a:lnTo>
                    <a:lnTo>
                      <a:pt x="1837" y="1689"/>
                    </a:lnTo>
                    <a:lnTo>
                      <a:pt x="1885" y="1797"/>
                    </a:lnTo>
                    <a:lnTo>
                      <a:pt x="1825" y="1875"/>
                    </a:lnTo>
                    <a:lnTo>
                      <a:pt x="1759" y="1902"/>
                    </a:lnTo>
                    <a:lnTo>
                      <a:pt x="1705" y="1857"/>
                    </a:lnTo>
                    <a:lnTo>
                      <a:pt x="1597" y="1857"/>
                    </a:lnTo>
                    <a:lnTo>
                      <a:pt x="1537" y="1959"/>
                    </a:lnTo>
                    <a:lnTo>
                      <a:pt x="1405" y="1944"/>
                    </a:lnTo>
                    <a:lnTo>
                      <a:pt x="1369" y="1905"/>
                    </a:lnTo>
                    <a:lnTo>
                      <a:pt x="1357" y="1803"/>
                    </a:lnTo>
                    <a:lnTo>
                      <a:pt x="1399" y="1647"/>
                    </a:lnTo>
                    <a:lnTo>
                      <a:pt x="1309" y="1569"/>
                    </a:lnTo>
                    <a:lnTo>
                      <a:pt x="1321" y="1647"/>
                    </a:lnTo>
                    <a:lnTo>
                      <a:pt x="1279" y="1737"/>
                    </a:lnTo>
                    <a:lnTo>
                      <a:pt x="1177" y="1659"/>
                    </a:lnTo>
                    <a:lnTo>
                      <a:pt x="1063" y="1626"/>
                    </a:lnTo>
                    <a:lnTo>
                      <a:pt x="949" y="1677"/>
                    </a:lnTo>
                    <a:lnTo>
                      <a:pt x="901" y="1770"/>
                    </a:lnTo>
                    <a:lnTo>
                      <a:pt x="769" y="1797"/>
                    </a:lnTo>
                    <a:lnTo>
                      <a:pt x="631" y="1719"/>
                    </a:lnTo>
                    <a:lnTo>
                      <a:pt x="469" y="1677"/>
                    </a:lnTo>
                    <a:lnTo>
                      <a:pt x="391" y="1737"/>
                    </a:lnTo>
                    <a:lnTo>
                      <a:pt x="241" y="1751"/>
                    </a:lnTo>
                    <a:lnTo>
                      <a:pt x="234" y="1496"/>
                    </a:lnTo>
                    <a:lnTo>
                      <a:pt x="211" y="1214"/>
                    </a:lnTo>
                    <a:lnTo>
                      <a:pt x="297" y="1130"/>
                    </a:lnTo>
                    <a:lnTo>
                      <a:pt x="258" y="932"/>
                    </a:lnTo>
                    <a:lnTo>
                      <a:pt x="156" y="770"/>
                    </a:lnTo>
                    <a:lnTo>
                      <a:pt x="73" y="681"/>
                    </a:lnTo>
                    <a:lnTo>
                      <a:pt x="0" y="491"/>
                    </a:lnTo>
                    <a:lnTo>
                      <a:pt x="18" y="389"/>
                    </a:lnTo>
                    <a:lnTo>
                      <a:pt x="1" y="263"/>
                    </a:lnTo>
                    <a:lnTo>
                      <a:pt x="16" y="123"/>
                    </a:lnTo>
                    <a:close/>
                  </a:path>
                </a:pathLst>
              </a:custGeom>
              <a:solidFill>
                <a:schemeClr val="accent4">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73" name="Kentucky">
                <a:extLst>
                  <a:ext uri="{FF2B5EF4-FFF2-40B4-BE49-F238E27FC236}">
                    <a16:creationId xmlns:a16="http://schemas.microsoft.com/office/drawing/2014/main" id="{1F3B0627-796C-15FA-D3D1-F397B2D088D4}"/>
                  </a:ext>
                </a:extLst>
              </p:cNvPr>
              <p:cNvSpPr>
                <a:spLocks/>
              </p:cNvSpPr>
              <p:nvPr/>
            </p:nvSpPr>
            <p:spPr bwMode="auto">
              <a:xfrm>
                <a:off x="5881748" y="3126117"/>
                <a:ext cx="844064" cy="504156"/>
              </a:xfrm>
              <a:custGeom>
                <a:avLst/>
                <a:gdLst>
                  <a:gd name="T0" fmla="*/ 0 w 2741"/>
                  <a:gd name="T1" fmla="*/ 264 h 1641"/>
                  <a:gd name="T2" fmla="*/ 19 w 2741"/>
                  <a:gd name="T3" fmla="*/ 275 h 1641"/>
                  <a:gd name="T4" fmla="*/ 22 w 2741"/>
                  <a:gd name="T5" fmla="*/ 308 h 1641"/>
                  <a:gd name="T6" fmla="*/ 45 w 2741"/>
                  <a:gd name="T7" fmla="*/ 311 h 1641"/>
                  <a:gd name="T8" fmla="*/ 66 w 2741"/>
                  <a:gd name="T9" fmla="*/ 305 h 1641"/>
                  <a:gd name="T10" fmla="*/ 93 w 2741"/>
                  <a:gd name="T11" fmla="*/ 304 h 1641"/>
                  <a:gd name="T12" fmla="*/ 124 w 2741"/>
                  <a:gd name="T13" fmla="*/ 292 h 1641"/>
                  <a:gd name="T14" fmla="*/ 155 w 2741"/>
                  <a:gd name="T15" fmla="*/ 279 h 1641"/>
                  <a:gd name="T16" fmla="*/ 189 w 2741"/>
                  <a:gd name="T17" fmla="*/ 280 h 1641"/>
                  <a:gd name="T18" fmla="*/ 240 w 2741"/>
                  <a:gd name="T19" fmla="*/ 264 h 1641"/>
                  <a:gd name="T20" fmla="*/ 313 w 2741"/>
                  <a:gd name="T21" fmla="*/ 250 h 1641"/>
                  <a:gd name="T22" fmla="*/ 357 w 2741"/>
                  <a:gd name="T23" fmla="*/ 244 h 1641"/>
                  <a:gd name="T24" fmla="*/ 412 w 2741"/>
                  <a:gd name="T25" fmla="*/ 235 h 1641"/>
                  <a:gd name="T26" fmla="*/ 456 w 2741"/>
                  <a:gd name="T27" fmla="*/ 222 h 1641"/>
                  <a:gd name="T28" fmla="*/ 513 w 2741"/>
                  <a:gd name="T29" fmla="*/ 209 h 1641"/>
                  <a:gd name="T30" fmla="*/ 518 w 2741"/>
                  <a:gd name="T31" fmla="*/ 193 h 1641"/>
                  <a:gd name="T32" fmla="*/ 507 w 2741"/>
                  <a:gd name="T33" fmla="*/ 165 h 1641"/>
                  <a:gd name="T34" fmla="*/ 518 w 2741"/>
                  <a:gd name="T35" fmla="*/ 145 h 1641"/>
                  <a:gd name="T36" fmla="*/ 520 w 2741"/>
                  <a:gd name="T37" fmla="*/ 121 h 1641"/>
                  <a:gd name="T38" fmla="*/ 517 w 2741"/>
                  <a:gd name="T39" fmla="*/ 97 h 1641"/>
                  <a:gd name="T40" fmla="*/ 496 w 2741"/>
                  <a:gd name="T41" fmla="*/ 80 h 1641"/>
                  <a:gd name="T42" fmla="*/ 493 w 2741"/>
                  <a:gd name="T43" fmla="*/ 47 h 1641"/>
                  <a:gd name="T44" fmla="*/ 482 w 2741"/>
                  <a:gd name="T45" fmla="*/ 34 h 1641"/>
                  <a:gd name="T46" fmla="*/ 469 w 2741"/>
                  <a:gd name="T47" fmla="*/ 19 h 1641"/>
                  <a:gd name="T48" fmla="*/ 445 w 2741"/>
                  <a:gd name="T49" fmla="*/ 0 h 1641"/>
                  <a:gd name="T50" fmla="*/ 430 w 2741"/>
                  <a:gd name="T51" fmla="*/ 16 h 1641"/>
                  <a:gd name="T52" fmla="*/ 409 w 2741"/>
                  <a:gd name="T53" fmla="*/ 23 h 1641"/>
                  <a:gd name="T54" fmla="*/ 375 w 2741"/>
                  <a:gd name="T55" fmla="*/ 23 h 1641"/>
                  <a:gd name="T56" fmla="*/ 344 w 2741"/>
                  <a:gd name="T57" fmla="*/ 20 h 1641"/>
                  <a:gd name="T58" fmla="*/ 313 w 2741"/>
                  <a:gd name="T59" fmla="*/ 0 h 1641"/>
                  <a:gd name="T60" fmla="*/ 307 w 2741"/>
                  <a:gd name="T61" fmla="*/ 26 h 1641"/>
                  <a:gd name="T62" fmla="*/ 315 w 2741"/>
                  <a:gd name="T63" fmla="*/ 46 h 1641"/>
                  <a:gd name="T64" fmla="*/ 280 w 2741"/>
                  <a:gd name="T65" fmla="*/ 52 h 1641"/>
                  <a:gd name="T66" fmla="*/ 257 w 2741"/>
                  <a:gd name="T67" fmla="*/ 65 h 1641"/>
                  <a:gd name="T68" fmla="*/ 257 w 2741"/>
                  <a:gd name="T69" fmla="*/ 87 h 1641"/>
                  <a:gd name="T70" fmla="*/ 241 w 2741"/>
                  <a:gd name="T71" fmla="*/ 111 h 1641"/>
                  <a:gd name="T72" fmla="*/ 223 w 2741"/>
                  <a:gd name="T73" fmla="*/ 136 h 1641"/>
                  <a:gd name="T74" fmla="*/ 196 w 2741"/>
                  <a:gd name="T75" fmla="*/ 129 h 1641"/>
                  <a:gd name="T76" fmla="*/ 188 w 2741"/>
                  <a:gd name="T77" fmla="*/ 148 h 1641"/>
                  <a:gd name="T78" fmla="*/ 165 w 2741"/>
                  <a:gd name="T79" fmla="*/ 159 h 1641"/>
                  <a:gd name="T80" fmla="*/ 145 w 2741"/>
                  <a:gd name="T81" fmla="*/ 178 h 1641"/>
                  <a:gd name="T82" fmla="*/ 126 w 2741"/>
                  <a:gd name="T83" fmla="*/ 165 h 1641"/>
                  <a:gd name="T84" fmla="*/ 111 w 2741"/>
                  <a:gd name="T85" fmla="*/ 179 h 1641"/>
                  <a:gd name="T86" fmla="*/ 89 w 2741"/>
                  <a:gd name="T87" fmla="*/ 190 h 1641"/>
                  <a:gd name="T88" fmla="*/ 91 w 2741"/>
                  <a:gd name="T89" fmla="*/ 210 h 1641"/>
                  <a:gd name="T90" fmla="*/ 78 w 2741"/>
                  <a:gd name="T91" fmla="*/ 225 h 1641"/>
                  <a:gd name="T92" fmla="*/ 60 w 2741"/>
                  <a:gd name="T93" fmla="*/ 237 h 1641"/>
                  <a:gd name="T94" fmla="*/ 40 w 2741"/>
                  <a:gd name="T95" fmla="*/ 248 h 1641"/>
                  <a:gd name="T96" fmla="*/ 0 w 2741"/>
                  <a:gd name="T97" fmla="*/ 264 h 1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741" h="1641">
                    <a:moveTo>
                      <a:pt x="0" y="1394"/>
                    </a:moveTo>
                    <a:lnTo>
                      <a:pt x="100" y="1452"/>
                    </a:lnTo>
                    <a:lnTo>
                      <a:pt x="117" y="1626"/>
                    </a:lnTo>
                    <a:lnTo>
                      <a:pt x="237" y="1641"/>
                    </a:lnTo>
                    <a:lnTo>
                      <a:pt x="350" y="1611"/>
                    </a:lnTo>
                    <a:lnTo>
                      <a:pt x="488" y="1605"/>
                    </a:lnTo>
                    <a:lnTo>
                      <a:pt x="656" y="1539"/>
                    </a:lnTo>
                    <a:lnTo>
                      <a:pt x="818" y="1473"/>
                    </a:lnTo>
                    <a:lnTo>
                      <a:pt x="998" y="1479"/>
                    </a:lnTo>
                    <a:lnTo>
                      <a:pt x="1267" y="1395"/>
                    </a:lnTo>
                    <a:lnTo>
                      <a:pt x="1651" y="1317"/>
                    </a:lnTo>
                    <a:lnTo>
                      <a:pt x="1884" y="1287"/>
                    </a:lnTo>
                    <a:lnTo>
                      <a:pt x="2172" y="1239"/>
                    </a:lnTo>
                    <a:lnTo>
                      <a:pt x="2402" y="1172"/>
                    </a:lnTo>
                    <a:lnTo>
                      <a:pt x="2705" y="1101"/>
                    </a:lnTo>
                    <a:lnTo>
                      <a:pt x="2729" y="1017"/>
                    </a:lnTo>
                    <a:lnTo>
                      <a:pt x="2672" y="872"/>
                    </a:lnTo>
                    <a:lnTo>
                      <a:pt x="2729" y="765"/>
                    </a:lnTo>
                    <a:lnTo>
                      <a:pt x="2741" y="639"/>
                    </a:lnTo>
                    <a:lnTo>
                      <a:pt x="2723" y="513"/>
                    </a:lnTo>
                    <a:lnTo>
                      <a:pt x="2615" y="423"/>
                    </a:lnTo>
                    <a:lnTo>
                      <a:pt x="2597" y="249"/>
                    </a:lnTo>
                    <a:lnTo>
                      <a:pt x="2540" y="182"/>
                    </a:lnTo>
                    <a:lnTo>
                      <a:pt x="2470" y="99"/>
                    </a:lnTo>
                    <a:lnTo>
                      <a:pt x="2347" y="2"/>
                    </a:lnTo>
                    <a:lnTo>
                      <a:pt x="2266" y="87"/>
                    </a:lnTo>
                    <a:lnTo>
                      <a:pt x="2154" y="123"/>
                    </a:lnTo>
                    <a:lnTo>
                      <a:pt x="1976" y="123"/>
                    </a:lnTo>
                    <a:lnTo>
                      <a:pt x="1813" y="107"/>
                    </a:lnTo>
                    <a:lnTo>
                      <a:pt x="1651" y="0"/>
                    </a:lnTo>
                    <a:lnTo>
                      <a:pt x="1620" y="138"/>
                    </a:lnTo>
                    <a:lnTo>
                      <a:pt x="1659" y="242"/>
                    </a:lnTo>
                    <a:lnTo>
                      <a:pt x="1476" y="272"/>
                    </a:lnTo>
                    <a:lnTo>
                      <a:pt x="1357" y="344"/>
                    </a:lnTo>
                    <a:lnTo>
                      <a:pt x="1356" y="458"/>
                    </a:lnTo>
                    <a:lnTo>
                      <a:pt x="1269" y="588"/>
                    </a:lnTo>
                    <a:lnTo>
                      <a:pt x="1173" y="717"/>
                    </a:lnTo>
                    <a:lnTo>
                      <a:pt x="1035" y="681"/>
                    </a:lnTo>
                    <a:lnTo>
                      <a:pt x="992" y="780"/>
                    </a:lnTo>
                    <a:lnTo>
                      <a:pt x="871" y="837"/>
                    </a:lnTo>
                    <a:lnTo>
                      <a:pt x="766" y="938"/>
                    </a:lnTo>
                    <a:lnTo>
                      <a:pt x="662" y="870"/>
                    </a:lnTo>
                    <a:lnTo>
                      <a:pt x="583" y="944"/>
                    </a:lnTo>
                    <a:lnTo>
                      <a:pt x="471" y="1005"/>
                    </a:lnTo>
                    <a:lnTo>
                      <a:pt x="479" y="1106"/>
                    </a:lnTo>
                    <a:lnTo>
                      <a:pt x="409" y="1185"/>
                    </a:lnTo>
                    <a:lnTo>
                      <a:pt x="315" y="1250"/>
                    </a:lnTo>
                    <a:lnTo>
                      <a:pt x="213" y="1307"/>
                    </a:lnTo>
                    <a:lnTo>
                      <a:pt x="0" y="1394"/>
                    </a:lnTo>
                    <a:close/>
                  </a:path>
                </a:pathLst>
              </a:custGeom>
              <a:solidFill>
                <a:schemeClr val="accent4">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74" name="Kansas">
                <a:extLst>
                  <a:ext uri="{FF2B5EF4-FFF2-40B4-BE49-F238E27FC236}">
                    <a16:creationId xmlns:a16="http://schemas.microsoft.com/office/drawing/2014/main" id="{32DF3BFE-18AA-D607-3E90-7215618DC624}"/>
                  </a:ext>
                </a:extLst>
              </p:cNvPr>
              <p:cNvSpPr>
                <a:spLocks/>
              </p:cNvSpPr>
              <p:nvPr/>
            </p:nvSpPr>
            <p:spPr bwMode="auto">
              <a:xfrm>
                <a:off x="4294260" y="3194203"/>
                <a:ext cx="933339" cy="505778"/>
              </a:xfrm>
              <a:custGeom>
                <a:avLst/>
                <a:gdLst>
                  <a:gd name="T0" fmla="*/ 12 w 3036"/>
                  <a:gd name="T1" fmla="*/ 11 h 1646"/>
                  <a:gd name="T2" fmla="*/ 0 w 3036"/>
                  <a:gd name="T3" fmla="*/ 93 h 1646"/>
                  <a:gd name="T4" fmla="*/ 2 w 3036"/>
                  <a:gd name="T5" fmla="*/ 311 h 1646"/>
                  <a:gd name="T6" fmla="*/ 265 w 3036"/>
                  <a:gd name="T7" fmla="*/ 312 h 1646"/>
                  <a:gd name="T8" fmla="*/ 435 w 3036"/>
                  <a:gd name="T9" fmla="*/ 298 h 1646"/>
                  <a:gd name="T10" fmla="*/ 575 w 3036"/>
                  <a:gd name="T11" fmla="*/ 286 h 1646"/>
                  <a:gd name="T12" fmla="*/ 575 w 3036"/>
                  <a:gd name="T13" fmla="*/ 251 h 1646"/>
                  <a:gd name="T14" fmla="*/ 570 w 3036"/>
                  <a:gd name="T15" fmla="*/ 198 h 1646"/>
                  <a:gd name="T16" fmla="*/ 570 w 3036"/>
                  <a:gd name="T17" fmla="*/ 135 h 1646"/>
                  <a:gd name="T18" fmla="*/ 566 w 3036"/>
                  <a:gd name="T19" fmla="*/ 87 h 1646"/>
                  <a:gd name="T20" fmla="*/ 542 w 3036"/>
                  <a:gd name="T21" fmla="*/ 73 h 1646"/>
                  <a:gd name="T22" fmla="*/ 532 w 3036"/>
                  <a:gd name="T23" fmla="*/ 42 h 1646"/>
                  <a:gd name="T24" fmla="*/ 537 w 3036"/>
                  <a:gd name="T25" fmla="*/ 25 h 1646"/>
                  <a:gd name="T26" fmla="*/ 518 w 3036"/>
                  <a:gd name="T27" fmla="*/ 14 h 1646"/>
                  <a:gd name="T28" fmla="*/ 491 w 3036"/>
                  <a:gd name="T29" fmla="*/ 0 h 1646"/>
                  <a:gd name="T30" fmla="*/ 453 w 3036"/>
                  <a:gd name="T31" fmla="*/ 0 h 1646"/>
                  <a:gd name="T32" fmla="*/ 419 w 3036"/>
                  <a:gd name="T33" fmla="*/ 2 h 1646"/>
                  <a:gd name="T34" fmla="*/ 391 w 3036"/>
                  <a:gd name="T35" fmla="*/ 5 h 1646"/>
                  <a:gd name="T36" fmla="*/ 279 w 3036"/>
                  <a:gd name="T37" fmla="*/ 11 h 1646"/>
                  <a:gd name="T38" fmla="*/ 12 w 3036"/>
                  <a:gd name="T39" fmla="*/ 11 h 16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36" h="1646">
                    <a:moveTo>
                      <a:pt x="62" y="59"/>
                    </a:moveTo>
                    <a:lnTo>
                      <a:pt x="0" y="491"/>
                    </a:lnTo>
                    <a:lnTo>
                      <a:pt x="13" y="1641"/>
                    </a:lnTo>
                    <a:lnTo>
                      <a:pt x="1401" y="1646"/>
                    </a:lnTo>
                    <a:lnTo>
                      <a:pt x="2298" y="1572"/>
                    </a:lnTo>
                    <a:lnTo>
                      <a:pt x="3036" y="1509"/>
                    </a:lnTo>
                    <a:lnTo>
                      <a:pt x="3036" y="1326"/>
                    </a:lnTo>
                    <a:lnTo>
                      <a:pt x="3009" y="1043"/>
                    </a:lnTo>
                    <a:lnTo>
                      <a:pt x="3009" y="713"/>
                    </a:lnTo>
                    <a:lnTo>
                      <a:pt x="2987" y="461"/>
                    </a:lnTo>
                    <a:lnTo>
                      <a:pt x="2862" y="384"/>
                    </a:lnTo>
                    <a:lnTo>
                      <a:pt x="2807" y="221"/>
                    </a:lnTo>
                    <a:lnTo>
                      <a:pt x="2837" y="131"/>
                    </a:lnTo>
                    <a:lnTo>
                      <a:pt x="2734" y="73"/>
                    </a:lnTo>
                    <a:lnTo>
                      <a:pt x="2593" y="0"/>
                    </a:lnTo>
                    <a:lnTo>
                      <a:pt x="2392" y="2"/>
                    </a:lnTo>
                    <a:lnTo>
                      <a:pt x="2212" y="11"/>
                    </a:lnTo>
                    <a:lnTo>
                      <a:pt x="2062" y="27"/>
                    </a:lnTo>
                    <a:lnTo>
                      <a:pt x="1474" y="60"/>
                    </a:lnTo>
                    <a:lnTo>
                      <a:pt x="62" y="59"/>
                    </a:lnTo>
                    <a:close/>
                  </a:path>
                </a:pathLst>
              </a:custGeom>
              <a:solidFill>
                <a:schemeClr val="accent4">
                  <a:lumMod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1275" name="Iowa">
                <a:extLst>
                  <a:ext uri="{FF2B5EF4-FFF2-40B4-BE49-F238E27FC236}">
                    <a16:creationId xmlns:a16="http://schemas.microsoft.com/office/drawing/2014/main" id="{5266F597-5DD9-03FA-3C11-5A51C88CEB11}"/>
                  </a:ext>
                </a:extLst>
              </p:cNvPr>
              <p:cNvSpPr>
                <a:spLocks/>
              </p:cNvSpPr>
              <p:nvPr/>
            </p:nvSpPr>
            <p:spPr bwMode="auto">
              <a:xfrm>
                <a:off x="4937047" y="2630066"/>
                <a:ext cx="764526" cy="491188"/>
              </a:xfrm>
              <a:custGeom>
                <a:avLst/>
                <a:gdLst>
                  <a:gd name="T0" fmla="*/ 0 w 2485"/>
                  <a:gd name="T1" fmla="*/ 35 h 1601"/>
                  <a:gd name="T2" fmla="*/ 367 w 2485"/>
                  <a:gd name="T3" fmla="*/ 0 h 1601"/>
                  <a:gd name="T4" fmla="*/ 378 w 2485"/>
                  <a:gd name="T5" fmla="*/ 14 h 1601"/>
                  <a:gd name="T6" fmla="*/ 379 w 2485"/>
                  <a:gd name="T7" fmla="*/ 40 h 1601"/>
                  <a:gd name="T8" fmla="*/ 386 w 2485"/>
                  <a:gd name="T9" fmla="*/ 65 h 1601"/>
                  <a:gd name="T10" fmla="*/ 408 w 2485"/>
                  <a:gd name="T11" fmla="*/ 74 h 1601"/>
                  <a:gd name="T12" fmla="*/ 428 w 2485"/>
                  <a:gd name="T13" fmla="*/ 85 h 1601"/>
                  <a:gd name="T14" fmla="*/ 447 w 2485"/>
                  <a:gd name="T15" fmla="*/ 109 h 1601"/>
                  <a:gd name="T16" fmla="*/ 463 w 2485"/>
                  <a:gd name="T17" fmla="*/ 127 h 1601"/>
                  <a:gd name="T18" fmla="*/ 471 w 2485"/>
                  <a:gd name="T19" fmla="*/ 154 h 1601"/>
                  <a:gd name="T20" fmla="*/ 451 w 2485"/>
                  <a:gd name="T21" fmla="*/ 178 h 1601"/>
                  <a:gd name="T22" fmla="*/ 426 w 2485"/>
                  <a:gd name="T23" fmla="*/ 189 h 1601"/>
                  <a:gd name="T24" fmla="*/ 399 w 2485"/>
                  <a:gd name="T25" fmla="*/ 189 h 1601"/>
                  <a:gd name="T26" fmla="*/ 416 w 2485"/>
                  <a:gd name="T27" fmla="*/ 217 h 1601"/>
                  <a:gd name="T28" fmla="*/ 407 w 2485"/>
                  <a:gd name="T29" fmla="*/ 248 h 1601"/>
                  <a:gd name="T30" fmla="*/ 394 w 2485"/>
                  <a:gd name="T31" fmla="*/ 274 h 1601"/>
                  <a:gd name="T32" fmla="*/ 388 w 2485"/>
                  <a:gd name="T33" fmla="*/ 295 h 1601"/>
                  <a:gd name="T34" fmla="*/ 360 w 2485"/>
                  <a:gd name="T35" fmla="*/ 274 h 1601"/>
                  <a:gd name="T36" fmla="*/ 277 w 2485"/>
                  <a:gd name="T37" fmla="*/ 289 h 1601"/>
                  <a:gd name="T38" fmla="*/ 195 w 2485"/>
                  <a:gd name="T39" fmla="*/ 297 h 1601"/>
                  <a:gd name="T40" fmla="*/ 73 w 2485"/>
                  <a:gd name="T41" fmla="*/ 303 h 1601"/>
                  <a:gd name="T42" fmla="*/ 73 w 2485"/>
                  <a:gd name="T43" fmla="*/ 256 h 1601"/>
                  <a:gd name="T44" fmla="*/ 23 w 2485"/>
                  <a:gd name="T45" fmla="*/ 157 h 1601"/>
                  <a:gd name="T46" fmla="*/ 6 w 2485"/>
                  <a:gd name="T47" fmla="*/ 117 h 1601"/>
                  <a:gd name="T48" fmla="*/ 6 w 2485"/>
                  <a:gd name="T49" fmla="*/ 59 h 1601"/>
                  <a:gd name="T50" fmla="*/ 0 w 2485"/>
                  <a:gd name="T51" fmla="*/ 35 h 16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85" h="1601">
                    <a:moveTo>
                      <a:pt x="0" y="183"/>
                    </a:moveTo>
                    <a:lnTo>
                      <a:pt x="1935" y="0"/>
                    </a:lnTo>
                    <a:lnTo>
                      <a:pt x="1996" y="75"/>
                    </a:lnTo>
                    <a:lnTo>
                      <a:pt x="1998" y="212"/>
                    </a:lnTo>
                    <a:lnTo>
                      <a:pt x="2037" y="344"/>
                    </a:lnTo>
                    <a:lnTo>
                      <a:pt x="2155" y="393"/>
                    </a:lnTo>
                    <a:lnTo>
                      <a:pt x="2257" y="447"/>
                    </a:lnTo>
                    <a:lnTo>
                      <a:pt x="2357" y="575"/>
                    </a:lnTo>
                    <a:lnTo>
                      <a:pt x="2445" y="671"/>
                    </a:lnTo>
                    <a:lnTo>
                      <a:pt x="2485" y="815"/>
                    </a:lnTo>
                    <a:lnTo>
                      <a:pt x="2377" y="939"/>
                    </a:lnTo>
                    <a:lnTo>
                      <a:pt x="2245" y="999"/>
                    </a:lnTo>
                    <a:lnTo>
                      <a:pt x="2107" y="999"/>
                    </a:lnTo>
                    <a:lnTo>
                      <a:pt x="2197" y="1149"/>
                    </a:lnTo>
                    <a:lnTo>
                      <a:pt x="2149" y="1311"/>
                    </a:lnTo>
                    <a:lnTo>
                      <a:pt x="2077" y="1449"/>
                    </a:lnTo>
                    <a:lnTo>
                      <a:pt x="2045" y="1559"/>
                    </a:lnTo>
                    <a:lnTo>
                      <a:pt x="1897" y="1449"/>
                    </a:lnTo>
                    <a:lnTo>
                      <a:pt x="1461" y="1527"/>
                    </a:lnTo>
                    <a:lnTo>
                      <a:pt x="1029" y="1567"/>
                    </a:lnTo>
                    <a:lnTo>
                      <a:pt x="384" y="1601"/>
                    </a:lnTo>
                    <a:lnTo>
                      <a:pt x="384" y="1355"/>
                    </a:lnTo>
                    <a:lnTo>
                      <a:pt x="120" y="827"/>
                    </a:lnTo>
                    <a:lnTo>
                      <a:pt x="33" y="620"/>
                    </a:lnTo>
                    <a:lnTo>
                      <a:pt x="34" y="312"/>
                    </a:lnTo>
                    <a:lnTo>
                      <a:pt x="0" y="183"/>
                    </a:lnTo>
                    <a:close/>
                  </a:path>
                </a:pathLst>
              </a:custGeom>
              <a:solidFill>
                <a:schemeClr val="accent4">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1276" name="Indiana">
                <a:extLst>
                  <a:ext uri="{FF2B5EF4-FFF2-40B4-BE49-F238E27FC236}">
                    <a16:creationId xmlns:a16="http://schemas.microsoft.com/office/drawing/2014/main" id="{604646B0-EC95-91AD-27C7-56EC2AD0612A}"/>
                  </a:ext>
                </a:extLst>
              </p:cNvPr>
              <p:cNvSpPr>
                <a:spLocks/>
              </p:cNvSpPr>
              <p:nvPr/>
            </p:nvSpPr>
            <p:spPr bwMode="auto">
              <a:xfrm>
                <a:off x="6006735" y="2746783"/>
                <a:ext cx="386322" cy="688960"/>
              </a:xfrm>
              <a:custGeom>
                <a:avLst/>
                <a:gdLst>
                  <a:gd name="T0" fmla="*/ 0 w 1255"/>
                  <a:gd name="T1" fmla="*/ 49 h 2237"/>
                  <a:gd name="T2" fmla="*/ 2 w 1255"/>
                  <a:gd name="T3" fmla="*/ 86 h 2237"/>
                  <a:gd name="T4" fmla="*/ 13 w 1255"/>
                  <a:gd name="T5" fmla="*/ 123 h 2237"/>
                  <a:gd name="T6" fmla="*/ 27 w 1255"/>
                  <a:gd name="T7" fmla="*/ 158 h 2237"/>
                  <a:gd name="T8" fmla="*/ 29 w 1255"/>
                  <a:gd name="T9" fmla="*/ 192 h 2237"/>
                  <a:gd name="T10" fmla="*/ 40 w 1255"/>
                  <a:gd name="T11" fmla="*/ 231 h 2237"/>
                  <a:gd name="T12" fmla="*/ 23 w 1255"/>
                  <a:gd name="T13" fmla="*/ 262 h 2237"/>
                  <a:gd name="T14" fmla="*/ 34 w 1255"/>
                  <a:gd name="T15" fmla="*/ 335 h 2237"/>
                  <a:gd name="T16" fmla="*/ 14 w 1255"/>
                  <a:gd name="T17" fmla="*/ 386 h 2237"/>
                  <a:gd name="T18" fmla="*/ 12 w 1255"/>
                  <a:gd name="T19" fmla="*/ 425 h 2237"/>
                  <a:gd name="T20" fmla="*/ 33 w 1255"/>
                  <a:gd name="T21" fmla="*/ 414 h 2237"/>
                  <a:gd name="T22" fmla="*/ 49 w 1255"/>
                  <a:gd name="T23" fmla="*/ 399 h 2237"/>
                  <a:gd name="T24" fmla="*/ 68 w 1255"/>
                  <a:gd name="T25" fmla="*/ 412 h 2237"/>
                  <a:gd name="T26" fmla="*/ 88 w 1255"/>
                  <a:gd name="T27" fmla="*/ 393 h 2237"/>
                  <a:gd name="T28" fmla="*/ 111 w 1255"/>
                  <a:gd name="T29" fmla="*/ 382 h 2237"/>
                  <a:gd name="T30" fmla="*/ 120 w 1255"/>
                  <a:gd name="T31" fmla="*/ 363 h 2237"/>
                  <a:gd name="T32" fmla="*/ 145 w 1255"/>
                  <a:gd name="T33" fmla="*/ 371 h 2237"/>
                  <a:gd name="T34" fmla="*/ 162 w 1255"/>
                  <a:gd name="T35" fmla="*/ 348 h 2237"/>
                  <a:gd name="T36" fmla="*/ 180 w 1255"/>
                  <a:gd name="T37" fmla="*/ 321 h 2237"/>
                  <a:gd name="T38" fmla="*/ 180 w 1255"/>
                  <a:gd name="T39" fmla="*/ 300 h 2237"/>
                  <a:gd name="T40" fmla="*/ 203 w 1255"/>
                  <a:gd name="T41" fmla="*/ 286 h 2237"/>
                  <a:gd name="T42" fmla="*/ 238 w 1255"/>
                  <a:gd name="T43" fmla="*/ 280 h 2237"/>
                  <a:gd name="T44" fmla="*/ 230 w 1255"/>
                  <a:gd name="T45" fmla="*/ 260 h 2237"/>
                  <a:gd name="T46" fmla="*/ 236 w 1255"/>
                  <a:gd name="T47" fmla="*/ 234 h 2237"/>
                  <a:gd name="T48" fmla="*/ 230 w 1255"/>
                  <a:gd name="T49" fmla="*/ 195 h 2237"/>
                  <a:gd name="T50" fmla="*/ 217 w 1255"/>
                  <a:gd name="T51" fmla="*/ 160 h 2237"/>
                  <a:gd name="T52" fmla="*/ 214 w 1255"/>
                  <a:gd name="T53" fmla="*/ 108 h 2237"/>
                  <a:gd name="T54" fmla="*/ 205 w 1255"/>
                  <a:gd name="T55" fmla="*/ 90 h 2237"/>
                  <a:gd name="T56" fmla="*/ 197 w 1255"/>
                  <a:gd name="T57" fmla="*/ 69 h 2237"/>
                  <a:gd name="T58" fmla="*/ 191 w 1255"/>
                  <a:gd name="T59" fmla="*/ 52 h 2237"/>
                  <a:gd name="T60" fmla="*/ 197 w 1255"/>
                  <a:gd name="T61" fmla="*/ 37 h 2237"/>
                  <a:gd name="T62" fmla="*/ 185 w 1255"/>
                  <a:gd name="T63" fmla="*/ 11 h 2237"/>
                  <a:gd name="T64" fmla="*/ 168 w 1255"/>
                  <a:gd name="T65" fmla="*/ 0 h 2237"/>
                  <a:gd name="T66" fmla="*/ 126 w 1255"/>
                  <a:gd name="T67" fmla="*/ 8 h 2237"/>
                  <a:gd name="T68" fmla="*/ 80 w 1255"/>
                  <a:gd name="T69" fmla="*/ 17 h 2237"/>
                  <a:gd name="T70" fmla="*/ 49 w 1255"/>
                  <a:gd name="T71" fmla="*/ 22 h 2237"/>
                  <a:gd name="T72" fmla="*/ 24 w 1255"/>
                  <a:gd name="T73" fmla="*/ 35 h 2237"/>
                  <a:gd name="T74" fmla="*/ 0 w 1255"/>
                  <a:gd name="T75" fmla="*/ 49 h 2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55" h="2237">
                    <a:moveTo>
                      <a:pt x="0" y="260"/>
                    </a:moveTo>
                    <a:lnTo>
                      <a:pt x="9" y="452"/>
                    </a:lnTo>
                    <a:lnTo>
                      <a:pt x="70" y="645"/>
                    </a:lnTo>
                    <a:lnTo>
                      <a:pt x="144" y="833"/>
                    </a:lnTo>
                    <a:lnTo>
                      <a:pt x="151" y="1011"/>
                    </a:lnTo>
                    <a:lnTo>
                      <a:pt x="211" y="1217"/>
                    </a:lnTo>
                    <a:lnTo>
                      <a:pt x="120" y="1379"/>
                    </a:lnTo>
                    <a:lnTo>
                      <a:pt x="181" y="1763"/>
                    </a:lnTo>
                    <a:lnTo>
                      <a:pt x="73" y="2033"/>
                    </a:lnTo>
                    <a:lnTo>
                      <a:pt x="64" y="2237"/>
                    </a:lnTo>
                    <a:lnTo>
                      <a:pt x="176" y="2178"/>
                    </a:lnTo>
                    <a:lnTo>
                      <a:pt x="256" y="2101"/>
                    </a:lnTo>
                    <a:lnTo>
                      <a:pt x="360" y="2170"/>
                    </a:lnTo>
                    <a:lnTo>
                      <a:pt x="466" y="2071"/>
                    </a:lnTo>
                    <a:lnTo>
                      <a:pt x="586" y="2011"/>
                    </a:lnTo>
                    <a:lnTo>
                      <a:pt x="631" y="1913"/>
                    </a:lnTo>
                    <a:lnTo>
                      <a:pt x="766" y="1951"/>
                    </a:lnTo>
                    <a:lnTo>
                      <a:pt x="855" y="1833"/>
                    </a:lnTo>
                    <a:lnTo>
                      <a:pt x="951" y="1689"/>
                    </a:lnTo>
                    <a:lnTo>
                      <a:pt x="951" y="1577"/>
                    </a:lnTo>
                    <a:lnTo>
                      <a:pt x="1071" y="1505"/>
                    </a:lnTo>
                    <a:lnTo>
                      <a:pt x="1255" y="1473"/>
                    </a:lnTo>
                    <a:lnTo>
                      <a:pt x="1215" y="1369"/>
                    </a:lnTo>
                    <a:lnTo>
                      <a:pt x="1246" y="1231"/>
                    </a:lnTo>
                    <a:lnTo>
                      <a:pt x="1215" y="1025"/>
                    </a:lnTo>
                    <a:lnTo>
                      <a:pt x="1143" y="841"/>
                    </a:lnTo>
                    <a:lnTo>
                      <a:pt x="1126" y="570"/>
                    </a:lnTo>
                    <a:lnTo>
                      <a:pt x="1079" y="473"/>
                    </a:lnTo>
                    <a:lnTo>
                      <a:pt x="1039" y="361"/>
                    </a:lnTo>
                    <a:lnTo>
                      <a:pt x="1007" y="273"/>
                    </a:lnTo>
                    <a:lnTo>
                      <a:pt x="1039" y="193"/>
                    </a:lnTo>
                    <a:lnTo>
                      <a:pt x="976" y="60"/>
                    </a:lnTo>
                    <a:lnTo>
                      <a:pt x="886" y="0"/>
                    </a:lnTo>
                    <a:lnTo>
                      <a:pt x="663" y="41"/>
                    </a:lnTo>
                    <a:lnTo>
                      <a:pt x="423" y="89"/>
                    </a:lnTo>
                    <a:lnTo>
                      <a:pt x="256" y="114"/>
                    </a:lnTo>
                    <a:lnTo>
                      <a:pt x="127" y="185"/>
                    </a:lnTo>
                    <a:lnTo>
                      <a:pt x="0" y="260"/>
                    </a:lnTo>
                    <a:close/>
                  </a:path>
                </a:pathLst>
              </a:custGeom>
              <a:solidFill>
                <a:schemeClr val="accent4">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77" name="Illiniois">
                <a:extLst>
                  <a:ext uri="{FF2B5EF4-FFF2-40B4-BE49-F238E27FC236}">
                    <a16:creationId xmlns:a16="http://schemas.microsoft.com/office/drawing/2014/main" id="{AA4220EC-CA52-3B2E-4F53-098E6935E473}"/>
                  </a:ext>
                </a:extLst>
              </p:cNvPr>
              <p:cNvSpPr>
                <a:spLocks/>
              </p:cNvSpPr>
              <p:nvPr/>
            </p:nvSpPr>
            <p:spPr bwMode="auto">
              <a:xfrm>
                <a:off x="5566847" y="2719226"/>
                <a:ext cx="504814" cy="834858"/>
              </a:xfrm>
              <a:custGeom>
                <a:avLst/>
                <a:gdLst>
                  <a:gd name="T0" fmla="*/ 40 w 1641"/>
                  <a:gd name="T1" fmla="*/ 30 h 2721"/>
                  <a:gd name="T2" fmla="*/ 56 w 1641"/>
                  <a:gd name="T3" fmla="*/ 52 h 2721"/>
                  <a:gd name="T4" fmla="*/ 76 w 1641"/>
                  <a:gd name="T5" fmla="*/ 73 h 2721"/>
                  <a:gd name="T6" fmla="*/ 83 w 1641"/>
                  <a:gd name="T7" fmla="*/ 100 h 2721"/>
                  <a:gd name="T8" fmla="*/ 63 w 1641"/>
                  <a:gd name="T9" fmla="*/ 123 h 2721"/>
                  <a:gd name="T10" fmla="*/ 38 w 1641"/>
                  <a:gd name="T11" fmla="*/ 135 h 2721"/>
                  <a:gd name="T12" fmla="*/ 12 w 1641"/>
                  <a:gd name="T13" fmla="*/ 135 h 2721"/>
                  <a:gd name="T14" fmla="*/ 28 w 1641"/>
                  <a:gd name="T15" fmla="*/ 164 h 2721"/>
                  <a:gd name="T16" fmla="*/ 20 w 1641"/>
                  <a:gd name="T17" fmla="*/ 193 h 2721"/>
                  <a:gd name="T18" fmla="*/ 6 w 1641"/>
                  <a:gd name="T19" fmla="*/ 220 h 2721"/>
                  <a:gd name="T20" fmla="*/ 0 w 1641"/>
                  <a:gd name="T21" fmla="*/ 240 h 2721"/>
                  <a:gd name="T22" fmla="*/ 6 w 1641"/>
                  <a:gd name="T23" fmla="*/ 270 h 2721"/>
                  <a:gd name="T24" fmla="*/ 23 w 1641"/>
                  <a:gd name="T25" fmla="*/ 293 h 2721"/>
                  <a:gd name="T26" fmla="*/ 41 w 1641"/>
                  <a:gd name="T27" fmla="*/ 305 h 2721"/>
                  <a:gd name="T28" fmla="*/ 63 w 1641"/>
                  <a:gd name="T29" fmla="*/ 333 h 2721"/>
                  <a:gd name="T30" fmla="*/ 82 w 1641"/>
                  <a:gd name="T31" fmla="*/ 348 h 2721"/>
                  <a:gd name="T32" fmla="*/ 100 w 1641"/>
                  <a:gd name="T33" fmla="*/ 353 h 2721"/>
                  <a:gd name="T34" fmla="*/ 115 w 1641"/>
                  <a:gd name="T35" fmla="*/ 362 h 2721"/>
                  <a:gd name="T36" fmla="*/ 111 w 1641"/>
                  <a:gd name="T37" fmla="*/ 387 h 2721"/>
                  <a:gd name="T38" fmla="*/ 103 w 1641"/>
                  <a:gd name="T39" fmla="*/ 407 h 2721"/>
                  <a:gd name="T40" fmla="*/ 121 w 1641"/>
                  <a:gd name="T41" fmla="*/ 430 h 2721"/>
                  <a:gd name="T42" fmla="*/ 143 w 1641"/>
                  <a:gd name="T43" fmla="*/ 441 h 2721"/>
                  <a:gd name="T44" fmla="*/ 172 w 1641"/>
                  <a:gd name="T45" fmla="*/ 464 h 2721"/>
                  <a:gd name="T46" fmla="*/ 177 w 1641"/>
                  <a:gd name="T47" fmla="*/ 492 h 2721"/>
                  <a:gd name="T48" fmla="*/ 194 w 1641"/>
                  <a:gd name="T49" fmla="*/ 515 h 2721"/>
                  <a:gd name="T50" fmla="*/ 194 w 1641"/>
                  <a:gd name="T51" fmla="*/ 515 h 2721"/>
                  <a:gd name="T52" fmla="*/ 220 w 1641"/>
                  <a:gd name="T53" fmla="*/ 504 h 2721"/>
                  <a:gd name="T54" fmla="*/ 235 w 1641"/>
                  <a:gd name="T55" fmla="*/ 498 h 2721"/>
                  <a:gd name="T56" fmla="*/ 254 w 1641"/>
                  <a:gd name="T57" fmla="*/ 487 h 2721"/>
                  <a:gd name="T58" fmla="*/ 271 w 1641"/>
                  <a:gd name="T59" fmla="*/ 476 h 2721"/>
                  <a:gd name="T60" fmla="*/ 285 w 1641"/>
                  <a:gd name="T61" fmla="*/ 460 h 2721"/>
                  <a:gd name="T62" fmla="*/ 284 w 1641"/>
                  <a:gd name="T63" fmla="*/ 441 h 2721"/>
                  <a:gd name="T64" fmla="*/ 285 w 1641"/>
                  <a:gd name="T65" fmla="*/ 403 h 2721"/>
                  <a:gd name="T66" fmla="*/ 305 w 1641"/>
                  <a:gd name="T67" fmla="*/ 351 h 2721"/>
                  <a:gd name="T68" fmla="*/ 300 w 1641"/>
                  <a:gd name="T69" fmla="*/ 316 h 2721"/>
                  <a:gd name="T70" fmla="*/ 294 w 1641"/>
                  <a:gd name="T71" fmla="*/ 278 h 2721"/>
                  <a:gd name="T72" fmla="*/ 311 w 1641"/>
                  <a:gd name="T73" fmla="*/ 249 h 2721"/>
                  <a:gd name="T74" fmla="*/ 300 w 1641"/>
                  <a:gd name="T75" fmla="*/ 209 h 2721"/>
                  <a:gd name="T76" fmla="*/ 298 w 1641"/>
                  <a:gd name="T77" fmla="*/ 176 h 2721"/>
                  <a:gd name="T78" fmla="*/ 285 w 1641"/>
                  <a:gd name="T79" fmla="*/ 141 h 2721"/>
                  <a:gd name="T80" fmla="*/ 273 w 1641"/>
                  <a:gd name="T81" fmla="*/ 103 h 2721"/>
                  <a:gd name="T82" fmla="*/ 271 w 1641"/>
                  <a:gd name="T83" fmla="*/ 67 h 2721"/>
                  <a:gd name="T84" fmla="*/ 248 w 1641"/>
                  <a:gd name="T85" fmla="*/ 44 h 2721"/>
                  <a:gd name="T86" fmla="*/ 236 w 1641"/>
                  <a:gd name="T87" fmla="*/ 0 h 2721"/>
                  <a:gd name="T88" fmla="*/ 40 w 1641"/>
                  <a:gd name="T89" fmla="*/ 30 h 27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41" h="2721">
                    <a:moveTo>
                      <a:pt x="213" y="160"/>
                    </a:moveTo>
                    <a:lnTo>
                      <a:pt x="298" y="274"/>
                    </a:lnTo>
                    <a:lnTo>
                      <a:pt x="399" y="384"/>
                    </a:lnTo>
                    <a:lnTo>
                      <a:pt x="438" y="529"/>
                    </a:lnTo>
                    <a:lnTo>
                      <a:pt x="333" y="652"/>
                    </a:lnTo>
                    <a:lnTo>
                      <a:pt x="201" y="712"/>
                    </a:lnTo>
                    <a:lnTo>
                      <a:pt x="61" y="711"/>
                    </a:lnTo>
                    <a:lnTo>
                      <a:pt x="150" y="864"/>
                    </a:lnTo>
                    <a:lnTo>
                      <a:pt x="105" y="1020"/>
                    </a:lnTo>
                    <a:lnTo>
                      <a:pt x="31" y="1162"/>
                    </a:lnTo>
                    <a:lnTo>
                      <a:pt x="0" y="1270"/>
                    </a:lnTo>
                    <a:lnTo>
                      <a:pt x="34" y="1428"/>
                    </a:lnTo>
                    <a:lnTo>
                      <a:pt x="120" y="1550"/>
                    </a:lnTo>
                    <a:lnTo>
                      <a:pt x="216" y="1611"/>
                    </a:lnTo>
                    <a:lnTo>
                      <a:pt x="333" y="1757"/>
                    </a:lnTo>
                    <a:lnTo>
                      <a:pt x="433" y="1839"/>
                    </a:lnTo>
                    <a:lnTo>
                      <a:pt x="529" y="1863"/>
                    </a:lnTo>
                    <a:lnTo>
                      <a:pt x="605" y="1910"/>
                    </a:lnTo>
                    <a:lnTo>
                      <a:pt x="587" y="2045"/>
                    </a:lnTo>
                    <a:lnTo>
                      <a:pt x="543" y="2153"/>
                    </a:lnTo>
                    <a:lnTo>
                      <a:pt x="636" y="2270"/>
                    </a:lnTo>
                    <a:lnTo>
                      <a:pt x="756" y="2331"/>
                    </a:lnTo>
                    <a:lnTo>
                      <a:pt x="906" y="2451"/>
                    </a:lnTo>
                    <a:lnTo>
                      <a:pt x="933" y="2597"/>
                    </a:lnTo>
                    <a:lnTo>
                      <a:pt x="1023" y="2720"/>
                    </a:lnTo>
                    <a:lnTo>
                      <a:pt x="1022" y="2721"/>
                    </a:lnTo>
                    <a:lnTo>
                      <a:pt x="1161" y="2664"/>
                    </a:lnTo>
                    <a:lnTo>
                      <a:pt x="1238" y="2631"/>
                    </a:lnTo>
                    <a:lnTo>
                      <a:pt x="1341" y="2574"/>
                    </a:lnTo>
                    <a:lnTo>
                      <a:pt x="1431" y="2514"/>
                    </a:lnTo>
                    <a:lnTo>
                      <a:pt x="1502" y="2431"/>
                    </a:lnTo>
                    <a:lnTo>
                      <a:pt x="1496" y="2330"/>
                    </a:lnTo>
                    <a:lnTo>
                      <a:pt x="1502" y="2127"/>
                    </a:lnTo>
                    <a:lnTo>
                      <a:pt x="1611" y="1854"/>
                    </a:lnTo>
                    <a:lnTo>
                      <a:pt x="1582" y="1671"/>
                    </a:lnTo>
                    <a:lnTo>
                      <a:pt x="1550" y="1471"/>
                    </a:lnTo>
                    <a:lnTo>
                      <a:pt x="1641" y="1314"/>
                    </a:lnTo>
                    <a:lnTo>
                      <a:pt x="1582" y="1104"/>
                    </a:lnTo>
                    <a:lnTo>
                      <a:pt x="1574" y="928"/>
                    </a:lnTo>
                    <a:lnTo>
                      <a:pt x="1502" y="744"/>
                    </a:lnTo>
                    <a:lnTo>
                      <a:pt x="1438" y="544"/>
                    </a:lnTo>
                    <a:lnTo>
                      <a:pt x="1431" y="354"/>
                    </a:lnTo>
                    <a:lnTo>
                      <a:pt x="1311" y="234"/>
                    </a:lnTo>
                    <a:lnTo>
                      <a:pt x="1246" y="0"/>
                    </a:lnTo>
                    <a:lnTo>
                      <a:pt x="213" y="160"/>
                    </a:lnTo>
                    <a:close/>
                  </a:path>
                </a:pathLst>
              </a:custGeom>
              <a:solidFill>
                <a:schemeClr val="accent4">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78" name="Idaho">
                <a:extLst>
                  <a:ext uri="{FF2B5EF4-FFF2-40B4-BE49-F238E27FC236}">
                    <a16:creationId xmlns:a16="http://schemas.microsoft.com/office/drawing/2014/main" id="{E48D3FDC-8541-AEC9-EC40-268B3B90F668}"/>
                  </a:ext>
                </a:extLst>
              </p:cNvPr>
              <p:cNvSpPr>
                <a:spLocks/>
              </p:cNvSpPr>
              <p:nvPr/>
            </p:nvSpPr>
            <p:spPr bwMode="auto">
              <a:xfrm>
                <a:off x="2572046" y="1693080"/>
                <a:ext cx="727193" cy="1167180"/>
              </a:xfrm>
              <a:custGeom>
                <a:avLst/>
                <a:gdLst>
                  <a:gd name="T0" fmla="*/ 129 w 2360"/>
                  <a:gd name="T1" fmla="*/ 2 h 3800"/>
                  <a:gd name="T2" fmla="*/ 152 w 2360"/>
                  <a:gd name="T3" fmla="*/ 0 h 3800"/>
                  <a:gd name="T4" fmla="*/ 186 w 2360"/>
                  <a:gd name="T5" fmla="*/ 12 h 3800"/>
                  <a:gd name="T6" fmla="*/ 181 w 2360"/>
                  <a:gd name="T7" fmla="*/ 59 h 3800"/>
                  <a:gd name="T8" fmla="*/ 180 w 2360"/>
                  <a:gd name="T9" fmla="*/ 100 h 3800"/>
                  <a:gd name="T10" fmla="*/ 180 w 2360"/>
                  <a:gd name="T11" fmla="*/ 152 h 3800"/>
                  <a:gd name="T12" fmla="*/ 198 w 2360"/>
                  <a:gd name="T13" fmla="*/ 179 h 3800"/>
                  <a:gd name="T14" fmla="*/ 226 w 2360"/>
                  <a:gd name="T15" fmla="*/ 209 h 3800"/>
                  <a:gd name="T16" fmla="*/ 237 w 2360"/>
                  <a:gd name="T17" fmla="*/ 230 h 3800"/>
                  <a:gd name="T18" fmla="*/ 260 w 2360"/>
                  <a:gd name="T19" fmla="*/ 243 h 3800"/>
                  <a:gd name="T20" fmla="*/ 241 w 2360"/>
                  <a:gd name="T21" fmla="*/ 299 h 3800"/>
                  <a:gd name="T22" fmla="*/ 241 w 2360"/>
                  <a:gd name="T23" fmla="*/ 320 h 3800"/>
                  <a:gd name="T24" fmla="*/ 241 w 2360"/>
                  <a:gd name="T25" fmla="*/ 341 h 3800"/>
                  <a:gd name="T26" fmla="*/ 271 w 2360"/>
                  <a:gd name="T27" fmla="*/ 340 h 3800"/>
                  <a:gd name="T28" fmla="*/ 288 w 2360"/>
                  <a:gd name="T29" fmla="*/ 391 h 3800"/>
                  <a:gd name="T30" fmla="*/ 291 w 2360"/>
                  <a:gd name="T31" fmla="*/ 421 h 3800"/>
                  <a:gd name="T32" fmla="*/ 300 w 2360"/>
                  <a:gd name="T33" fmla="*/ 440 h 3800"/>
                  <a:gd name="T34" fmla="*/ 316 w 2360"/>
                  <a:gd name="T35" fmla="*/ 456 h 3800"/>
                  <a:gd name="T36" fmla="*/ 334 w 2360"/>
                  <a:gd name="T37" fmla="*/ 465 h 3800"/>
                  <a:gd name="T38" fmla="*/ 380 w 2360"/>
                  <a:gd name="T39" fmla="*/ 465 h 3800"/>
                  <a:gd name="T40" fmla="*/ 397 w 2360"/>
                  <a:gd name="T41" fmla="*/ 476 h 3800"/>
                  <a:gd name="T42" fmla="*/ 420 w 2360"/>
                  <a:gd name="T43" fmla="*/ 471 h 3800"/>
                  <a:gd name="T44" fmla="*/ 420 w 2360"/>
                  <a:gd name="T45" fmla="*/ 454 h 3800"/>
                  <a:gd name="T46" fmla="*/ 448 w 2360"/>
                  <a:gd name="T47" fmla="*/ 465 h 3800"/>
                  <a:gd name="T48" fmla="*/ 435 w 2360"/>
                  <a:gd name="T49" fmla="*/ 590 h 3800"/>
                  <a:gd name="T50" fmla="*/ 427 w 2360"/>
                  <a:gd name="T51" fmla="*/ 662 h 3800"/>
                  <a:gd name="T52" fmla="*/ 421 w 2360"/>
                  <a:gd name="T53" fmla="*/ 720 h 3800"/>
                  <a:gd name="T54" fmla="*/ 324 w 2360"/>
                  <a:gd name="T55" fmla="*/ 694 h 3800"/>
                  <a:gd name="T56" fmla="*/ 212 w 2360"/>
                  <a:gd name="T57" fmla="*/ 678 h 3800"/>
                  <a:gd name="T58" fmla="*/ 0 w 2360"/>
                  <a:gd name="T59" fmla="*/ 636 h 3800"/>
                  <a:gd name="T60" fmla="*/ 23 w 2360"/>
                  <a:gd name="T61" fmla="*/ 482 h 3800"/>
                  <a:gd name="T62" fmla="*/ 46 w 2360"/>
                  <a:gd name="T63" fmla="*/ 448 h 3800"/>
                  <a:gd name="T64" fmla="*/ 28 w 2360"/>
                  <a:gd name="T65" fmla="*/ 425 h 3800"/>
                  <a:gd name="T66" fmla="*/ 28 w 2360"/>
                  <a:gd name="T67" fmla="*/ 403 h 3800"/>
                  <a:gd name="T68" fmla="*/ 57 w 2360"/>
                  <a:gd name="T69" fmla="*/ 385 h 3800"/>
                  <a:gd name="T70" fmla="*/ 63 w 2360"/>
                  <a:gd name="T71" fmla="*/ 358 h 3800"/>
                  <a:gd name="T72" fmla="*/ 63 w 2360"/>
                  <a:gd name="T73" fmla="*/ 351 h 3800"/>
                  <a:gd name="T74" fmla="*/ 69 w 2360"/>
                  <a:gd name="T75" fmla="*/ 340 h 3800"/>
                  <a:gd name="T76" fmla="*/ 91 w 2360"/>
                  <a:gd name="T77" fmla="*/ 334 h 3800"/>
                  <a:gd name="T78" fmla="*/ 93 w 2360"/>
                  <a:gd name="T79" fmla="*/ 317 h 3800"/>
                  <a:gd name="T80" fmla="*/ 91 w 2360"/>
                  <a:gd name="T81" fmla="*/ 294 h 3800"/>
                  <a:gd name="T82" fmla="*/ 75 w 2360"/>
                  <a:gd name="T83" fmla="*/ 271 h 3800"/>
                  <a:gd name="T84" fmla="*/ 75 w 2360"/>
                  <a:gd name="T85" fmla="*/ 237 h 3800"/>
                  <a:gd name="T86" fmla="*/ 99 w 2360"/>
                  <a:gd name="T87" fmla="*/ 156 h 3800"/>
                  <a:gd name="T88" fmla="*/ 103 w 2360"/>
                  <a:gd name="T89" fmla="*/ 131 h 3800"/>
                  <a:gd name="T90" fmla="*/ 102 w 2360"/>
                  <a:gd name="T91" fmla="*/ 96 h 3800"/>
                  <a:gd name="T92" fmla="*/ 114 w 2360"/>
                  <a:gd name="T93" fmla="*/ 59 h 3800"/>
                  <a:gd name="T94" fmla="*/ 120 w 2360"/>
                  <a:gd name="T95" fmla="*/ 20 h 3800"/>
                  <a:gd name="T96" fmla="*/ 129 w 2360"/>
                  <a:gd name="T97" fmla="*/ 2 h 38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360" h="3800">
                    <a:moveTo>
                      <a:pt x="681" y="12"/>
                    </a:moveTo>
                    <a:lnTo>
                      <a:pt x="803" y="0"/>
                    </a:lnTo>
                    <a:lnTo>
                      <a:pt x="979" y="64"/>
                    </a:lnTo>
                    <a:lnTo>
                      <a:pt x="955" y="312"/>
                    </a:lnTo>
                    <a:lnTo>
                      <a:pt x="947" y="528"/>
                    </a:lnTo>
                    <a:lnTo>
                      <a:pt x="950" y="804"/>
                    </a:lnTo>
                    <a:lnTo>
                      <a:pt x="1043" y="944"/>
                    </a:lnTo>
                    <a:lnTo>
                      <a:pt x="1190" y="1104"/>
                    </a:lnTo>
                    <a:lnTo>
                      <a:pt x="1251" y="1216"/>
                    </a:lnTo>
                    <a:lnTo>
                      <a:pt x="1370" y="1284"/>
                    </a:lnTo>
                    <a:lnTo>
                      <a:pt x="1267" y="1576"/>
                    </a:lnTo>
                    <a:lnTo>
                      <a:pt x="1267" y="1688"/>
                    </a:lnTo>
                    <a:lnTo>
                      <a:pt x="1267" y="1800"/>
                    </a:lnTo>
                    <a:lnTo>
                      <a:pt x="1430" y="1794"/>
                    </a:lnTo>
                    <a:lnTo>
                      <a:pt x="1515" y="2064"/>
                    </a:lnTo>
                    <a:lnTo>
                      <a:pt x="1531" y="2224"/>
                    </a:lnTo>
                    <a:lnTo>
                      <a:pt x="1579" y="2320"/>
                    </a:lnTo>
                    <a:lnTo>
                      <a:pt x="1667" y="2408"/>
                    </a:lnTo>
                    <a:lnTo>
                      <a:pt x="1760" y="2454"/>
                    </a:lnTo>
                    <a:lnTo>
                      <a:pt x="2000" y="2454"/>
                    </a:lnTo>
                    <a:lnTo>
                      <a:pt x="2090" y="2514"/>
                    </a:lnTo>
                    <a:lnTo>
                      <a:pt x="2210" y="2484"/>
                    </a:lnTo>
                    <a:lnTo>
                      <a:pt x="2210" y="2394"/>
                    </a:lnTo>
                    <a:lnTo>
                      <a:pt x="2360" y="2454"/>
                    </a:lnTo>
                    <a:lnTo>
                      <a:pt x="2291" y="3112"/>
                    </a:lnTo>
                    <a:lnTo>
                      <a:pt x="2251" y="3496"/>
                    </a:lnTo>
                    <a:lnTo>
                      <a:pt x="2219" y="3800"/>
                    </a:lnTo>
                    <a:lnTo>
                      <a:pt x="1707" y="3664"/>
                    </a:lnTo>
                    <a:lnTo>
                      <a:pt x="1115" y="3576"/>
                    </a:lnTo>
                    <a:lnTo>
                      <a:pt x="0" y="3355"/>
                    </a:lnTo>
                    <a:lnTo>
                      <a:pt x="121" y="2544"/>
                    </a:lnTo>
                    <a:lnTo>
                      <a:pt x="241" y="2365"/>
                    </a:lnTo>
                    <a:lnTo>
                      <a:pt x="150" y="2242"/>
                    </a:lnTo>
                    <a:lnTo>
                      <a:pt x="150" y="2125"/>
                    </a:lnTo>
                    <a:lnTo>
                      <a:pt x="300" y="2034"/>
                    </a:lnTo>
                    <a:lnTo>
                      <a:pt x="330" y="1887"/>
                    </a:lnTo>
                    <a:lnTo>
                      <a:pt x="330" y="1852"/>
                    </a:lnTo>
                    <a:lnTo>
                      <a:pt x="361" y="1794"/>
                    </a:lnTo>
                    <a:lnTo>
                      <a:pt x="478" y="1764"/>
                    </a:lnTo>
                    <a:lnTo>
                      <a:pt x="492" y="1671"/>
                    </a:lnTo>
                    <a:lnTo>
                      <a:pt x="480" y="1554"/>
                    </a:lnTo>
                    <a:lnTo>
                      <a:pt x="393" y="1432"/>
                    </a:lnTo>
                    <a:lnTo>
                      <a:pt x="396" y="1252"/>
                    </a:lnTo>
                    <a:lnTo>
                      <a:pt x="519" y="823"/>
                    </a:lnTo>
                    <a:lnTo>
                      <a:pt x="544" y="691"/>
                    </a:lnTo>
                    <a:lnTo>
                      <a:pt x="535" y="505"/>
                    </a:lnTo>
                    <a:lnTo>
                      <a:pt x="598" y="312"/>
                    </a:lnTo>
                    <a:lnTo>
                      <a:pt x="633" y="105"/>
                    </a:lnTo>
                    <a:lnTo>
                      <a:pt x="681" y="12"/>
                    </a:lnTo>
                    <a:close/>
                  </a:path>
                </a:pathLst>
              </a:custGeom>
              <a:solidFill>
                <a:schemeClr val="accent4">
                  <a:lumMod val="75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79" name="Hawaii">
                <a:extLst>
                  <a:ext uri="{FF2B5EF4-FFF2-40B4-BE49-F238E27FC236}">
                    <a16:creationId xmlns:a16="http://schemas.microsoft.com/office/drawing/2014/main" id="{C913D60D-714C-FB66-FC98-50C53A52C072}"/>
                  </a:ext>
                </a:extLst>
              </p:cNvPr>
              <p:cNvSpPr>
                <a:spLocks/>
              </p:cNvSpPr>
              <p:nvPr/>
            </p:nvSpPr>
            <p:spPr bwMode="auto">
              <a:xfrm>
                <a:off x="2137841" y="4805584"/>
                <a:ext cx="1024238" cy="637085"/>
              </a:xfrm>
              <a:custGeom>
                <a:avLst/>
                <a:gdLst>
                  <a:gd name="connsiteX0" fmla="*/ 795449 w 1024238"/>
                  <a:gd name="connsiteY0" fmla="*/ 335564 h 637085"/>
                  <a:gd name="connsiteX1" fmla="*/ 810210 w 1024238"/>
                  <a:gd name="connsiteY1" fmla="*/ 351563 h 637085"/>
                  <a:gd name="connsiteX2" fmla="*/ 839731 w 1024238"/>
                  <a:gd name="connsiteY2" fmla="*/ 363870 h 637085"/>
                  <a:gd name="connsiteX3" fmla="*/ 865254 w 1024238"/>
                  <a:gd name="connsiteY3" fmla="*/ 363563 h 637085"/>
                  <a:gd name="connsiteX4" fmla="*/ 891393 w 1024238"/>
                  <a:gd name="connsiteY4" fmla="*/ 373716 h 637085"/>
                  <a:gd name="connsiteX5" fmla="*/ 915994 w 1024238"/>
                  <a:gd name="connsiteY5" fmla="*/ 378639 h 637085"/>
                  <a:gd name="connsiteX6" fmla="*/ 935060 w 1024238"/>
                  <a:gd name="connsiteY6" fmla="*/ 405406 h 637085"/>
                  <a:gd name="connsiteX7" fmla="*/ 957816 w 1024238"/>
                  <a:gd name="connsiteY7" fmla="*/ 422944 h 637085"/>
                  <a:gd name="connsiteX8" fmla="*/ 963043 w 1024238"/>
                  <a:gd name="connsiteY8" fmla="*/ 447250 h 637085"/>
                  <a:gd name="connsiteX9" fmla="*/ 1002097 w 1024238"/>
                  <a:gd name="connsiteY9" fmla="*/ 462326 h 637085"/>
                  <a:gd name="connsiteX10" fmla="*/ 1024238 w 1024238"/>
                  <a:gd name="connsiteY10" fmla="*/ 484479 h 637085"/>
                  <a:gd name="connsiteX11" fmla="*/ 1011938 w 1024238"/>
                  <a:gd name="connsiteY11" fmla="*/ 501708 h 637085"/>
                  <a:gd name="connsiteX12" fmla="*/ 994717 w 1024238"/>
                  <a:gd name="connsiteY12" fmla="*/ 531245 h 637085"/>
                  <a:gd name="connsiteX13" fmla="*/ 970116 w 1024238"/>
                  <a:gd name="connsiteY13" fmla="*/ 536168 h 637085"/>
                  <a:gd name="connsiteX14" fmla="*/ 935675 w 1024238"/>
                  <a:gd name="connsiteY14" fmla="*/ 553398 h 637085"/>
                  <a:gd name="connsiteX15" fmla="*/ 915994 w 1024238"/>
                  <a:gd name="connsiteY15" fmla="*/ 573089 h 637085"/>
                  <a:gd name="connsiteX16" fmla="*/ 896313 w 1024238"/>
                  <a:gd name="connsiteY16" fmla="*/ 590319 h 637085"/>
                  <a:gd name="connsiteX17" fmla="*/ 891393 w 1024238"/>
                  <a:gd name="connsiteY17" fmla="*/ 612471 h 637085"/>
                  <a:gd name="connsiteX18" fmla="*/ 876632 w 1024238"/>
                  <a:gd name="connsiteY18" fmla="*/ 637085 h 637085"/>
                  <a:gd name="connsiteX19" fmla="*/ 837271 w 1024238"/>
                  <a:gd name="connsiteY19" fmla="*/ 628470 h 637085"/>
                  <a:gd name="connsiteX20" fmla="*/ 824970 w 1024238"/>
                  <a:gd name="connsiteY20" fmla="*/ 614933 h 637085"/>
                  <a:gd name="connsiteX21" fmla="*/ 809595 w 1024238"/>
                  <a:gd name="connsiteY21" fmla="*/ 586627 h 637085"/>
                  <a:gd name="connsiteX22" fmla="*/ 820050 w 1024238"/>
                  <a:gd name="connsiteY22" fmla="*/ 568166 h 637085"/>
                  <a:gd name="connsiteX23" fmla="*/ 810210 w 1024238"/>
                  <a:gd name="connsiteY23" fmla="*/ 536168 h 637085"/>
                  <a:gd name="connsiteX24" fmla="*/ 795449 w 1024238"/>
                  <a:gd name="connsiteY24" fmla="*/ 502939 h 637085"/>
                  <a:gd name="connsiteX25" fmla="*/ 767773 w 1024238"/>
                  <a:gd name="connsiteY25" fmla="*/ 474941 h 637085"/>
                  <a:gd name="connsiteX26" fmla="*/ 781611 w 1024238"/>
                  <a:gd name="connsiteY26" fmla="*/ 447250 h 637085"/>
                  <a:gd name="connsiteX27" fmla="*/ 797909 w 1024238"/>
                  <a:gd name="connsiteY27" fmla="*/ 425405 h 637085"/>
                  <a:gd name="connsiteX28" fmla="*/ 812670 w 1024238"/>
                  <a:gd name="connsiteY28" fmla="*/ 410637 h 637085"/>
                  <a:gd name="connsiteX29" fmla="*/ 800369 w 1024238"/>
                  <a:gd name="connsiteY29" fmla="*/ 383561 h 637085"/>
                  <a:gd name="connsiteX30" fmla="*/ 781611 w 1024238"/>
                  <a:gd name="connsiteY30" fmla="*/ 377408 h 637085"/>
                  <a:gd name="connsiteX31" fmla="*/ 783149 w 1024238"/>
                  <a:gd name="connsiteY31" fmla="*/ 361409 h 637085"/>
                  <a:gd name="connsiteX32" fmla="*/ 557748 w 1024238"/>
                  <a:gd name="connsiteY32" fmla="*/ 223709 h 637085"/>
                  <a:gd name="connsiteX33" fmla="*/ 572036 w 1024238"/>
                  <a:gd name="connsiteY33" fmla="*/ 237815 h 637085"/>
                  <a:gd name="connsiteX34" fmla="*/ 594090 w 1024238"/>
                  <a:gd name="connsiteY34" fmla="*/ 244711 h 637085"/>
                  <a:gd name="connsiteX35" fmla="*/ 590363 w 1024238"/>
                  <a:gd name="connsiteY35" fmla="*/ 263519 h 637085"/>
                  <a:gd name="connsiteX36" fmla="*/ 575453 w 1024238"/>
                  <a:gd name="connsiteY36" fmla="*/ 280447 h 637085"/>
                  <a:gd name="connsiteX37" fmla="*/ 564271 w 1024238"/>
                  <a:gd name="connsiteY37" fmla="*/ 274804 h 637085"/>
                  <a:gd name="connsiteX38" fmla="*/ 554953 w 1024238"/>
                  <a:gd name="connsiteY38" fmla="*/ 261639 h 637085"/>
                  <a:gd name="connsiteX39" fmla="*/ 543771 w 1024238"/>
                  <a:gd name="connsiteY39" fmla="*/ 237815 h 637085"/>
                  <a:gd name="connsiteX40" fmla="*/ 630517 w 1024238"/>
                  <a:gd name="connsiteY40" fmla="*/ 202635 h 637085"/>
                  <a:gd name="connsiteX41" fmla="*/ 655478 w 1024238"/>
                  <a:gd name="connsiteY41" fmla="*/ 210643 h 637085"/>
                  <a:gd name="connsiteX42" fmla="*/ 673043 w 1024238"/>
                  <a:gd name="connsiteY42" fmla="*/ 217419 h 637085"/>
                  <a:gd name="connsiteX43" fmla="*/ 683212 w 1024238"/>
                  <a:gd name="connsiteY43" fmla="*/ 210643 h 637085"/>
                  <a:gd name="connsiteX44" fmla="*/ 711871 w 1024238"/>
                  <a:gd name="connsiteY44" fmla="*/ 206331 h 637085"/>
                  <a:gd name="connsiteX45" fmla="*/ 725430 w 1024238"/>
                  <a:gd name="connsiteY45" fmla="*/ 224503 h 637085"/>
                  <a:gd name="connsiteX46" fmla="*/ 753164 w 1024238"/>
                  <a:gd name="connsiteY46" fmla="*/ 238364 h 637085"/>
                  <a:gd name="connsiteX47" fmla="*/ 753164 w 1024238"/>
                  <a:gd name="connsiteY47" fmla="*/ 266392 h 637085"/>
                  <a:gd name="connsiteX48" fmla="*/ 734058 w 1024238"/>
                  <a:gd name="connsiteY48" fmla="*/ 282100 h 637085"/>
                  <a:gd name="connsiteX49" fmla="*/ 722965 w 1024238"/>
                  <a:gd name="connsiteY49" fmla="*/ 283949 h 637085"/>
                  <a:gd name="connsiteX50" fmla="*/ 708173 w 1024238"/>
                  <a:gd name="connsiteY50" fmla="*/ 285797 h 637085"/>
                  <a:gd name="connsiteX51" fmla="*/ 695230 w 1024238"/>
                  <a:gd name="connsiteY51" fmla="*/ 295037 h 637085"/>
                  <a:gd name="connsiteX52" fmla="*/ 683212 w 1024238"/>
                  <a:gd name="connsiteY52" fmla="*/ 280252 h 637085"/>
                  <a:gd name="connsiteX53" fmla="*/ 671194 w 1024238"/>
                  <a:gd name="connsiteY53" fmla="*/ 263620 h 637085"/>
                  <a:gd name="connsiteX54" fmla="*/ 650856 w 1024238"/>
                  <a:gd name="connsiteY54" fmla="*/ 248836 h 637085"/>
                  <a:gd name="connsiteX55" fmla="*/ 627436 w 1024238"/>
                  <a:gd name="connsiteY55" fmla="*/ 252532 h 637085"/>
                  <a:gd name="connsiteX56" fmla="*/ 617575 w 1024238"/>
                  <a:gd name="connsiteY56" fmla="*/ 237748 h 637085"/>
                  <a:gd name="connsiteX57" fmla="*/ 613569 w 1024238"/>
                  <a:gd name="connsiteY57" fmla="*/ 224503 h 637085"/>
                  <a:gd name="connsiteX58" fmla="*/ 627436 w 1024238"/>
                  <a:gd name="connsiteY58" fmla="*/ 210643 h 637085"/>
                  <a:gd name="connsiteX59" fmla="*/ 599512 w 1024238"/>
                  <a:gd name="connsiteY59" fmla="*/ 168593 h 637085"/>
                  <a:gd name="connsiteX60" fmla="*/ 613569 w 1024238"/>
                  <a:gd name="connsiteY60" fmla="*/ 182539 h 637085"/>
                  <a:gd name="connsiteX61" fmla="*/ 613569 w 1024238"/>
                  <a:gd name="connsiteY61" fmla="*/ 196485 h 637085"/>
                  <a:gd name="connsiteX62" fmla="*/ 602873 w 1024238"/>
                  <a:gd name="connsiteY62" fmla="*/ 198965 h 637085"/>
                  <a:gd name="connsiteX63" fmla="*/ 590038 w 1024238"/>
                  <a:gd name="connsiteY63" fmla="*/ 204543 h 637085"/>
                  <a:gd name="connsiteX64" fmla="*/ 557951 w 1024238"/>
                  <a:gd name="connsiteY64" fmla="*/ 196485 h 637085"/>
                  <a:gd name="connsiteX65" fmla="*/ 544200 w 1024238"/>
                  <a:gd name="connsiteY65" fmla="*/ 196485 h 637085"/>
                  <a:gd name="connsiteX66" fmla="*/ 516391 w 1024238"/>
                  <a:gd name="connsiteY66" fmla="*/ 210742 h 637085"/>
                  <a:gd name="connsiteX67" fmla="*/ 502028 w 1024238"/>
                  <a:gd name="connsiteY67" fmla="*/ 202684 h 637085"/>
                  <a:gd name="connsiteX68" fmla="*/ 488582 w 1024238"/>
                  <a:gd name="connsiteY68" fmla="*/ 182539 h 637085"/>
                  <a:gd name="connsiteX69" fmla="*/ 509362 w 1024238"/>
                  <a:gd name="connsiteY69" fmla="*/ 169213 h 637085"/>
                  <a:gd name="connsiteX70" fmla="*/ 533198 w 1024238"/>
                  <a:gd name="connsiteY70" fmla="*/ 171072 h 637085"/>
                  <a:gd name="connsiteX71" fmla="*/ 557951 w 1024238"/>
                  <a:gd name="connsiteY71" fmla="*/ 182539 h 637085"/>
                  <a:gd name="connsiteX72" fmla="*/ 580871 w 1024238"/>
                  <a:gd name="connsiteY72" fmla="*/ 172932 h 637085"/>
                  <a:gd name="connsiteX73" fmla="*/ 354350 w 1024238"/>
                  <a:gd name="connsiteY73" fmla="*/ 84296 h 637085"/>
                  <a:gd name="connsiteX74" fmla="*/ 372700 w 1024238"/>
                  <a:gd name="connsiteY74" fmla="*/ 104577 h 637085"/>
                  <a:gd name="connsiteX75" fmla="*/ 385544 w 1024238"/>
                  <a:gd name="connsiteY75" fmla="*/ 132234 h 637085"/>
                  <a:gd name="connsiteX76" fmla="*/ 400224 w 1024238"/>
                  <a:gd name="connsiteY76" fmla="*/ 141452 h 637085"/>
                  <a:gd name="connsiteX77" fmla="*/ 418573 w 1024238"/>
                  <a:gd name="connsiteY77" fmla="*/ 146984 h 637085"/>
                  <a:gd name="connsiteX78" fmla="*/ 420408 w 1024238"/>
                  <a:gd name="connsiteY78" fmla="*/ 169109 h 637085"/>
                  <a:gd name="connsiteX79" fmla="*/ 392884 w 1024238"/>
                  <a:gd name="connsiteY79" fmla="*/ 183859 h 637085"/>
                  <a:gd name="connsiteX80" fmla="*/ 362913 w 1024238"/>
                  <a:gd name="connsiteY80" fmla="*/ 196151 h 637085"/>
                  <a:gd name="connsiteX81" fmla="*/ 335390 w 1024238"/>
                  <a:gd name="connsiteY81" fmla="*/ 182323 h 637085"/>
                  <a:gd name="connsiteX82" fmla="*/ 321322 w 1024238"/>
                  <a:gd name="connsiteY82" fmla="*/ 168494 h 637085"/>
                  <a:gd name="connsiteX83" fmla="*/ 321322 w 1024238"/>
                  <a:gd name="connsiteY83" fmla="*/ 154359 h 637085"/>
                  <a:gd name="connsiteX84" fmla="*/ 297468 w 1024238"/>
                  <a:gd name="connsiteY84" fmla="*/ 143296 h 637085"/>
                  <a:gd name="connsiteX85" fmla="*/ 293798 w 1024238"/>
                  <a:gd name="connsiteY85" fmla="*/ 117483 h 637085"/>
                  <a:gd name="connsiteX86" fmla="*/ 326827 w 1024238"/>
                  <a:gd name="connsiteY86" fmla="*/ 113796 h 637085"/>
                  <a:gd name="connsiteX87" fmla="*/ 332331 w 1024238"/>
                  <a:gd name="connsiteY87" fmla="*/ 95358 h 637085"/>
                  <a:gd name="connsiteX88" fmla="*/ 59665 w 1024238"/>
                  <a:gd name="connsiteY88" fmla="*/ 0 h 637085"/>
                  <a:gd name="connsiteX89" fmla="*/ 84884 w 1024238"/>
                  <a:gd name="connsiteY89" fmla="*/ 2190 h 637085"/>
                  <a:gd name="connsiteX90" fmla="*/ 87652 w 1024238"/>
                  <a:gd name="connsiteY90" fmla="*/ 28479 h 637085"/>
                  <a:gd name="connsiteX91" fmla="*/ 87652 w 1024238"/>
                  <a:gd name="connsiteY91" fmla="*/ 56957 h 637085"/>
                  <a:gd name="connsiteX92" fmla="*/ 75657 w 1024238"/>
                  <a:gd name="connsiteY92" fmla="*/ 75422 h 637085"/>
                  <a:gd name="connsiteX93" fmla="*/ 53206 w 1024238"/>
                  <a:gd name="connsiteY93" fmla="*/ 81055 h 637085"/>
                  <a:gd name="connsiteX94" fmla="*/ 31985 w 1024238"/>
                  <a:gd name="connsiteY94" fmla="*/ 71040 h 637085"/>
                  <a:gd name="connsiteX95" fmla="*/ 12610 w 1024238"/>
                  <a:gd name="connsiteY95" fmla="*/ 75422 h 637085"/>
                  <a:gd name="connsiteX96" fmla="*/ 0 w 1024238"/>
                  <a:gd name="connsiteY96" fmla="*/ 64155 h 637085"/>
                  <a:gd name="connsiteX97" fmla="*/ 3998 w 1024238"/>
                  <a:gd name="connsiteY97" fmla="*/ 42561 h 637085"/>
                  <a:gd name="connsiteX98" fmla="*/ 17838 w 1024238"/>
                  <a:gd name="connsiteY98" fmla="*/ 14396 h 637085"/>
                  <a:gd name="connsiteX99" fmla="*/ 36906 w 1024238"/>
                  <a:gd name="connsiteY99" fmla="*/ 2190 h 63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024238" h="637085">
                    <a:moveTo>
                      <a:pt x="795449" y="335564"/>
                    </a:moveTo>
                    <a:lnTo>
                      <a:pt x="810210" y="351563"/>
                    </a:lnTo>
                    <a:lnTo>
                      <a:pt x="839731" y="363870"/>
                    </a:lnTo>
                    <a:lnTo>
                      <a:pt x="865254" y="363563"/>
                    </a:lnTo>
                    <a:lnTo>
                      <a:pt x="891393" y="373716"/>
                    </a:lnTo>
                    <a:lnTo>
                      <a:pt x="915994" y="378639"/>
                    </a:lnTo>
                    <a:lnTo>
                      <a:pt x="935060" y="405406"/>
                    </a:lnTo>
                    <a:lnTo>
                      <a:pt x="957816" y="422944"/>
                    </a:lnTo>
                    <a:lnTo>
                      <a:pt x="963043" y="447250"/>
                    </a:lnTo>
                    <a:lnTo>
                      <a:pt x="1002097" y="462326"/>
                    </a:lnTo>
                    <a:lnTo>
                      <a:pt x="1024238" y="484479"/>
                    </a:lnTo>
                    <a:lnTo>
                      <a:pt x="1011938" y="501708"/>
                    </a:lnTo>
                    <a:lnTo>
                      <a:pt x="994717" y="531245"/>
                    </a:lnTo>
                    <a:lnTo>
                      <a:pt x="970116" y="536168"/>
                    </a:lnTo>
                    <a:lnTo>
                      <a:pt x="935675" y="553398"/>
                    </a:lnTo>
                    <a:lnTo>
                      <a:pt x="915994" y="573089"/>
                    </a:lnTo>
                    <a:lnTo>
                      <a:pt x="896313" y="590319"/>
                    </a:lnTo>
                    <a:lnTo>
                      <a:pt x="891393" y="612471"/>
                    </a:lnTo>
                    <a:lnTo>
                      <a:pt x="876632" y="637085"/>
                    </a:lnTo>
                    <a:lnTo>
                      <a:pt x="837271" y="628470"/>
                    </a:lnTo>
                    <a:lnTo>
                      <a:pt x="824970" y="614933"/>
                    </a:lnTo>
                    <a:lnTo>
                      <a:pt x="809595" y="586627"/>
                    </a:lnTo>
                    <a:lnTo>
                      <a:pt x="820050" y="568166"/>
                    </a:lnTo>
                    <a:lnTo>
                      <a:pt x="810210" y="536168"/>
                    </a:lnTo>
                    <a:lnTo>
                      <a:pt x="795449" y="502939"/>
                    </a:lnTo>
                    <a:lnTo>
                      <a:pt x="767773" y="474941"/>
                    </a:lnTo>
                    <a:lnTo>
                      <a:pt x="781611" y="447250"/>
                    </a:lnTo>
                    <a:lnTo>
                      <a:pt x="797909" y="425405"/>
                    </a:lnTo>
                    <a:lnTo>
                      <a:pt x="812670" y="410637"/>
                    </a:lnTo>
                    <a:lnTo>
                      <a:pt x="800369" y="383561"/>
                    </a:lnTo>
                    <a:lnTo>
                      <a:pt x="781611" y="377408"/>
                    </a:lnTo>
                    <a:lnTo>
                      <a:pt x="783149" y="361409"/>
                    </a:lnTo>
                    <a:close/>
                    <a:moveTo>
                      <a:pt x="557748" y="223709"/>
                    </a:moveTo>
                    <a:lnTo>
                      <a:pt x="572036" y="237815"/>
                    </a:lnTo>
                    <a:lnTo>
                      <a:pt x="594090" y="244711"/>
                    </a:lnTo>
                    <a:lnTo>
                      <a:pt x="590363" y="263519"/>
                    </a:lnTo>
                    <a:lnTo>
                      <a:pt x="575453" y="280447"/>
                    </a:lnTo>
                    <a:lnTo>
                      <a:pt x="564271" y="274804"/>
                    </a:lnTo>
                    <a:lnTo>
                      <a:pt x="554953" y="261639"/>
                    </a:lnTo>
                    <a:lnTo>
                      <a:pt x="543771" y="237815"/>
                    </a:lnTo>
                    <a:close/>
                    <a:moveTo>
                      <a:pt x="630517" y="202635"/>
                    </a:moveTo>
                    <a:lnTo>
                      <a:pt x="655478" y="210643"/>
                    </a:lnTo>
                    <a:lnTo>
                      <a:pt x="673043" y="217419"/>
                    </a:lnTo>
                    <a:lnTo>
                      <a:pt x="683212" y="210643"/>
                    </a:lnTo>
                    <a:lnTo>
                      <a:pt x="711871" y="206331"/>
                    </a:lnTo>
                    <a:lnTo>
                      <a:pt x="725430" y="224503"/>
                    </a:lnTo>
                    <a:lnTo>
                      <a:pt x="753164" y="238364"/>
                    </a:lnTo>
                    <a:lnTo>
                      <a:pt x="753164" y="266392"/>
                    </a:lnTo>
                    <a:lnTo>
                      <a:pt x="734058" y="282100"/>
                    </a:lnTo>
                    <a:lnTo>
                      <a:pt x="722965" y="283949"/>
                    </a:lnTo>
                    <a:lnTo>
                      <a:pt x="708173" y="285797"/>
                    </a:lnTo>
                    <a:lnTo>
                      <a:pt x="695230" y="295037"/>
                    </a:lnTo>
                    <a:lnTo>
                      <a:pt x="683212" y="280252"/>
                    </a:lnTo>
                    <a:lnTo>
                      <a:pt x="671194" y="263620"/>
                    </a:lnTo>
                    <a:lnTo>
                      <a:pt x="650856" y="248836"/>
                    </a:lnTo>
                    <a:lnTo>
                      <a:pt x="627436" y="252532"/>
                    </a:lnTo>
                    <a:lnTo>
                      <a:pt x="617575" y="237748"/>
                    </a:lnTo>
                    <a:lnTo>
                      <a:pt x="613569" y="224503"/>
                    </a:lnTo>
                    <a:lnTo>
                      <a:pt x="627436" y="210643"/>
                    </a:lnTo>
                    <a:close/>
                    <a:moveTo>
                      <a:pt x="599512" y="168593"/>
                    </a:moveTo>
                    <a:lnTo>
                      <a:pt x="613569" y="182539"/>
                    </a:lnTo>
                    <a:lnTo>
                      <a:pt x="613569" y="196485"/>
                    </a:lnTo>
                    <a:lnTo>
                      <a:pt x="602873" y="198965"/>
                    </a:lnTo>
                    <a:lnTo>
                      <a:pt x="590038" y="204543"/>
                    </a:lnTo>
                    <a:lnTo>
                      <a:pt x="557951" y="196485"/>
                    </a:lnTo>
                    <a:lnTo>
                      <a:pt x="544200" y="196485"/>
                    </a:lnTo>
                    <a:lnTo>
                      <a:pt x="516391" y="210742"/>
                    </a:lnTo>
                    <a:lnTo>
                      <a:pt x="502028" y="202684"/>
                    </a:lnTo>
                    <a:lnTo>
                      <a:pt x="488582" y="182539"/>
                    </a:lnTo>
                    <a:lnTo>
                      <a:pt x="509362" y="169213"/>
                    </a:lnTo>
                    <a:lnTo>
                      <a:pt x="533198" y="171072"/>
                    </a:lnTo>
                    <a:lnTo>
                      <a:pt x="557951" y="182539"/>
                    </a:lnTo>
                    <a:lnTo>
                      <a:pt x="580871" y="172932"/>
                    </a:lnTo>
                    <a:close/>
                    <a:moveTo>
                      <a:pt x="354350" y="84296"/>
                    </a:moveTo>
                    <a:lnTo>
                      <a:pt x="372700" y="104577"/>
                    </a:lnTo>
                    <a:lnTo>
                      <a:pt x="385544" y="132234"/>
                    </a:lnTo>
                    <a:lnTo>
                      <a:pt x="400224" y="141452"/>
                    </a:lnTo>
                    <a:lnTo>
                      <a:pt x="418573" y="146984"/>
                    </a:lnTo>
                    <a:lnTo>
                      <a:pt x="420408" y="169109"/>
                    </a:lnTo>
                    <a:lnTo>
                      <a:pt x="392884" y="183859"/>
                    </a:lnTo>
                    <a:lnTo>
                      <a:pt x="362913" y="196151"/>
                    </a:lnTo>
                    <a:lnTo>
                      <a:pt x="335390" y="182323"/>
                    </a:lnTo>
                    <a:lnTo>
                      <a:pt x="321322" y="168494"/>
                    </a:lnTo>
                    <a:lnTo>
                      <a:pt x="321322" y="154359"/>
                    </a:lnTo>
                    <a:lnTo>
                      <a:pt x="297468" y="143296"/>
                    </a:lnTo>
                    <a:lnTo>
                      <a:pt x="293798" y="117483"/>
                    </a:lnTo>
                    <a:lnTo>
                      <a:pt x="326827" y="113796"/>
                    </a:lnTo>
                    <a:lnTo>
                      <a:pt x="332331" y="95358"/>
                    </a:lnTo>
                    <a:close/>
                    <a:moveTo>
                      <a:pt x="59665" y="0"/>
                    </a:moveTo>
                    <a:lnTo>
                      <a:pt x="84884" y="2190"/>
                    </a:lnTo>
                    <a:lnTo>
                      <a:pt x="87652" y="28479"/>
                    </a:lnTo>
                    <a:lnTo>
                      <a:pt x="87652" y="56957"/>
                    </a:lnTo>
                    <a:lnTo>
                      <a:pt x="75657" y="75422"/>
                    </a:lnTo>
                    <a:lnTo>
                      <a:pt x="53206" y="81055"/>
                    </a:lnTo>
                    <a:lnTo>
                      <a:pt x="31985" y="71040"/>
                    </a:lnTo>
                    <a:lnTo>
                      <a:pt x="12610" y="75422"/>
                    </a:lnTo>
                    <a:lnTo>
                      <a:pt x="0" y="64155"/>
                    </a:lnTo>
                    <a:lnTo>
                      <a:pt x="3998" y="42561"/>
                    </a:lnTo>
                    <a:lnTo>
                      <a:pt x="17838" y="14396"/>
                    </a:lnTo>
                    <a:lnTo>
                      <a:pt x="36906" y="2190"/>
                    </a:lnTo>
                    <a:close/>
                  </a:path>
                </a:pathLst>
              </a:custGeom>
              <a:solidFill>
                <a:schemeClr val="accent4">
                  <a:lumMod val="20000"/>
                  <a:lumOff val="80000"/>
                </a:schemeClr>
              </a:solidFill>
              <a:ln w="9525" cmpd="sng">
                <a:solidFill>
                  <a:schemeClr val="bg1"/>
                </a:solidFill>
                <a:prstDash val="solid"/>
                <a:round/>
                <a:headEnd/>
                <a:tailEnd/>
              </a:ln>
              <a:effec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80" name="Georgia">
                <a:extLst>
                  <a:ext uri="{FF2B5EF4-FFF2-40B4-BE49-F238E27FC236}">
                    <a16:creationId xmlns:a16="http://schemas.microsoft.com/office/drawing/2014/main" id="{D8930A42-A14E-4A38-44D6-930CA4000A51}"/>
                  </a:ext>
                </a:extLst>
              </p:cNvPr>
              <p:cNvSpPr>
                <a:spLocks/>
              </p:cNvSpPr>
              <p:nvPr/>
            </p:nvSpPr>
            <p:spPr bwMode="auto">
              <a:xfrm>
                <a:off x="6417404" y="3730781"/>
                <a:ext cx="650902" cy="697066"/>
              </a:xfrm>
              <a:custGeom>
                <a:avLst/>
                <a:gdLst>
                  <a:gd name="T0" fmla="*/ 5 w 2113"/>
                  <a:gd name="T1" fmla="*/ 43 h 2269"/>
                  <a:gd name="T2" fmla="*/ 28 w 2113"/>
                  <a:gd name="T3" fmla="*/ 31 h 2269"/>
                  <a:gd name="T4" fmla="*/ 58 w 2113"/>
                  <a:gd name="T5" fmla="*/ 33 h 2269"/>
                  <a:gd name="T6" fmla="*/ 79 w 2113"/>
                  <a:gd name="T7" fmla="*/ 19 h 2269"/>
                  <a:gd name="T8" fmla="*/ 110 w 2113"/>
                  <a:gd name="T9" fmla="*/ 16 h 2269"/>
                  <a:gd name="T10" fmla="*/ 148 w 2113"/>
                  <a:gd name="T11" fmla="*/ 3 h 2269"/>
                  <a:gd name="T12" fmla="*/ 171 w 2113"/>
                  <a:gd name="T13" fmla="*/ 0 h 2269"/>
                  <a:gd name="T14" fmla="*/ 179 w 2113"/>
                  <a:gd name="T15" fmla="*/ 26 h 2269"/>
                  <a:gd name="T16" fmla="*/ 191 w 2113"/>
                  <a:gd name="T17" fmla="*/ 45 h 2269"/>
                  <a:gd name="T18" fmla="*/ 214 w 2113"/>
                  <a:gd name="T19" fmla="*/ 54 h 2269"/>
                  <a:gd name="T20" fmla="*/ 219 w 2113"/>
                  <a:gd name="T21" fmla="*/ 72 h 2269"/>
                  <a:gd name="T22" fmla="*/ 247 w 2113"/>
                  <a:gd name="T23" fmla="*/ 83 h 2269"/>
                  <a:gd name="T24" fmla="*/ 270 w 2113"/>
                  <a:gd name="T25" fmla="*/ 97 h 2269"/>
                  <a:gd name="T26" fmla="*/ 289 w 2113"/>
                  <a:gd name="T27" fmla="*/ 116 h 2269"/>
                  <a:gd name="T28" fmla="*/ 316 w 2113"/>
                  <a:gd name="T29" fmla="*/ 129 h 2269"/>
                  <a:gd name="T30" fmla="*/ 355 w 2113"/>
                  <a:gd name="T31" fmla="*/ 163 h 2269"/>
                  <a:gd name="T32" fmla="*/ 350 w 2113"/>
                  <a:gd name="T33" fmla="*/ 180 h 2269"/>
                  <a:gd name="T34" fmla="*/ 377 w 2113"/>
                  <a:gd name="T35" fmla="*/ 204 h 2269"/>
                  <a:gd name="T36" fmla="*/ 401 w 2113"/>
                  <a:gd name="T37" fmla="*/ 231 h 2269"/>
                  <a:gd name="T38" fmla="*/ 384 w 2113"/>
                  <a:gd name="T39" fmla="*/ 263 h 2269"/>
                  <a:gd name="T40" fmla="*/ 377 w 2113"/>
                  <a:gd name="T41" fmla="*/ 303 h 2269"/>
                  <a:gd name="T42" fmla="*/ 384 w 2113"/>
                  <a:gd name="T43" fmla="*/ 334 h 2269"/>
                  <a:gd name="T44" fmla="*/ 388 w 2113"/>
                  <a:gd name="T45" fmla="*/ 367 h 2269"/>
                  <a:gd name="T46" fmla="*/ 367 w 2113"/>
                  <a:gd name="T47" fmla="*/ 378 h 2269"/>
                  <a:gd name="T48" fmla="*/ 344 w 2113"/>
                  <a:gd name="T49" fmla="*/ 373 h 2269"/>
                  <a:gd name="T50" fmla="*/ 334 w 2113"/>
                  <a:gd name="T51" fmla="*/ 388 h 2269"/>
                  <a:gd name="T52" fmla="*/ 334 w 2113"/>
                  <a:gd name="T53" fmla="*/ 402 h 2269"/>
                  <a:gd name="T54" fmla="*/ 329 w 2113"/>
                  <a:gd name="T55" fmla="*/ 417 h 2269"/>
                  <a:gd name="T56" fmla="*/ 318 w 2113"/>
                  <a:gd name="T57" fmla="*/ 409 h 2269"/>
                  <a:gd name="T58" fmla="*/ 284 w 2113"/>
                  <a:gd name="T59" fmla="*/ 414 h 2269"/>
                  <a:gd name="T60" fmla="*/ 216 w 2113"/>
                  <a:gd name="T61" fmla="*/ 417 h 2269"/>
                  <a:gd name="T62" fmla="*/ 162 w 2113"/>
                  <a:gd name="T63" fmla="*/ 426 h 2269"/>
                  <a:gd name="T64" fmla="*/ 116 w 2113"/>
                  <a:gd name="T65" fmla="*/ 430 h 2269"/>
                  <a:gd name="T66" fmla="*/ 96 w 2113"/>
                  <a:gd name="T67" fmla="*/ 423 h 2269"/>
                  <a:gd name="T68" fmla="*/ 81 w 2113"/>
                  <a:gd name="T69" fmla="*/ 409 h 2269"/>
                  <a:gd name="T70" fmla="*/ 88 w 2113"/>
                  <a:gd name="T71" fmla="*/ 380 h 2269"/>
                  <a:gd name="T72" fmla="*/ 80 w 2113"/>
                  <a:gd name="T73" fmla="*/ 356 h 2269"/>
                  <a:gd name="T74" fmla="*/ 76 w 2113"/>
                  <a:gd name="T75" fmla="*/ 326 h 2269"/>
                  <a:gd name="T76" fmla="*/ 73 w 2113"/>
                  <a:gd name="T77" fmla="*/ 305 h 2269"/>
                  <a:gd name="T78" fmla="*/ 79 w 2113"/>
                  <a:gd name="T79" fmla="*/ 274 h 2269"/>
                  <a:gd name="T80" fmla="*/ 47 w 2113"/>
                  <a:gd name="T81" fmla="*/ 218 h 2269"/>
                  <a:gd name="T82" fmla="*/ 33 w 2113"/>
                  <a:gd name="T83" fmla="*/ 162 h 2269"/>
                  <a:gd name="T84" fmla="*/ 14 w 2113"/>
                  <a:gd name="T85" fmla="*/ 95 h 2269"/>
                  <a:gd name="T86" fmla="*/ 0 w 2113"/>
                  <a:gd name="T87" fmla="*/ 70 h 2269"/>
                  <a:gd name="T88" fmla="*/ 5 w 2113"/>
                  <a:gd name="T89" fmla="*/ 43 h 2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13" h="2269">
                    <a:moveTo>
                      <a:pt x="26" y="225"/>
                    </a:moveTo>
                    <a:lnTo>
                      <a:pt x="150" y="164"/>
                    </a:lnTo>
                    <a:lnTo>
                      <a:pt x="308" y="176"/>
                    </a:lnTo>
                    <a:lnTo>
                      <a:pt x="416" y="102"/>
                    </a:lnTo>
                    <a:lnTo>
                      <a:pt x="579" y="82"/>
                    </a:lnTo>
                    <a:lnTo>
                      <a:pt x="781" y="18"/>
                    </a:lnTo>
                    <a:lnTo>
                      <a:pt x="899" y="0"/>
                    </a:lnTo>
                    <a:lnTo>
                      <a:pt x="943" y="139"/>
                    </a:lnTo>
                    <a:lnTo>
                      <a:pt x="1009" y="238"/>
                    </a:lnTo>
                    <a:lnTo>
                      <a:pt x="1128" y="283"/>
                    </a:lnTo>
                    <a:lnTo>
                      <a:pt x="1153" y="379"/>
                    </a:lnTo>
                    <a:lnTo>
                      <a:pt x="1302" y="439"/>
                    </a:lnTo>
                    <a:lnTo>
                      <a:pt x="1421" y="512"/>
                    </a:lnTo>
                    <a:lnTo>
                      <a:pt x="1521" y="612"/>
                    </a:lnTo>
                    <a:lnTo>
                      <a:pt x="1663" y="679"/>
                    </a:lnTo>
                    <a:lnTo>
                      <a:pt x="1873" y="859"/>
                    </a:lnTo>
                    <a:lnTo>
                      <a:pt x="1843" y="949"/>
                    </a:lnTo>
                    <a:lnTo>
                      <a:pt x="1987" y="1079"/>
                    </a:lnTo>
                    <a:lnTo>
                      <a:pt x="2113" y="1219"/>
                    </a:lnTo>
                    <a:lnTo>
                      <a:pt x="2024" y="1390"/>
                    </a:lnTo>
                    <a:lnTo>
                      <a:pt x="1987" y="1600"/>
                    </a:lnTo>
                    <a:lnTo>
                      <a:pt x="2024" y="1764"/>
                    </a:lnTo>
                    <a:lnTo>
                      <a:pt x="2042" y="1938"/>
                    </a:lnTo>
                    <a:lnTo>
                      <a:pt x="1933" y="1993"/>
                    </a:lnTo>
                    <a:lnTo>
                      <a:pt x="1813" y="1969"/>
                    </a:lnTo>
                    <a:lnTo>
                      <a:pt x="1759" y="2048"/>
                    </a:lnTo>
                    <a:lnTo>
                      <a:pt x="1759" y="2121"/>
                    </a:lnTo>
                    <a:lnTo>
                      <a:pt x="1731" y="2203"/>
                    </a:lnTo>
                    <a:lnTo>
                      <a:pt x="1677" y="2158"/>
                    </a:lnTo>
                    <a:lnTo>
                      <a:pt x="1494" y="2185"/>
                    </a:lnTo>
                    <a:lnTo>
                      <a:pt x="1137" y="2203"/>
                    </a:lnTo>
                    <a:lnTo>
                      <a:pt x="854" y="2249"/>
                    </a:lnTo>
                    <a:lnTo>
                      <a:pt x="613" y="2269"/>
                    </a:lnTo>
                    <a:lnTo>
                      <a:pt x="506" y="2231"/>
                    </a:lnTo>
                    <a:lnTo>
                      <a:pt x="426" y="2156"/>
                    </a:lnTo>
                    <a:lnTo>
                      <a:pt x="464" y="2007"/>
                    </a:lnTo>
                    <a:lnTo>
                      <a:pt x="423" y="1877"/>
                    </a:lnTo>
                    <a:lnTo>
                      <a:pt x="402" y="1718"/>
                    </a:lnTo>
                    <a:lnTo>
                      <a:pt x="383" y="1610"/>
                    </a:lnTo>
                    <a:lnTo>
                      <a:pt x="416" y="1448"/>
                    </a:lnTo>
                    <a:lnTo>
                      <a:pt x="246" y="1148"/>
                    </a:lnTo>
                    <a:lnTo>
                      <a:pt x="173" y="857"/>
                    </a:lnTo>
                    <a:lnTo>
                      <a:pt x="72" y="500"/>
                    </a:lnTo>
                    <a:lnTo>
                      <a:pt x="0" y="369"/>
                    </a:lnTo>
                    <a:lnTo>
                      <a:pt x="26" y="225"/>
                    </a:lnTo>
                    <a:close/>
                  </a:path>
                </a:pathLst>
              </a:custGeom>
              <a:solidFill>
                <a:schemeClr val="accent4">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Segoe UI Semibold"/>
                  <a:ea typeface="+mn-ea"/>
                  <a:cs typeface="+mn-cs"/>
                </a:endParaRPr>
              </a:p>
            </p:txBody>
          </p:sp>
          <p:sp>
            <p:nvSpPr>
              <p:cNvPr id="1281" name="Florida">
                <a:extLst>
                  <a:ext uri="{FF2B5EF4-FFF2-40B4-BE49-F238E27FC236}">
                    <a16:creationId xmlns:a16="http://schemas.microsoft.com/office/drawing/2014/main" id="{29D8AEAC-E610-BA1D-1DC6-573A131DBA19}"/>
                  </a:ext>
                </a:extLst>
              </p:cNvPr>
              <p:cNvSpPr>
                <a:spLocks/>
              </p:cNvSpPr>
              <p:nvPr/>
            </p:nvSpPr>
            <p:spPr bwMode="auto">
              <a:xfrm>
                <a:off x="6243721" y="4325719"/>
                <a:ext cx="1098906" cy="857553"/>
              </a:xfrm>
              <a:custGeom>
                <a:avLst/>
                <a:gdLst>
                  <a:gd name="T0" fmla="*/ 33 w 3573"/>
                  <a:gd name="T1" fmla="*/ 131 h 2793"/>
                  <a:gd name="T2" fmla="*/ 62 w 3573"/>
                  <a:gd name="T3" fmla="*/ 131 h 2793"/>
                  <a:gd name="T4" fmla="*/ 118 w 3573"/>
                  <a:gd name="T5" fmla="*/ 129 h 2793"/>
                  <a:gd name="T6" fmla="*/ 175 w 3573"/>
                  <a:gd name="T7" fmla="*/ 153 h 2793"/>
                  <a:gd name="T8" fmla="*/ 221 w 3573"/>
                  <a:gd name="T9" fmla="*/ 160 h 2793"/>
                  <a:gd name="T10" fmla="*/ 257 w 3573"/>
                  <a:gd name="T11" fmla="*/ 136 h 2793"/>
                  <a:gd name="T12" fmla="*/ 301 w 3573"/>
                  <a:gd name="T13" fmla="*/ 113 h 2793"/>
                  <a:gd name="T14" fmla="*/ 339 w 3573"/>
                  <a:gd name="T15" fmla="*/ 148 h 2793"/>
                  <a:gd name="T16" fmla="*/ 380 w 3573"/>
                  <a:gd name="T17" fmla="*/ 177 h 2793"/>
                  <a:gd name="T18" fmla="*/ 414 w 3573"/>
                  <a:gd name="T19" fmla="*/ 220 h 2793"/>
                  <a:gd name="T20" fmla="*/ 419 w 3573"/>
                  <a:gd name="T21" fmla="*/ 266 h 2793"/>
                  <a:gd name="T22" fmla="*/ 426 w 3573"/>
                  <a:gd name="T23" fmla="*/ 308 h 2793"/>
                  <a:gd name="T24" fmla="*/ 448 w 3573"/>
                  <a:gd name="T25" fmla="*/ 296 h 2793"/>
                  <a:gd name="T26" fmla="*/ 448 w 3573"/>
                  <a:gd name="T27" fmla="*/ 319 h 2793"/>
                  <a:gd name="T28" fmla="*/ 461 w 3573"/>
                  <a:gd name="T29" fmla="*/ 369 h 2793"/>
                  <a:gd name="T30" fmla="*/ 500 w 3573"/>
                  <a:gd name="T31" fmla="*/ 370 h 2793"/>
                  <a:gd name="T32" fmla="*/ 537 w 3573"/>
                  <a:gd name="T33" fmla="*/ 429 h 2793"/>
                  <a:gd name="T34" fmla="*/ 551 w 3573"/>
                  <a:gd name="T35" fmla="*/ 472 h 2793"/>
                  <a:gd name="T36" fmla="*/ 596 w 3573"/>
                  <a:gd name="T37" fmla="*/ 501 h 2793"/>
                  <a:gd name="T38" fmla="*/ 602 w 3573"/>
                  <a:gd name="T39" fmla="*/ 529 h 2793"/>
                  <a:gd name="T40" fmla="*/ 638 w 3573"/>
                  <a:gd name="T41" fmla="*/ 525 h 2793"/>
                  <a:gd name="T42" fmla="*/ 659 w 3573"/>
                  <a:gd name="T43" fmla="*/ 518 h 2793"/>
                  <a:gd name="T44" fmla="*/ 662 w 3573"/>
                  <a:gd name="T45" fmla="*/ 474 h 2793"/>
                  <a:gd name="T46" fmla="*/ 677 w 3573"/>
                  <a:gd name="T47" fmla="*/ 429 h 2793"/>
                  <a:gd name="T48" fmla="*/ 670 w 3573"/>
                  <a:gd name="T49" fmla="*/ 353 h 2793"/>
                  <a:gd name="T50" fmla="*/ 591 w 3573"/>
                  <a:gd name="T51" fmla="*/ 222 h 2793"/>
                  <a:gd name="T52" fmla="*/ 591 w 3573"/>
                  <a:gd name="T53" fmla="*/ 188 h 2793"/>
                  <a:gd name="T54" fmla="*/ 613 w 3573"/>
                  <a:gd name="T55" fmla="*/ 227 h 2793"/>
                  <a:gd name="T56" fmla="*/ 596 w 3573"/>
                  <a:gd name="T57" fmla="*/ 182 h 2793"/>
                  <a:gd name="T58" fmla="*/ 551 w 3573"/>
                  <a:gd name="T59" fmla="*/ 137 h 2793"/>
                  <a:gd name="T60" fmla="*/ 528 w 3573"/>
                  <a:gd name="T61" fmla="*/ 93 h 2793"/>
                  <a:gd name="T62" fmla="*/ 513 w 3573"/>
                  <a:gd name="T63" fmla="*/ 43 h 2793"/>
                  <a:gd name="T64" fmla="*/ 492 w 3573"/>
                  <a:gd name="T65" fmla="*/ 50 h 2793"/>
                  <a:gd name="T66" fmla="*/ 483 w 3573"/>
                  <a:gd name="T67" fmla="*/ 69 h 2793"/>
                  <a:gd name="T68" fmla="*/ 494 w 3573"/>
                  <a:gd name="T69" fmla="*/ 18 h 2793"/>
                  <a:gd name="T70" fmla="*/ 474 w 3573"/>
                  <a:gd name="T71" fmla="*/ 10 h 2793"/>
                  <a:gd name="T72" fmla="*/ 441 w 3573"/>
                  <a:gd name="T73" fmla="*/ 21 h 2793"/>
                  <a:gd name="T74" fmla="*/ 435 w 3573"/>
                  <a:gd name="T75" fmla="*/ 51 h 2793"/>
                  <a:gd name="T76" fmla="*/ 388 w 3573"/>
                  <a:gd name="T77" fmla="*/ 47 h 2793"/>
                  <a:gd name="T78" fmla="*/ 271 w 3573"/>
                  <a:gd name="T79" fmla="*/ 59 h 2793"/>
                  <a:gd name="T80" fmla="*/ 204 w 3573"/>
                  <a:gd name="T81" fmla="*/ 56 h 2793"/>
                  <a:gd name="T82" fmla="*/ 124 w 3573"/>
                  <a:gd name="T83" fmla="*/ 56 h 2793"/>
                  <a:gd name="T84" fmla="*/ 37 w 3573"/>
                  <a:gd name="T85" fmla="*/ 78 h 2793"/>
                  <a:gd name="T86" fmla="*/ 0 w 3573"/>
                  <a:gd name="T87" fmla="*/ 110 h 27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573" h="2793">
                    <a:moveTo>
                      <a:pt x="32" y="756"/>
                    </a:moveTo>
                    <a:lnTo>
                      <a:pt x="176" y="693"/>
                    </a:lnTo>
                    <a:lnTo>
                      <a:pt x="206" y="633"/>
                    </a:lnTo>
                    <a:lnTo>
                      <a:pt x="326" y="693"/>
                    </a:lnTo>
                    <a:lnTo>
                      <a:pt x="441" y="616"/>
                    </a:lnTo>
                    <a:lnTo>
                      <a:pt x="621" y="682"/>
                    </a:lnTo>
                    <a:lnTo>
                      <a:pt x="795" y="646"/>
                    </a:lnTo>
                    <a:lnTo>
                      <a:pt x="921" y="808"/>
                    </a:lnTo>
                    <a:lnTo>
                      <a:pt x="1016" y="873"/>
                    </a:lnTo>
                    <a:lnTo>
                      <a:pt x="1166" y="843"/>
                    </a:lnTo>
                    <a:lnTo>
                      <a:pt x="1269" y="820"/>
                    </a:lnTo>
                    <a:lnTo>
                      <a:pt x="1359" y="718"/>
                    </a:lnTo>
                    <a:lnTo>
                      <a:pt x="1443" y="628"/>
                    </a:lnTo>
                    <a:lnTo>
                      <a:pt x="1587" y="598"/>
                    </a:lnTo>
                    <a:lnTo>
                      <a:pt x="1676" y="663"/>
                    </a:lnTo>
                    <a:lnTo>
                      <a:pt x="1791" y="784"/>
                    </a:lnTo>
                    <a:lnTo>
                      <a:pt x="1827" y="873"/>
                    </a:lnTo>
                    <a:lnTo>
                      <a:pt x="2007" y="934"/>
                    </a:lnTo>
                    <a:lnTo>
                      <a:pt x="2127" y="994"/>
                    </a:lnTo>
                    <a:lnTo>
                      <a:pt x="2187" y="1162"/>
                    </a:lnTo>
                    <a:lnTo>
                      <a:pt x="2187" y="1263"/>
                    </a:lnTo>
                    <a:lnTo>
                      <a:pt x="2211" y="1402"/>
                    </a:lnTo>
                    <a:lnTo>
                      <a:pt x="2211" y="1516"/>
                    </a:lnTo>
                    <a:lnTo>
                      <a:pt x="2247" y="1624"/>
                    </a:lnTo>
                    <a:lnTo>
                      <a:pt x="2289" y="1582"/>
                    </a:lnTo>
                    <a:lnTo>
                      <a:pt x="2367" y="1563"/>
                    </a:lnTo>
                    <a:lnTo>
                      <a:pt x="2391" y="1636"/>
                    </a:lnTo>
                    <a:lnTo>
                      <a:pt x="2367" y="1683"/>
                    </a:lnTo>
                    <a:lnTo>
                      <a:pt x="2349" y="1786"/>
                    </a:lnTo>
                    <a:lnTo>
                      <a:pt x="2433" y="1948"/>
                    </a:lnTo>
                    <a:lnTo>
                      <a:pt x="2565" y="2050"/>
                    </a:lnTo>
                    <a:lnTo>
                      <a:pt x="2637" y="1953"/>
                    </a:lnTo>
                    <a:lnTo>
                      <a:pt x="2715" y="2152"/>
                    </a:lnTo>
                    <a:lnTo>
                      <a:pt x="2835" y="2266"/>
                    </a:lnTo>
                    <a:lnTo>
                      <a:pt x="2883" y="2404"/>
                    </a:lnTo>
                    <a:lnTo>
                      <a:pt x="2907" y="2493"/>
                    </a:lnTo>
                    <a:lnTo>
                      <a:pt x="3057" y="2493"/>
                    </a:lnTo>
                    <a:lnTo>
                      <a:pt x="3147" y="2643"/>
                    </a:lnTo>
                    <a:lnTo>
                      <a:pt x="3237" y="2703"/>
                    </a:lnTo>
                    <a:lnTo>
                      <a:pt x="3177" y="2793"/>
                    </a:lnTo>
                    <a:lnTo>
                      <a:pt x="3267" y="2793"/>
                    </a:lnTo>
                    <a:lnTo>
                      <a:pt x="3369" y="2770"/>
                    </a:lnTo>
                    <a:lnTo>
                      <a:pt x="3387" y="2703"/>
                    </a:lnTo>
                    <a:lnTo>
                      <a:pt x="3477" y="2733"/>
                    </a:lnTo>
                    <a:lnTo>
                      <a:pt x="3537" y="2583"/>
                    </a:lnTo>
                    <a:lnTo>
                      <a:pt x="3495" y="2500"/>
                    </a:lnTo>
                    <a:lnTo>
                      <a:pt x="3549" y="2428"/>
                    </a:lnTo>
                    <a:lnTo>
                      <a:pt x="3573" y="2266"/>
                    </a:lnTo>
                    <a:lnTo>
                      <a:pt x="3573" y="2086"/>
                    </a:lnTo>
                    <a:lnTo>
                      <a:pt x="3537" y="1863"/>
                    </a:lnTo>
                    <a:lnTo>
                      <a:pt x="3387" y="1503"/>
                    </a:lnTo>
                    <a:lnTo>
                      <a:pt x="3117" y="1173"/>
                    </a:lnTo>
                    <a:lnTo>
                      <a:pt x="3027" y="993"/>
                    </a:lnTo>
                    <a:lnTo>
                      <a:pt x="3117" y="993"/>
                    </a:lnTo>
                    <a:lnTo>
                      <a:pt x="3183" y="1096"/>
                    </a:lnTo>
                    <a:lnTo>
                      <a:pt x="3237" y="1198"/>
                    </a:lnTo>
                    <a:lnTo>
                      <a:pt x="3273" y="1198"/>
                    </a:lnTo>
                    <a:lnTo>
                      <a:pt x="3147" y="963"/>
                    </a:lnTo>
                    <a:lnTo>
                      <a:pt x="3021" y="832"/>
                    </a:lnTo>
                    <a:lnTo>
                      <a:pt x="2907" y="723"/>
                    </a:lnTo>
                    <a:lnTo>
                      <a:pt x="2865" y="604"/>
                    </a:lnTo>
                    <a:lnTo>
                      <a:pt x="2787" y="490"/>
                    </a:lnTo>
                    <a:lnTo>
                      <a:pt x="2733" y="370"/>
                    </a:lnTo>
                    <a:lnTo>
                      <a:pt x="2709" y="226"/>
                    </a:lnTo>
                    <a:lnTo>
                      <a:pt x="2637" y="183"/>
                    </a:lnTo>
                    <a:lnTo>
                      <a:pt x="2595" y="262"/>
                    </a:lnTo>
                    <a:lnTo>
                      <a:pt x="2643" y="448"/>
                    </a:lnTo>
                    <a:lnTo>
                      <a:pt x="2547" y="364"/>
                    </a:lnTo>
                    <a:lnTo>
                      <a:pt x="2547" y="213"/>
                    </a:lnTo>
                    <a:lnTo>
                      <a:pt x="2607" y="93"/>
                    </a:lnTo>
                    <a:lnTo>
                      <a:pt x="2609" y="0"/>
                    </a:lnTo>
                    <a:lnTo>
                      <a:pt x="2499" y="55"/>
                    </a:lnTo>
                    <a:lnTo>
                      <a:pt x="2379" y="31"/>
                    </a:lnTo>
                    <a:lnTo>
                      <a:pt x="2325" y="112"/>
                    </a:lnTo>
                    <a:lnTo>
                      <a:pt x="2325" y="184"/>
                    </a:lnTo>
                    <a:lnTo>
                      <a:pt x="2298" y="268"/>
                    </a:lnTo>
                    <a:lnTo>
                      <a:pt x="2246" y="220"/>
                    </a:lnTo>
                    <a:lnTo>
                      <a:pt x="2049" y="249"/>
                    </a:lnTo>
                    <a:lnTo>
                      <a:pt x="1703" y="265"/>
                    </a:lnTo>
                    <a:lnTo>
                      <a:pt x="1430" y="310"/>
                    </a:lnTo>
                    <a:lnTo>
                      <a:pt x="1185" y="333"/>
                    </a:lnTo>
                    <a:lnTo>
                      <a:pt x="1076" y="295"/>
                    </a:lnTo>
                    <a:lnTo>
                      <a:pt x="992" y="220"/>
                    </a:lnTo>
                    <a:lnTo>
                      <a:pt x="653" y="297"/>
                    </a:lnTo>
                    <a:lnTo>
                      <a:pt x="329" y="400"/>
                    </a:lnTo>
                    <a:lnTo>
                      <a:pt x="195" y="414"/>
                    </a:lnTo>
                    <a:lnTo>
                      <a:pt x="2" y="459"/>
                    </a:lnTo>
                    <a:lnTo>
                      <a:pt x="0" y="580"/>
                    </a:lnTo>
                    <a:lnTo>
                      <a:pt x="32" y="756"/>
                    </a:lnTo>
                    <a:close/>
                  </a:path>
                </a:pathLst>
              </a:custGeom>
              <a:solidFill>
                <a:schemeClr val="accent4">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1282" name="Delaware">
                <a:extLst>
                  <a:ext uri="{FF2B5EF4-FFF2-40B4-BE49-F238E27FC236}">
                    <a16:creationId xmlns:a16="http://schemas.microsoft.com/office/drawing/2014/main" id="{08463329-B0A8-741C-2DDE-3EDDCA55A16A}"/>
                  </a:ext>
                </a:extLst>
              </p:cNvPr>
              <p:cNvSpPr>
                <a:spLocks/>
              </p:cNvSpPr>
              <p:nvPr/>
            </p:nvSpPr>
            <p:spPr bwMode="auto">
              <a:xfrm>
                <a:off x="7410802" y="2745163"/>
                <a:ext cx="134725" cy="186425"/>
              </a:xfrm>
              <a:custGeom>
                <a:avLst/>
                <a:gdLst>
                  <a:gd name="T0" fmla="*/ 64 w 438"/>
                  <a:gd name="T1" fmla="*/ 107 h 605"/>
                  <a:gd name="T2" fmla="*/ 78 w 438"/>
                  <a:gd name="T3" fmla="*/ 105 h 605"/>
                  <a:gd name="T4" fmla="*/ 83 w 438"/>
                  <a:gd name="T5" fmla="*/ 79 h 605"/>
                  <a:gd name="T6" fmla="*/ 66 w 438"/>
                  <a:gd name="T7" fmla="*/ 62 h 605"/>
                  <a:gd name="T8" fmla="*/ 49 w 438"/>
                  <a:gd name="T9" fmla="*/ 49 h 605"/>
                  <a:gd name="T10" fmla="*/ 33 w 438"/>
                  <a:gd name="T11" fmla="*/ 31 h 605"/>
                  <a:gd name="T12" fmla="*/ 22 w 438"/>
                  <a:gd name="T13" fmla="*/ 0 h 605"/>
                  <a:gd name="T14" fmla="*/ 0 w 438"/>
                  <a:gd name="T15" fmla="*/ 2 h 605"/>
                  <a:gd name="T16" fmla="*/ 7 w 438"/>
                  <a:gd name="T17" fmla="*/ 19 h 605"/>
                  <a:gd name="T18" fmla="*/ 15 w 438"/>
                  <a:gd name="T19" fmla="*/ 33 h 605"/>
                  <a:gd name="T20" fmla="*/ 19 w 438"/>
                  <a:gd name="T21" fmla="*/ 52 h 605"/>
                  <a:gd name="T22" fmla="*/ 26 w 438"/>
                  <a:gd name="T23" fmla="*/ 63 h 605"/>
                  <a:gd name="T24" fmla="*/ 31 w 438"/>
                  <a:gd name="T25" fmla="*/ 82 h 605"/>
                  <a:gd name="T26" fmla="*/ 40 w 438"/>
                  <a:gd name="T27" fmla="*/ 104 h 605"/>
                  <a:gd name="T28" fmla="*/ 45 w 438"/>
                  <a:gd name="T29" fmla="*/ 115 h 605"/>
                  <a:gd name="T30" fmla="*/ 64 w 438"/>
                  <a:gd name="T31" fmla="*/ 107 h 6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8" h="605">
                    <a:moveTo>
                      <a:pt x="336" y="563"/>
                    </a:moveTo>
                    <a:lnTo>
                      <a:pt x="410" y="552"/>
                    </a:lnTo>
                    <a:lnTo>
                      <a:pt x="438" y="415"/>
                    </a:lnTo>
                    <a:lnTo>
                      <a:pt x="348" y="325"/>
                    </a:lnTo>
                    <a:lnTo>
                      <a:pt x="258" y="258"/>
                    </a:lnTo>
                    <a:lnTo>
                      <a:pt x="174" y="162"/>
                    </a:lnTo>
                    <a:lnTo>
                      <a:pt x="117" y="0"/>
                    </a:lnTo>
                    <a:lnTo>
                      <a:pt x="0" y="12"/>
                    </a:lnTo>
                    <a:lnTo>
                      <a:pt x="35" y="101"/>
                    </a:lnTo>
                    <a:lnTo>
                      <a:pt x="78" y="176"/>
                    </a:lnTo>
                    <a:lnTo>
                      <a:pt x="102" y="272"/>
                    </a:lnTo>
                    <a:lnTo>
                      <a:pt x="137" y="333"/>
                    </a:lnTo>
                    <a:lnTo>
                      <a:pt x="164" y="432"/>
                    </a:lnTo>
                    <a:lnTo>
                      <a:pt x="210" y="549"/>
                    </a:lnTo>
                    <a:lnTo>
                      <a:pt x="240" y="605"/>
                    </a:lnTo>
                    <a:lnTo>
                      <a:pt x="336" y="563"/>
                    </a:lnTo>
                    <a:close/>
                  </a:path>
                </a:pathLst>
              </a:custGeom>
              <a:solidFill>
                <a:schemeClr val="accent4">
                  <a:lumMod val="5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83" name="Connecticut">
                <a:extLst>
                  <a:ext uri="{FF2B5EF4-FFF2-40B4-BE49-F238E27FC236}">
                    <a16:creationId xmlns:a16="http://schemas.microsoft.com/office/drawing/2014/main" id="{CBBBA8DE-211D-B921-77C4-DC72BC0F5943}"/>
                  </a:ext>
                </a:extLst>
              </p:cNvPr>
              <p:cNvSpPr>
                <a:spLocks/>
              </p:cNvSpPr>
              <p:nvPr/>
            </p:nvSpPr>
            <p:spPr bwMode="auto">
              <a:xfrm>
                <a:off x="7561759" y="2244248"/>
                <a:ext cx="215886" cy="192909"/>
              </a:xfrm>
              <a:custGeom>
                <a:avLst/>
                <a:gdLst>
                  <a:gd name="T0" fmla="*/ 34 w 700"/>
                  <a:gd name="T1" fmla="*/ 119 h 630"/>
                  <a:gd name="T2" fmla="*/ 93 w 700"/>
                  <a:gd name="T3" fmla="*/ 80 h 630"/>
                  <a:gd name="T4" fmla="*/ 133 w 700"/>
                  <a:gd name="T5" fmla="*/ 55 h 630"/>
                  <a:gd name="T6" fmla="*/ 130 w 700"/>
                  <a:gd name="T7" fmla="*/ 24 h 630"/>
                  <a:gd name="T8" fmla="*/ 104 w 700"/>
                  <a:gd name="T9" fmla="*/ 0 h 630"/>
                  <a:gd name="T10" fmla="*/ 0 w 700"/>
                  <a:gd name="T11" fmla="*/ 52 h 630"/>
                  <a:gd name="T12" fmla="*/ 6 w 700"/>
                  <a:gd name="T13" fmla="*/ 73 h 630"/>
                  <a:gd name="T14" fmla="*/ 23 w 700"/>
                  <a:gd name="T15" fmla="*/ 87 h 630"/>
                  <a:gd name="T16" fmla="*/ 25 w 700"/>
                  <a:gd name="T17" fmla="*/ 108 h 630"/>
                  <a:gd name="T18" fmla="*/ 34 w 700"/>
                  <a:gd name="T19" fmla="*/ 119 h 6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0" h="630">
                    <a:moveTo>
                      <a:pt x="181" y="630"/>
                    </a:moveTo>
                    <a:lnTo>
                      <a:pt x="490" y="421"/>
                    </a:lnTo>
                    <a:lnTo>
                      <a:pt x="700" y="293"/>
                    </a:lnTo>
                    <a:lnTo>
                      <a:pt x="682" y="128"/>
                    </a:lnTo>
                    <a:lnTo>
                      <a:pt x="545" y="0"/>
                    </a:lnTo>
                    <a:lnTo>
                      <a:pt x="0" y="276"/>
                    </a:lnTo>
                    <a:lnTo>
                      <a:pt x="31" y="388"/>
                    </a:lnTo>
                    <a:lnTo>
                      <a:pt x="120" y="463"/>
                    </a:lnTo>
                    <a:lnTo>
                      <a:pt x="130" y="570"/>
                    </a:lnTo>
                    <a:lnTo>
                      <a:pt x="181" y="630"/>
                    </a:lnTo>
                    <a:close/>
                  </a:path>
                </a:pathLst>
              </a:custGeom>
              <a:solidFill>
                <a:schemeClr val="accent4">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84" name="Colorado">
                <a:extLst>
                  <a:ext uri="{FF2B5EF4-FFF2-40B4-BE49-F238E27FC236}">
                    <a16:creationId xmlns:a16="http://schemas.microsoft.com/office/drawing/2014/main" id="{D1E9543D-8CA2-230F-5B73-22E4B05F9417}"/>
                  </a:ext>
                </a:extLst>
              </p:cNvPr>
              <p:cNvSpPr>
                <a:spLocks/>
              </p:cNvSpPr>
              <p:nvPr/>
            </p:nvSpPr>
            <p:spPr bwMode="auto">
              <a:xfrm>
                <a:off x="3425849" y="3027231"/>
                <a:ext cx="886267" cy="671128"/>
              </a:xfrm>
              <a:custGeom>
                <a:avLst/>
                <a:gdLst>
                  <a:gd name="T0" fmla="*/ 43 w 2886"/>
                  <a:gd name="T1" fmla="*/ 0 h 2181"/>
                  <a:gd name="T2" fmla="*/ 21 w 2886"/>
                  <a:gd name="T3" fmla="*/ 141 h 2181"/>
                  <a:gd name="T4" fmla="*/ 0 w 2886"/>
                  <a:gd name="T5" fmla="*/ 388 h 2181"/>
                  <a:gd name="T6" fmla="*/ 215 w 2886"/>
                  <a:gd name="T7" fmla="*/ 404 h 2181"/>
                  <a:gd name="T8" fmla="*/ 386 w 2886"/>
                  <a:gd name="T9" fmla="*/ 412 h 2181"/>
                  <a:gd name="T10" fmla="*/ 536 w 2886"/>
                  <a:gd name="T11" fmla="*/ 414 h 2181"/>
                  <a:gd name="T12" fmla="*/ 535 w 2886"/>
                  <a:gd name="T13" fmla="*/ 196 h 2181"/>
                  <a:gd name="T14" fmla="*/ 546 w 2886"/>
                  <a:gd name="T15" fmla="*/ 112 h 2181"/>
                  <a:gd name="T16" fmla="*/ 543 w 2886"/>
                  <a:gd name="T17" fmla="*/ 80 h 2181"/>
                  <a:gd name="T18" fmla="*/ 540 w 2886"/>
                  <a:gd name="T19" fmla="*/ 51 h 2181"/>
                  <a:gd name="T20" fmla="*/ 543 w 2886"/>
                  <a:gd name="T21" fmla="*/ 28 h 2181"/>
                  <a:gd name="T22" fmla="*/ 519 w 2886"/>
                  <a:gd name="T23" fmla="*/ 32 h 2181"/>
                  <a:gd name="T24" fmla="*/ 396 w 2886"/>
                  <a:gd name="T25" fmla="*/ 30 h 2181"/>
                  <a:gd name="T26" fmla="*/ 72 w 2886"/>
                  <a:gd name="T27" fmla="*/ 2 h 2181"/>
                  <a:gd name="T28" fmla="*/ 43 w 2886"/>
                  <a:gd name="T29" fmla="*/ 0 h 2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86" h="2181">
                    <a:moveTo>
                      <a:pt x="227" y="0"/>
                    </a:moveTo>
                    <a:lnTo>
                      <a:pt x="110" y="741"/>
                    </a:lnTo>
                    <a:lnTo>
                      <a:pt x="0" y="2044"/>
                    </a:lnTo>
                    <a:lnTo>
                      <a:pt x="1134" y="2128"/>
                    </a:lnTo>
                    <a:lnTo>
                      <a:pt x="2040" y="2170"/>
                    </a:lnTo>
                    <a:lnTo>
                      <a:pt x="2835" y="2181"/>
                    </a:lnTo>
                    <a:lnTo>
                      <a:pt x="2826" y="1035"/>
                    </a:lnTo>
                    <a:lnTo>
                      <a:pt x="2886" y="591"/>
                    </a:lnTo>
                    <a:lnTo>
                      <a:pt x="2868" y="423"/>
                    </a:lnTo>
                    <a:lnTo>
                      <a:pt x="2856" y="267"/>
                    </a:lnTo>
                    <a:lnTo>
                      <a:pt x="2868" y="147"/>
                    </a:lnTo>
                    <a:lnTo>
                      <a:pt x="2745" y="169"/>
                    </a:lnTo>
                    <a:lnTo>
                      <a:pt x="2093" y="157"/>
                    </a:lnTo>
                    <a:lnTo>
                      <a:pt x="380" y="12"/>
                    </a:lnTo>
                    <a:lnTo>
                      <a:pt x="227" y="0"/>
                    </a:lnTo>
                    <a:close/>
                  </a:path>
                </a:pathLst>
              </a:custGeom>
              <a:solidFill>
                <a:schemeClr val="accent4">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ysClr val="windowText" lastClr="000000"/>
                  </a:solidFill>
                  <a:effectLst/>
                  <a:uLnTx/>
                  <a:uFillTx/>
                  <a:latin typeface="Segoe UI Semibold"/>
                  <a:ea typeface="+mn-ea"/>
                  <a:cs typeface="+mn-cs"/>
                </a:endParaRPr>
              </a:p>
            </p:txBody>
          </p:sp>
          <p:sp>
            <p:nvSpPr>
              <p:cNvPr id="1285" name="California">
                <a:extLst>
                  <a:ext uri="{FF2B5EF4-FFF2-40B4-BE49-F238E27FC236}">
                    <a16:creationId xmlns:a16="http://schemas.microsoft.com/office/drawing/2014/main" id="{BDBE8460-DFA7-14FB-A705-6F06D5E867DF}"/>
                  </a:ext>
                </a:extLst>
              </p:cNvPr>
              <p:cNvSpPr>
                <a:spLocks/>
              </p:cNvSpPr>
              <p:nvPr/>
            </p:nvSpPr>
            <p:spPr bwMode="auto">
              <a:xfrm>
                <a:off x="1650069" y="2503621"/>
                <a:ext cx="1074557" cy="1716727"/>
              </a:xfrm>
              <a:custGeom>
                <a:avLst/>
                <a:gdLst>
                  <a:gd name="T0" fmla="*/ 42 w 3498"/>
                  <a:gd name="T1" fmla="*/ 24 h 5586"/>
                  <a:gd name="T2" fmla="*/ 38 w 3498"/>
                  <a:gd name="T3" fmla="*/ 71 h 5586"/>
                  <a:gd name="T4" fmla="*/ 0 w 3498"/>
                  <a:gd name="T5" fmla="*/ 138 h 5586"/>
                  <a:gd name="T6" fmla="*/ 23 w 3498"/>
                  <a:gd name="T7" fmla="*/ 193 h 5586"/>
                  <a:gd name="T8" fmla="*/ 25 w 3498"/>
                  <a:gd name="T9" fmla="*/ 248 h 5586"/>
                  <a:gd name="T10" fmla="*/ 28 w 3498"/>
                  <a:gd name="T11" fmla="*/ 341 h 5586"/>
                  <a:gd name="T12" fmla="*/ 47 w 3498"/>
                  <a:gd name="T13" fmla="*/ 399 h 5586"/>
                  <a:gd name="T14" fmla="*/ 64 w 3498"/>
                  <a:gd name="T15" fmla="*/ 430 h 5586"/>
                  <a:gd name="T16" fmla="*/ 91 w 3498"/>
                  <a:gd name="T17" fmla="*/ 390 h 5586"/>
                  <a:gd name="T18" fmla="*/ 92 w 3498"/>
                  <a:gd name="T19" fmla="*/ 425 h 5586"/>
                  <a:gd name="T20" fmla="*/ 72 w 3498"/>
                  <a:gd name="T21" fmla="*/ 452 h 5586"/>
                  <a:gd name="T22" fmla="*/ 61 w 3498"/>
                  <a:gd name="T23" fmla="*/ 486 h 5586"/>
                  <a:gd name="T24" fmla="*/ 111 w 3498"/>
                  <a:gd name="T25" fmla="*/ 538 h 5586"/>
                  <a:gd name="T26" fmla="*/ 90 w 3498"/>
                  <a:gd name="T27" fmla="*/ 569 h 5586"/>
                  <a:gd name="T28" fmla="*/ 124 w 3498"/>
                  <a:gd name="T29" fmla="*/ 637 h 5586"/>
                  <a:gd name="T30" fmla="*/ 152 w 3498"/>
                  <a:gd name="T31" fmla="*/ 708 h 5586"/>
                  <a:gd name="T32" fmla="*/ 156 w 3498"/>
                  <a:gd name="T33" fmla="*/ 783 h 5586"/>
                  <a:gd name="T34" fmla="*/ 235 w 3498"/>
                  <a:gd name="T35" fmla="*/ 820 h 5586"/>
                  <a:gd name="T36" fmla="*/ 288 w 3498"/>
                  <a:gd name="T37" fmla="*/ 862 h 5586"/>
                  <a:gd name="T38" fmla="*/ 322 w 3498"/>
                  <a:gd name="T39" fmla="*/ 879 h 5586"/>
                  <a:gd name="T40" fmla="*/ 351 w 3498"/>
                  <a:gd name="T41" fmla="*/ 918 h 5586"/>
                  <a:gd name="T42" fmla="*/ 385 w 3498"/>
                  <a:gd name="T43" fmla="*/ 959 h 5586"/>
                  <a:gd name="T44" fmla="*/ 395 w 3498"/>
                  <a:gd name="T45" fmla="*/ 1023 h 5586"/>
                  <a:gd name="T46" fmla="*/ 441 w 3498"/>
                  <a:gd name="T47" fmla="*/ 1040 h 5586"/>
                  <a:gd name="T48" fmla="*/ 503 w 3498"/>
                  <a:gd name="T49" fmla="*/ 1049 h 5586"/>
                  <a:gd name="T50" fmla="*/ 594 w 3498"/>
                  <a:gd name="T51" fmla="*/ 1059 h 5586"/>
                  <a:gd name="T52" fmla="*/ 612 w 3498"/>
                  <a:gd name="T53" fmla="*/ 1027 h 5586"/>
                  <a:gd name="T54" fmla="*/ 612 w 3498"/>
                  <a:gd name="T55" fmla="*/ 983 h 5586"/>
                  <a:gd name="T56" fmla="*/ 623 w 3498"/>
                  <a:gd name="T57" fmla="*/ 953 h 5586"/>
                  <a:gd name="T58" fmla="*/ 646 w 3498"/>
                  <a:gd name="T59" fmla="*/ 919 h 5586"/>
                  <a:gd name="T60" fmla="*/ 657 w 3498"/>
                  <a:gd name="T61" fmla="*/ 919 h 5586"/>
                  <a:gd name="T62" fmla="*/ 640 w 3498"/>
                  <a:gd name="T63" fmla="*/ 867 h 5586"/>
                  <a:gd name="T64" fmla="*/ 561 w 3498"/>
                  <a:gd name="T65" fmla="*/ 737 h 5586"/>
                  <a:gd name="T66" fmla="*/ 402 w 3498"/>
                  <a:gd name="T67" fmla="*/ 513 h 5586"/>
                  <a:gd name="T68" fmla="*/ 295 w 3498"/>
                  <a:gd name="T69" fmla="*/ 367 h 5586"/>
                  <a:gd name="T70" fmla="*/ 84 w 3498"/>
                  <a:gd name="T71" fmla="*/ 9 h 5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98" h="5586">
                    <a:moveTo>
                      <a:pt x="284" y="0"/>
                    </a:moveTo>
                    <a:lnTo>
                      <a:pt x="222" y="126"/>
                    </a:lnTo>
                    <a:lnTo>
                      <a:pt x="292" y="225"/>
                    </a:lnTo>
                    <a:lnTo>
                      <a:pt x="202" y="375"/>
                    </a:lnTo>
                    <a:lnTo>
                      <a:pt x="202" y="555"/>
                    </a:lnTo>
                    <a:lnTo>
                      <a:pt x="0" y="726"/>
                    </a:lnTo>
                    <a:lnTo>
                      <a:pt x="36" y="906"/>
                    </a:lnTo>
                    <a:lnTo>
                      <a:pt x="120" y="1020"/>
                    </a:lnTo>
                    <a:lnTo>
                      <a:pt x="142" y="1125"/>
                    </a:lnTo>
                    <a:lnTo>
                      <a:pt x="132" y="1308"/>
                    </a:lnTo>
                    <a:lnTo>
                      <a:pt x="72" y="1560"/>
                    </a:lnTo>
                    <a:lnTo>
                      <a:pt x="150" y="1800"/>
                    </a:lnTo>
                    <a:lnTo>
                      <a:pt x="262" y="1965"/>
                    </a:lnTo>
                    <a:lnTo>
                      <a:pt x="246" y="2106"/>
                    </a:lnTo>
                    <a:lnTo>
                      <a:pt x="262" y="2265"/>
                    </a:lnTo>
                    <a:lnTo>
                      <a:pt x="336" y="2268"/>
                    </a:lnTo>
                    <a:lnTo>
                      <a:pt x="408" y="2166"/>
                    </a:lnTo>
                    <a:lnTo>
                      <a:pt x="480" y="2058"/>
                    </a:lnTo>
                    <a:lnTo>
                      <a:pt x="516" y="2118"/>
                    </a:lnTo>
                    <a:lnTo>
                      <a:pt x="486" y="2244"/>
                    </a:lnTo>
                    <a:lnTo>
                      <a:pt x="442" y="2385"/>
                    </a:lnTo>
                    <a:lnTo>
                      <a:pt x="382" y="2385"/>
                    </a:lnTo>
                    <a:lnTo>
                      <a:pt x="366" y="2466"/>
                    </a:lnTo>
                    <a:lnTo>
                      <a:pt x="322" y="2565"/>
                    </a:lnTo>
                    <a:lnTo>
                      <a:pt x="492" y="2742"/>
                    </a:lnTo>
                    <a:lnTo>
                      <a:pt x="588" y="2838"/>
                    </a:lnTo>
                    <a:lnTo>
                      <a:pt x="592" y="2926"/>
                    </a:lnTo>
                    <a:lnTo>
                      <a:pt x="474" y="3000"/>
                    </a:lnTo>
                    <a:lnTo>
                      <a:pt x="606" y="3180"/>
                    </a:lnTo>
                    <a:lnTo>
                      <a:pt x="654" y="3360"/>
                    </a:lnTo>
                    <a:lnTo>
                      <a:pt x="768" y="3564"/>
                    </a:lnTo>
                    <a:lnTo>
                      <a:pt x="802" y="3736"/>
                    </a:lnTo>
                    <a:lnTo>
                      <a:pt x="892" y="3856"/>
                    </a:lnTo>
                    <a:lnTo>
                      <a:pt x="822" y="4128"/>
                    </a:lnTo>
                    <a:lnTo>
                      <a:pt x="1042" y="4246"/>
                    </a:lnTo>
                    <a:lnTo>
                      <a:pt x="1242" y="4326"/>
                    </a:lnTo>
                    <a:lnTo>
                      <a:pt x="1372" y="4456"/>
                    </a:lnTo>
                    <a:lnTo>
                      <a:pt x="1522" y="4546"/>
                    </a:lnTo>
                    <a:lnTo>
                      <a:pt x="1612" y="4546"/>
                    </a:lnTo>
                    <a:lnTo>
                      <a:pt x="1702" y="4636"/>
                    </a:lnTo>
                    <a:lnTo>
                      <a:pt x="1702" y="4756"/>
                    </a:lnTo>
                    <a:lnTo>
                      <a:pt x="1854" y="4842"/>
                    </a:lnTo>
                    <a:lnTo>
                      <a:pt x="1962" y="4944"/>
                    </a:lnTo>
                    <a:lnTo>
                      <a:pt x="2033" y="5056"/>
                    </a:lnTo>
                    <a:lnTo>
                      <a:pt x="2063" y="5236"/>
                    </a:lnTo>
                    <a:lnTo>
                      <a:pt x="2088" y="5394"/>
                    </a:lnTo>
                    <a:lnTo>
                      <a:pt x="2123" y="5506"/>
                    </a:lnTo>
                    <a:lnTo>
                      <a:pt x="2328" y="5484"/>
                    </a:lnTo>
                    <a:lnTo>
                      <a:pt x="2466" y="5532"/>
                    </a:lnTo>
                    <a:lnTo>
                      <a:pt x="2658" y="5532"/>
                    </a:lnTo>
                    <a:lnTo>
                      <a:pt x="2856" y="5544"/>
                    </a:lnTo>
                    <a:lnTo>
                      <a:pt x="3138" y="5586"/>
                    </a:lnTo>
                    <a:lnTo>
                      <a:pt x="3233" y="5536"/>
                    </a:lnTo>
                    <a:lnTo>
                      <a:pt x="3233" y="5416"/>
                    </a:lnTo>
                    <a:lnTo>
                      <a:pt x="3192" y="5292"/>
                    </a:lnTo>
                    <a:lnTo>
                      <a:pt x="3234" y="5184"/>
                    </a:lnTo>
                    <a:lnTo>
                      <a:pt x="3323" y="5116"/>
                    </a:lnTo>
                    <a:lnTo>
                      <a:pt x="3293" y="5026"/>
                    </a:lnTo>
                    <a:lnTo>
                      <a:pt x="3348" y="4950"/>
                    </a:lnTo>
                    <a:lnTo>
                      <a:pt x="3413" y="4846"/>
                    </a:lnTo>
                    <a:lnTo>
                      <a:pt x="3473" y="4846"/>
                    </a:lnTo>
                    <a:lnTo>
                      <a:pt x="3498" y="4770"/>
                    </a:lnTo>
                    <a:lnTo>
                      <a:pt x="3384" y="4572"/>
                    </a:lnTo>
                    <a:lnTo>
                      <a:pt x="3353" y="4396"/>
                    </a:lnTo>
                    <a:lnTo>
                      <a:pt x="2963" y="3886"/>
                    </a:lnTo>
                    <a:lnTo>
                      <a:pt x="2453" y="3226"/>
                    </a:lnTo>
                    <a:lnTo>
                      <a:pt x="2124" y="2706"/>
                    </a:lnTo>
                    <a:lnTo>
                      <a:pt x="1702" y="2175"/>
                    </a:lnTo>
                    <a:lnTo>
                      <a:pt x="1560" y="1938"/>
                    </a:lnTo>
                    <a:lnTo>
                      <a:pt x="1822" y="474"/>
                    </a:lnTo>
                    <a:lnTo>
                      <a:pt x="444" y="45"/>
                    </a:lnTo>
                    <a:lnTo>
                      <a:pt x="284" y="0"/>
                    </a:lnTo>
                    <a:close/>
                  </a:path>
                </a:pathLst>
              </a:custGeom>
              <a:solidFill>
                <a:schemeClr val="accent4">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charset="0"/>
                  <a:ea typeface="+mn-ea"/>
                  <a:cs typeface="+mn-cs"/>
                </a:endParaRPr>
              </a:p>
            </p:txBody>
          </p:sp>
          <p:sp>
            <p:nvSpPr>
              <p:cNvPr id="1286" name="Arkansas">
                <a:extLst>
                  <a:ext uri="{FF2B5EF4-FFF2-40B4-BE49-F238E27FC236}">
                    <a16:creationId xmlns:a16="http://schemas.microsoft.com/office/drawing/2014/main" id="{800DB73E-5ED3-2564-A484-0EA0D3EE724B}"/>
                  </a:ext>
                </a:extLst>
              </p:cNvPr>
              <p:cNvSpPr>
                <a:spLocks/>
              </p:cNvSpPr>
              <p:nvPr/>
            </p:nvSpPr>
            <p:spPr bwMode="auto">
              <a:xfrm>
                <a:off x="5253570" y="3639999"/>
                <a:ext cx="613569" cy="619253"/>
              </a:xfrm>
              <a:custGeom>
                <a:avLst/>
                <a:gdLst>
                  <a:gd name="T0" fmla="*/ 0 w 1990"/>
                  <a:gd name="T1" fmla="*/ 45 h 2015"/>
                  <a:gd name="T2" fmla="*/ 215 w 1990"/>
                  <a:gd name="T3" fmla="*/ 18 h 2015"/>
                  <a:gd name="T4" fmla="*/ 273 w 1990"/>
                  <a:gd name="T5" fmla="*/ 12 h 2015"/>
                  <a:gd name="T6" fmla="*/ 331 w 1990"/>
                  <a:gd name="T7" fmla="*/ 0 h 2015"/>
                  <a:gd name="T8" fmla="*/ 342 w 1990"/>
                  <a:gd name="T9" fmla="*/ 12 h 2015"/>
                  <a:gd name="T10" fmla="*/ 325 w 1990"/>
                  <a:gd name="T11" fmla="*/ 34 h 2015"/>
                  <a:gd name="T12" fmla="*/ 337 w 1990"/>
                  <a:gd name="T13" fmla="*/ 46 h 2015"/>
                  <a:gd name="T14" fmla="*/ 357 w 1990"/>
                  <a:gd name="T15" fmla="*/ 54 h 2015"/>
                  <a:gd name="T16" fmla="*/ 376 w 1990"/>
                  <a:gd name="T17" fmla="*/ 45 h 2015"/>
                  <a:gd name="T18" fmla="*/ 378 w 1990"/>
                  <a:gd name="T19" fmla="*/ 63 h 2015"/>
                  <a:gd name="T20" fmla="*/ 367 w 1990"/>
                  <a:gd name="T21" fmla="*/ 77 h 2015"/>
                  <a:gd name="T22" fmla="*/ 366 w 1990"/>
                  <a:gd name="T23" fmla="*/ 94 h 2015"/>
                  <a:gd name="T24" fmla="*/ 355 w 1990"/>
                  <a:gd name="T25" fmla="*/ 106 h 2015"/>
                  <a:gd name="T26" fmla="*/ 350 w 1990"/>
                  <a:gd name="T27" fmla="*/ 143 h 2015"/>
                  <a:gd name="T28" fmla="*/ 338 w 1990"/>
                  <a:gd name="T29" fmla="*/ 163 h 2015"/>
                  <a:gd name="T30" fmla="*/ 322 w 1990"/>
                  <a:gd name="T31" fmla="*/ 209 h 2015"/>
                  <a:gd name="T32" fmla="*/ 301 w 1990"/>
                  <a:gd name="T33" fmla="*/ 238 h 2015"/>
                  <a:gd name="T34" fmla="*/ 293 w 1990"/>
                  <a:gd name="T35" fmla="*/ 274 h 2015"/>
                  <a:gd name="T36" fmla="*/ 296 w 1990"/>
                  <a:gd name="T37" fmla="*/ 329 h 2015"/>
                  <a:gd name="T38" fmla="*/ 293 w 1990"/>
                  <a:gd name="T39" fmla="*/ 359 h 2015"/>
                  <a:gd name="T40" fmla="*/ 249 w 1990"/>
                  <a:gd name="T41" fmla="*/ 365 h 2015"/>
                  <a:gd name="T42" fmla="*/ 190 w 1990"/>
                  <a:gd name="T43" fmla="*/ 365 h 2015"/>
                  <a:gd name="T44" fmla="*/ 115 w 1990"/>
                  <a:gd name="T45" fmla="*/ 368 h 2015"/>
                  <a:gd name="T46" fmla="*/ 65 w 1990"/>
                  <a:gd name="T47" fmla="*/ 382 h 2015"/>
                  <a:gd name="T48" fmla="*/ 58 w 1990"/>
                  <a:gd name="T49" fmla="*/ 363 h 2015"/>
                  <a:gd name="T50" fmla="*/ 63 w 1990"/>
                  <a:gd name="T51" fmla="*/ 344 h 2015"/>
                  <a:gd name="T52" fmla="*/ 56 w 1990"/>
                  <a:gd name="T53" fmla="*/ 322 h 2015"/>
                  <a:gd name="T54" fmla="*/ 17 w 1990"/>
                  <a:gd name="T55" fmla="*/ 322 h 2015"/>
                  <a:gd name="T56" fmla="*/ 17 w 1990"/>
                  <a:gd name="T57" fmla="*/ 168 h 2015"/>
                  <a:gd name="T58" fmla="*/ 4 w 1990"/>
                  <a:gd name="T59" fmla="*/ 110 h 2015"/>
                  <a:gd name="T60" fmla="*/ 0 w 1990"/>
                  <a:gd name="T61" fmla="*/ 71 h 2015"/>
                  <a:gd name="T62" fmla="*/ 0 w 1990"/>
                  <a:gd name="T63" fmla="*/ 45 h 20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90" h="2015">
                    <a:moveTo>
                      <a:pt x="2" y="240"/>
                    </a:moveTo>
                    <a:lnTo>
                      <a:pt x="1130" y="93"/>
                    </a:lnTo>
                    <a:lnTo>
                      <a:pt x="1435" y="62"/>
                    </a:lnTo>
                    <a:lnTo>
                      <a:pt x="1742" y="0"/>
                    </a:lnTo>
                    <a:lnTo>
                      <a:pt x="1798" y="61"/>
                    </a:lnTo>
                    <a:lnTo>
                      <a:pt x="1711" y="179"/>
                    </a:lnTo>
                    <a:lnTo>
                      <a:pt x="1775" y="243"/>
                    </a:lnTo>
                    <a:lnTo>
                      <a:pt x="1877" y="287"/>
                    </a:lnTo>
                    <a:lnTo>
                      <a:pt x="1979" y="240"/>
                    </a:lnTo>
                    <a:lnTo>
                      <a:pt x="1990" y="334"/>
                    </a:lnTo>
                    <a:lnTo>
                      <a:pt x="1934" y="406"/>
                    </a:lnTo>
                    <a:lnTo>
                      <a:pt x="1926" y="494"/>
                    </a:lnTo>
                    <a:lnTo>
                      <a:pt x="1870" y="558"/>
                    </a:lnTo>
                    <a:lnTo>
                      <a:pt x="1842" y="756"/>
                    </a:lnTo>
                    <a:lnTo>
                      <a:pt x="1782" y="862"/>
                    </a:lnTo>
                    <a:lnTo>
                      <a:pt x="1694" y="1102"/>
                    </a:lnTo>
                    <a:lnTo>
                      <a:pt x="1582" y="1254"/>
                    </a:lnTo>
                    <a:lnTo>
                      <a:pt x="1542" y="1446"/>
                    </a:lnTo>
                    <a:lnTo>
                      <a:pt x="1558" y="1734"/>
                    </a:lnTo>
                    <a:lnTo>
                      <a:pt x="1542" y="1894"/>
                    </a:lnTo>
                    <a:lnTo>
                      <a:pt x="1310" y="1926"/>
                    </a:lnTo>
                    <a:lnTo>
                      <a:pt x="1002" y="1926"/>
                    </a:lnTo>
                    <a:lnTo>
                      <a:pt x="607" y="1942"/>
                    </a:lnTo>
                    <a:lnTo>
                      <a:pt x="342" y="2015"/>
                    </a:lnTo>
                    <a:lnTo>
                      <a:pt x="303" y="1913"/>
                    </a:lnTo>
                    <a:lnTo>
                      <a:pt x="333" y="1814"/>
                    </a:lnTo>
                    <a:lnTo>
                      <a:pt x="297" y="1697"/>
                    </a:lnTo>
                    <a:lnTo>
                      <a:pt x="92" y="1701"/>
                    </a:lnTo>
                    <a:lnTo>
                      <a:pt x="92" y="888"/>
                    </a:lnTo>
                    <a:lnTo>
                      <a:pt x="21" y="578"/>
                    </a:lnTo>
                    <a:lnTo>
                      <a:pt x="0" y="377"/>
                    </a:lnTo>
                    <a:lnTo>
                      <a:pt x="2" y="240"/>
                    </a:lnTo>
                    <a:close/>
                  </a:path>
                </a:pathLst>
              </a:custGeom>
              <a:solidFill>
                <a:schemeClr val="accent4">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87" name="Arizona">
                <a:extLst>
                  <a:ext uri="{FF2B5EF4-FFF2-40B4-BE49-F238E27FC236}">
                    <a16:creationId xmlns:a16="http://schemas.microsoft.com/office/drawing/2014/main" id="{32E97272-51C9-EEE1-8990-95D3DEF29185}"/>
                  </a:ext>
                </a:extLst>
              </p:cNvPr>
              <p:cNvSpPr>
                <a:spLocks/>
              </p:cNvSpPr>
              <p:nvPr/>
            </p:nvSpPr>
            <p:spPr bwMode="auto">
              <a:xfrm>
                <a:off x="2614249" y="3563810"/>
                <a:ext cx="811599" cy="980755"/>
              </a:xfrm>
              <a:custGeom>
                <a:avLst/>
                <a:gdLst>
                  <a:gd name="T0" fmla="*/ 116 w 2635"/>
                  <a:gd name="T1" fmla="*/ 0 h 3189"/>
                  <a:gd name="T2" fmla="*/ 500 w 2635"/>
                  <a:gd name="T3" fmla="*/ 57 h 3189"/>
                  <a:gd name="T4" fmla="*/ 458 w 2635"/>
                  <a:gd name="T5" fmla="*/ 605 h 3189"/>
                  <a:gd name="T6" fmla="*/ 396 w 2635"/>
                  <a:gd name="T7" fmla="*/ 596 h 3189"/>
                  <a:gd name="T8" fmla="*/ 334 w 2635"/>
                  <a:gd name="T9" fmla="*/ 593 h 3189"/>
                  <a:gd name="T10" fmla="*/ 289 w 2635"/>
                  <a:gd name="T11" fmla="*/ 585 h 3189"/>
                  <a:gd name="T12" fmla="*/ 105 w 2635"/>
                  <a:gd name="T13" fmla="*/ 477 h 3189"/>
                  <a:gd name="T14" fmla="*/ 20 w 2635"/>
                  <a:gd name="T15" fmla="*/ 434 h 3189"/>
                  <a:gd name="T16" fmla="*/ 3 w 2635"/>
                  <a:gd name="T17" fmla="*/ 411 h 3189"/>
                  <a:gd name="T18" fmla="*/ 0 w 2635"/>
                  <a:gd name="T19" fmla="*/ 405 h 3189"/>
                  <a:gd name="T20" fmla="*/ 18 w 2635"/>
                  <a:gd name="T21" fmla="*/ 396 h 3189"/>
                  <a:gd name="T22" fmla="*/ 18 w 2635"/>
                  <a:gd name="T23" fmla="*/ 373 h 3189"/>
                  <a:gd name="T24" fmla="*/ 10 w 2635"/>
                  <a:gd name="T25" fmla="*/ 350 h 3189"/>
                  <a:gd name="T26" fmla="*/ 18 w 2635"/>
                  <a:gd name="T27" fmla="*/ 329 h 3189"/>
                  <a:gd name="T28" fmla="*/ 35 w 2635"/>
                  <a:gd name="T29" fmla="*/ 316 h 3189"/>
                  <a:gd name="T30" fmla="*/ 30 w 2635"/>
                  <a:gd name="T31" fmla="*/ 299 h 3189"/>
                  <a:gd name="T32" fmla="*/ 39 w 2635"/>
                  <a:gd name="T33" fmla="*/ 286 h 3189"/>
                  <a:gd name="T34" fmla="*/ 52 w 2635"/>
                  <a:gd name="T35" fmla="*/ 265 h 3189"/>
                  <a:gd name="T36" fmla="*/ 64 w 2635"/>
                  <a:gd name="T37" fmla="*/ 265 h 3189"/>
                  <a:gd name="T38" fmla="*/ 68 w 2635"/>
                  <a:gd name="T39" fmla="*/ 250 h 3189"/>
                  <a:gd name="T40" fmla="*/ 47 w 2635"/>
                  <a:gd name="T41" fmla="*/ 213 h 3189"/>
                  <a:gd name="T42" fmla="*/ 41 w 2635"/>
                  <a:gd name="T43" fmla="*/ 180 h 3189"/>
                  <a:gd name="T44" fmla="*/ 34 w 2635"/>
                  <a:gd name="T45" fmla="*/ 170 h 3189"/>
                  <a:gd name="T46" fmla="*/ 47 w 2635"/>
                  <a:gd name="T47" fmla="*/ 153 h 3189"/>
                  <a:gd name="T48" fmla="*/ 49 w 2635"/>
                  <a:gd name="T49" fmla="*/ 130 h 3189"/>
                  <a:gd name="T50" fmla="*/ 42 w 2635"/>
                  <a:gd name="T51" fmla="*/ 98 h 3189"/>
                  <a:gd name="T52" fmla="*/ 43 w 2635"/>
                  <a:gd name="T53" fmla="*/ 82 h 3189"/>
                  <a:gd name="T54" fmla="*/ 58 w 2635"/>
                  <a:gd name="T55" fmla="*/ 73 h 3189"/>
                  <a:gd name="T56" fmla="*/ 78 w 2635"/>
                  <a:gd name="T57" fmla="*/ 79 h 3189"/>
                  <a:gd name="T58" fmla="*/ 105 w 2635"/>
                  <a:gd name="T59" fmla="*/ 87 h 3189"/>
                  <a:gd name="T60" fmla="*/ 100 w 2635"/>
                  <a:gd name="T61" fmla="*/ 61 h 3189"/>
                  <a:gd name="T62" fmla="*/ 110 w 2635"/>
                  <a:gd name="T63" fmla="*/ 48 h 3189"/>
                  <a:gd name="T64" fmla="*/ 110 w 2635"/>
                  <a:gd name="T65" fmla="*/ 23 h 3189"/>
                  <a:gd name="T66" fmla="*/ 114 w 2635"/>
                  <a:gd name="T67" fmla="*/ 6 h 3189"/>
                  <a:gd name="T68" fmla="*/ 116 w 2635"/>
                  <a:gd name="T69" fmla="*/ 0 h 3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35" h="3189">
                    <a:moveTo>
                      <a:pt x="609" y="0"/>
                    </a:moveTo>
                    <a:lnTo>
                      <a:pt x="2635" y="300"/>
                    </a:lnTo>
                    <a:lnTo>
                      <a:pt x="2416" y="3189"/>
                    </a:lnTo>
                    <a:lnTo>
                      <a:pt x="2089" y="3144"/>
                    </a:lnTo>
                    <a:lnTo>
                      <a:pt x="1759" y="3126"/>
                    </a:lnTo>
                    <a:lnTo>
                      <a:pt x="1525" y="3084"/>
                    </a:lnTo>
                    <a:lnTo>
                      <a:pt x="553" y="2514"/>
                    </a:lnTo>
                    <a:lnTo>
                      <a:pt x="106" y="2289"/>
                    </a:lnTo>
                    <a:lnTo>
                      <a:pt x="16" y="2169"/>
                    </a:lnTo>
                    <a:lnTo>
                      <a:pt x="0" y="2135"/>
                    </a:lnTo>
                    <a:lnTo>
                      <a:pt x="96" y="2088"/>
                    </a:lnTo>
                    <a:lnTo>
                      <a:pt x="94" y="1964"/>
                    </a:lnTo>
                    <a:lnTo>
                      <a:pt x="54" y="1844"/>
                    </a:lnTo>
                    <a:lnTo>
                      <a:pt x="96" y="1736"/>
                    </a:lnTo>
                    <a:lnTo>
                      <a:pt x="187" y="1665"/>
                    </a:lnTo>
                    <a:lnTo>
                      <a:pt x="157" y="1575"/>
                    </a:lnTo>
                    <a:lnTo>
                      <a:pt x="205" y="1509"/>
                    </a:lnTo>
                    <a:lnTo>
                      <a:pt x="276" y="1397"/>
                    </a:lnTo>
                    <a:lnTo>
                      <a:pt x="337" y="1395"/>
                    </a:lnTo>
                    <a:lnTo>
                      <a:pt x="360" y="1319"/>
                    </a:lnTo>
                    <a:lnTo>
                      <a:pt x="249" y="1124"/>
                    </a:lnTo>
                    <a:lnTo>
                      <a:pt x="217" y="948"/>
                    </a:lnTo>
                    <a:lnTo>
                      <a:pt x="178" y="897"/>
                    </a:lnTo>
                    <a:lnTo>
                      <a:pt x="249" y="809"/>
                    </a:lnTo>
                    <a:lnTo>
                      <a:pt x="258" y="687"/>
                    </a:lnTo>
                    <a:lnTo>
                      <a:pt x="223" y="515"/>
                    </a:lnTo>
                    <a:lnTo>
                      <a:pt x="228" y="431"/>
                    </a:lnTo>
                    <a:lnTo>
                      <a:pt x="307" y="384"/>
                    </a:lnTo>
                    <a:lnTo>
                      <a:pt x="411" y="414"/>
                    </a:lnTo>
                    <a:lnTo>
                      <a:pt x="553" y="461"/>
                    </a:lnTo>
                    <a:lnTo>
                      <a:pt x="528" y="320"/>
                    </a:lnTo>
                    <a:lnTo>
                      <a:pt x="582" y="252"/>
                    </a:lnTo>
                    <a:lnTo>
                      <a:pt x="582" y="122"/>
                    </a:lnTo>
                    <a:lnTo>
                      <a:pt x="603" y="32"/>
                    </a:lnTo>
                    <a:lnTo>
                      <a:pt x="609" y="0"/>
                    </a:lnTo>
                    <a:close/>
                  </a:path>
                </a:pathLst>
              </a:custGeom>
              <a:solidFill>
                <a:schemeClr val="accent4">
                  <a:lumMod val="20000"/>
                  <a:lumOff val="8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88" name="Alaska">
                <a:extLst>
                  <a:ext uri="{FF2B5EF4-FFF2-40B4-BE49-F238E27FC236}">
                    <a16:creationId xmlns:a16="http://schemas.microsoft.com/office/drawing/2014/main" id="{210FBBE6-DC2F-A206-4616-9EEEC1B59E74}"/>
                  </a:ext>
                </a:extLst>
              </p:cNvPr>
              <p:cNvSpPr>
                <a:spLocks/>
              </p:cNvSpPr>
              <p:nvPr/>
            </p:nvSpPr>
            <p:spPr bwMode="auto">
              <a:xfrm>
                <a:off x="691098" y="4112771"/>
                <a:ext cx="1176664" cy="1346033"/>
              </a:xfrm>
              <a:custGeom>
                <a:avLst/>
                <a:gdLst>
                  <a:gd name="T0" fmla="*/ 2656 w 3826"/>
                  <a:gd name="T1" fmla="*/ 2761 h 4380"/>
                  <a:gd name="T2" fmla="*/ 2806 w 3826"/>
                  <a:gd name="T3" fmla="*/ 2911 h 4380"/>
                  <a:gd name="T4" fmla="*/ 2866 w 3826"/>
                  <a:gd name="T5" fmla="*/ 3241 h 4380"/>
                  <a:gd name="T6" fmla="*/ 3166 w 3826"/>
                  <a:gd name="T7" fmla="*/ 3991 h 4380"/>
                  <a:gd name="T8" fmla="*/ 3264 w 3826"/>
                  <a:gd name="T9" fmla="*/ 4315 h 4380"/>
                  <a:gd name="T10" fmla="*/ 3118 w 3826"/>
                  <a:gd name="T11" fmla="*/ 4315 h 4380"/>
                  <a:gd name="T12" fmla="*/ 3099 w 3826"/>
                  <a:gd name="T13" fmla="*/ 4069 h 4380"/>
                  <a:gd name="T14" fmla="*/ 2898 w 3826"/>
                  <a:gd name="T15" fmla="*/ 3931 h 4380"/>
                  <a:gd name="T16" fmla="*/ 2990 w 3826"/>
                  <a:gd name="T17" fmla="*/ 4169 h 4380"/>
                  <a:gd name="T18" fmla="*/ 2862 w 3826"/>
                  <a:gd name="T19" fmla="*/ 4361 h 4380"/>
                  <a:gd name="T20" fmla="*/ 2807 w 3826"/>
                  <a:gd name="T21" fmla="*/ 3950 h 4380"/>
                  <a:gd name="T22" fmla="*/ 2807 w 3826"/>
                  <a:gd name="T23" fmla="*/ 3602 h 4380"/>
                  <a:gd name="T24" fmla="*/ 2746 w 3826"/>
                  <a:gd name="T25" fmla="*/ 3361 h 4380"/>
                  <a:gd name="T26" fmla="*/ 2688 w 3826"/>
                  <a:gd name="T27" fmla="*/ 3090 h 4380"/>
                  <a:gd name="T28" fmla="*/ 2416 w 3826"/>
                  <a:gd name="T29" fmla="*/ 2731 h 4380"/>
                  <a:gd name="T30" fmla="*/ 2286 w 3826"/>
                  <a:gd name="T31" fmla="*/ 2533 h 4380"/>
                  <a:gd name="T32" fmla="*/ 2094 w 3826"/>
                  <a:gd name="T33" fmla="*/ 2286 h 4380"/>
                  <a:gd name="T34" fmla="*/ 1847 w 3826"/>
                  <a:gd name="T35" fmla="*/ 2331 h 4380"/>
                  <a:gd name="T36" fmla="*/ 1545 w 3826"/>
                  <a:gd name="T37" fmla="*/ 2322 h 4380"/>
                  <a:gd name="T38" fmla="*/ 1664 w 3826"/>
                  <a:gd name="T39" fmla="*/ 2157 h 4380"/>
                  <a:gd name="T40" fmla="*/ 1929 w 3826"/>
                  <a:gd name="T41" fmla="*/ 2148 h 4380"/>
                  <a:gd name="T42" fmla="*/ 1947 w 3826"/>
                  <a:gd name="T43" fmla="*/ 2010 h 4380"/>
                  <a:gd name="T44" fmla="*/ 1655 w 3826"/>
                  <a:gd name="T45" fmla="*/ 2029 h 4380"/>
                  <a:gd name="T46" fmla="*/ 1362 w 3826"/>
                  <a:gd name="T47" fmla="*/ 2065 h 4380"/>
                  <a:gd name="T48" fmla="*/ 1234 w 3826"/>
                  <a:gd name="T49" fmla="*/ 2249 h 4380"/>
                  <a:gd name="T50" fmla="*/ 946 w 3826"/>
                  <a:gd name="T51" fmla="*/ 2221 h 4380"/>
                  <a:gd name="T52" fmla="*/ 128 w 3826"/>
                  <a:gd name="T53" fmla="*/ 1965 h 4380"/>
                  <a:gd name="T54" fmla="*/ 9 w 3826"/>
                  <a:gd name="T55" fmla="*/ 1764 h 4380"/>
                  <a:gd name="T56" fmla="*/ 357 w 3826"/>
                  <a:gd name="T57" fmla="*/ 1956 h 4380"/>
                  <a:gd name="T58" fmla="*/ 649 w 3826"/>
                  <a:gd name="T59" fmla="*/ 2047 h 4380"/>
                  <a:gd name="T60" fmla="*/ 933 w 3826"/>
                  <a:gd name="T61" fmla="*/ 2001 h 4380"/>
                  <a:gd name="T62" fmla="*/ 987 w 3826"/>
                  <a:gd name="T63" fmla="*/ 1846 h 4380"/>
                  <a:gd name="T64" fmla="*/ 905 w 3826"/>
                  <a:gd name="T65" fmla="*/ 1709 h 4380"/>
                  <a:gd name="T66" fmla="*/ 750 w 3826"/>
                  <a:gd name="T67" fmla="*/ 1608 h 4380"/>
                  <a:gd name="T68" fmla="*/ 826 w 3826"/>
                  <a:gd name="T69" fmla="*/ 1410 h 4380"/>
                  <a:gd name="T70" fmla="*/ 759 w 3826"/>
                  <a:gd name="T71" fmla="*/ 1233 h 4380"/>
                  <a:gd name="T72" fmla="*/ 796 w 3826"/>
                  <a:gd name="T73" fmla="*/ 1020 h 4380"/>
                  <a:gd name="T74" fmla="*/ 1006 w 3826"/>
                  <a:gd name="T75" fmla="*/ 776 h 4380"/>
                  <a:gd name="T76" fmla="*/ 1306 w 3826"/>
                  <a:gd name="T77" fmla="*/ 720 h 4380"/>
                  <a:gd name="T78" fmla="*/ 1472 w 3826"/>
                  <a:gd name="T79" fmla="*/ 895 h 4380"/>
                  <a:gd name="T80" fmla="*/ 1673 w 3826"/>
                  <a:gd name="T81" fmla="*/ 913 h 4380"/>
                  <a:gd name="T82" fmla="*/ 1710 w 3826"/>
                  <a:gd name="T83" fmla="*/ 758 h 4380"/>
                  <a:gd name="T84" fmla="*/ 1518 w 3826"/>
                  <a:gd name="T85" fmla="*/ 602 h 4380"/>
                  <a:gd name="T86" fmla="*/ 1546 w 3826"/>
                  <a:gd name="T87" fmla="*/ 270 h 4380"/>
                  <a:gd name="T88" fmla="*/ 1755 w 3826"/>
                  <a:gd name="T89" fmla="*/ 273 h 4380"/>
                  <a:gd name="T90" fmla="*/ 1846 w 3826"/>
                  <a:gd name="T91" fmla="*/ 480 h 4380"/>
                  <a:gd name="T92" fmla="*/ 2130 w 3826"/>
                  <a:gd name="T93" fmla="*/ 657 h 4380"/>
                  <a:gd name="T94" fmla="*/ 2139 w 3826"/>
                  <a:gd name="T95" fmla="*/ 511 h 4380"/>
                  <a:gd name="T96" fmla="*/ 2116 w 3826"/>
                  <a:gd name="T97" fmla="*/ 270 h 4380"/>
                  <a:gd name="T98" fmla="*/ 2139 w 3826"/>
                  <a:gd name="T99" fmla="*/ 81 h 4380"/>
                  <a:gd name="T100" fmla="*/ 2386 w 3826"/>
                  <a:gd name="T101" fmla="*/ 120 h 4380"/>
                  <a:gd name="T102" fmla="*/ 2679 w 3826"/>
                  <a:gd name="T103" fmla="*/ 63 h 4380"/>
                  <a:gd name="T104" fmla="*/ 2872 w 3826"/>
                  <a:gd name="T105" fmla="*/ 207 h 4380"/>
                  <a:gd name="T106" fmla="*/ 3032 w 3826"/>
                  <a:gd name="T107" fmla="*/ 231 h 4380"/>
                  <a:gd name="T108" fmla="*/ 3184 w 3826"/>
                  <a:gd name="T109" fmla="*/ 399 h 4380"/>
                  <a:gd name="T110" fmla="*/ 3368 w 3826"/>
                  <a:gd name="T111" fmla="*/ 551 h 4380"/>
                  <a:gd name="T112" fmla="*/ 3474 w 3826"/>
                  <a:gd name="T113" fmla="*/ 666 h 4380"/>
                  <a:gd name="T114" fmla="*/ 3685 w 3826"/>
                  <a:gd name="T115" fmla="*/ 950 h 4380"/>
                  <a:gd name="T116" fmla="*/ 3826 w 3826"/>
                  <a:gd name="T117" fmla="*/ 1170 h 4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26" h="4380">
                    <a:moveTo>
                      <a:pt x="3826" y="1170"/>
                    </a:moveTo>
                    <a:lnTo>
                      <a:pt x="2656" y="2760"/>
                    </a:lnTo>
                    <a:lnTo>
                      <a:pt x="2706" y="2861"/>
                    </a:lnTo>
                    <a:lnTo>
                      <a:pt x="2806" y="2910"/>
                    </a:lnTo>
                    <a:lnTo>
                      <a:pt x="2807" y="3135"/>
                    </a:lnTo>
                    <a:lnTo>
                      <a:pt x="2866" y="3240"/>
                    </a:lnTo>
                    <a:lnTo>
                      <a:pt x="3072" y="3217"/>
                    </a:lnTo>
                    <a:lnTo>
                      <a:pt x="3166" y="3990"/>
                    </a:lnTo>
                    <a:lnTo>
                      <a:pt x="3256" y="4140"/>
                    </a:lnTo>
                    <a:lnTo>
                      <a:pt x="3264" y="4314"/>
                    </a:lnTo>
                    <a:lnTo>
                      <a:pt x="3166" y="4380"/>
                    </a:lnTo>
                    <a:lnTo>
                      <a:pt x="3118" y="4314"/>
                    </a:lnTo>
                    <a:lnTo>
                      <a:pt x="3154" y="4223"/>
                    </a:lnTo>
                    <a:lnTo>
                      <a:pt x="3099" y="4068"/>
                    </a:lnTo>
                    <a:lnTo>
                      <a:pt x="3008" y="3885"/>
                    </a:lnTo>
                    <a:lnTo>
                      <a:pt x="2898" y="3930"/>
                    </a:lnTo>
                    <a:lnTo>
                      <a:pt x="2953" y="4004"/>
                    </a:lnTo>
                    <a:lnTo>
                      <a:pt x="2990" y="4168"/>
                    </a:lnTo>
                    <a:lnTo>
                      <a:pt x="2981" y="4269"/>
                    </a:lnTo>
                    <a:lnTo>
                      <a:pt x="2862" y="4360"/>
                    </a:lnTo>
                    <a:lnTo>
                      <a:pt x="2862" y="4058"/>
                    </a:lnTo>
                    <a:lnTo>
                      <a:pt x="2807" y="3949"/>
                    </a:lnTo>
                    <a:lnTo>
                      <a:pt x="2798" y="3802"/>
                    </a:lnTo>
                    <a:lnTo>
                      <a:pt x="2807" y="3601"/>
                    </a:lnTo>
                    <a:lnTo>
                      <a:pt x="2834" y="3428"/>
                    </a:lnTo>
                    <a:lnTo>
                      <a:pt x="2746" y="3360"/>
                    </a:lnTo>
                    <a:lnTo>
                      <a:pt x="2743" y="3199"/>
                    </a:lnTo>
                    <a:lnTo>
                      <a:pt x="2688" y="3089"/>
                    </a:lnTo>
                    <a:lnTo>
                      <a:pt x="2566" y="2880"/>
                    </a:lnTo>
                    <a:lnTo>
                      <a:pt x="2416" y="2730"/>
                    </a:lnTo>
                    <a:lnTo>
                      <a:pt x="2286" y="2623"/>
                    </a:lnTo>
                    <a:lnTo>
                      <a:pt x="2286" y="2532"/>
                    </a:lnTo>
                    <a:lnTo>
                      <a:pt x="2203" y="2431"/>
                    </a:lnTo>
                    <a:lnTo>
                      <a:pt x="2094" y="2285"/>
                    </a:lnTo>
                    <a:lnTo>
                      <a:pt x="1984" y="2394"/>
                    </a:lnTo>
                    <a:lnTo>
                      <a:pt x="1847" y="2330"/>
                    </a:lnTo>
                    <a:lnTo>
                      <a:pt x="1666" y="2340"/>
                    </a:lnTo>
                    <a:lnTo>
                      <a:pt x="1545" y="2321"/>
                    </a:lnTo>
                    <a:lnTo>
                      <a:pt x="1582" y="2248"/>
                    </a:lnTo>
                    <a:lnTo>
                      <a:pt x="1664" y="2157"/>
                    </a:lnTo>
                    <a:lnTo>
                      <a:pt x="1846" y="2070"/>
                    </a:lnTo>
                    <a:lnTo>
                      <a:pt x="1929" y="2148"/>
                    </a:lnTo>
                    <a:lnTo>
                      <a:pt x="2026" y="2070"/>
                    </a:lnTo>
                    <a:lnTo>
                      <a:pt x="1947" y="2010"/>
                    </a:lnTo>
                    <a:lnTo>
                      <a:pt x="1786" y="2010"/>
                    </a:lnTo>
                    <a:lnTo>
                      <a:pt x="1655" y="2029"/>
                    </a:lnTo>
                    <a:lnTo>
                      <a:pt x="1554" y="2093"/>
                    </a:lnTo>
                    <a:lnTo>
                      <a:pt x="1362" y="2065"/>
                    </a:lnTo>
                    <a:lnTo>
                      <a:pt x="1353" y="2175"/>
                    </a:lnTo>
                    <a:lnTo>
                      <a:pt x="1234" y="2248"/>
                    </a:lnTo>
                    <a:lnTo>
                      <a:pt x="1051" y="2212"/>
                    </a:lnTo>
                    <a:lnTo>
                      <a:pt x="946" y="2220"/>
                    </a:lnTo>
                    <a:lnTo>
                      <a:pt x="496" y="2160"/>
                    </a:lnTo>
                    <a:lnTo>
                      <a:pt x="128" y="1965"/>
                    </a:lnTo>
                    <a:lnTo>
                      <a:pt x="0" y="1882"/>
                    </a:lnTo>
                    <a:lnTo>
                      <a:pt x="9" y="1764"/>
                    </a:lnTo>
                    <a:lnTo>
                      <a:pt x="210" y="1919"/>
                    </a:lnTo>
                    <a:lnTo>
                      <a:pt x="357" y="1956"/>
                    </a:lnTo>
                    <a:lnTo>
                      <a:pt x="466" y="2040"/>
                    </a:lnTo>
                    <a:lnTo>
                      <a:pt x="649" y="2047"/>
                    </a:lnTo>
                    <a:lnTo>
                      <a:pt x="766" y="2010"/>
                    </a:lnTo>
                    <a:lnTo>
                      <a:pt x="933" y="2001"/>
                    </a:lnTo>
                    <a:lnTo>
                      <a:pt x="1036" y="1920"/>
                    </a:lnTo>
                    <a:lnTo>
                      <a:pt x="987" y="1846"/>
                    </a:lnTo>
                    <a:lnTo>
                      <a:pt x="887" y="1818"/>
                    </a:lnTo>
                    <a:lnTo>
                      <a:pt x="905" y="1709"/>
                    </a:lnTo>
                    <a:lnTo>
                      <a:pt x="896" y="1590"/>
                    </a:lnTo>
                    <a:lnTo>
                      <a:pt x="750" y="1608"/>
                    </a:lnTo>
                    <a:lnTo>
                      <a:pt x="676" y="1530"/>
                    </a:lnTo>
                    <a:lnTo>
                      <a:pt x="826" y="1410"/>
                    </a:lnTo>
                    <a:lnTo>
                      <a:pt x="878" y="1316"/>
                    </a:lnTo>
                    <a:lnTo>
                      <a:pt x="759" y="1233"/>
                    </a:lnTo>
                    <a:lnTo>
                      <a:pt x="736" y="1110"/>
                    </a:lnTo>
                    <a:lnTo>
                      <a:pt x="796" y="1020"/>
                    </a:lnTo>
                    <a:lnTo>
                      <a:pt x="887" y="904"/>
                    </a:lnTo>
                    <a:lnTo>
                      <a:pt x="1006" y="776"/>
                    </a:lnTo>
                    <a:lnTo>
                      <a:pt x="1189" y="794"/>
                    </a:lnTo>
                    <a:lnTo>
                      <a:pt x="1306" y="720"/>
                    </a:lnTo>
                    <a:lnTo>
                      <a:pt x="1335" y="849"/>
                    </a:lnTo>
                    <a:lnTo>
                      <a:pt x="1472" y="895"/>
                    </a:lnTo>
                    <a:lnTo>
                      <a:pt x="1546" y="930"/>
                    </a:lnTo>
                    <a:lnTo>
                      <a:pt x="1673" y="913"/>
                    </a:lnTo>
                    <a:lnTo>
                      <a:pt x="1756" y="810"/>
                    </a:lnTo>
                    <a:lnTo>
                      <a:pt x="1710" y="758"/>
                    </a:lnTo>
                    <a:lnTo>
                      <a:pt x="1600" y="685"/>
                    </a:lnTo>
                    <a:lnTo>
                      <a:pt x="1518" y="602"/>
                    </a:lnTo>
                    <a:lnTo>
                      <a:pt x="1456" y="480"/>
                    </a:lnTo>
                    <a:lnTo>
                      <a:pt x="1546" y="270"/>
                    </a:lnTo>
                    <a:lnTo>
                      <a:pt x="1637" y="246"/>
                    </a:lnTo>
                    <a:lnTo>
                      <a:pt x="1755" y="273"/>
                    </a:lnTo>
                    <a:lnTo>
                      <a:pt x="1966" y="360"/>
                    </a:lnTo>
                    <a:lnTo>
                      <a:pt x="1846" y="480"/>
                    </a:lnTo>
                    <a:lnTo>
                      <a:pt x="2026" y="630"/>
                    </a:lnTo>
                    <a:lnTo>
                      <a:pt x="2130" y="657"/>
                    </a:lnTo>
                    <a:lnTo>
                      <a:pt x="2206" y="600"/>
                    </a:lnTo>
                    <a:lnTo>
                      <a:pt x="2139" y="511"/>
                    </a:lnTo>
                    <a:lnTo>
                      <a:pt x="2075" y="429"/>
                    </a:lnTo>
                    <a:lnTo>
                      <a:pt x="2116" y="270"/>
                    </a:lnTo>
                    <a:lnTo>
                      <a:pt x="2167" y="182"/>
                    </a:lnTo>
                    <a:lnTo>
                      <a:pt x="2139" y="81"/>
                    </a:lnTo>
                    <a:lnTo>
                      <a:pt x="2296" y="0"/>
                    </a:lnTo>
                    <a:lnTo>
                      <a:pt x="2386" y="120"/>
                    </a:lnTo>
                    <a:lnTo>
                      <a:pt x="2552" y="127"/>
                    </a:lnTo>
                    <a:lnTo>
                      <a:pt x="2679" y="63"/>
                    </a:lnTo>
                    <a:lnTo>
                      <a:pt x="2843" y="127"/>
                    </a:lnTo>
                    <a:lnTo>
                      <a:pt x="2872" y="207"/>
                    </a:lnTo>
                    <a:lnTo>
                      <a:pt x="2971" y="145"/>
                    </a:lnTo>
                    <a:lnTo>
                      <a:pt x="3032" y="231"/>
                    </a:lnTo>
                    <a:lnTo>
                      <a:pt x="3136" y="210"/>
                    </a:lnTo>
                    <a:lnTo>
                      <a:pt x="3184" y="399"/>
                    </a:lnTo>
                    <a:lnTo>
                      <a:pt x="3286" y="420"/>
                    </a:lnTo>
                    <a:lnTo>
                      <a:pt x="3368" y="551"/>
                    </a:lnTo>
                    <a:lnTo>
                      <a:pt x="3346" y="648"/>
                    </a:lnTo>
                    <a:lnTo>
                      <a:pt x="3474" y="666"/>
                    </a:lnTo>
                    <a:lnTo>
                      <a:pt x="3493" y="813"/>
                    </a:lnTo>
                    <a:lnTo>
                      <a:pt x="3685" y="950"/>
                    </a:lnTo>
                    <a:lnTo>
                      <a:pt x="3785" y="1050"/>
                    </a:lnTo>
                    <a:lnTo>
                      <a:pt x="3826" y="1170"/>
                    </a:lnTo>
                    <a:close/>
                  </a:path>
                </a:pathLst>
              </a:custGeom>
              <a:solidFill>
                <a:schemeClr val="accent4">
                  <a:lumMod val="60000"/>
                  <a:lumOff val="4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sp>
            <p:nvSpPr>
              <p:cNvPr id="1289" name="Alabama">
                <a:extLst>
                  <a:ext uri="{FF2B5EF4-FFF2-40B4-BE49-F238E27FC236}">
                    <a16:creationId xmlns:a16="http://schemas.microsoft.com/office/drawing/2014/main" id="{8CD8BC32-BAE3-B62E-C849-B4996789D883}"/>
                  </a:ext>
                </a:extLst>
              </p:cNvPr>
              <p:cNvSpPr>
                <a:spLocks/>
              </p:cNvSpPr>
              <p:nvPr/>
            </p:nvSpPr>
            <p:spPr bwMode="auto">
              <a:xfrm>
                <a:off x="6052184" y="3798866"/>
                <a:ext cx="508061" cy="789468"/>
              </a:xfrm>
              <a:custGeom>
                <a:avLst/>
                <a:gdLst>
                  <a:gd name="T0" fmla="*/ 0 w 1649"/>
                  <a:gd name="T1" fmla="*/ 44 h 2568"/>
                  <a:gd name="T2" fmla="*/ 19 w 1649"/>
                  <a:gd name="T3" fmla="*/ 96 h 2568"/>
                  <a:gd name="T4" fmla="*/ 18 w 1649"/>
                  <a:gd name="T5" fmla="*/ 141 h 2568"/>
                  <a:gd name="T6" fmla="*/ 27 w 1649"/>
                  <a:gd name="T7" fmla="*/ 212 h 2568"/>
                  <a:gd name="T8" fmla="*/ 35 w 1649"/>
                  <a:gd name="T9" fmla="*/ 326 h 2568"/>
                  <a:gd name="T10" fmla="*/ 48 w 1649"/>
                  <a:gd name="T11" fmla="*/ 432 h 2568"/>
                  <a:gd name="T12" fmla="*/ 46 w 1649"/>
                  <a:gd name="T13" fmla="*/ 471 h 2568"/>
                  <a:gd name="T14" fmla="*/ 41 w 1649"/>
                  <a:gd name="T15" fmla="*/ 482 h 2568"/>
                  <a:gd name="T16" fmla="*/ 72 w 1649"/>
                  <a:gd name="T17" fmla="*/ 469 h 2568"/>
                  <a:gd name="T18" fmla="*/ 78 w 1649"/>
                  <a:gd name="T19" fmla="*/ 446 h 2568"/>
                  <a:gd name="T20" fmla="*/ 90 w 1649"/>
                  <a:gd name="T21" fmla="*/ 461 h 2568"/>
                  <a:gd name="T22" fmla="*/ 97 w 1649"/>
                  <a:gd name="T23" fmla="*/ 478 h 2568"/>
                  <a:gd name="T24" fmla="*/ 116 w 1649"/>
                  <a:gd name="T25" fmla="*/ 487 h 2568"/>
                  <a:gd name="T26" fmla="*/ 123 w 1649"/>
                  <a:gd name="T27" fmla="*/ 469 h 2568"/>
                  <a:gd name="T28" fmla="*/ 117 w 1649"/>
                  <a:gd name="T29" fmla="*/ 435 h 2568"/>
                  <a:gd name="T30" fmla="*/ 117 w 1649"/>
                  <a:gd name="T31" fmla="*/ 412 h 2568"/>
                  <a:gd name="T32" fmla="*/ 154 w 1649"/>
                  <a:gd name="T33" fmla="*/ 404 h 2568"/>
                  <a:gd name="T34" fmla="*/ 179 w 1649"/>
                  <a:gd name="T35" fmla="*/ 401 h 2568"/>
                  <a:gd name="T36" fmla="*/ 242 w 1649"/>
                  <a:gd name="T37" fmla="*/ 381 h 2568"/>
                  <a:gd name="T38" fmla="*/ 305 w 1649"/>
                  <a:gd name="T39" fmla="*/ 366 h 2568"/>
                  <a:gd name="T40" fmla="*/ 313 w 1649"/>
                  <a:gd name="T41" fmla="*/ 338 h 2568"/>
                  <a:gd name="T42" fmla="*/ 305 w 1649"/>
                  <a:gd name="T43" fmla="*/ 314 h 2568"/>
                  <a:gd name="T44" fmla="*/ 301 w 1649"/>
                  <a:gd name="T45" fmla="*/ 281 h 2568"/>
                  <a:gd name="T46" fmla="*/ 298 w 1649"/>
                  <a:gd name="T47" fmla="*/ 262 h 2568"/>
                  <a:gd name="T48" fmla="*/ 304 w 1649"/>
                  <a:gd name="T49" fmla="*/ 232 h 2568"/>
                  <a:gd name="T50" fmla="*/ 293 w 1649"/>
                  <a:gd name="T51" fmla="*/ 212 h 2568"/>
                  <a:gd name="T52" fmla="*/ 272 w 1649"/>
                  <a:gd name="T53" fmla="*/ 176 h 2568"/>
                  <a:gd name="T54" fmla="*/ 260 w 1649"/>
                  <a:gd name="T55" fmla="*/ 127 h 2568"/>
                  <a:gd name="T56" fmla="*/ 239 w 1649"/>
                  <a:gd name="T57" fmla="*/ 52 h 2568"/>
                  <a:gd name="T58" fmla="*/ 225 w 1649"/>
                  <a:gd name="T59" fmla="*/ 27 h 2568"/>
                  <a:gd name="T60" fmla="*/ 229 w 1649"/>
                  <a:gd name="T61" fmla="*/ 0 h 2568"/>
                  <a:gd name="T62" fmla="*/ 195 w 1649"/>
                  <a:gd name="T63" fmla="*/ 1 h 2568"/>
                  <a:gd name="T64" fmla="*/ 159 w 1649"/>
                  <a:gd name="T65" fmla="*/ 13 h 2568"/>
                  <a:gd name="T66" fmla="*/ 132 w 1649"/>
                  <a:gd name="T67" fmla="*/ 17 h 2568"/>
                  <a:gd name="T68" fmla="*/ 93 w 1649"/>
                  <a:gd name="T69" fmla="*/ 28 h 2568"/>
                  <a:gd name="T70" fmla="*/ 68 w 1649"/>
                  <a:gd name="T71" fmla="*/ 33 h 2568"/>
                  <a:gd name="T72" fmla="*/ 65 w 1649"/>
                  <a:gd name="T73" fmla="*/ 20 h 2568"/>
                  <a:gd name="T74" fmla="*/ 64 w 1649"/>
                  <a:gd name="T75" fmla="*/ 20 h 2568"/>
                  <a:gd name="T76" fmla="*/ 52 w 1649"/>
                  <a:gd name="T77" fmla="*/ 17 h 2568"/>
                  <a:gd name="T78" fmla="*/ 38 w 1649"/>
                  <a:gd name="T79" fmla="*/ 27 h 2568"/>
                  <a:gd name="T80" fmla="*/ 19 w 1649"/>
                  <a:gd name="T81" fmla="*/ 22 h 2568"/>
                  <a:gd name="T82" fmla="*/ 14 w 1649"/>
                  <a:gd name="T83" fmla="*/ 34 h 2568"/>
                  <a:gd name="T84" fmla="*/ 0 w 1649"/>
                  <a:gd name="T85" fmla="*/ 44 h 25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49" h="2568">
                    <a:moveTo>
                      <a:pt x="0" y="234"/>
                    </a:moveTo>
                    <a:lnTo>
                      <a:pt x="99" y="506"/>
                    </a:lnTo>
                    <a:lnTo>
                      <a:pt x="95" y="741"/>
                    </a:lnTo>
                    <a:lnTo>
                      <a:pt x="141" y="1116"/>
                    </a:lnTo>
                    <a:lnTo>
                      <a:pt x="185" y="1721"/>
                    </a:lnTo>
                    <a:lnTo>
                      <a:pt x="255" y="2280"/>
                    </a:lnTo>
                    <a:lnTo>
                      <a:pt x="243" y="2483"/>
                    </a:lnTo>
                    <a:lnTo>
                      <a:pt x="216" y="2544"/>
                    </a:lnTo>
                    <a:lnTo>
                      <a:pt x="379" y="2472"/>
                    </a:lnTo>
                    <a:lnTo>
                      <a:pt x="409" y="2352"/>
                    </a:lnTo>
                    <a:lnTo>
                      <a:pt x="473" y="2432"/>
                    </a:lnTo>
                    <a:lnTo>
                      <a:pt x="513" y="2520"/>
                    </a:lnTo>
                    <a:lnTo>
                      <a:pt x="609" y="2568"/>
                    </a:lnTo>
                    <a:lnTo>
                      <a:pt x="649" y="2472"/>
                    </a:lnTo>
                    <a:lnTo>
                      <a:pt x="619" y="2292"/>
                    </a:lnTo>
                    <a:lnTo>
                      <a:pt x="619" y="2172"/>
                    </a:lnTo>
                    <a:lnTo>
                      <a:pt x="809" y="2128"/>
                    </a:lnTo>
                    <a:lnTo>
                      <a:pt x="945" y="2112"/>
                    </a:lnTo>
                    <a:lnTo>
                      <a:pt x="1273" y="2008"/>
                    </a:lnTo>
                    <a:lnTo>
                      <a:pt x="1609" y="1932"/>
                    </a:lnTo>
                    <a:lnTo>
                      <a:pt x="1649" y="1784"/>
                    </a:lnTo>
                    <a:lnTo>
                      <a:pt x="1609" y="1656"/>
                    </a:lnTo>
                    <a:lnTo>
                      <a:pt x="1585" y="1480"/>
                    </a:lnTo>
                    <a:lnTo>
                      <a:pt x="1569" y="1384"/>
                    </a:lnTo>
                    <a:lnTo>
                      <a:pt x="1601" y="1224"/>
                    </a:lnTo>
                    <a:lnTo>
                      <a:pt x="1545" y="1120"/>
                    </a:lnTo>
                    <a:lnTo>
                      <a:pt x="1433" y="928"/>
                    </a:lnTo>
                    <a:lnTo>
                      <a:pt x="1369" y="672"/>
                    </a:lnTo>
                    <a:lnTo>
                      <a:pt x="1257" y="272"/>
                    </a:lnTo>
                    <a:lnTo>
                      <a:pt x="1185" y="144"/>
                    </a:lnTo>
                    <a:lnTo>
                      <a:pt x="1209" y="0"/>
                    </a:lnTo>
                    <a:lnTo>
                      <a:pt x="1029" y="5"/>
                    </a:lnTo>
                    <a:lnTo>
                      <a:pt x="839" y="71"/>
                    </a:lnTo>
                    <a:lnTo>
                      <a:pt x="696" y="90"/>
                    </a:lnTo>
                    <a:lnTo>
                      <a:pt x="489" y="149"/>
                    </a:lnTo>
                    <a:lnTo>
                      <a:pt x="356" y="174"/>
                    </a:lnTo>
                    <a:lnTo>
                      <a:pt x="341" y="107"/>
                    </a:lnTo>
                    <a:lnTo>
                      <a:pt x="339" y="108"/>
                    </a:lnTo>
                    <a:lnTo>
                      <a:pt x="276" y="90"/>
                    </a:lnTo>
                    <a:lnTo>
                      <a:pt x="201" y="143"/>
                    </a:lnTo>
                    <a:lnTo>
                      <a:pt x="99" y="117"/>
                    </a:lnTo>
                    <a:lnTo>
                      <a:pt x="72" y="177"/>
                    </a:lnTo>
                    <a:lnTo>
                      <a:pt x="0" y="234"/>
                    </a:lnTo>
                    <a:close/>
                  </a:path>
                </a:pathLst>
              </a:custGeom>
              <a:solidFill>
                <a:schemeClr val="accent4">
                  <a:lumMod val="40000"/>
                  <a:lumOff val="60000"/>
                </a:schemeClr>
              </a:solidFill>
              <a:ln w="6350" cmpd="sng">
                <a:solidFill>
                  <a:schemeClr val="bg1"/>
                </a:solidFill>
                <a:prstDash val="solid"/>
                <a:round/>
                <a:headEnd/>
                <a:tailEn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Text" lastClr="000000"/>
                  </a:solidFill>
                  <a:effectLst/>
                  <a:uLnTx/>
                  <a:uFillTx/>
                  <a:latin typeface="Segoe UI Semibold"/>
                  <a:ea typeface="+mn-ea"/>
                  <a:cs typeface="+mn-cs"/>
                </a:endParaRPr>
              </a:p>
            </p:txBody>
          </p:sp>
        </p:grpSp>
        <p:grpSp>
          <p:nvGrpSpPr>
            <p:cNvPr id="1041" name="State Abbreviations">
              <a:extLst>
                <a:ext uri="{FF2B5EF4-FFF2-40B4-BE49-F238E27FC236}">
                  <a16:creationId xmlns:a16="http://schemas.microsoft.com/office/drawing/2014/main" id="{FA4FD75E-C37A-5380-C522-D9FF41D0861D}"/>
                </a:ext>
              </a:extLst>
            </p:cNvPr>
            <p:cNvGrpSpPr/>
            <p:nvPr/>
          </p:nvGrpSpPr>
          <p:grpSpPr>
            <a:xfrm>
              <a:off x="3156623" y="1563202"/>
              <a:ext cx="6795181" cy="3856487"/>
              <a:chOff x="1311242" y="1561331"/>
              <a:chExt cx="6795181" cy="3856487"/>
            </a:xfrm>
          </p:grpSpPr>
          <p:sp>
            <p:nvSpPr>
              <p:cNvPr id="1057" name="Wyoming">
                <a:extLst>
                  <a:ext uri="{FF2B5EF4-FFF2-40B4-BE49-F238E27FC236}">
                    <a16:creationId xmlns:a16="http://schemas.microsoft.com/office/drawing/2014/main" id="{70D963E3-318A-CE2F-090E-A22BF3423053}"/>
                  </a:ext>
                </a:extLst>
              </p:cNvPr>
              <p:cNvSpPr>
                <a:spLocks noChangeArrowheads="1"/>
              </p:cNvSpPr>
              <p:nvPr/>
            </p:nvSpPr>
            <p:spPr bwMode="auto">
              <a:xfrm>
                <a:off x="3539104" y="2579688"/>
                <a:ext cx="34970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WY</a:t>
                </a:r>
              </a:p>
            </p:txBody>
          </p:sp>
          <p:sp>
            <p:nvSpPr>
              <p:cNvPr id="1058" name="Wisconsin">
                <a:extLst>
                  <a:ext uri="{FF2B5EF4-FFF2-40B4-BE49-F238E27FC236}">
                    <a16:creationId xmlns:a16="http://schemas.microsoft.com/office/drawing/2014/main" id="{4DC89026-029A-1D48-F17A-CCB8B47F19E5}"/>
                  </a:ext>
                </a:extLst>
              </p:cNvPr>
              <p:cNvSpPr>
                <a:spLocks noChangeArrowheads="1"/>
              </p:cNvSpPr>
              <p:nvPr/>
            </p:nvSpPr>
            <p:spPr bwMode="auto">
              <a:xfrm>
                <a:off x="5484686" y="2363788"/>
                <a:ext cx="32886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WI</a:t>
                </a:r>
              </a:p>
            </p:txBody>
          </p:sp>
          <p:sp>
            <p:nvSpPr>
              <p:cNvPr id="1059" name="West Virginia">
                <a:extLst>
                  <a:ext uri="{FF2B5EF4-FFF2-40B4-BE49-F238E27FC236}">
                    <a16:creationId xmlns:a16="http://schemas.microsoft.com/office/drawing/2014/main" id="{A237B612-2031-5C62-DADF-0BB1777EA42A}"/>
                  </a:ext>
                </a:extLst>
              </p:cNvPr>
              <p:cNvSpPr>
                <a:spLocks noChangeArrowheads="1"/>
              </p:cNvSpPr>
              <p:nvPr/>
            </p:nvSpPr>
            <p:spPr bwMode="auto">
              <a:xfrm>
                <a:off x="6695688" y="2991447"/>
                <a:ext cx="35611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WV</a:t>
                </a:r>
              </a:p>
            </p:txBody>
          </p:sp>
          <p:sp>
            <p:nvSpPr>
              <p:cNvPr id="1060" name="Washington">
                <a:extLst>
                  <a:ext uri="{FF2B5EF4-FFF2-40B4-BE49-F238E27FC236}">
                    <a16:creationId xmlns:a16="http://schemas.microsoft.com/office/drawing/2014/main" id="{0D11DA88-51BE-40FB-85CE-75F20DF109F2}"/>
                  </a:ext>
                </a:extLst>
              </p:cNvPr>
              <p:cNvSpPr>
                <a:spLocks noChangeArrowheads="1"/>
              </p:cNvSpPr>
              <p:nvPr/>
            </p:nvSpPr>
            <p:spPr bwMode="auto">
              <a:xfrm>
                <a:off x="2244451" y="1735138"/>
                <a:ext cx="35932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A</a:t>
                </a:r>
              </a:p>
            </p:txBody>
          </p:sp>
          <p:sp>
            <p:nvSpPr>
              <p:cNvPr id="1061" name="Virginia">
                <a:extLst>
                  <a:ext uri="{FF2B5EF4-FFF2-40B4-BE49-F238E27FC236}">
                    <a16:creationId xmlns:a16="http://schemas.microsoft.com/office/drawing/2014/main" id="{668070AD-8E46-5A34-408C-5B919E4EC6EC}"/>
                  </a:ext>
                </a:extLst>
              </p:cNvPr>
              <p:cNvSpPr>
                <a:spLocks noChangeArrowheads="1"/>
              </p:cNvSpPr>
              <p:nvPr/>
            </p:nvSpPr>
            <p:spPr bwMode="auto">
              <a:xfrm>
                <a:off x="7036747" y="3028704"/>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VA</a:t>
                </a:r>
              </a:p>
            </p:txBody>
          </p:sp>
          <p:sp>
            <p:nvSpPr>
              <p:cNvPr id="1062" name="Vermont">
                <a:extLst>
                  <a:ext uri="{FF2B5EF4-FFF2-40B4-BE49-F238E27FC236}">
                    <a16:creationId xmlns:a16="http://schemas.microsoft.com/office/drawing/2014/main" id="{92E030E8-ABE1-297D-90A6-52B4C4DF6FB4}"/>
                  </a:ext>
                </a:extLst>
              </p:cNvPr>
              <p:cNvSpPr>
                <a:spLocks noChangeArrowheads="1"/>
              </p:cNvSpPr>
              <p:nvPr/>
            </p:nvSpPr>
            <p:spPr bwMode="auto">
              <a:xfrm>
                <a:off x="7372826" y="183692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VT</a:t>
                </a:r>
              </a:p>
            </p:txBody>
          </p:sp>
          <p:sp>
            <p:nvSpPr>
              <p:cNvPr id="1063" name="Utah">
                <a:extLst>
                  <a:ext uri="{FF2B5EF4-FFF2-40B4-BE49-F238E27FC236}">
                    <a16:creationId xmlns:a16="http://schemas.microsoft.com/office/drawing/2014/main" id="{48E4A42B-583C-F464-3BDB-1F924735C9FC}"/>
                  </a:ext>
                </a:extLst>
              </p:cNvPr>
              <p:cNvSpPr>
                <a:spLocks noChangeArrowheads="1"/>
              </p:cNvSpPr>
              <p:nvPr/>
            </p:nvSpPr>
            <p:spPr bwMode="auto">
              <a:xfrm>
                <a:off x="3032839" y="3155950"/>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UT</a:t>
                </a:r>
              </a:p>
            </p:txBody>
          </p:sp>
          <p:sp>
            <p:nvSpPr>
              <p:cNvPr id="1064" name="Texas">
                <a:extLst>
                  <a:ext uri="{FF2B5EF4-FFF2-40B4-BE49-F238E27FC236}">
                    <a16:creationId xmlns:a16="http://schemas.microsoft.com/office/drawing/2014/main" id="{A5C9C900-7E41-CEBA-7E53-4752716A0388}"/>
                  </a:ext>
                </a:extLst>
              </p:cNvPr>
              <p:cNvSpPr>
                <a:spLocks noChangeArrowheads="1"/>
              </p:cNvSpPr>
              <p:nvPr/>
            </p:nvSpPr>
            <p:spPr bwMode="auto">
              <a:xfrm>
                <a:off x="4479938" y="4379913"/>
                <a:ext cx="30001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TX</a:t>
                </a:r>
              </a:p>
            </p:txBody>
          </p:sp>
          <p:sp>
            <p:nvSpPr>
              <p:cNvPr id="1065" name="Tennessee">
                <a:extLst>
                  <a:ext uri="{FF2B5EF4-FFF2-40B4-BE49-F238E27FC236}">
                    <a16:creationId xmlns:a16="http://schemas.microsoft.com/office/drawing/2014/main" id="{34A0F9C5-4722-0AB1-7F9D-E9C465E1EFD7}"/>
                  </a:ext>
                </a:extLst>
              </p:cNvPr>
              <p:cNvSpPr>
                <a:spLocks noChangeArrowheads="1"/>
              </p:cNvSpPr>
              <p:nvPr/>
            </p:nvSpPr>
            <p:spPr bwMode="auto">
              <a:xfrm>
                <a:off x="6056209" y="3587750"/>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TN</a:t>
                </a:r>
              </a:p>
            </p:txBody>
          </p:sp>
          <p:sp>
            <p:nvSpPr>
              <p:cNvPr id="1066" name="South Dakota">
                <a:extLst>
                  <a:ext uri="{FF2B5EF4-FFF2-40B4-BE49-F238E27FC236}">
                    <a16:creationId xmlns:a16="http://schemas.microsoft.com/office/drawing/2014/main" id="{760F4D37-714E-F05E-8B48-E64F32C4F584}"/>
                  </a:ext>
                </a:extLst>
              </p:cNvPr>
              <p:cNvSpPr>
                <a:spLocks noChangeArrowheads="1"/>
              </p:cNvSpPr>
              <p:nvPr/>
            </p:nvSpPr>
            <p:spPr bwMode="auto">
              <a:xfrm>
                <a:off x="4352904" y="2490652"/>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D</a:t>
                </a:r>
              </a:p>
            </p:txBody>
          </p:sp>
          <p:sp>
            <p:nvSpPr>
              <p:cNvPr id="1067" name="South Carolina">
                <a:extLst>
                  <a:ext uri="{FF2B5EF4-FFF2-40B4-BE49-F238E27FC236}">
                    <a16:creationId xmlns:a16="http://schemas.microsoft.com/office/drawing/2014/main" id="{099C0E7A-5401-F4F1-F15B-70E153BAB303}"/>
                  </a:ext>
                </a:extLst>
              </p:cNvPr>
              <p:cNvSpPr>
                <a:spLocks noChangeArrowheads="1"/>
              </p:cNvSpPr>
              <p:nvPr/>
            </p:nvSpPr>
            <p:spPr bwMode="auto">
              <a:xfrm>
                <a:off x="6840538" y="3659188"/>
                <a:ext cx="325438"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SC</a:t>
                </a:r>
              </a:p>
            </p:txBody>
          </p:sp>
          <p:sp>
            <p:nvSpPr>
              <p:cNvPr id="1068" name="Rhode Island">
                <a:extLst>
                  <a:ext uri="{FF2B5EF4-FFF2-40B4-BE49-F238E27FC236}">
                    <a16:creationId xmlns:a16="http://schemas.microsoft.com/office/drawing/2014/main" id="{89633B5D-9059-364A-3450-BC92F00100D6}"/>
                  </a:ext>
                </a:extLst>
              </p:cNvPr>
              <p:cNvSpPr>
                <a:spLocks noChangeArrowheads="1"/>
              </p:cNvSpPr>
              <p:nvPr/>
            </p:nvSpPr>
            <p:spPr bwMode="auto">
              <a:xfrm>
                <a:off x="7833663" y="2301875"/>
                <a:ext cx="2727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I</a:t>
                </a:r>
              </a:p>
            </p:txBody>
          </p:sp>
          <p:sp>
            <p:nvSpPr>
              <p:cNvPr id="1069" name="Pennsylvania">
                <a:extLst>
                  <a:ext uri="{FF2B5EF4-FFF2-40B4-BE49-F238E27FC236}">
                    <a16:creationId xmlns:a16="http://schemas.microsoft.com/office/drawing/2014/main" id="{81859C1D-5F63-071C-D4B1-E4C2D8448FE6}"/>
                  </a:ext>
                </a:extLst>
              </p:cNvPr>
              <p:cNvSpPr>
                <a:spLocks noChangeArrowheads="1"/>
              </p:cNvSpPr>
              <p:nvPr/>
            </p:nvSpPr>
            <p:spPr bwMode="auto">
              <a:xfrm>
                <a:off x="6979914" y="2527085"/>
                <a:ext cx="31764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PA</a:t>
                </a:r>
              </a:p>
            </p:txBody>
          </p:sp>
          <p:sp>
            <p:nvSpPr>
              <p:cNvPr id="1070" name="Oregon">
                <a:extLst>
                  <a:ext uri="{FF2B5EF4-FFF2-40B4-BE49-F238E27FC236}">
                    <a16:creationId xmlns:a16="http://schemas.microsoft.com/office/drawing/2014/main" id="{C546215A-CF0E-227A-A811-1219CA2FD9ED}"/>
                  </a:ext>
                </a:extLst>
              </p:cNvPr>
              <p:cNvSpPr>
                <a:spLocks noChangeArrowheads="1"/>
              </p:cNvSpPr>
              <p:nvPr/>
            </p:nvSpPr>
            <p:spPr bwMode="auto">
              <a:xfrm>
                <a:off x="2096953" y="2219325"/>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OR</a:t>
                </a:r>
              </a:p>
            </p:txBody>
          </p:sp>
          <p:sp>
            <p:nvSpPr>
              <p:cNvPr id="1071" name="Oklahoma">
                <a:extLst>
                  <a:ext uri="{FF2B5EF4-FFF2-40B4-BE49-F238E27FC236}">
                    <a16:creationId xmlns:a16="http://schemas.microsoft.com/office/drawing/2014/main" id="{BBC0A6C7-96CD-F538-777A-D7D7321C54E8}"/>
                  </a:ext>
                </a:extLst>
              </p:cNvPr>
              <p:cNvSpPr>
                <a:spLocks noChangeArrowheads="1"/>
              </p:cNvSpPr>
              <p:nvPr/>
            </p:nvSpPr>
            <p:spPr bwMode="auto">
              <a:xfrm>
                <a:off x="4759985" y="3803650"/>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OK</a:t>
                </a:r>
              </a:p>
            </p:txBody>
          </p:sp>
          <p:sp>
            <p:nvSpPr>
              <p:cNvPr id="1072" name="Ohio">
                <a:extLst>
                  <a:ext uri="{FF2B5EF4-FFF2-40B4-BE49-F238E27FC236}">
                    <a16:creationId xmlns:a16="http://schemas.microsoft.com/office/drawing/2014/main" id="{0A42C90A-A7DC-290B-4128-D9C88CE6DDDD}"/>
                  </a:ext>
                </a:extLst>
              </p:cNvPr>
              <p:cNvSpPr>
                <a:spLocks noChangeArrowheads="1"/>
              </p:cNvSpPr>
              <p:nvPr/>
            </p:nvSpPr>
            <p:spPr bwMode="auto">
              <a:xfrm>
                <a:off x="6342668" y="2795588"/>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OH</a:t>
                </a:r>
              </a:p>
            </p:txBody>
          </p:sp>
          <p:sp>
            <p:nvSpPr>
              <p:cNvPr id="1073" name="North Dakota">
                <a:extLst>
                  <a:ext uri="{FF2B5EF4-FFF2-40B4-BE49-F238E27FC236}">
                    <a16:creationId xmlns:a16="http://schemas.microsoft.com/office/drawing/2014/main" id="{40EFC0A4-90CF-173C-BB02-31D14A392226}"/>
                  </a:ext>
                </a:extLst>
              </p:cNvPr>
              <p:cNvSpPr>
                <a:spLocks noChangeArrowheads="1"/>
              </p:cNvSpPr>
              <p:nvPr/>
            </p:nvSpPr>
            <p:spPr bwMode="auto">
              <a:xfrm>
                <a:off x="4323407" y="2003425"/>
                <a:ext cx="33367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D</a:t>
                </a:r>
              </a:p>
            </p:txBody>
          </p:sp>
          <p:sp>
            <p:nvSpPr>
              <p:cNvPr id="1074" name="North Carolina">
                <a:extLst>
                  <a:ext uri="{FF2B5EF4-FFF2-40B4-BE49-F238E27FC236}">
                    <a16:creationId xmlns:a16="http://schemas.microsoft.com/office/drawing/2014/main" id="{3EACC5E0-0B82-B9D0-ECFA-3D9C678D07CD}"/>
                  </a:ext>
                </a:extLst>
              </p:cNvPr>
              <p:cNvSpPr>
                <a:spLocks noChangeArrowheads="1"/>
              </p:cNvSpPr>
              <p:nvPr/>
            </p:nvSpPr>
            <p:spPr bwMode="auto">
              <a:xfrm>
                <a:off x="6983413" y="3371850"/>
                <a:ext cx="3429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NC</a:t>
                </a:r>
              </a:p>
            </p:txBody>
          </p:sp>
          <p:sp>
            <p:nvSpPr>
              <p:cNvPr id="1075" name="New York">
                <a:extLst>
                  <a:ext uri="{FF2B5EF4-FFF2-40B4-BE49-F238E27FC236}">
                    <a16:creationId xmlns:a16="http://schemas.microsoft.com/office/drawing/2014/main" id="{D0778862-EFDA-B55F-37E7-233387A3C0EF}"/>
                  </a:ext>
                </a:extLst>
              </p:cNvPr>
              <p:cNvSpPr>
                <a:spLocks noChangeArrowheads="1"/>
              </p:cNvSpPr>
              <p:nvPr/>
            </p:nvSpPr>
            <p:spPr bwMode="auto">
              <a:xfrm>
                <a:off x="7175373" y="2139822"/>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NY</a:t>
                </a:r>
              </a:p>
            </p:txBody>
          </p:sp>
          <p:sp>
            <p:nvSpPr>
              <p:cNvPr id="1076" name="New Mexico">
                <a:extLst>
                  <a:ext uri="{FF2B5EF4-FFF2-40B4-BE49-F238E27FC236}">
                    <a16:creationId xmlns:a16="http://schemas.microsoft.com/office/drawing/2014/main" id="{405E548F-3FD4-7B53-054C-0C93C91AF71D}"/>
                  </a:ext>
                </a:extLst>
              </p:cNvPr>
              <p:cNvSpPr>
                <a:spLocks noChangeArrowheads="1"/>
              </p:cNvSpPr>
              <p:nvPr/>
            </p:nvSpPr>
            <p:spPr bwMode="auto">
              <a:xfrm>
                <a:off x="3600450" y="3876675"/>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M</a:t>
                </a:r>
              </a:p>
            </p:txBody>
          </p:sp>
          <p:sp>
            <p:nvSpPr>
              <p:cNvPr id="1077" name="New Jersey">
                <a:extLst>
                  <a:ext uri="{FF2B5EF4-FFF2-40B4-BE49-F238E27FC236}">
                    <a16:creationId xmlns:a16="http://schemas.microsoft.com/office/drawing/2014/main" id="{03FF8D0A-279D-D2D4-D310-30743991D31F}"/>
                  </a:ext>
                </a:extLst>
              </p:cNvPr>
              <p:cNvSpPr>
                <a:spLocks noChangeArrowheads="1"/>
              </p:cNvSpPr>
              <p:nvPr/>
            </p:nvSpPr>
            <p:spPr bwMode="auto">
              <a:xfrm>
                <a:off x="7384740" y="2530870"/>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J</a:t>
                </a:r>
              </a:p>
            </p:txBody>
          </p:sp>
          <p:sp>
            <p:nvSpPr>
              <p:cNvPr id="1078" name="New Hampshire">
                <a:extLst>
                  <a:ext uri="{FF2B5EF4-FFF2-40B4-BE49-F238E27FC236}">
                    <a16:creationId xmlns:a16="http://schemas.microsoft.com/office/drawing/2014/main" id="{B2F0FA21-6E89-8F4D-1A6D-A7BD226F304D}"/>
                  </a:ext>
                </a:extLst>
              </p:cNvPr>
              <p:cNvSpPr>
                <a:spLocks noChangeArrowheads="1"/>
              </p:cNvSpPr>
              <p:nvPr/>
            </p:nvSpPr>
            <p:spPr bwMode="auto">
              <a:xfrm>
                <a:off x="7512652" y="1945961"/>
                <a:ext cx="33367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H</a:t>
                </a:r>
              </a:p>
            </p:txBody>
          </p:sp>
          <p:sp>
            <p:nvSpPr>
              <p:cNvPr id="1079" name="Nevada">
                <a:extLst>
                  <a:ext uri="{FF2B5EF4-FFF2-40B4-BE49-F238E27FC236}">
                    <a16:creationId xmlns:a16="http://schemas.microsoft.com/office/drawing/2014/main" id="{A3748C33-CAC7-869D-9B07-91ED60103237}"/>
                  </a:ext>
                </a:extLst>
              </p:cNvPr>
              <p:cNvSpPr>
                <a:spLocks noChangeArrowheads="1"/>
              </p:cNvSpPr>
              <p:nvPr/>
            </p:nvSpPr>
            <p:spPr bwMode="auto">
              <a:xfrm>
                <a:off x="2385901" y="3011488"/>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NV</a:t>
                </a:r>
              </a:p>
            </p:txBody>
          </p:sp>
          <p:sp>
            <p:nvSpPr>
              <p:cNvPr id="1080" name="Nebraska">
                <a:extLst>
                  <a:ext uri="{FF2B5EF4-FFF2-40B4-BE49-F238E27FC236}">
                    <a16:creationId xmlns:a16="http://schemas.microsoft.com/office/drawing/2014/main" id="{B5FF1933-CCBF-36C7-50AE-325E29AB9D8A}"/>
                  </a:ext>
                </a:extLst>
              </p:cNvPr>
              <p:cNvSpPr>
                <a:spLocks noChangeArrowheads="1"/>
              </p:cNvSpPr>
              <p:nvPr/>
            </p:nvSpPr>
            <p:spPr bwMode="auto">
              <a:xfrm>
                <a:off x="4400462" y="2867025"/>
                <a:ext cx="320851" cy="215409"/>
              </a:xfrm>
              <a:prstGeom prst="rect">
                <a:avLst/>
              </a:prstGeom>
              <a:noFill/>
              <a:ln>
                <a:noFill/>
              </a:ln>
              <a:effectLst/>
              <a:extLs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NE</a:t>
                </a:r>
              </a:p>
            </p:txBody>
          </p:sp>
          <p:sp>
            <p:nvSpPr>
              <p:cNvPr id="1081" name="Montana">
                <a:extLst>
                  <a:ext uri="{FF2B5EF4-FFF2-40B4-BE49-F238E27FC236}">
                    <a16:creationId xmlns:a16="http://schemas.microsoft.com/office/drawing/2014/main" id="{6315ABFB-F80E-A77B-83C1-657A1DDD2A02}"/>
                  </a:ext>
                </a:extLst>
              </p:cNvPr>
              <p:cNvSpPr>
                <a:spLocks noChangeArrowheads="1"/>
              </p:cNvSpPr>
              <p:nvPr/>
            </p:nvSpPr>
            <p:spPr bwMode="auto">
              <a:xfrm>
                <a:off x="3321710" y="2003425"/>
                <a:ext cx="33046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T</a:t>
                </a:r>
              </a:p>
            </p:txBody>
          </p:sp>
          <p:sp>
            <p:nvSpPr>
              <p:cNvPr id="1082" name="Missouri">
                <a:extLst>
                  <a:ext uri="{FF2B5EF4-FFF2-40B4-BE49-F238E27FC236}">
                    <a16:creationId xmlns:a16="http://schemas.microsoft.com/office/drawing/2014/main" id="{6B1DEC7C-B71E-1812-017A-75A8E05C2AFB}"/>
                  </a:ext>
                </a:extLst>
              </p:cNvPr>
              <p:cNvSpPr>
                <a:spLocks noChangeArrowheads="1"/>
              </p:cNvSpPr>
              <p:nvPr/>
            </p:nvSpPr>
            <p:spPr bwMode="auto">
              <a:xfrm>
                <a:off x="5256213" y="3300413"/>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O</a:t>
                </a:r>
              </a:p>
            </p:txBody>
          </p:sp>
          <p:sp>
            <p:nvSpPr>
              <p:cNvPr id="1083" name="Mississippi">
                <a:extLst>
                  <a:ext uri="{FF2B5EF4-FFF2-40B4-BE49-F238E27FC236}">
                    <a16:creationId xmlns:a16="http://schemas.microsoft.com/office/drawing/2014/main" id="{4FDDA995-3A81-3BF6-92C7-B034994EFAC9}"/>
                  </a:ext>
                </a:extLst>
              </p:cNvPr>
              <p:cNvSpPr>
                <a:spLocks noChangeArrowheads="1"/>
              </p:cNvSpPr>
              <p:nvPr/>
            </p:nvSpPr>
            <p:spPr bwMode="auto">
              <a:xfrm>
                <a:off x="5759450" y="4092575"/>
                <a:ext cx="3524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Verdana" pitchFamily="34" charset="0"/>
                    <a:ea typeface="+mn-ea"/>
                    <a:cs typeface="+mn-cs"/>
                  </a:rPr>
                  <a:t>MS</a:t>
                </a:r>
              </a:p>
            </p:txBody>
          </p:sp>
          <p:sp>
            <p:nvSpPr>
              <p:cNvPr id="1084" name="Minnesota">
                <a:extLst>
                  <a:ext uri="{FF2B5EF4-FFF2-40B4-BE49-F238E27FC236}">
                    <a16:creationId xmlns:a16="http://schemas.microsoft.com/office/drawing/2014/main" id="{2528B1DA-80BD-9130-FD85-42C98ED4FD62}"/>
                  </a:ext>
                </a:extLst>
              </p:cNvPr>
              <p:cNvSpPr>
                <a:spLocks noChangeArrowheads="1"/>
              </p:cNvSpPr>
              <p:nvPr/>
            </p:nvSpPr>
            <p:spPr bwMode="auto">
              <a:xfrm>
                <a:off x="4914900" y="2147888"/>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N</a:t>
                </a:r>
              </a:p>
            </p:txBody>
          </p:sp>
          <p:sp>
            <p:nvSpPr>
              <p:cNvPr id="1085" name="Michigan">
                <a:extLst>
                  <a:ext uri="{FF2B5EF4-FFF2-40B4-BE49-F238E27FC236}">
                    <a16:creationId xmlns:a16="http://schemas.microsoft.com/office/drawing/2014/main" id="{7E7E49A5-7998-76E7-1D79-C1F7A4A6ED27}"/>
                  </a:ext>
                </a:extLst>
              </p:cNvPr>
              <p:cNvSpPr>
                <a:spLocks noChangeArrowheads="1"/>
              </p:cNvSpPr>
              <p:nvPr/>
            </p:nvSpPr>
            <p:spPr bwMode="auto">
              <a:xfrm>
                <a:off x="6078481" y="2425700"/>
                <a:ext cx="31443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MI</a:t>
                </a:r>
              </a:p>
            </p:txBody>
          </p:sp>
          <p:sp>
            <p:nvSpPr>
              <p:cNvPr id="1086" name="Massachusetts">
                <a:extLst>
                  <a:ext uri="{FF2B5EF4-FFF2-40B4-BE49-F238E27FC236}">
                    <a16:creationId xmlns:a16="http://schemas.microsoft.com/office/drawing/2014/main" id="{1D825060-DED7-9DA9-1AB5-383760B65A77}"/>
                  </a:ext>
                </a:extLst>
              </p:cNvPr>
              <p:cNvSpPr>
                <a:spLocks noChangeArrowheads="1"/>
              </p:cNvSpPr>
              <p:nvPr/>
            </p:nvSpPr>
            <p:spPr bwMode="auto">
              <a:xfrm>
                <a:off x="7737286" y="1941513"/>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a:t>
                </a:r>
              </a:p>
            </p:txBody>
          </p:sp>
          <p:sp>
            <p:nvSpPr>
              <p:cNvPr id="1087" name="Maryland">
                <a:extLst>
                  <a:ext uri="{FF2B5EF4-FFF2-40B4-BE49-F238E27FC236}">
                    <a16:creationId xmlns:a16="http://schemas.microsoft.com/office/drawing/2014/main" id="{43D3EB4A-2DAB-6273-E35A-B27C101C606A}"/>
                  </a:ext>
                </a:extLst>
              </p:cNvPr>
              <p:cNvSpPr>
                <a:spLocks noChangeArrowheads="1"/>
              </p:cNvSpPr>
              <p:nvPr/>
            </p:nvSpPr>
            <p:spPr bwMode="auto">
              <a:xfrm>
                <a:off x="7679047" y="2873274"/>
                <a:ext cx="34810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D</a:t>
                </a:r>
              </a:p>
            </p:txBody>
          </p:sp>
          <p:sp>
            <p:nvSpPr>
              <p:cNvPr id="1152" name="Maine">
                <a:extLst>
                  <a:ext uri="{FF2B5EF4-FFF2-40B4-BE49-F238E27FC236}">
                    <a16:creationId xmlns:a16="http://schemas.microsoft.com/office/drawing/2014/main" id="{99E39783-0F12-DB24-F865-477E47C167E6}"/>
                  </a:ext>
                </a:extLst>
              </p:cNvPr>
              <p:cNvSpPr>
                <a:spLocks noChangeArrowheads="1"/>
              </p:cNvSpPr>
              <p:nvPr/>
            </p:nvSpPr>
            <p:spPr bwMode="auto">
              <a:xfrm>
                <a:off x="7648085" y="1561331"/>
                <a:ext cx="33527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ME</a:t>
                </a:r>
              </a:p>
            </p:txBody>
          </p:sp>
          <p:sp>
            <p:nvSpPr>
              <p:cNvPr id="1153" name="Lousiana">
                <a:extLst>
                  <a:ext uri="{FF2B5EF4-FFF2-40B4-BE49-F238E27FC236}">
                    <a16:creationId xmlns:a16="http://schemas.microsoft.com/office/drawing/2014/main" id="{FC46B77B-E5A1-8910-8DE6-397E26CD10FB}"/>
                  </a:ext>
                </a:extLst>
              </p:cNvPr>
              <p:cNvSpPr>
                <a:spLocks noChangeArrowheads="1"/>
              </p:cNvSpPr>
              <p:nvPr/>
            </p:nvSpPr>
            <p:spPr bwMode="auto">
              <a:xfrm>
                <a:off x="5400627" y="4379913"/>
                <a:ext cx="31283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Verdana" pitchFamily="34" charset="0"/>
                    <a:ea typeface="+mn-ea"/>
                    <a:cs typeface="+mn-cs"/>
                  </a:rPr>
                  <a:t>LA</a:t>
                </a:r>
              </a:p>
            </p:txBody>
          </p:sp>
          <p:sp>
            <p:nvSpPr>
              <p:cNvPr id="1154" name="Kentucky">
                <a:extLst>
                  <a:ext uri="{FF2B5EF4-FFF2-40B4-BE49-F238E27FC236}">
                    <a16:creationId xmlns:a16="http://schemas.microsoft.com/office/drawing/2014/main" id="{D2D346A6-1D89-D10D-1DB9-2CC614A54FE0}"/>
                  </a:ext>
                </a:extLst>
              </p:cNvPr>
              <p:cNvSpPr>
                <a:spLocks noChangeArrowheads="1"/>
              </p:cNvSpPr>
              <p:nvPr/>
            </p:nvSpPr>
            <p:spPr bwMode="auto">
              <a:xfrm>
                <a:off x="6287029" y="3234249"/>
                <a:ext cx="31764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KY</a:t>
                </a:r>
              </a:p>
            </p:txBody>
          </p:sp>
          <p:sp>
            <p:nvSpPr>
              <p:cNvPr id="1155" name="Kansas">
                <a:extLst>
                  <a:ext uri="{FF2B5EF4-FFF2-40B4-BE49-F238E27FC236}">
                    <a16:creationId xmlns:a16="http://schemas.microsoft.com/office/drawing/2014/main" id="{81B95A35-FD99-B648-72E2-5B48C60D838B}"/>
                  </a:ext>
                </a:extLst>
              </p:cNvPr>
              <p:cNvSpPr>
                <a:spLocks noChangeArrowheads="1"/>
              </p:cNvSpPr>
              <p:nvPr/>
            </p:nvSpPr>
            <p:spPr bwMode="auto">
              <a:xfrm>
                <a:off x="4547361" y="33004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KS</a:t>
                </a:r>
              </a:p>
            </p:txBody>
          </p:sp>
          <p:sp>
            <p:nvSpPr>
              <p:cNvPr id="1156" name="Iowa">
                <a:extLst>
                  <a:ext uri="{FF2B5EF4-FFF2-40B4-BE49-F238E27FC236}">
                    <a16:creationId xmlns:a16="http://schemas.microsoft.com/office/drawing/2014/main" id="{BD70A9A1-2AB6-4EFE-EF65-ED4245A88EDC}"/>
                  </a:ext>
                </a:extLst>
              </p:cNvPr>
              <p:cNvSpPr>
                <a:spLocks noChangeArrowheads="1"/>
              </p:cNvSpPr>
              <p:nvPr/>
            </p:nvSpPr>
            <p:spPr bwMode="auto">
              <a:xfrm>
                <a:off x="5132509" y="2743200"/>
                <a:ext cx="2775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A</a:t>
                </a:r>
              </a:p>
            </p:txBody>
          </p:sp>
          <p:sp>
            <p:nvSpPr>
              <p:cNvPr id="1157" name="Indiana">
                <a:extLst>
                  <a:ext uri="{FF2B5EF4-FFF2-40B4-BE49-F238E27FC236}">
                    <a16:creationId xmlns:a16="http://schemas.microsoft.com/office/drawing/2014/main" id="{20588B9B-4275-A5E2-DA91-29214BE6913F}"/>
                  </a:ext>
                </a:extLst>
              </p:cNvPr>
              <p:cNvSpPr>
                <a:spLocks noChangeArrowheads="1"/>
              </p:cNvSpPr>
              <p:nvPr/>
            </p:nvSpPr>
            <p:spPr bwMode="auto">
              <a:xfrm>
                <a:off x="6036490" y="292100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N</a:t>
                </a:r>
              </a:p>
            </p:txBody>
          </p:sp>
          <p:sp>
            <p:nvSpPr>
              <p:cNvPr id="1158" name="Illinois">
                <a:extLst>
                  <a:ext uri="{FF2B5EF4-FFF2-40B4-BE49-F238E27FC236}">
                    <a16:creationId xmlns:a16="http://schemas.microsoft.com/office/drawing/2014/main" id="{F66969A6-D825-CB09-95EE-939134839FF3}"/>
                  </a:ext>
                </a:extLst>
              </p:cNvPr>
              <p:cNvSpPr>
                <a:spLocks noChangeArrowheads="1"/>
              </p:cNvSpPr>
              <p:nvPr/>
            </p:nvSpPr>
            <p:spPr bwMode="auto">
              <a:xfrm>
                <a:off x="5705636" y="2940050"/>
                <a:ext cx="26955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IL</a:t>
                </a:r>
              </a:p>
            </p:txBody>
          </p:sp>
          <p:sp>
            <p:nvSpPr>
              <p:cNvPr id="1159" name="Idaho">
                <a:extLst>
                  <a:ext uri="{FF2B5EF4-FFF2-40B4-BE49-F238E27FC236}">
                    <a16:creationId xmlns:a16="http://schemas.microsoft.com/office/drawing/2014/main" id="{3E112304-62A4-3490-ACC1-4C2415E57296}"/>
                  </a:ext>
                </a:extLst>
              </p:cNvPr>
              <p:cNvSpPr>
                <a:spLocks noChangeArrowheads="1"/>
              </p:cNvSpPr>
              <p:nvPr/>
            </p:nvSpPr>
            <p:spPr bwMode="auto">
              <a:xfrm>
                <a:off x="2805164" y="2354263"/>
                <a:ext cx="29199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ID</a:t>
                </a:r>
              </a:p>
            </p:txBody>
          </p:sp>
          <p:sp>
            <p:nvSpPr>
              <p:cNvPr id="1162" name="Hawaii">
                <a:extLst>
                  <a:ext uri="{FF2B5EF4-FFF2-40B4-BE49-F238E27FC236}">
                    <a16:creationId xmlns:a16="http://schemas.microsoft.com/office/drawing/2014/main" id="{A6FDA98F-B3E6-372C-7F0A-021CBEF0618F}"/>
                  </a:ext>
                </a:extLst>
              </p:cNvPr>
              <p:cNvSpPr>
                <a:spLocks noChangeArrowheads="1"/>
              </p:cNvSpPr>
              <p:nvPr/>
            </p:nvSpPr>
            <p:spPr bwMode="auto">
              <a:xfrm>
                <a:off x="2885237" y="5202409"/>
                <a:ext cx="29520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HI</a:t>
                </a:r>
              </a:p>
            </p:txBody>
          </p:sp>
          <p:sp>
            <p:nvSpPr>
              <p:cNvPr id="1163" name="Georgia">
                <a:extLst>
                  <a:ext uri="{FF2B5EF4-FFF2-40B4-BE49-F238E27FC236}">
                    <a16:creationId xmlns:a16="http://schemas.microsoft.com/office/drawing/2014/main" id="{122244C6-0A38-C88E-B342-7612606BEE81}"/>
                  </a:ext>
                </a:extLst>
              </p:cNvPr>
              <p:cNvSpPr>
                <a:spLocks noChangeArrowheads="1"/>
              </p:cNvSpPr>
              <p:nvPr/>
            </p:nvSpPr>
            <p:spPr bwMode="auto">
              <a:xfrm>
                <a:off x="6480175" y="3948113"/>
                <a:ext cx="34607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GA</a:t>
                </a:r>
              </a:p>
            </p:txBody>
          </p:sp>
          <p:sp>
            <p:nvSpPr>
              <p:cNvPr id="1164" name="Florida">
                <a:extLst>
                  <a:ext uri="{FF2B5EF4-FFF2-40B4-BE49-F238E27FC236}">
                    <a16:creationId xmlns:a16="http://schemas.microsoft.com/office/drawing/2014/main" id="{C0880D6A-396B-78C3-8676-86717231A6F9}"/>
                  </a:ext>
                </a:extLst>
              </p:cNvPr>
              <p:cNvSpPr>
                <a:spLocks noChangeArrowheads="1"/>
              </p:cNvSpPr>
              <p:nvPr/>
            </p:nvSpPr>
            <p:spPr bwMode="auto">
              <a:xfrm>
                <a:off x="6847687" y="4524375"/>
                <a:ext cx="30161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Verdana" pitchFamily="34" charset="0"/>
                    <a:ea typeface="+mn-ea"/>
                    <a:cs typeface="+mn-cs"/>
                  </a:rPr>
                  <a:t>FL</a:t>
                </a:r>
              </a:p>
            </p:txBody>
          </p:sp>
          <p:sp>
            <p:nvSpPr>
              <p:cNvPr id="1165" name="Delaware">
                <a:extLst>
                  <a:ext uri="{FF2B5EF4-FFF2-40B4-BE49-F238E27FC236}">
                    <a16:creationId xmlns:a16="http://schemas.microsoft.com/office/drawing/2014/main" id="{101EA741-E174-9307-B80D-71DC87818A40}"/>
                  </a:ext>
                </a:extLst>
              </p:cNvPr>
              <p:cNvSpPr>
                <a:spLocks noChangeArrowheads="1"/>
              </p:cNvSpPr>
              <p:nvPr/>
            </p:nvSpPr>
            <p:spPr bwMode="auto">
              <a:xfrm>
                <a:off x="7545071" y="2763114"/>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DE</a:t>
                </a:r>
              </a:p>
            </p:txBody>
          </p:sp>
          <p:sp>
            <p:nvSpPr>
              <p:cNvPr id="1166" name="Connecticut">
                <a:extLst>
                  <a:ext uri="{FF2B5EF4-FFF2-40B4-BE49-F238E27FC236}">
                    <a16:creationId xmlns:a16="http://schemas.microsoft.com/office/drawing/2014/main" id="{1B19EA36-A5D0-6318-7D35-DB76EBC93406}"/>
                  </a:ext>
                </a:extLst>
              </p:cNvPr>
              <p:cNvSpPr>
                <a:spLocks noChangeArrowheads="1"/>
              </p:cNvSpPr>
              <p:nvPr/>
            </p:nvSpPr>
            <p:spPr bwMode="auto">
              <a:xfrm>
                <a:off x="7732194" y="240694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T</a:t>
                </a:r>
              </a:p>
            </p:txBody>
          </p:sp>
          <p:sp>
            <p:nvSpPr>
              <p:cNvPr id="1224" name="Colorado">
                <a:extLst>
                  <a:ext uri="{FF2B5EF4-FFF2-40B4-BE49-F238E27FC236}">
                    <a16:creationId xmlns:a16="http://schemas.microsoft.com/office/drawing/2014/main" id="{7E471F0E-B9CF-7760-1A1A-5E272E093AC1}"/>
                  </a:ext>
                </a:extLst>
              </p:cNvPr>
              <p:cNvSpPr>
                <a:spLocks noChangeArrowheads="1"/>
              </p:cNvSpPr>
              <p:nvPr/>
            </p:nvSpPr>
            <p:spPr bwMode="auto">
              <a:xfrm>
                <a:off x="3679707" y="3227388"/>
                <a:ext cx="32726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O</a:t>
                </a:r>
              </a:p>
            </p:txBody>
          </p:sp>
          <p:sp>
            <p:nvSpPr>
              <p:cNvPr id="1225" name="California">
                <a:extLst>
                  <a:ext uri="{FF2B5EF4-FFF2-40B4-BE49-F238E27FC236}">
                    <a16:creationId xmlns:a16="http://schemas.microsoft.com/office/drawing/2014/main" id="{79557017-4624-82DF-0DDB-217BF805EBF6}"/>
                  </a:ext>
                </a:extLst>
              </p:cNvPr>
              <p:cNvSpPr>
                <a:spLocks noChangeArrowheads="1"/>
              </p:cNvSpPr>
              <p:nvPr/>
            </p:nvSpPr>
            <p:spPr bwMode="auto">
              <a:xfrm>
                <a:off x="1880567" y="3254225"/>
                <a:ext cx="32085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CA</a:t>
                </a:r>
              </a:p>
            </p:txBody>
          </p:sp>
          <p:sp>
            <p:nvSpPr>
              <p:cNvPr id="1226" name="Arkansas">
                <a:extLst>
                  <a:ext uri="{FF2B5EF4-FFF2-40B4-BE49-F238E27FC236}">
                    <a16:creationId xmlns:a16="http://schemas.microsoft.com/office/drawing/2014/main" id="{ED73C203-897F-B176-135A-26D7DF57A0C6}"/>
                  </a:ext>
                </a:extLst>
              </p:cNvPr>
              <p:cNvSpPr>
                <a:spLocks noChangeArrowheads="1"/>
              </p:cNvSpPr>
              <p:nvPr/>
            </p:nvSpPr>
            <p:spPr bwMode="auto">
              <a:xfrm>
                <a:off x="5343483" y="3803650"/>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R</a:t>
                </a:r>
              </a:p>
            </p:txBody>
          </p:sp>
          <p:sp>
            <p:nvSpPr>
              <p:cNvPr id="1227" name="Arizona">
                <a:extLst>
                  <a:ext uri="{FF2B5EF4-FFF2-40B4-BE49-F238E27FC236}">
                    <a16:creationId xmlns:a16="http://schemas.microsoft.com/office/drawing/2014/main" id="{01B72AA3-A50E-F0FF-6F1C-9EFE466E2568}"/>
                  </a:ext>
                </a:extLst>
              </p:cNvPr>
              <p:cNvSpPr>
                <a:spLocks noChangeArrowheads="1"/>
              </p:cNvSpPr>
              <p:nvPr/>
            </p:nvSpPr>
            <p:spPr bwMode="auto">
              <a:xfrm>
                <a:off x="2886789" y="3876675"/>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Z</a:t>
                </a:r>
              </a:p>
            </p:txBody>
          </p:sp>
          <p:sp>
            <p:nvSpPr>
              <p:cNvPr id="1228" name="Alaska">
                <a:extLst>
                  <a:ext uri="{FF2B5EF4-FFF2-40B4-BE49-F238E27FC236}">
                    <a16:creationId xmlns:a16="http://schemas.microsoft.com/office/drawing/2014/main" id="{51B42A91-34DD-EC25-CAA2-C9D31A9DA8F0}"/>
                  </a:ext>
                </a:extLst>
              </p:cNvPr>
              <p:cNvSpPr>
                <a:spLocks noChangeArrowheads="1"/>
              </p:cNvSpPr>
              <p:nvPr/>
            </p:nvSpPr>
            <p:spPr bwMode="auto">
              <a:xfrm>
                <a:off x="1311242" y="43799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K</a:t>
                </a:r>
              </a:p>
            </p:txBody>
          </p:sp>
          <p:sp>
            <p:nvSpPr>
              <p:cNvPr id="1229" name="Alabama">
                <a:extLst>
                  <a:ext uri="{FF2B5EF4-FFF2-40B4-BE49-F238E27FC236}">
                    <a16:creationId xmlns:a16="http://schemas.microsoft.com/office/drawing/2014/main" id="{44DBF3C4-88ED-D40A-B56C-32636E464909}"/>
                  </a:ext>
                </a:extLst>
              </p:cNvPr>
              <p:cNvSpPr>
                <a:spLocks noChangeArrowheads="1"/>
              </p:cNvSpPr>
              <p:nvPr/>
            </p:nvSpPr>
            <p:spPr bwMode="auto">
              <a:xfrm>
                <a:off x="6134915" y="401955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marL="0" marR="0" lvl="0" indent="0" algn="ctr" defTabSz="4570413"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L</a:t>
                </a:r>
              </a:p>
            </p:txBody>
          </p:sp>
          <p:cxnSp>
            <p:nvCxnSpPr>
              <p:cNvPr id="1230" name="Straight Connector 1229">
                <a:extLst>
                  <a:ext uri="{FF2B5EF4-FFF2-40B4-BE49-F238E27FC236}">
                    <a16:creationId xmlns:a16="http://schemas.microsoft.com/office/drawing/2014/main" id="{F5571448-395B-8E93-25BB-A9F1824BECED}"/>
                  </a:ext>
                </a:extLst>
              </p:cNvPr>
              <p:cNvCxnSpPr/>
              <p:nvPr/>
            </p:nvCxnSpPr>
            <p:spPr>
              <a:xfrm flipH="1">
                <a:off x="7832468" y="2097228"/>
                <a:ext cx="80513" cy="1013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231" name="Straight Connector 1230">
                <a:extLst>
                  <a:ext uri="{FF2B5EF4-FFF2-40B4-BE49-F238E27FC236}">
                    <a16:creationId xmlns:a16="http://schemas.microsoft.com/office/drawing/2014/main" id="{D5854A23-E6DA-54B4-A31F-A7E5BA62337C}"/>
                  </a:ext>
                </a:extLst>
              </p:cNvPr>
              <p:cNvCxnSpPr>
                <a:cxnSpLocks/>
              </p:cNvCxnSpPr>
              <p:nvPr/>
            </p:nvCxnSpPr>
            <p:spPr>
              <a:xfrm flipH="1" flipV="1">
                <a:off x="7795844" y="2277310"/>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32" name="Straight Connector 1231">
                <a:extLst>
                  <a:ext uri="{FF2B5EF4-FFF2-40B4-BE49-F238E27FC236}">
                    <a16:creationId xmlns:a16="http://schemas.microsoft.com/office/drawing/2014/main" id="{BFE3BF2D-401D-A9E1-0F3D-2C4069D10796}"/>
                  </a:ext>
                </a:extLst>
              </p:cNvPr>
              <p:cNvCxnSpPr>
                <a:cxnSpLocks/>
              </p:cNvCxnSpPr>
              <p:nvPr/>
            </p:nvCxnSpPr>
            <p:spPr>
              <a:xfrm flipH="1" flipV="1">
                <a:off x="7736219" y="2331983"/>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33" name="Straight Connector 1232">
                <a:extLst>
                  <a:ext uri="{FF2B5EF4-FFF2-40B4-BE49-F238E27FC236}">
                    <a16:creationId xmlns:a16="http://schemas.microsoft.com/office/drawing/2014/main" id="{D9B156B6-0916-AFE4-CE4D-BD44EC4378AD}"/>
                  </a:ext>
                </a:extLst>
              </p:cNvPr>
              <p:cNvCxnSpPr>
                <a:cxnSpLocks/>
              </p:cNvCxnSpPr>
              <p:nvPr/>
            </p:nvCxnSpPr>
            <p:spPr>
              <a:xfrm flipH="1" flipV="1">
                <a:off x="7485360" y="2853151"/>
                <a:ext cx="124715" cy="318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234" name="Straight Connector 1233">
                <a:extLst>
                  <a:ext uri="{FF2B5EF4-FFF2-40B4-BE49-F238E27FC236}">
                    <a16:creationId xmlns:a16="http://schemas.microsoft.com/office/drawing/2014/main" id="{3728AAC0-2C46-ABB2-70D5-9CCC0B14BEBF}"/>
                  </a:ext>
                </a:extLst>
              </p:cNvPr>
              <p:cNvCxnSpPr>
                <a:cxnSpLocks/>
              </p:cNvCxnSpPr>
              <p:nvPr/>
            </p:nvCxnSpPr>
            <p:spPr>
              <a:xfrm flipH="1" flipV="1">
                <a:off x="7303670" y="2814282"/>
                <a:ext cx="464918" cy="177093"/>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42" name="TextBox 1041">
              <a:extLst>
                <a:ext uri="{FF2B5EF4-FFF2-40B4-BE49-F238E27FC236}">
                  <a16:creationId xmlns:a16="http://schemas.microsoft.com/office/drawing/2014/main" id="{E819DF65-A555-1C8B-B7F3-219428F8A3A1}"/>
                </a:ext>
              </a:extLst>
            </p:cNvPr>
            <p:cNvSpPr txBox="1"/>
            <p:nvPr/>
          </p:nvSpPr>
          <p:spPr>
            <a:xfrm>
              <a:off x="2966218" y="5729125"/>
              <a:ext cx="638255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Percentage growth of Medicare Advantage enrollees in rural communities between 2019 and 2023.</a:t>
              </a:r>
            </a:p>
          </p:txBody>
        </p:sp>
        <p:grpSp>
          <p:nvGrpSpPr>
            <p:cNvPr id="1043" name="Group 1042">
              <a:extLst>
                <a:ext uri="{FF2B5EF4-FFF2-40B4-BE49-F238E27FC236}">
                  <a16:creationId xmlns:a16="http://schemas.microsoft.com/office/drawing/2014/main" id="{1F6F6B1B-D948-F7FD-F5F5-271FD0DD5C16}"/>
                </a:ext>
              </a:extLst>
            </p:cNvPr>
            <p:cNvGrpSpPr/>
            <p:nvPr/>
          </p:nvGrpSpPr>
          <p:grpSpPr>
            <a:xfrm>
              <a:off x="4604776" y="6006905"/>
              <a:ext cx="3967211" cy="324359"/>
              <a:chOff x="1871213" y="5891503"/>
              <a:chExt cx="3967211" cy="324359"/>
            </a:xfrm>
          </p:grpSpPr>
          <p:grpSp>
            <p:nvGrpSpPr>
              <p:cNvPr id="1046" name="Group 1045">
                <a:extLst>
                  <a:ext uri="{FF2B5EF4-FFF2-40B4-BE49-F238E27FC236}">
                    <a16:creationId xmlns:a16="http://schemas.microsoft.com/office/drawing/2014/main" id="{7BE82854-33E4-28AC-FDF9-D780C4DB2473}"/>
                  </a:ext>
                </a:extLst>
              </p:cNvPr>
              <p:cNvGrpSpPr/>
              <p:nvPr/>
            </p:nvGrpSpPr>
            <p:grpSpPr>
              <a:xfrm>
                <a:off x="1978552" y="6141972"/>
                <a:ext cx="3525018" cy="73890"/>
                <a:chOff x="1360264" y="6239165"/>
                <a:chExt cx="3525018" cy="73890"/>
              </a:xfrm>
            </p:grpSpPr>
            <p:sp>
              <p:nvSpPr>
                <p:cNvPr id="1052" name="Rectangle 1051">
                  <a:extLst>
                    <a:ext uri="{FF2B5EF4-FFF2-40B4-BE49-F238E27FC236}">
                      <a16:creationId xmlns:a16="http://schemas.microsoft.com/office/drawing/2014/main" id="{811F31B3-C35D-8446-9197-0E7EE023E317}"/>
                    </a:ext>
                  </a:extLst>
                </p:cNvPr>
                <p:cNvSpPr/>
                <p:nvPr/>
              </p:nvSpPr>
              <p:spPr>
                <a:xfrm>
                  <a:off x="1360264" y="6239165"/>
                  <a:ext cx="485368" cy="7389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053" name="Rectangle 1052">
                  <a:extLst>
                    <a:ext uri="{FF2B5EF4-FFF2-40B4-BE49-F238E27FC236}">
                      <a16:creationId xmlns:a16="http://schemas.microsoft.com/office/drawing/2014/main" id="{473957CE-F35F-6F42-308F-7999CE33D88C}"/>
                    </a:ext>
                  </a:extLst>
                </p:cNvPr>
                <p:cNvSpPr/>
                <p:nvPr/>
              </p:nvSpPr>
              <p:spPr>
                <a:xfrm>
                  <a:off x="2122867" y="6239165"/>
                  <a:ext cx="485368" cy="7389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054" name="Rectangle 1053">
                  <a:extLst>
                    <a:ext uri="{FF2B5EF4-FFF2-40B4-BE49-F238E27FC236}">
                      <a16:creationId xmlns:a16="http://schemas.microsoft.com/office/drawing/2014/main" id="{6F98EB87-5DE0-2F19-38BC-C19ACA977091}"/>
                    </a:ext>
                  </a:extLst>
                </p:cNvPr>
                <p:cNvSpPr/>
                <p:nvPr/>
              </p:nvSpPr>
              <p:spPr>
                <a:xfrm>
                  <a:off x="2885470" y="6239165"/>
                  <a:ext cx="485368" cy="7389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055" name="Rectangle 1054">
                  <a:extLst>
                    <a:ext uri="{FF2B5EF4-FFF2-40B4-BE49-F238E27FC236}">
                      <a16:creationId xmlns:a16="http://schemas.microsoft.com/office/drawing/2014/main" id="{853772A1-4075-D294-97F1-22553225F006}"/>
                    </a:ext>
                  </a:extLst>
                </p:cNvPr>
                <p:cNvSpPr/>
                <p:nvPr/>
              </p:nvSpPr>
              <p:spPr>
                <a:xfrm>
                  <a:off x="3642692" y="6239165"/>
                  <a:ext cx="485368" cy="7389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056" name="Rectangle 1055">
                  <a:extLst>
                    <a:ext uri="{FF2B5EF4-FFF2-40B4-BE49-F238E27FC236}">
                      <a16:creationId xmlns:a16="http://schemas.microsoft.com/office/drawing/2014/main" id="{BC73544F-A2C3-C52D-C29D-3240CA62B1A5}"/>
                    </a:ext>
                  </a:extLst>
                </p:cNvPr>
                <p:cNvSpPr/>
                <p:nvPr/>
              </p:nvSpPr>
              <p:spPr>
                <a:xfrm>
                  <a:off x="4399914" y="6239165"/>
                  <a:ext cx="485368" cy="7389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grpSp>
          <p:sp>
            <p:nvSpPr>
              <p:cNvPr id="1047" name="TextBox 1046">
                <a:extLst>
                  <a:ext uri="{FF2B5EF4-FFF2-40B4-BE49-F238E27FC236}">
                    <a16:creationId xmlns:a16="http://schemas.microsoft.com/office/drawing/2014/main" id="{315B2F02-D9FE-95B9-62A3-42A12ADE979B}"/>
                  </a:ext>
                </a:extLst>
              </p:cNvPr>
              <p:cNvSpPr txBox="1"/>
              <p:nvPr/>
            </p:nvSpPr>
            <p:spPr>
              <a:xfrm>
                <a:off x="1871213" y="5910185"/>
                <a:ext cx="80536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20%-40%</a:t>
                </a:r>
              </a:p>
            </p:txBody>
          </p:sp>
          <p:sp>
            <p:nvSpPr>
              <p:cNvPr id="1048" name="TextBox 1047">
                <a:extLst>
                  <a:ext uri="{FF2B5EF4-FFF2-40B4-BE49-F238E27FC236}">
                    <a16:creationId xmlns:a16="http://schemas.microsoft.com/office/drawing/2014/main" id="{AE783A2C-350B-267B-9137-F65B384C064B}"/>
                  </a:ext>
                </a:extLst>
              </p:cNvPr>
              <p:cNvSpPr txBox="1"/>
              <p:nvPr/>
            </p:nvSpPr>
            <p:spPr>
              <a:xfrm>
                <a:off x="2636559" y="5900164"/>
                <a:ext cx="77542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41%-60%</a:t>
                </a:r>
              </a:p>
            </p:txBody>
          </p:sp>
          <p:sp>
            <p:nvSpPr>
              <p:cNvPr id="1049" name="TextBox 1048">
                <a:extLst>
                  <a:ext uri="{FF2B5EF4-FFF2-40B4-BE49-F238E27FC236}">
                    <a16:creationId xmlns:a16="http://schemas.microsoft.com/office/drawing/2014/main" id="{70C26A40-D3B7-199B-88E2-C910BF7B2E18}"/>
                  </a:ext>
                </a:extLst>
              </p:cNvPr>
              <p:cNvSpPr txBox="1"/>
              <p:nvPr/>
            </p:nvSpPr>
            <p:spPr>
              <a:xfrm>
                <a:off x="3363936" y="5907673"/>
                <a:ext cx="80536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61%-80%</a:t>
                </a:r>
              </a:p>
            </p:txBody>
          </p:sp>
          <p:sp>
            <p:nvSpPr>
              <p:cNvPr id="1050" name="TextBox 1049">
                <a:extLst>
                  <a:ext uri="{FF2B5EF4-FFF2-40B4-BE49-F238E27FC236}">
                    <a16:creationId xmlns:a16="http://schemas.microsoft.com/office/drawing/2014/main" id="{02D2D513-F66A-58DD-194D-9396EC59C435}"/>
                  </a:ext>
                </a:extLst>
              </p:cNvPr>
              <p:cNvSpPr txBox="1"/>
              <p:nvPr/>
            </p:nvSpPr>
            <p:spPr>
              <a:xfrm>
                <a:off x="4077527" y="5891503"/>
                <a:ext cx="909133"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81%-100%</a:t>
                </a:r>
              </a:p>
            </p:txBody>
          </p:sp>
          <p:sp>
            <p:nvSpPr>
              <p:cNvPr id="1051" name="TextBox 1050">
                <a:extLst>
                  <a:ext uri="{FF2B5EF4-FFF2-40B4-BE49-F238E27FC236}">
                    <a16:creationId xmlns:a16="http://schemas.microsoft.com/office/drawing/2014/main" id="{43377A0D-A658-2D1F-BC8B-FA22EF24308B}"/>
                  </a:ext>
                </a:extLst>
              </p:cNvPr>
              <p:cNvSpPr txBox="1"/>
              <p:nvPr/>
            </p:nvSpPr>
            <p:spPr>
              <a:xfrm>
                <a:off x="4738665" y="5891503"/>
                <a:ext cx="109975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gt;101%</a:t>
                </a:r>
              </a:p>
            </p:txBody>
          </p:sp>
        </p:grpSp>
        <p:sp>
          <p:nvSpPr>
            <p:cNvPr id="1044" name="Rectangle 1043">
              <a:extLst>
                <a:ext uri="{FF2B5EF4-FFF2-40B4-BE49-F238E27FC236}">
                  <a16:creationId xmlns:a16="http://schemas.microsoft.com/office/drawing/2014/main" id="{C6D0ABC1-4C06-CE10-4F1E-F2C85D5DD147}"/>
                </a:ext>
              </a:extLst>
            </p:cNvPr>
            <p:cNvSpPr/>
            <p:nvPr/>
          </p:nvSpPr>
          <p:spPr>
            <a:xfrm>
              <a:off x="4004590" y="6265768"/>
              <a:ext cx="485368" cy="73890"/>
            </a:xfrm>
            <a:prstGeom prst="rect">
              <a:avLst/>
            </a:prstGeom>
            <a:solidFill>
              <a:schemeClr val="tx2">
                <a:lumMod val="20000"/>
                <a:lumOff val="8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Light"/>
                <a:ea typeface="+mn-ea"/>
                <a:cs typeface="+mn-cs"/>
              </a:endParaRPr>
            </a:p>
          </p:txBody>
        </p:sp>
        <p:sp>
          <p:nvSpPr>
            <p:cNvPr id="1045" name="TextBox 1044">
              <a:extLst>
                <a:ext uri="{FF2B5EF4-FFF2-40B4-BE49-F238E27FC236}">
                  <a16:creationId xmlns:a16="http://schemas.microsoft.com/office/drawing/2014/main" id="{A8B1C557-3BED-D765-F6D3-C8257716F2FC}"/>
                </a:ext>
              </a:extLst>
            </p:cNvPr>
            <p:cNvSpPr txBox="1"/>
            <p:nvPr/>
          </p:nvSpPr>
          <p:spPr>
            <a:xfrm>
              <a:off x="3917311" y="6014179"/>
              <a:ext cx="70752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egoe UI"/>
                  <a:ea typeface="Verdana" panose="020B0604030504040204" pitchFamily="34" charset="0"/>
                  <a:cs typeface="Verdana" panose="020B0604030504040204" pitchFamily="34" charset="0"/>
                </a:rPr>
                <a:t>0</a:t>
              </a:r>
            </a:p>
          </p:txBody>
        </p:sp>
      </p:grpSp>
    </p:spTree>
    <p:extLst>
      <p:ext uri="{BB962C8B-B14F-4D97-AF65-F5344CB8AC3E}">
        <p14:creationId xmlns:p14="http://schemas.microsoft.com/office/powerpoint/2010/main" val="6852408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3FC3DC02-4405-4971-880A-72FBB3CDF7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5" name="Object 24" hidden="1">
                        <a:extLst>
                          <a:ext uri="{FF2B5EF4-FFF2-40B4-BE49-F238E27FC236}">
                            <a16:creationId xmlns:a16="http://schemas.microsoft.com/office/drawing/2014/main" id="{3FC3DC02-4405-4971-880A-72FBB3CDF7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ACC24C8C-95A8-F8E2-0173-7E644071C0BA}"/>
              </a:ext>
            </a:extLst>
          </p:cNvPr>
          <p:cNvSpPr txBox="1"/>
          <p:nvPr/>
        </p:nvSpPr>
        <p:spPr>
          <a:xfrm>
            <a:off x="266098" y="6245856"/>
            <a:ext cx="4218230" cy="215444"/>
          </a:xfrm>
          <a:prstGeom prst="rect">
            <a:avLst/>
          </a:prstGeom>
          <a:noFill/>
        </p:spPr>
        <p:txBody>
          <a:bodyPr wrap="square" rtlCol="0">
            <a:spAutoFit/>
          </a:bodyPr>
          <a:lstStyle/>
          <a:p>
            <a:r>
              <a:rPr lang="en-US" sz="800" dirty="0">
                <a:solidFill>
                  <a:prstClr val="black"/>
                </a:solidFill>
                <a:latin typeface="Segoe UI"/>
                <a:ea typeface="Verdana" panose="020B0604030504040204" pitchFamily="34" charset="0"/>
                <a:cs typeface="Verdana" panose="020B0604030504040204" pitchFamily="34" charset="0"/>
              </a:rPr>
              <a:t>Source: The Chartis Center for Rural Health</a:t>
            </a:r>
            <a:r>
              <a:rPr lang="en-US" sz="800">
                <a:solidFill>
                  <a:prstClr val="black"/>
                </a:solidFill>
                <a:latin typeface="Segoe UI"/>
                <a:ea typeface="Verdana" panose="020B0604030504040204" pitchFamily="34" charset="0"/>
                <a:cs typeface="Verdana" panose="020B0604030504040204" pitchFamily="34" charset="0"/>
              </a:rPr>
              <a:t>, October 2023. </a:t>
            </a:r>
            <a:endParaRPr lang="en-US" sz="800" dirty="0">
              <a:solidFill>
                <a:prstClr val="black"/>
              </a:solidFill>
              <a:latin typeface="Segoe UI"/>
              <a:ea typeface="Verdana" panose="020B0604030504040204" pitchFamily="34" charset="0"/>
              <a:cs typeface="Verdana" panose="020B0604030504040204" pitchFamily="34" charset="0"/>
            </a:endParaRPr>
          </a:p>
        </p:txBody>
      </p:sp>
      <p:grpSp>
        <p:nvGrpSpPr>
          <p:cNvPr id="1039" name="State Shapes">
            <a:extLst>
              <a:ext uri="{FF2B5EF4-FFF2-40B4-BE49-F238E27FC236}">
                <a16:creationId xmlns:a16="http://schemas.microsoft.com/office/drawing/2014/main" id="{6DBB6179-7C90-6C93-4C1C-A95F6BDE9942}"/>
              </a:ext>
            </a:extLst>
          </p:cNvPr>
          <p:cNvGrpSpPr/>
          <p:nvPr/>
        </p:nvGrpSpPr>
        <p:grpSpPr>
          <a:xfrm>
            <a:off x="4102655" y="1408616"/>
            <a:ext cx="7460222" cy="4266691"/>
            <a:chOff x="609598" y="1367242"/>
            <a:chExt cx="7460222" cy="4266691"/>
          </a:xfrm>
          <a:solidFill>
            <a:schemeClr val="tx2">
              <a:lumMod val="60000"/>
              <a:lumOff val="40000"/>
            </a:schemeClr>
          </a:solidFill>
        </p:grpSpPr>
        <p:sp>
          <p:nvSpPr>
            <p:cNvPr id="1040" name="Freeform 43">
              <a:extLst>
                <a:ext uri="{FF2B5EF4-FFF2-40B4-BE49-F238E27FC236}">
                  <a16:creationId xmlns:a16="http://schemas.microsoft.com/office/drawing/2014/main" id="{1BB3A5C9-6E47-7A4E-AE12-0D7A915F9369}"/>
                </a:ext>
              </a:extLst>
            </p:cNvPr>
            <p:cNvSpPr>
              <a:spLocks/>
            </p:cNvSpPr>
            <p:nvPr/>
          </p:nvSpPr>
          <p:spPr bwMode="auto">
            <a:xfrm>
              <a:off x="7584483" y="2390146"/>
              <a:ext cx="191537" cy="160488"/>
            </a:xfrm>
            <a:custGeom>
              <a:avLst/>
              <a:gdLst>
                <a:gd name="T0" fmla="*/ 11 w 622"/>
                <a:gd name="T1" fmla="*/ 61 h 519"/>
                <a:gd name="T2" fmla="*/ 28 w 622"/>
                <a:gd name="T3" fmla="*/ 46 h 519"/>
                <a:gd name="T4" fmla="*/ 53 w 622"/>
                <a:gd name="T5" fmla="*/ 36 h 519"/>
                <a:gd name="T6" fmla="*/ 83 w 622"/>
                <a:gd name="T7" fmla="*/ 19 h 519"/>
                <a:gd name="T8" fmla="*/ 101 w 622"/>
                <a:gd name="T9" fmla="*/ 6 h 519"/>
                <a:gd name="T10" fmla="*/ 115 w 622"/>
                <a:gd name="T11" fmla="*/ 0 h 519"/>
                <a:gd name="T12" fmla="*/ 118 w 622"/>
                <a:gd name="T13" fmla="*/ 6 h 519"/>
                <a:gd name="T14" fmla="*/ 111 w 622"/>
                <a:gd name="T15" fmla="*/ 16 h 519"/>
                <a:gd name="T16" fmla="*/ 85 w 622"/>
                <a:gd name="T17" fmla="*/ 39 h 519"/>
                <a:gd name="T18" fmla="*/ 50 w 622"/>
                <a:gd name="T19" fmla="*/ 68 h 519"/>
                <a:gd name="T20" fmla="*/ 27 w 622"/>
                <a:gd name="T21" fmla="*/ 84 h 519"/>
                <a:gd name="T22" fmla="*/ 17 w 622"/>
                <a:gd name="T23" fmla="*/ 94 h 519"/>
                <a:gd name="T24" fmla="*/ 2 w 622"/>
                <a:gd name="T25" fmla="*/ 99 h 519"/>
                <a:gd name="T26" fmla="*/ 0 w 622"/>
                <a:gd name="T27" fmla="*/ 84 h 519"/>
                <a:gd name="T28" fmla="*/ 11 w 622"/>
                <a:gd name="T29" fmla="*/ 61 h 5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2" h="519">
                  <a:moveTo>
                    <a:pt x="60" y="322"/>
                  </a:moveTo>
                  <a:lnTo>
                    <a:pt x="147" y="240"/>
                  </a:lnTo>
                  <a:lnTo>
                    <a:pt x="281" y="187"/>
                  </a:lnTo>
                  <a:lnTo>
                    <a:pt x="435" y="101"/>
                  </a:lnTo>
                  <a:lnTo>
                    <a:pt x="531" y="34"/>
                  </a:lnTo>
                  <a:lnTo>
                    <a:pt x="608" y="0"/>
                  </a:lnTo>
                  <a:lnTo>
                    <a:pt x="622" y="34"/>
                  </a:lnTo>
                  <a:lnTo>
                    <a:pt x="584" y="82"/>
                  </a:lnTo>
                  <a:lnTo>
                    <a:pt x="450" y="202"/>
                  </a:lnTo>
                  <a:lnTo>
                    <a:pt x="262" y="355"/>
                  </a:lnTo>
                  <a:lnTo>
                    <a:pt x="142" y="442"/>
                  </a:lnTo>
                  <a:lnTo>
                    <a:pt x="89" y="495"/>
                  </a:lnTo>
                  <a:lnTo>
                    <a:pt x="8" y="519"/>
                  </a:lnTo>
                  <a:lnTo>
                    <a:pt x="0" y="442"/>
                  </a:lnTo>
                  <a:lnTo>
                    <a:pt x="60" y="322"/>
                  </a:lnTo>
                  <a:close/>
                </a:path>
              </a:pathLst>
            </a:custGeom>
            <a:grpFill/>
            <a:ln w="6350" cmpd="sng">
              <a:solidFill>
                <a:schemeClr val="bg1"/>
              </a:solidFill>
              <a:prstDash val="solid"/>
              <a:round/>
              <a:headEnd/>
              <a:tailEnd/>
            </a:ln>
            <a:effectLst/>
          </p:spPr>
          <p:txBody>
            <a:bodyPr/>
            <a:lstStyle/>
            <a:p>
              <a:pPr fontAlgn="base">
                <a:spcBef>
                  <a:spcPct val="0"/>
                </a:spcBef>
                <a:spcAft>
                  <a:spcPct val="0"/>
                </a:spcAft>
              </a:pPr>
              <a:endParaRPr lang="zh-CN" altLang="en-US" b="1" kern="0">
                <a:solidFill>
                  <a:srgbClr val="000000"/>
                </a:solidFill>
                <a:latin typeface="Arial" charset="0"/>
              </a:endParaRPr>
            </a:p>
          </p:txBody>
        </p:sp>
        <p:sp>
          <p:nvSpPr>
            <p:cNvPr id="1041" name="Freeform 45">
              <a:extLst>
                <a:ext uri="{FF2B5EF4-FFF2-40B4-BE49-F238E27FC236}">
                  <a16:creationId xmlns:a16="http://schemas.microsoft.com/office/drawing/2014/main" id="{71232005-80B2-E35D-F33E-84A101053A38}"/>
                </a:ext>
              </a:extLst>
            </p:cNvPr>
            <p:cNvSpPr>
              <a:spLocks/>
            </p:cNvSpPr>
            <p:nvPr/>
          </p:nvSpPr>
          <p:spPr bwMode="auto">
            <a:xfrm>
              <a:off x="5581456" y="1965422"/>
              <a:ext cx="672004" cy="311248"/>
            </a:xfrm>
            <a:custGeom>
              <a:avLst/>
              <a:gdLst>
                <a:gd name="T0" fmla="*/ 0 w 2182"/>
                <a:gd name="T1" fmla="*/ 106 h 1010"/>
                <a:gd name="T2" fmla="*/ 28 w 2182"/>
                <a:gd name="T3" fmla="*/ 92 h 1010"/>
                <a:gd name="T4" fmla="*/ 59 w 2182"/>
                <a:gd name="T5" fmla="*/ 67 h 1010"/>
                <a:gd name="T6" fmla="*/ 77 w 2182"/>
                <a:gd name="T7" fmla="*/ 47 h 1010"/>
                <a:gd name="T8" fmla="*/ 104 w 2182"/>
                <a:gd name="T9" fmla="*/ 17 h 1010"/>
                <a:gd name="T10" fmla="*/ 147 w 2182"/>
                <a:gd name="T11" fmla="*/ 0 h 1010"/>
                <a:gd name="T12" fmla="*/ 148 w 2182"/>
                <a:gd name="T13" fmla="*/ 20 h 1010"/>
                <a:gd name="T14" fmla="*/ 132 w 2182"/>
                <a:gd name="T15" fmla="*/ 30 h 1010"/>
                <a:gd name="T16" fmla="*/ 113 w 2182"/>
                <a:gd name="T17" fmla="*/ 39 h 1010"/>
                <a:gd name="T18" fmla="*/ 120 w 2182"/>
                <a:gd name="T19" fmla="*/ 52 h 1010"/>
                <a:gd name="T20" fmla="*/ 117 w 2182"/>
                <a:gd name="T21" fmla="*/ 55 h 1010"/>
                <a:gd name="T22" fmla="*/ 121 w 2182"/>
                <a:gd name="T23" fmla="*/ 69 h 1010"/>
                <a:gd name="T24" fmla="*/ 141 w 2182"/>
                <a:gd name="T25" fmla="*/ 57 h 1010"/>
                <a:gd name="T26" fmla="*/ 160 w 2182"/>
                <a:gd name="T27" fmla="*/ 56 h 1010"/>
                <a:gd name="T28" fmla="*/ 190 w 2182"/>
                <a:gd name="T29" fmla="*/ 78 h 1010"/>
                <a:gd name="T30" fmla="*/ 213 w 2182"/>
                <a:gd name="T31" fmla="*/ 77 h 1010"/>
                <a:gd name="T32" fmla="*/ 233 w 2182"/>
                <a:gd name="T33" fmla="*/ 86 h 1010"/>
                <a:gd name="T34" fmla="*/ 249 w 2182"/>
                <a:gd name="T35" fmla="*/ 78 h 1010"/>
                <a:gd name="T36" fmla="*/ 259 w 2182"/>
                <a:gd name="T37" fmla="*/ 69 h 1010"/>
                <a:gd name="T38" fmla="*/ 282 w 2182"/>
                <a:gd name="T39" fmla="*/ 53 h 1010"/>
                <a:gd name="T40" fmla="*/ 311 w 2182"/>
                <a:gd name="T41" fmla="*/ 43 h 1010"/>
                <a:gd name="T42" fmla="*/ 327 w 2182"/>
                <a:gd name="T43" fmla="*/ 36 h 1010"/>
                <a:gd name="T44" fmla="*/ 335 w 2182"/>
                <a:gd name="T45" fmla="*/ 53 h 1010"/>
                <a:gd name="T46" fmla="*/ 345 w 2182"/>
                <a:gd name="T47" fmla="*/ 69 h 1010"/>
                <a:gd name="T48" fmla="*/ 366 w 2182"/>
                <a:gd name="T49" fmla="*/ 68 h 1010"/>
                <a:gd name="T50" fmla="*/ 382 w 2182"/>
                <a:gd name="T51" fmla="*/ 59 h 1010"/>
                <a:gd name="T52" fmla="*/ 406 w 2182"/>
                <a:gd name="T53" fmla="*/ 62 h 1010"/>
                <a:gd name="T54" fmla="*/ 414 w 2182"/>
                <a:gd name="T55" fmla="*/ 78 h 1010"/>
                <a:gd name="T56" fmla="*/ 414 w 2182"/>
                <a:gd name="T57" fmla="*/ 95 h 1010"/>
                <a:gd name="T58" fmla="*/ 404 w 2182"/>
                <a:gd name="T59" fmla="*/ 88 h 1010"/>
                <a:gd name="T60" fmla="*/ 388 w 2182"/>
                <a:gd name="T61" fmla="*/ 86 h 1010"/>
                <a:gd name="T62" fmla="*/ 371 w 2182"/>
                <a:gd name="T63" fmla="*/ 103 h 1010"/>
                <a:gd name="T64" fmla="*/ 354 w 2182"/>
                <a:gd name="T65" fmla="*/ 95 h 1010"/>
                <a:gd name="T66" fmla="*/ 338 w 2182"/>
                <a:gd name="T67" fmla="*/ 92 h 1010"/>
                <a:gd name="T68" fmla="*/ 319 w 2182"/>
                <a:gd name="T69" fmla="*/ 95 h 1010"/>
                <a:gd name="T70" fmla="*/ 302 w 2182"/>
                <a:gd name="T71" fmla="*/ 112 h 1010"/>
                <a:gd name="T72" fmla="*/ 268 w 2182"/>
                <a:gd name="T73" fmla="*/ 138 h 1010"/>
                <a:gd name="T74" fmla="*/ 259 w 2182"/>
                <a:gd name="T75" fmla="*/ 155 h 1010"/>
                <a:gd name="T76" fmla="*/ 250 w 2182"/>
                <a:gd name="T77" fmla="*/ 155 h 1010"/>
                <a:gd name="T78" fmla="*/ 250 w 2182"/>
                <a:gd name="T79" fmla="*/ 138 h 1010"/>
                <a:gd name="T80" fmla="*/ 234 w 2182"/>
                <a:gd name="T81" fmla="*/ 133 h 1010"/>
                <a:gd name="T82" fmla="*/ 224 w 2182"/>
                <a:gd name="T83" fmla="*/ 135 h 1010"/>
                <a:gd name="T84" fmla="*/ 220 w 2182"/>
                <a:gd name="T85" fmla="*/ 145 h 1010"/>
                <a:gd name="T86" fmla="*/ 213 w 2182"/>
                <a:gd name="T87" fmla="*/ 174 h 1010"/>
                <a:gd name="T88" fmla="*/ 194 w 2182"/>
                <a:gd name="T89" fmla="*/ 192 h 1010"/>
                <a:gd name="T90" fmla="*/ 176 w 2182"/>
                <a:gd name="T91" fmla="*/ 174 h 1010"/>
                <a:gd name="T92" fmla="*/ 175 w 2182"/>
                <a:gd name="T93" fmla="*/ 162 h 1010"/>
                <a:gd name="T94" fmla="*/ 147 w 2182"/>
                <a:gd name="T95" fmla="*/ 140 h 1010"/>
                <a:gd name="T96" fmla="*/ 113 w 2182"/>
                <a:gd name="T97" fmla="*/ 146 h 1010"/>
                <a:gd name="T98" fmla="*/ 108 w 2182"/>
                <a:gd name="T99" fmla="*/ 134 h 1010"/>
                <a:gd name="T100" fmla="*/ 84 w 2182"/>
                <a:gd name="T101" fmla="*/ 135 h 1010"/>
                <a:gd name="T102" fmla="*/ 61 w 2182"/>
                <a:gd name="T103" fmla="*/ 134 h 1010"/>
                <a:gd name="T104" fmla="*/ 28 w 2182"/>
                <a:gd name="T105" fmla="*/ 134 h 1010"/>
                <a:gd name="T106" fmla="*/ 11 w 2182"/>
                <a:gd name="T107" fmla="*/ 121 h 1010"/>
                <a:gd name="T108" fmla="*/ 0 w 2182"/>
                <a:gd name="T109" fmla="*/ 106 h 10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2" h="1010">
                  <a:moveTo>
                    <a:pt x="0" y="557"/>
                  </a:moveTo>
                  <a:lnTo>
                    <a:pt x="148" y="482"/>
                  </a:lnTo>
                  <a:lnTo>
                    <a:pt x="310" y="350"/>
                  </a:lnTo>
                  <a:lnTo>
                    <a:pt x="406" y="248"/>
                  </a:lnTo>
                  <a:lnTo>
                    <a:pt x="549" y="90"/>
                  </a:lnTo>
                  <a:lnTo>
                    <a:pt x="776" y="0"/>
                  </a:lnTo>
                  <a:lnTo>
                    <a:pt x="778" y="104"/>
                  </a:lnTo>
                  <a:lnTo>
                    <a:pt x="694" y="158"/>
                  </a:lnTo>
                  <a:lnTo>
                    <a:pt x="598" y="206"/>
                  </a:lnTo>
                  <a:lnTo>
                    <a:pt x="634" y="272"/>
                  </a:lnTo>
                  <a:lnTo>
                    <a:pt x="616" y="290"/>
                  </a:lnTo>
                  <a:lnTo>
                    <a:pt x="640" y="363"/>
                  </a:lnTo>
                  <a:lnTo>
                    <a:pt x="742" y="302"/>
                  </a:lnTo>
                  <a:lnTo>
                    <a:pt x="844" y="297"/>
                  </a:lnTo>
                  <a:lnTo>
                    <a:pt x="1003" y="408"/>
                  </a:lnTo>
                  <a:lnTo>
                    <a:pt x="1120" y="404"/>
                  </a:lnTo>
                  <a:lnTo>
                    <a:pt x="1229" y="453"/>
                  </a:lnTo>
                  <a:lnTo>
                    <a:pt x="1312" y="410"/>
                  </a:lnTo>
                  <a:lnTo>
                    <a:pt x="1366" y="362"/>
                  </a:lnTo>
                  <a:lnTo>
                    <a:pt x="1486" y="278"/>
                  </a:lnTo>
                  <a:lnTo>
                    <a:pt x="1638" y="227"/>
                  </a:lnTo>
                  <a:lnTo>
                    <a:pt x="1726" y="188"/>
                  </a:lnTo>
                  <a:lnTo>
                    <a:pt x="1768" y="278"/>
                  </a:lnTo>
                  <a:lnTo>
                    <a:pt x="1819" y="363"/>
                  </a:lnTo>
                  <a:lnTo>
                    <a:pt x="1930" y="356"/>
                  </a:lnTo>
                  <a:lnTo>
                    <a:pt x="2014" y="308"/>
                  </a:lnTo>
                  <a:lnTo>
                    <a:pt x="2140" y="326"/>
                  </a:lnTo>
                  <a:lnTo>
                    <a:pt x="2182" y="408"/>
                  </a:lnTo>
                  <a:lnTo>
                    <a:pt x="2182" y="499"/>
                  </a:lnTo>
                  <a:lnTo>
                    <a:pt x="2128" y="464"/>
                  </a:lnTo>
                  <a:lnTo>
                    <a:pt x="2046" y="453"/>
                  </a:lnTo>
                  <a:lnTo>
                    <a:pt x="1955" y="544"/>
                  </a:lnTo>
                  <a:lnTo>
                    <a:pt x="1865" y="499"/>
                  </a:lnTo>
                  <a:lnTo>
                    <a:pt x="1780" y="482"/>
                  </a:lnTo>
                  <a:lnTo>
                    <a:pt x="1683" y="499"/>
                  </a:lnTo>
                  <a:lnTo>
                    <a:pt x="1592" y="589"/>
                  </a:lnTo>
                  <a:lnTo>
                    <a:pt x="1411" y="725"/>
                  </a:lnTo>
                  <a:lnTo>
                    <a:pt x="1366" y="816"/>
                  </a:lnTo>
                  <a:lnTo>
                    <a:pt x="1320" y="816"/>
                  </a:lnTo>
                  <a:lnTo>
                    <a:pt x="1320" y="725"/>
                  </a:lnTo>
                  <a:lnTo>
                    <a:pt x="1234" y="698"/>
                  </a:lnTo>
                  <a:lnTo>
                    <a:pt x="1180" y="710"/>
                  </a:lnTo>
                  <a:lnTo>
                    <a:pt x="1162" y="764"/>
                  </a:lnTo>
                  <a:lnTo>
                    <a:pt x="1120" y="914"/>
                  </a:lnTo>
                  <a:lnTo>
                    <a:pt x="1020" y="1010"/>
                  </a:lnTo>
                  <a:lnTo>
                    <a:pt x="928" y="914"/>
                  </a:lnTo>
                  <a:lnTo>
                    <a:pt x="924" y="853"/>
                  </a:lnTo>
                  <a:lnTo>
                    <a:pt x="777" y="736"/>
                  </a:lnTo>
                  <a:lnTo>
                    <a:pt x="598" y="767"/>
                  </a:lnTo>
                  <a:lnTo>
                    <a:pt x="568" y="707"/>
                  </a:lnTo>
                  <a:lnTo>
                    <a:pt x="442" y="710"/>
                  </a:lnTo>
                  <a:lnTo>
                    <a:pt x="321" y="703"/>
                  </a:lnTo>
                  <a:lnTo>
                    <a:pt x="147" y="706"/>
                  </a:lnTo>
                  <a:lnTo>
                    <a:pt x="58" y="637"/>
                  </a:lnTo>
                  <a:lnTo>
                    <a:pt x="0" y="557"/>
                  </a:lnTo>
                  <a:close/>
                </a:path>
              </a:pathLst>
            </a:custGeom>
            <a:solidFill>
              <a:srgbClr val="87729E"/>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42" name="Freeform 56">
              <a:extLst>
                <a:ext uri="{FF2B5EF4-FFF2-40B4-BE49-F238E27FC236}">
                  <a16:creationId xmlns:a16="http://schemas.microsoft.com/office/drawing/2014/main" id="{EA70815C-EDDC-3A20-AACD-52294060081A}"/>
                </a:ext>
              </a:extLst>
            </p:cNvPr>
            <p:cNvSpPr>
              <a:spLocks/>
            </p:cNvSpPr>
            <p:nvPr/>
          </p:nvSpPr>
          <p:spPr bwMode="auto">
            <a:xfrm>
              <a:off x="7480598" y="2970494"/>
              <a:ext cx="61682" cy="116719"/>
            </a:xfrm>
            <a:custGeom>
              <a:avLst/>
              <a:gdLst>
                <a:gd name="T0" fmla="*/ 1 w 198"/>
                <a:gd name="T1" fmla="*/ 4 h 384"/>
                <a:gd name="T2" fmla="*/ 16 w 198"/>
                <a:gd name="T3" fmla="*/ 3 h 384"/>
                <a:gd name="T4" fmla="*/ 32 w 198"/>
                <a:gd name="T5" fmla="*/ 0 h 384"/>
                <a:gd name="T6" fmla="*/ 38 w 198"/>
                <a:gd name="T7" fmla="*/ 24 h 384"/>
                <a:gd name="T8" fmla="*/ 37 w 198"/>
                <a:gd name="T9" fmla="*/ 45 h 384"/>
                <a:gd name="T10" fmla="*/ 30 w 198"/>
                <a:gd name="T11" fmla="*/ 61 h 384"/>
                <a:gd name="T12" fmla="*/ 24 w 198"/>
                <a:gd name="T13" fmla="*/ 70 h 384"/>
                <a:gd name="T14" fmla="*/ 18 w 198"/>
                <a:gd name="T15" fmla="*/ 72 h 384"/>
                <a:gd name="T16" fmla="*/ 10 w 198"/>
                <a:gd name="T17" fmla="*/ 59 h 384"/>
                <a:gd name="T18" fmla="*/ 6 w 198"/>
                <a:gd name="T19" fmla="*/ 41 h 384"/>
                <a:gd name="T20" fmla="*/ 0 w 198"/>
                <a:gd name="T21" fmla="*/ 27 h 384"/>
                <a:gd name="T22" fmla="*/ 1 w 198"/>
                <a:gd name="T23" fmla="*/ 4 h 3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8" h="384">
                  <a:moveTo>
                    <a:pt x="3" y="20"/>
                  </a:moveTo>
                  <a:lnTo>
                    <a:pt x="84" y="18"/>
                  </a:lnTo>
                  <a:lnTo>
                    <a:pt x="168" y="0"/>
                  </a:lnTo>
                  <a:lnTo>
                    <a:pt x="198" y="126"/>
                  </a:lnTo>
                  <a:lnTo>
                    <a:pt x="192" y="240"/>
                  </a:lnTo>
                  <a:lnTo>
                    <a:pt x="156" y="324"/>
                  </a:lnTo>
                  <a:lnTo>
                    <a:pt x="125" y="372"/>
                  </a:lnTo>
                  <a:lnTo>
                    <a:pt x="96" y="384"/>
                  </a:lnTo>
                  <a:lnTo>
                    <a:pt x="54" y="312"/>
                  </a:lnTo>
                  <a:lnTo>
                    <a:pt x="30" y="216"/>
                  </a:lnTo>
                  <a:lnTo>
                    <a:pt x="0" y="144"/>
                  </a:lnTo>
                  <a:lnTo>
                    <a:pt x="3" y="20"/>
                  </a:lnTo>
                  <a:close/>
                </a:path>
              </a:pathLst>
            </a:custGeom>
            <a:grp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43" name="Rectangle 62">
              <a:extLst>
                <a:ext uri="{FF2B5EF4-FFF2-40B4-BE49-F238E27FC236}">
                  <a16:creationId xmlns:a16="http://schemas.microsoft.com/office/drawing/2014/main" id="{8A83E3F9-01F2-9903-3390-CF357A2E55A2}"/>
                </a:ext>
              </a:extLst>
            </p:cNvPr>
            <p:cNvSpPr>
              <a:spLocks noChangeArrowheads="1"/>
            </p:cNvSpPr>
            <p:nvPr/>
          </p:nvSpPr>
          <p:spPr bwMode="auto">
            <a:xfrm>
              <a:off x="609598" y="4072830"/>
              <a:ext cx="1641055" cy="1561103"/>
            </a:xfrm>
            <a:prstGeom prst="rect">
              <a:avLst/>
            </a:prstGeom>
            <a:noFill/>
            <a:ln w="3175"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44" name="Wyoming">
              <a:extLst>
                <a:ext uri="{FF2B5EF4-FFF2-40B4-BE49-F238E27FC236}">
                  <a16:creationId xmlns:a16="http://schemas.microsoft.com/office/drawing/2014/main" id="{D2F32432-3588-47CB-5AD5-334DFA483F0F}"/>
                </a:ext>
              </a:extLst>
            </p:cNvPr>
            <p:cNvSpPr>
              <a:spLocks/>
            </p:cNvSpPr>
            <p:nvPr/>
          </p:nvSpPr>
          <p:spPr bwMode="auto">
            <a:xfrm>
              <a:off x="3240803" y="2390146"/>
              <a:ext cx="847310" cy="687339"/>
            </a:xfrm>
            <a:custGeom>
              <a:avLst/>
              <a:gdLst>
                <a:gd name="T0" fmla="*/ 0 w 2757"/>
                <a:gd name="T1" fmla="*/ 382 h 2235"/>
                <a:gd name="T2" fmla="*/ 96 w 2757"/>
                <a:gd name="T3" fmla="*/ 388 h 2235"/>
                <a:gd name="T4" fmla="*/ 157 w 2757"/>
                <a:gd name="T5" fmla="*/ 394 h 2235"/>
                <a:gd name="T6" fmla="*/ 510 w 2757"/>
                <a:gd name="T7" fmla="*/ 424 h 2235"/>
                <a:gd name="T8" fmla="*/ 522 w 2757"/>
                <a:gd name="T9" fmla="*/ 39 h 2235"/>
                <a:gd name="T10" fmla="*/ 156 w 2757"/>
                <a:gd name="T11" fmla="*/ 11 h 2235"/>
                <a:gd name="T12" fmla="*/ 45 w 2757"/>
                <a:gd name="T13" fmla="*/ 0 h 2235"/>
                <a:gd name="T14" fmla="*/ 35 w 2757"/>
                <a:gd name="T15" fmla="*/ 35 h 2235"/>
                <a:gd name="T16" fmla="*/ 8 w 2757"/>
                <a:gd name="T17" fmla="*/ 291 h 2235"/>
                <a:gd name="T18" fmla="*/ 3 w 2757"/>
                <a:gd name="T19" fmla="*/ 334 h 2235"/>
                <a:gd name="T20" fmla="*/ 0 w 2757"/>
                <a:gd name="T21" fmla="*/ 382 h 22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57" h="2235">
                  <a:moveTo>
                    <a:pt x="0" y="2014"/>
                  </a:moveTo>
                  <a:lnTo>
                    <a:pt x="508" y="2044"/>
                  </a:lnTo>
                  <a:lnTo>
                    <a:pt x="828" y="2078"/>
                  </a:lnTo>
                  <a:lnTo>
                    <a:pt x="2696" y="2235"/>
                  </a:lnTo>
                  <a:lnTo>
                    <a:pt x="2757" y="208"/>
                  </a:lnTo>
                  <a:lnTo>
                    <a:pt x="824" y="60"/>
                  </a:lnTo>
                  <a:lnTo>
                    <a:pt x="238" y="0"/>
                  </a:lnTo>
                  <a:lnTo>
                    <a:pt x="185" y="184"/>
                  </a:lnTo>
                  <a:lnTo>
                    <a:pt x="44" y="1536"/>
                  </a:lnTo>
                  <a:lnTo>
                    <a:pt x="16" y="1760"/>
                  </a:lnTo>
                  <a:lnTo>
                    <a:pt x="0" y="2014"/>
                  </a:lnTo>
                  <a:close/>
                </a:path>
              </a:pathLst>
            </a:custGeom>
            <a:grp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45" name="Wisconsin">
              <a:extLst>
                <a:ext uri="{FF2B5EF4-FFF2-40B4-BE49-F238E27FC236}">
                  <a16:creationId xmlns:a16="http://schemas.microsoft.com/office/drawing/2014/main" id="{4CE9893A-44DD-B434-A264-4FD4BD19D076}"/>
                </a:ext>
              </a:extLst>
            </p:cNvPr>
            <p:cNvSpPr>
              <a:spLocks/>
            </p:cNvSpPr>
            <p:nvPr/>
          </p:nvSpPr>
          <p:spPr bwMode="auto">
            <a:xfrm>
              <a:off x="5300642" y="2101593"/>
              <a:ext cx="676874" cy="666266"/>
            </a:xfrm>
            <a:custGeom>
              <a:avLst/>
              <a:gdLst>
                <a:gd name="T0" fmla="*/ 51 w 2202"/>
                <a:gd name="T1" fmla="*/ 13 h 2170"/>
                <a:gd name="T2" fmla="*/ 28 w 2202"/>
                <a:gd name="T3" fmla="*/ 41 h 2170"/>
                <a:gd name="T4" fmla="*/ 40 w 2202"/>
                <a:gd name="T5" fmla="*/ 76 h 2170"/>
                <a:gd name="T6" fmla="*/ 19 w 2202"/>
                <a:gd name="T7" fmla="*/ 103 h 2170"/>
                <a:gd name="T8" fmla="*/ 0 w 2202"/>
                <a:gd name="T9" fmla="*/ 126 h 2170"/>
                <a:gd name="T10" fmla="*/ 23 w 2202"/>
                <a:gd name="T11" fmla="*/ 155 h 2170"/>
                <a:gd name="T12" fmla="*/ 19 w 2202"/>
                <a:gd name="T13" fmla="*/ 196 h 2170"/>
                <a:gd name="T14" fmla="*/ 11 w 2202"/>
                <a:gd name="T15" fmla="*/ 217 h 2170"/>
                <a:gd name="T16" fmla="*/ 30 w 2202"/>
                <a:gd name="T17" fmla="*/ 226 h 2170"/>
                <a:gd name="T18" fmla="*/ 56 w 2202"/>
                <a:gd name="T19" fmla="*/ 223 h 2170"/>
                <a:gd name="T20" fmla="*/ 95 w 2202"/>
                <a:gd name="T21" fmla="*/ 257 h 2170"/>
                <a:gd name="T22" fmla="*/ 153 w 2202"/>
                <a:gd name="T23" fmla="*/ 297 h 2170"/>
                <a:gd name="T24" fmla="*/ 142 w 2202"/>
                <a:gd name="T25" fmla="*/ 326 h 2170"/>
                <a:gd name="T26" fmla="*/ 154 w 2202"/>
                <a:gd name="T27" fmla="*/ 341 h 2170"/>
                <a:gd name="T28" fmla="*/ 154 w 2202"/>
                <a:gd name="T29" fmla="*/ 367 h 2170"/>
                <a:gd name="T30" fmla="*/ 162 w 2202"/>
                <a:gd name="T31" fmla="*/ 391 h 2170"/>
                <a:gd name="T32" fmla="*/ 186 w 2202"/>
                <a:gd name="T33" fmla="*/ 402 h 2170"/>
                <a:gd name="T34" fmla="*/ 204 w 2202"/>
                <a:gd name="T35" fmla="*/ 411 h 2170"/>
                <a:gd name="T36" fmla="*/ 400 w 2202"/>
                <a:gd name="T37" fmla="*/ 381 h 2170"/>
                <a:gd name="T38" fmla="*/ 400 w 2202"/>
                <a:gd name="T39" fmla="*/ 341 h 2170"/>
                <a:gd name="T40" fmla="*/ 383 w 2202"/>
                <a:gd name="T41" fmla="*/ 324 h 2170"/>
                <a:gd name="T42" fmla="*/ 380 w 2202"/>
                <a:gd name="T43" fmla="*/ 294 h 2170"/>
                <a:gd name="T44" fmla="*/ 383 w 2202"/>
                <a:gd name="T45" fmla="*/ 267 h 2170"/>
                <a:gd name="T46" fmla="*/ 389 w 2202"/>
                <a:gd name="T47" fmla="*/ 256 h 2170"/>
                <a:gd name="T48" fmla="*/ 383 w 2202"/>
                <a:gd name="T49" fmla="*/ 227 h 2170"/>
                <a:gd name="T50" fmla="*/ 389 w 2202"/>
                <a:gd name="T51" fmla="*/ 205 h 2170"/>
                <a:gd name="T52" fmla="*/ 389 w 2202"/>
                <a:gd name="T53" fmla="*/ 188 h 2170"/>
                <a:gd name="T54" fmla="*/ 417 w 2202"/>
                <a:gd name="T55" fmla="*/ 125 h 2170"/>
                <a:gd name="T56" fmla="*/ 411 w 2202"/>
                <a:gd name="T57" fmla="*/ 108 h 2170"/>
                <a:gd name="T58" fmla="*/ 400 w 2202"/>
                <a:gd name="T59" fmla="*/ 125 h 2170"/>
                <a:gd name="T60" fmla="*/ 389 w 2202"/>
                <a:gd name="T61" fmla="*/ 142 h 2170"/>
                <a:gd name="T62" fmla="*/ 383 w 2202"/>
                <a:gd name="T63" fmla="*/ 159 h 2170"/>
                <a:gd name="T64" fmla="*/ 355 w 2202"/>
                <a:gd name="T65" fmla="*/ 199 h 2170"/>
                <a:gd name="T66" fmla="*/ 355 w 2202"/>
                <a:gd name="T67" fmla="*/ 176 h 2170"/>
                <a:gd name="T68" fmla="*/ 356 w 2202"/>
                <a:gd name="T69" fmla="*/ 155 h 2170"/>
                <a:gd name="T70" fmla="*/ 368 w 2202"/>
                <a:gd name="T71" fmla="*/ 135 h 2170"/>
                <a:gd name="T72" fmla="*/ 366 w 2202"/>
                <a:gd name="T73" fmla="*/ 108 h 2170"/>
                <a:gd name="T74" fmla="*/ 349 w 2202"/>
                <a:gd name="T75" fmla="*/ 91 h 2170"/>
                <a:gd name="T76" fmla="*/ 348 w 2202"/>
                <a:gd name="T77" fmla="*/ 79 h 2170"/>
                <a:gd name="T78" fmla="*/ 320 w 2202"/>
                <a:gd name="T79" fmla="*/ 57 h 2170"/>
                <a:gd name="T80" fmla="*/ 286 w 2202"/>
                <a:gd name="T81" fmla="*/ 63 h 2170"/>
                <a:gd name="T82" fmla="*/ 281 w 2202"/>
                <a:gd name="T83" fmla="*/ 51 h 2170"/>
                <a:gd name="T84" fmla="*/ 260 w 2202"/>
                <a:gd name="T85" fmla="*/ 52 h 2170"/>
                <a:gd name="T86" fmla="*/ 233 w 2202"/>
                <a:gd name="T87" fmla="*/ 50 h 2170"/>
                <a:gd name="T88" fmla="*/ 201 w 2202"/>
                <a:gd name="T89" fmla="*/ 51 h 2170"/>
                <a:gd name="T90" fmla="*/ 184 w 2202"/>
                <a:gd name="T91" fmla="*/ 38 h 2170"/>
                <a:gd name="T92" fmla="*/ 173 w 2202"/>
                <a:gd name="T93" fmla="*/ 23 h 2170"/>
                <a:gd name="T94" fmla="*/ 127 w 2202"/>
                <a:gd name="T95" fmla="*/ 23 h 2170"/>
                <a:gd name="T96" fmla="*/ 122 w 2202"/>
                <a:gd name="T97" fmla="*/ 0 h 2170"/>
                <a:gd name="T98" fmla="*/ 70 w 2202"/>
                <a:gd name="T99" fmla="*/ 23 h 2170"/>
                <a:gd name="T100" fmla="*/ 51 w 2202"/>
                <a:gd name="T101" fmla="*/ 13 h 21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2" h="2170">
                  <a:moveTo>
                    <a:pt x="267" y="70"/>
                  </a:moveTo>
                  <a:lnTo>
                    <a:pt x="150" y="216"/>
                  </a:lnTo>
                  <a:lnTo>
                    <a:pt x="209" y="400"/>
                  </a:lnTo>
                  <a:lnTo>
                    <a:pt x="102" y="544"/>
                  </a:lnTo>
                  <a:lnTo>
                    <a:pt x="0" y="667"/>
                  </a:lnTo>
                  <a:lnTo>
                    <a:pt x="119" y="820"/>
                  </a:lnTo>
                  <a:lnTo>
                    <a:pt x="102" y="1035"/>
                  </a:lnTo>
                  <a:lnTo>
                    <a:pt x="59" y="1146"/>
                  </a:lnTo>
                  <a:lnTo>
                    <a:pt x="158" y="1195"/>
                  </a:lnTo>
                  <a:lnTo>
                    <a:pt x="297" y="1177"/>
                  </a:lnTo>
                  <a:lnTo>
                    <a:pt x="501" y="1359"/>
                  </a:lnTo>
                  <a:lnTo>
                    <a:pt x="809" y="1567"/>
                  </a:lnTo>
                  <a:lnTo>
                    <a:pt x="750" y="1723"/>
                  </a:lnTo>
                  <a:lnTo>
                    <a:pt x="814" y="1802"/>
                  </a:lnTo>
                  <a:lnTo>
                    <a:pt x="814" y="1938"/>
                  </a:lnTo>
                  <a:lnTo>
                    <a:pt x="854" y="2066"/>
                  </a:lnTo>
                  <a:lnTo>
                    <a:pt x="982" y="2122"/>
                  </a:lnTo>
                  <a:lnTo>
                    <a:pt x="1078" y="2170"/>
                  </a:lnTo>
                  <a:lnTo>
                    <a:pt x="2112" y="2010"/>
                  </a:lnTo>
                  <a:lnTo>
                    <a:pt x="2112" y="1800"/>
                  </a:lnTo>
                  <a:lnTo>
                    <a:pt x="2022" y="1710"/>
                  </a:lnTo>
                  <a:lnTo>
                    <a:pt x="2006" y="1554"/>
                  </a:lnTo>
                  <a:lnTo>
                    <a:pt x="2022" y="1410"/>
                  </a:lnTo>
                  <a:lnTo>
                    <a:pt x="2052" y="1350"/>
                  </a:lnTo>
                  <a:lnTo>
                    <a:pt x="2022" y="1200"/>
                  </a:lnTo>
                  <a:lnTo>
                    <a:pt x="2052" y="1080"/>
                  </a:lnTo>
                  <a:lnTo>
                    <a:pt x="2052" y="990"/>
                  </a:lnTo>
                  <a:lnTo>
                    <a:pt x="2202" y="660"/>
                  </a:lnTo>
                  <a:lnTo>
                    <a:pt x="2172" y="570"/>
                  </a:lnTo>
                  <a:lnTo>
                    <a:pt x="2112" y="660"/>
                  </a:lnTo>
                  <a:lnTo>
                    <a:pt x="2052" y="750"/>
                  </a:lnTo>
                  <a:lnTo>
                    <a:pt x="2022" y="840"/>
                  </a:lnTo>
                  <a:lnTo>
                    <a:pt x="1872" y="1050"/>
                  </a:lnTo>
                  <a:lnTo>
                    <a:pt x="1872" y="930"/>
                  </a:lnTo>
                  <a:lnTo>
                    <a:pt x="1878" y="818"/>
                  </a:lnTo>
                  <a:lnTo>
                    <a:pt x="1942" y="714"/>
                  </a:lnTo>
                  <a:lnTo>
                    <a:pt x="1932" y="570"/>
                  </a:lnTo>
                  <a:lnTo>
                    <a:pt x="1842" y="480"/>
                  </a:lnTo>
                  <a:lnTo>
                    <a:pt x="1838" y="418"/>
                  </a:lnTo>
                  <a:lnTo>
                    <a:pt x="1692" y="300"/>
                  </a:lnTo>
                  <a:lnTo>
                    <a:pt x="1512" y="330"/>
                  </a:lnTo>
                  <a:lnTo>
                    <a:pt x="1482" y="270"/>
                  </a:lnTo>
                  <a:lnTo>
                    <a:pt x="1374" y="274"/>
                  </a:lnTo>
                  <a:lnTo>
                    <a:pt x="1230" y="266"/>
                  </a:lnTo>
                  <a:lnTo>
                    <a:pt x="1062" y="270"/>
                  </a:lnTo>
                  <a:lnTo>
                    <a:pt x="974" y="202"/>
                  </a:lnTo>
                  <a:lnTo>
                    <a:pt x="912" y="120"/>
                  </a:lnTo>
                  <a:lnTo>
                    <a:pt x="672" y="120"/>
                  </a:lnTo>
                  <a:lnTo>
                    <a:pt x="642" y="0"/>
                  </a:lnTo>
                  <a:lnTo>
                    <a:pt x="372" y="120"/>
                  </a:lnTo>
                  <a:lnTo>
                    <a:pt x="267" y="70"/>
                  </a:lnTo>
                  <a:close/>
                </a:path>
              </a:pathLst>
            </a:custGeom>
            <a:solidFill>
              <a:srgbClr val="47325E"/>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46" name="West Virginia">
              <a:extLst>
                <a:ext uri="{FF2B5EF4-FFF2-40B4-BE49-F238E27FC236}">
                  <a16:creationId xmlns:a16="http://schemas.microsoft.com/office/drawing/2014/main" id="{702C9A33-B125-020F-688A-3D3FC6A7F33C}"/>
                </a:ext>
              </a:extLst>
            </p:cNvPr>
            <p:cNvSpPr>
              <a:spLocks/>
            </p:cNvSpPr>
            <p:nvPr/>
          </p:nvSpPr>
          <p:spPr bwMode="auto">
            <a:xfrm>
              <a:off x="6664130" y="2805142"/>
              <a:ext cx="550264" cy="538200"/>
            </a:xfrm>
            <a:custGeom>
              <a:avLst/>
              <a:gdLst>
                <a:gd name="T0" fmla="*/ 100 w 1790"/>
                <a:gd name="T1" fmla="*/ 5 h 1751"/>
                <a:gd name="T2" fmla="*/ 113 w 1790"/>
                <a:gd name="T3" fmla="*/ 0 h 1751"/>
                <a:gd name="T4" fmla="*/ 118 w 1790"/>
                <a:gd name="T5" fmla="*/ 52 h 1751"/>
                <a:gd name="T6" fmla="*/ 130 w 1790"/>
                <a:gd name="T7" fmla="*/ 72 h 1751"/>
                <a:gd name="T8" fmla="*/ 166 w 1790"/>
                <a:gd name="T9" fmla="*/ 65 h 1751"/>
                <a:gd name="T10" fmla="*/ 187 w 1790"/>
                <a:gd name="T11" fmla="*/ 49 h 1751"/>
                <a:gd name="T12" fmla="*/ 204 w 1790"/>
                <a:gd name="T13" fmla="*/ 49 h 1751"/>
                <a:gd name="T14" fmla="*/ 209 w 1790"/>
                <a:gd name="T15" fmla="*/ 78 h 1751"/>
                <a:gd name="T16" fmla="*/ 221 w 1790"/>
                <a:gd name="T17" fmla="*/ 78 h 1751"/>
                <a:gd name="T18" fmla="*/ 239 w 1790"/>
                <a:gd name="T19" fmla="*/ 58 h 1751"/>
                <a:gd name="T20" fmla="*/ 259 w 1790"/>
                <a:gd name="T21" fmla="*/ 46 h 1751"/>
                <a:gd name="T22" fmla="*/ 280 w 1790"/>
                <a:gd name="T23" fmla="*/ 42 h 1751"/>
                <a:gd name="T24" fmla="*/ 289 w 1790"/>
                <a:gd name="T25" fmla="*/ 27 h 1751"/>
                <a:gd name="T26" fmla="*/ 302 w 1790"/>
                <a:gd name="T27" fmla="*/ 21 h 1751"/>
                <a:gd name="T28" fmla="*/ 318 w 1790"/>
                <a:gd name="T29" fmla="*/ 32 h 1751"/>
                <a:gd name="T30" fmla="*/ 339 w 1790"/>
                <a:gd name="T31" fmla="*/ 40 h 1751"/>
                <a:gd name="T32" fmla="*/ 321 w 1790"/>
                <a:gd name="T33" fmla="*/ 61 h 1751"/>
                <a:gd name="T34" fmla="*/ 295 w 1790"/>
                <a:gd name="T35" fmla="*/ 62 h 1751"/>
                <a:gd name="T36" fmla="*/ 287 w 1790"/>
                <a:gd name="T37" fmla="*/ 74 h 1751"/>
                <a:gd name="T38" fmla="*/ 279 w 1790"/>
                <a:gd name="T39" fmla="*/ 100 h 1751"/>
                <a:gd name="T40" fmla="*/ 225 w 1790"/>
                <a:gd name="T41" fmla="*/ 188 h 1751"/>
                <a:gd name="T42" fmla="*/ 203 w 1790"/>
                <a:gd name="T43" fmla="*/ 206 h 1751"/>
                <a:gd name="T44" fmla="*/ 187 w 1790"/>
                <a:gd name="T45" fmla="*/ 245 h 1751"/>
                <a:gd name="T46" fmla="*/ 191 w 1790"/>
                <a:gd name="T47" fmla="*/ 268 h 1751"/>
                <a:gd name="T48" fmla="*/ 185 w 1790"/>
                <a:gd name="T49" fmla="*/ 286 h 1751"/>
                <a:gd name="T50" fmla="*/ 149 w 1790"/>
                <a:gd name="T51" fmla="*/ 303 h 1751"/>
                <a:gd name="T52" fmla="*/ 121 w 1790"/>
                <a:gd name="T53" fmla="*/ 317 h 1751"/>
                <a:gd name="T54" fmla="*/ 106 w 1790"/>
                <a:gd name="T55" fmla="*/ 332 h 1751"/>
                <a:gd name="T56" fmla="*/ 92 w 1790"/>
                <a:gd name="T57" fmla="*/ 327 h 1751"/>
                <a:gd name="T58" fmla="*/ 80 w 1790"/>
                <a:gd name="T59" fmla="*/ 312 h 1751"/>
                <a:gd name="T60" fmla="*/ 59 w 1790"/>
                <a:gd name="T61" fmla="*/ 314 h 1751"/>
                <a:gd name="T62" fmla="*/ 35 w 1790"/>
                <a:gd name="T63" fmla="*/ 296 h 1751"/>
                <a:gd name="T64" fmla="*/ 15 w 1790"/>
                <a:gd name="T65" fmla="*/ 279 h 1751"/>
                <a:gd name="T66" fmla="*/ 11 w 1790"/>
                <a:gd name="T67" fmla="*/ 245 h 1751"/>
                <a:gd name="T68" fmla="*/ 0 w 1790"/>
                <a:gd name="T69" fmla="*/ 233 h 1751"/>
                <a:gd name="T70" fmla="*/ 23 w 1790"/>
                <a:gd name="T71" fmla="*/ 210 h 1751"/>
                <a:gd name="T72" fmla="*/ 28 w 1790"/>
                <a:gd name="T73" fmla="*/ 191 h 1751"/>
                <a:gd name="T74" fmla="*/ 28 w 1790"/>
                <a:gd name="T75" fmla="*/ 165 h 1751"/>
                <a:gd name="T76" fmla="*/ 47 w 1790"/>
                <a:gd name="T77" fmla="*/ 168 h 1751"/>
                <a:gd name="T78" fmla="*/ 54 w 1790"/>
                <a:gd name="T79" fmla="*/ 150 h 1751"/>
                <a:gd name="T80" fmla="*/ 52 w 1790"/>
                <a:gd name="T81" fmla="*/ 131 h 1751"/>
                <a:gd name="T82" fmla="*/ 71 w 1790"/>
                <a:gd name="T83" fmla="*/ 117 h 1751"/>
                <a:gd name="T84" fmla="*/ 91 w 1790"/>
                <a:gd name="T85" fmla="*/ 90 h 1751"/>
                <a:gd name="T86" fmla="*/ 103 w 1790"/>
                <a:gd name="T87" fmla="*/ 56 h 1751"/>
                <a:gd name="T88" fmla="*/ 100 w 1790"/>
                <a:gd name="T89" fmla="*/ 5 h 17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90" h="1751">
                  <a:moveTo>
                    <a:pt x="527" y="24"/>
                  </a:moveTo>
                  <a:lnTo>
                    <a:pt x="599" y="0"/>
                  </a:lnTo>
                  <a:lnTo>
                    <a:pt x="623" y="272"/>
                  </a:lnTo>
                  <a:lnTo>
                    <a:pt x="686" y="380"/>
                  </a:lnTo>
                  <a:lnTo>
                    <a:pt x="879" y="344"/>
                  </a:lnTo>
                  <a:lnTo>
                    <a:pt x="986" y="260"/>
                  </a:lnTo>
                  <a:lnTo>
                    <a:pt x="1076" y="260"/>
                  </a:lnTo>
                  <a:lnTo>
                    <a:pt x="1106" y="410"/>
                  </a:lnTo>
                  <a:lnTo>
                    <a:pt x="1166" y="410"/>
                  </a:lnTo>
                  <a:lnTo>
                    <a:pt x="1262" y="304"/>
                  </a:lnTo>
                  <a:lnTo>
                    <a:pt x="1366" y="240"/>
                  </a:lnTo>
                  <a:lnTo>
                    <a:pt x="1478" y="224"/>
                  </a:lnTo>
                  <a:lnTo>
                    <a:pt x="1526" y="140"/>
                  </a:lnTo>
                  <a:lnTo>
                    <a:pt x="1595" y="113"/>
                  </a:lnTo>
                  <a:lnTo>
                    <a:pt x="1678" y="168"/>
                  </a:lnTo>
                  <a:lnTo>
                    <a:pt x="1790" y="213"/>
                  </a:lnTo>
                  <a:lnTo>
                    <a:pt x="1694" y="320"/>
                  </a:lnTo>
                  <a:lnTo>
                    <a:pt x="1560" y="325"/>
                  </a:lnTo>
                  <a:lnTo>
                    <a:pt x="1513" y="391"/>
                  </a:lnTo>
                  <a:lnTo>
                    <a:pt x="1471" y="525"/>
                  </a:lnTo>
                  <a:lnTo>
                    <a:pt x="1190" y="991"/>
                  </a:lnTo>
                  <a:lnTo>
                    <a:pt x="1070" y="1087"/>
                  </a:lnTo>
                  <a:lnTo>
                    <a:pt x="987" y="1291"/>
                  </a:lnTo>
                  <a:lnTo>
                    <a:pt x="1007" y="1414"/>
                  </a:lnTo>
                  <a:lnTo>
                    <a:pt x="976" y="1510"/>
                  </a:lnTo>
                  <a:lnTo>
                    <a:pt x="786" y="1597"/>
                  </a:lnTo>
                  <a:lnTo>
                    <a:pt x="639" y="1672"/>
                  </a:lnTo>
                  <a:lnTo>
                    <a:pt x="561" y="1751"/>
                  </a:lnTo>
                  <a:lnTo>
                    <a:pt x="486" y="1726"/>
                  </a:lnTo>
                  <a:lnTo>
                    <a:pt x="423" y="1648"/>
                  </a:lnTo>
                  <a:lnTo>
                    <a:pt x="309" y="1654"/>
                  </a:lnTo>
                  <a:lnTo>
                    <a:pt x="186" y="1562"/>
                  </a:lnTo>
                  <a:lnTo>
                    <a:pt x="77" y="1471"/>
                  </a:lnTo>
                  <a:lnTo>
                    <a:pt x="56" y="1292"/>
                  </a:lnTo>
                  <a:lnTo>
                    <a:pt x="0" y="1228"/>
                  </a:lnTo>
                  <a:lnTo>
                    <a:pt x="123" y="1109"/>
                  </a:lnTo>
                  <a:lnTo>
                    <a:pt x="150" y="1007"/>
                  </a:lnTo>
                  <a:lnTo>
                    <a:pt x="150" y="872"/>
                  </a:lnTo>
                  <a:lnTo>
                    <a:pt x="248" y="886"/>
                  </a:lnTo>
                  <a:lnTo>
                    <a:pt x="287" y="792"/>
                  </a:lnTo>
                  <a:lnTo>
                    <a:pt x="273" y="690"/>
                  </a:lnTo>
                  <a:lnTo>
                    <a:pt x="374" y="615"/>
                  </a:lnTo>
                  <a:lnTo>
                    <a:pt x="483" y="476"/>
                  </a:lnTo>
                  <a:lnTo>
                    <a:pt x="543" y="294"/>
                  </a:lnTo>
                  <a:lnTo>
                    <a:pt x="527" y="24"/>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47" name="Washington DC">
              <a:extLst>
                <a:ext uri="{FF2B5EF4-FFF2-40B4-BE49-F238E27FC236}">
                  <a16:creationId xmlns:a16="http://schemas.microsoft.com/office/drawing/2014/main" id="{D1C85128-601C-82EB-D11C-CEA9AA42C151}"/>
                </a:ext>
              </a:extLst>
            </p:cNvPr>
            <p:cNvSpPr>
              <a:spLocks/>
            </p:cNvSpPr>
            <p:nvPr/>
          </p:nvSpPr>
          <p:spPr bwMode="auto">
            <a:xfrm>
              <a:off x="7237119" y="2868365"/>
              <a:ext cx="38956" cy="35664"/>
            </a:xfrm>
            <a:custGeom>
              <a:avLst/>
              <a:gdLst>
                <a:gd name="T0" fmla="*/ 0 w 51"/>
                <a:gd name="T1" fmla="*/ 8 h 51"/>
                <a:gd name="T2" fmla="*/ 10 w 51"/>
                <a:gd name="T3" fmla="*/ 0 h 51"/>
                <a:gd name="T4" fmla="*/ 24 w 51"/>
                <a:gd name="T5" fmla="*/ 10 h 51"/>
                <a:gd name="T6" fmla="*/ 10 w 51"/>
                <a:gd name="T7" fmla="*/ 22 h 51"/>
                <a:gd name="T8" fmla="*/ 10 w 51"/>
                <a:gd name="T9" fmla="*/ 16 h 51"/>
                <a:gd name="T10" fmla="*/ 9 w 51"/>
                <a:gd name="T11" fmla="*/ 13 h 51"/>
                <a:gd name="T12" fmla="*/ 6 w 51"/>
                <a:gd name="T13" fmla="*/ 10 h 51"/>
                <a:gd name="T14" fmla="*/ 0 w 51"/>
                <a:gd name="T15" fmla="*/ 8 h 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51">
                  <a:moveTo>
                    <a:pt x="0" y="18"/>
                  </a:moveTo>
                  <a:lnTo>
                    <a:pt x="21" y="0"/>
                  </a:lnTo>
                  <a:lnTo>
                    <a:pt x="51" y="24"/>
                  </a:lnTo>
                  <a:lnTo>
                    <a:pt x="22" y="51"/>
                  </a:lnTo>
                  <a:lnTo>
                    <a:pt x="22" y="38"/>
                  </a:lnTo>
                  <a:lnTo>
                    <a:pt x="20" y="29"/>
                  </a:lnTo>
                  <a:lnTo>
                    <a:pt x="12" y="23"/>
                  </a:lnTo>
                  <a:lnTo>
                    <a:pt x="0" y="18"/>
                  </a:lnTo>
                  <a:close/>
                </a:path>
              </a:pathLst>
            </a:custGeom>
            <a:grp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48" name="Washington">
              <a:extLst>
                <a:ext uri="{FF2B5EF4-FFF2-40B4-BE49-F238E27FC236}">
                  <a16:creationId xmlns:a16="http://schemas.microsoft.com/office/drawing/2014/main" id="{2A459424-A8FC-6EE2-122E-24DEFFA96F20}"/>
                </a:ext>
              </a:extLst>
            </p:cNvPr>
            <p:cNvSpPr>
              <a:spLocks/>
            </p:cNvSpPr>
            <p:nvPr/>
          </p:nvSpPr>
          <p:spPr bwMode="auto">
            <a:xfrm>
              <a:off x="1953607" y="1530972"/>
              <a:ext cx="827831" cy="603043"/>
            </a:xfrm>
            <a:custGeom>
              <a:avLst/>
              <a:gdLst>
                <a:gd name="T0" fmla="*/ 17 w 2687"/>
                <a:gd name="T1" fmla="*/ 25 h 1962"/>
                <a:gd name="T2" fmla="*/ 0 w 2687"/>
                <a:gd name="T3" fmla="*/ 48 h 1962"/>
                <a:gd name="T4" fmla="*/ 11 w 2687"/>
                <a:gd name="T5" fmla="*/ 93 h 1962"/>
                <a:gd name="T6" fmla="*/ 15 w 2687"/>
                <a:gd name="T7" fmla="*/ 130 h 1962"/>
                <a:gd name="T8" fmla="*/ 6 w 2687"/>
                <a:gd name="T9" fmla="*/ 150 h 1962"/>
                <a:gd name="T10" fmla="*/ 22 w 2687"/>
                <a:gd name="T11" fmla="*/ 166 h 1962"/>
                <a:gd name="T12" fmla="*/ 6 w 2687"/>
                <a:gd name="T13" fmla="*/ 173 h 1962"/>
                <a:gd name="T14" fmla="*/ 23 w 2687"/>
                <a:gd name="T15" fmla="*/ 196 h 1962"/>
                <a:gd name="T16" fmla="*/ 0 w 2687"/>
                <a:gd name="T17" fmla="*/ 213 h 1962"/>
                <a:gd name="T18" fmla="*/ 6 w 2687"/>
                <a:gd name="T19" fmla="*/ 230 h 1962"/>
                <a:gd name="T20" fmla="*/ 28 w 2687"/>
                <a:gd name="T21" fmla="*/ 236 h 1962"/>
                <a:gd name="T22" fmla="*/ 47 w 2687"/>
                <a:gd name="T23" fmla="*/ 246 h 1962"/>
                <a:gd name="T24" fmla="*/ 63 w 2687"/>
                <a:gd name="T25" fmla="*/ 264 h 1962"/>
                <a:gd name="T26" fmla="*/ 74 w 2687"/>
                <a:gd name="T27" fmla="*/ 309 h 1962"/>
                <a:gd name="T28" fmla="*/ 106 w 2687"/>
                <a:gd name="T29" fmla="*/ 310 h 1962"/>
                <a:gd name="T30" fmla="*/ 142 w 2687"/>
                <a:gd name="T31" fmla="*/ 309 h 1962"/>
                <a:gd name="T32" fmla="*/ 171 w 2687"/>
                <a:gd name="T33" fmla="*/ 338 h 1962"/>
                <a:gd name="T34" fmla="*/ 194 w 2687"/>
                <a:gd name="T35" fmla="*/ 321 h 1962"/>
                <a:gd name="T36" fmla="*/ 233 w 2687"/>
                <a:gd name="T37" fmla="*/ 344 h 1962"/>
                <a:gd name="T38" fmla="*/ 285 w 2687"/>
                <a:gd name="T39" fmla="*/ 338 h 1962"/>
                <a:gd name="T40" fmla="*/ 302 w 2687"/>
                <a:gd name="T41" fmla="*/ 349 h 1962"/>
                <a:gd name="T42" fmla="*/ 322 w 2687"/>
                <a:gd name="T43" fmla="*/ 341 h 1962"/>
                <a:gd name="T44" fmla="*/ 352 w 2687"/>
                <a:gd name="T45" fmla="*/ 341 h 1962"/>
                <a:gd name="T46" fmla="*/ 371 w 2687"/>
                <a:gd name="T47" fmla="*/ 354 h 1962"/>
                <a:gd name="T48" fmla="*/ 427 w 2687"/>
                <a:gd name="T49" fmla="*/ 372 h 1962"/>
                <a:gd name="T50" fmla="*/ 456 w 2687"/>
                <a:gd name="T51" fmla="*/ 372 h 1962"/>
                <a:gd name="T52" fmla="*/ 456 w 2687"/>
                <a:gd name="T53" fmla="*/ 338 h 1962"/>
                <a:gd name="T54" fmla="*/ 467 w 2687"/>
                <a:gd name="T55" fmla="*/ 298 h 1962"/>
                <a:gd name="T56" fmla="*/ 478 w 2687"/>
                <a:gd name="T57" fmla="*/ 258 h 1962"/>
                <a:gd name="T58" fmla="*/ 484 w 2687"/>
                <a:gd name="T59" fmla="*/ 232 h 1962"/>
                <a:gd name="T60" fmla="*/ 482 w 2687"/>
                <a:gd name="T61" fmla="*/ 196 h 1962"/>
                <a:gd name="T62" fmla="*/ 494 w 2687"/>
                <a:gd name="T63" fmla="*/ 159 h 1962"/>
                <a:gd name="T64" fmla="*/ 501 w 2687"/>
                <a:gd name="T65" fmla="*/ 120 h 1962"/>
                <a:gd name="T66" fmla="*/ 510 w 2687"/>
                <a:gd name="T67" fmla="*/ 102 h 1962"/>
                <a:gd name="T68" fmla="*/ 439 w 2687"/>
                <a:gd name="T69" fmla="*/ 78 h 1962"/>
                <a:gd name="T70" fmla="*/ 389 w 2687"/>
                <a:gd name="T71" fmla="*/ 66 h 1962"/>
                <a:gd name="T72" fmla="*/ 321 w 2687"/>
                <a:gd name="T73" fmla="*/ 54 h 1962"/>
                <a:gd name="T74" fmla="*/ 234 w 2687"/>
                <a:gd name="T75" fmla="*/ 35 h 1962"/>
                <a:gd name="T76" fmla="*/ 137 w 2687"/>
                <a:gd name="T77" fmla="*/ 0 h 1962"/>
                <a:gd name="T78" fmla="*/ 144 w 2687"/>
                <a:gd name="T79" fmla="*/ 26 h 1962"/>
                <a:gd name="T80" fmla="*/ 165 w 2687"/>
                <a:gd name="T81" fmla="*/ 42 h 1962"/>
                <a:gd name="T82" fmla="*/ 142 w 2687"/>
                <a:gd name="T83" fmla="*/ 53 h 1962"/>
                <a:gd name="T84" fmla="*/ 159 w 2687"/>
                <a:gd name="T85" fmla="*/ 71 h 1962"/>
                <a:gd name="T86" fmla="*/ 154 w 2687"/>
                <a:gd name="T87" fmla="*/ 116 h 1962"/>
                <a:gd name="T88" fmla="*/ 137 w 2687"/>
                <a:gd name="T89" fmla="*/ 162 h 1962"/>
                <a:gd name="T90" fmla="*/ 108 w 2687"/>
                <a:gd name="T91" fmla="*/ 179 h 1962"/>
                <a:gd name="T92" fmla="*/ 120 w 2687"/>
                <a:gd name="T93" fmla="*/ 156 h 1962"/>
                <a:gd name="T94" fmla="*/ 125 w 2687"/>
                <a:gd name="T95" fmla="*/ 156 h 1962"/>
                <a:gd name="T96" fmla="*/ 125 w 2687"/>
                <a:gd name="T97" fmla="*/ 110 h 1962"/>
                <a:gd name="T98" fmla="*/ 114 w 2687"/>
                <a:gd name="T99" fmla="*/ 105 h 1962"/>
                <a:gd name="T100" fmla="*/ 125 w 2687"/>
                <a:gd name="T101" fmla="*/ 93 h 1962"/>
                <a:gd name="T102" fmla="*/ 104 w 2687"/>
                <a:gd name="T103" fmla="*/ 73 h 1962"/>
                <a:gd name="T104" fmla="*/ 80 w 2687"/>
                <a:gd name="T105" fmla="*/ 62 h 1962"/>
                <a:gd name="T106" fmla="*/ 54 w 2687"/>
                <a:gd name="T107" fmla="*/ 50 h 1962"/>
                <a:gd name="T108" fmla="*/ 17 w 2687"/>
                <a:gd name="T109" fmla="*/ 25 h 19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87" h="1962">
                  <a:moveTo>
                    <a:pt x="90" y="132"/>
                  </a:moveTo>
                  <a:lnTo>
                    <a:pt x="0" y="252"/>
                  </a:lnTo>
                  <a:lnTo>
                    <a:pt x="60" y="492"/>
                  </a:lnTo>
                  <a:lnTo>
                    <a:pt x="81" y="686"/>
                  </a:lnTo>
                  <a:lnTo>
                    <a:pt x="30" y="792"/>
                  </a:lnTo>
                  <a:lnTo>
                    <a:pt x="118" y="878"/>
                  </a:lnTo>
                  <a:lnTo>
                    <a:pt x="30" y="912"/>
                  </a:lnTo>
                  <a:lnTo>
                    <a:pt x="120" y="1032"/>
                  </a:lnTo>
                  <a:lnTo>
                    <a:pt x="0" y="1122"/>
                  </a:lnTo>
                  <a:lnTo>
                    <a:pt x="30" y="1212"/>
                  </a:lnTo>
                  <a:lnTo>
                    <a:pt x="145" y="1243"/>
                  </a:lnTo>
                  <a:lnTo>
                    <a:pt x="246" y="1298"/>
                  </a:lnTo>
                  <a:lnTo>
                    <a:pt x="330" y="1392"/>
                  </a:lnTo>
                  <a:lnTo>
                    <a:pt x="390" y="1632"/>
                  </a:lnTo>
                  <a:lnTo>
                    <a:pt x="556" y="1637"/>
                  </a:lnTo>
                  <a:lnTo>
                    <a:pt x="750" y="1632"/>
                  </a:lnTo>
                  <a:lnTo>
                    <a:pt x="900" y="1782"/>
                  </a:lnTo>
                  <a:lnTo>
                    <a:pt x="1020" y="1692"/>
                  </a:lnTo>
                  <a:lnTo>
                    <a:pt x="1230" y="1812"/>
                  </a:lnTo>
                  <a:lnTo>
                    <a:pt x="1501" y="1782"/>
                  </a:lnTo>
                  <a:lnTo>
                    <a:pt x="1591" y="1842"/>
                  </a:lnTo>
                  <a:lnTo>
                    <a:pt x="1699" y="1801"/>
                  </a:lnTo>
                  <a:lnTo>
                    <a:pt x="1855" y="1801"/>
                  </a:lnTo>
                  <a:lnTo>
                    <a:pt x="1955" y="1865"/>
                  </a:lnTo>
                  <a:lnTo>
                    <a:pt x="2251" y="1962"/>
                  </a:lnTo>
                  <a:lnTo>
                    <a:pt x="2401" y="1962"/>
                  </a:lnTo>
                  <a:lnTo>
                    <a:pt x="2401" y="1782"/>
                  </a:lnTo>
                  <a:lnTo>
                    <a:pt x="2461" y="1572"/>
                  </a:lnTo>
                  <a:lnTo>
                    <a:pt x="2521" y="1362"/>
                  </a:lnTo>
                  <a:lnTo>
                    <a:pt x="2550" y="1225"/>
                  </a:lnTo>
                  <a:lnTo>
                    <a:pt x="2540" y="1033"/>
                  </a:lnTo>
                  <a:lnTo>
                    <a:pt x="2604" y="841"/>
                  </a:lnTo>
                  <a:lnTo>
                    <a:pt x="2641" y="631"/>
                  </a:lnTo>
                  <a:lnTo>
                    <a:pt x="2687" y="539"/>
                  </a:lnTo>
                  <a:lnTo>
                    <a:pt x="2312" y="411"/>
                  </a:lnTo>
                  <a:lnTo>
                    <a:pt x="2047" y="347"/>
                  </a:lnTo>
                  <a:lnTo>
                    <a:pt x="1690" y="283"/>
                  </a:lnTo>
                  <a:lnTo>
                    <a:pt x="1233" y="183"/>
                  </a:lnTo>
                  <a:lnTo>
                    <a:pt x="721" y="0"/>
                  </a:lnTo>
                  <a:lnTo>
                    <a:pt x="758" y="137"/>
                  </a:lnTo>
                  <a:lnTo>
                    <a:pt x="870" y="222"/>
                  </a:lnTo>
                  <a:lnTo>
                    <a:pt x="750" y="282"/>
                  </a:lnTo>
                  <a:lnTo>
                    <a:pt x="840" y="372"/>
                  </a:lnTo>
                  <a:lnTo>
                    <a:pt x="810" y="612"/>
                  </a:lnTo>
                  <a:lnTo>
                    <a:pt x="720" y="852"/>
                  </a:lnTo>
                  <a:lnTo>
                    <a:pt x="570" y="942"/>
                  </a:lnTo>
                  <a:lnTo>
                    <a:pt x="630" y="822"/>
                  </a:lnTo>
                  <a:lnTo>
                    <a:pt x="660" y="822"/>
                  </a:lnTo>
                  <a:lnTo>
                    <a:pt x="660" y="582"/>
                  </a:lnTo>
                  <a:lnTo>
                    <a:pt x="600" y="552"/>
                  </a:lnTo>
                  <a:lnTo>
                    <a:pt x="660" y="492"/>
                  </a:lnTo>
                  <a:lnTo>
                    <a:pt x="547" y="384"/>
                  </a:lnTo>
                  <a:lnTo>
                    <a:pt x="419" y="329"/>
                  </a:lnTo>
                  <a:lnTo>
                    <a:pt x="282" y="265"/>
                  </a:lnTo>
                  <a:lnTo>
                    <a:pt x="90" y="132"/>
                  </a:lnTo>
                  <a:close/>
                </a:path>
              </a:pathLst>
            </a:custGeom>
            <a:solidFill>
              <a:srgbClr val="87729E"/>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49" name="Virgina">
              <a:extLst>
                <a:ext uri="{FF2B5EF4-FFF2-40B4-BE49-F238E27FC236}">
                  <a16:creationId xmlns:a16="http://schemas.microsoft.com/office/drawing/2014/main" id="{DA6E419A-B3BA-601A-8AA3-F137026B3A27}"/>
                </a:ext>
              </a:extLst>
            </p:cNvPr>
            <p:cNvSpPr>
              <a:spLocks/>
            </p:cNvSpPr>
            <p:nvPr/>
          </p:nvSpPr>
          <p:spPr bwMode="auto">
            <a:xfrm>
              <a:off x="6703086" y="2869987"/>
              <a:ext cx="809976" cy="594938"/>
            </a:xfrm>
            <a:custGeom>
              <a:avLst/>
              <a:gdLst>
                <a:gd name="T0" fmla="*/ 10 w 2495"/>
                <a:gd name="T1" fmla="*/ 256 h 1836"/>
                <a:gd name="T2" fmla="*/ 35 w 2495"/>
                <a:gd name="T3" fmla="*/ 274 h 1836"/>
                <a:gd name="T4" fmla="*/ 55 w 2495"/>
                <a:gd name="T5" fmla="*/ 272 h 1836"/>
                <a:gd name="T6" fmla="*/ 68 w 2495"/>
                <a:gd name="T7" fmla="*/ 288 h 1836"/>
                <a:gd name="T8" fmla="*/ 82 w 2495"/>
                <a:gd name="T9" fmla="*/ 292 h 1836"/>
                <a:gd name="T10" fmla="*/ 97 w 2495"/>
                <a:gd name="T11" fmla="*/ 277 h 1836"/>
                <a:gd name="T12" fmla="*/ 127 w 2495"/>
                <a:gd name="T13" fmla="*/ 262 h 1836"/>
                <a:gd name="T14" fmla="*/ 161 w 2495"/>
                <a:gd name="T15" fmla="*/ 247 h 1836"/>
                <a:gd name="T16" fmla="*/ 167 w 2495"/>
                <a:gd name="T17" fmla="*/ 228 h 1836"/>
                <a:gd name="T18" fmla="*/ 162 w 2495"/>
                <a:gd name="T19" fmla="*/ 205 h 1836"/>
                <a:gd name="T20" fmla="*/ 179 w 2495"/>
                <a:gd name="T21" fmla="*/ 166 h 1836"/>
                <a:gd name="T22" fmla="*/ 202 w 2495"/>
                <a:gd name="T23" fmla="*/ 148 h 1836"/>
                <a:gd name="T24" fmla="*/ 229 w 2495"/>
                <a:gd name="T25" fmla="*/ 102 h 1836"/>
                <a:gd name="T26" fmla="*/ 255 w 2495"/>
                <a:gd name="T27" fmla="*/ 60 h 1836"/>
                <a:gd name="T28" fmla="*/ 262 w 2495"/>
                <a:gd name="T29" fmla="*/ 34 h 1836"/>
                <a:gd name="T30" fmla="*/ 272 w 2495"/>
                <a:gd name="T31" fmla="*/ 22 h 1836"/>
                <a:gd name="T32" fmla="*/ 297 w 2495"/>
                <a:gd name="T33" fmla="*/ 20 h 1836"/>
                <a:gd name="T34" fmla="*/ 315 w 2495"/>
                <a:gd name="T35" fmla="*/ 0 h 1836"/>
                <a:gd name="T36" fmla="*/ 339 w 2495"/>
                <a:gd name="T37" fmla="*/ 11 h 1836"/>
                <a:gd name="T38" fmla="*/ 340 w 2495"/>
                <a:gd name="T39" fmla="*/ 16 h 1836"/>
                <a:gd name="T40" fmla="*/ 340 w 2495"/>
                <a:gd name="T41" fmla="*/ 21 h 1836"/>
                <a:gd name="T42" fmla="*/ 338 w 2495"/>
                <a:gd name="T43" fmla="*/ 37 h 1836"/>
                <a:gd name="T44" fmla="*/ 350 w 2495"/>
                <a:gd name="T45" fmla="*/ 57 h 1836"/>
                <a:gd name="T46" fmla="*/ 407 w 2495"/>
                <a:gd name="T47" fmla="*/ 91 h 1836"/>
                <a:gd name="T48" fmla="*/ 431 w 2495"/>
                <a:gd name="T49" fmla="*/ 87 h 1836"/>
                <a:gd name="T50" fmla="*/ 452 w 2495"/>
                <a:gd name="T51" fmla="*/ 108 h 1836"/>
                <a:gd name="T52" fmla="*/ 447 w 2495"/>
                <a:gd name="T53" fmla="*/ 119 h 1836"/>
                <a:gd name="T54" fmla="*/ 424 w 2495"/>
                <a:gd name="T55" fmla="*/ 108 h 1836"/>
                <a:gd name="T56" fmla="*/ 418 w 2495"/>
                <a:gd name="T57" fmla="*/ 131 h 1836"/>
                <a:gd name="T58" fmla="*/ 458 w 2495"/>
                <a:gd name="T59" fmla="*/ 142 h 1836"/>
                <a:gd name="T60" fmla="*/ 464 w 2495"/>
                <a:gd name="T61" fmla="*/ 171 h 1836"/>
                <a:gd name="T62" fmla="*/ 447 w 2495"/>
                <a:gd name="T63" fmla="*/ 188 h 1836"/>
                <a:gd name="T64" fmla="*/ 482 w 2495"/>
                <a:gd name="T65" fmla="*/ 193 h 1836"/>
                <a:gd name="T66" fmla="*/ 499 w 2495"/>
                <a:gd name="T67" fmla="*/ 193 h 1836"/>
                <a:gd name="T68" fmla="*/ 493 w 2495"/>
                <a:gd name="T69" fmla="*/ 217 h 1836"/>
                <a:gd name="T70" fmla="*/ 457 w 2495"/>
                <a:gd name="T71" fmla="*/ 234 h 1836"/>
                <a:gd name="T72" fmla="*/ 414 w 2495"/>
                <a:gd name="T73" fmla="*/ 240 h 1836"/>
                <a:gd name="T74" fmla="*/ 255 w 2495"/>
                <a:gd name="T75" fmla="*/ 287 h 1836"/>
                <a:gd name="T76" fmla="*/ 181 w 2495"/>
                <a:gd name="T77" fmla="*/ 318 h 1836"/>
                <a:gd name="T78" fmla="*/ 80 w 2495"/>
                <a:gd name="T79" fmla="*/ 346 h 1836"/>
                <a:gd name="T80" fmla="*/ 54 w 2495"/>
                <a:gd name="T81" fmla="*/ 359 h 1836"/>
                <a:gd name="T82" fmla="*/ 7 w 2495"/>
                <a:gd name="T83" fmla="*/ 367 h 1836"/>
                <a:gd name="T84" fmla="*/ 11 w 2495"/>
                <a:gd name="T85" fmla="*/ 350 h 1836"/>
                <a:gd name="T86" fmla="*/ 0 w 2495"/>
                <a:gd name="T87" fmla="*/ 324 h 1836"/>
                <a:gd name="T88" fmla="*/ 12 w 2495"/>
                <a:gd name="T89" fmla="*/ 303 h 1836"/>
                <a:gd name="T90" fmla="*/ 13 w 2495"/>
                <a:gd name="T91" fmla="*/ 280 h 1836"/>
                <a:gd name="T92" fmla="*/ 10 w 2495"/>
                <a:gd name="T93" fmla="*/ 256 h 18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5" h="1836">
                  <a:moveTo>
                    <a:pt x="51" y="1279"/>
                  </a:moveTo>
                  <a:lnTo>
                    <a:pt x="175" y="1371"/>
                  </a:lnTo>
                  <a:lnTo>
                    <a:pt x="277" y="1363"/>
                  </a:lnTo>
                  <a:lnTo>
                    <a:pt x="339" y="1440"/>
                  </a:lnTo>
                  <a:lnTo>
                    <a:pt x="411" y="1462"/>
                  </a:lnTo>
                  <a:lnTo>
                    <a:pt x="486" y="1386"/>
                  </a:lnTo>
                  <a:lnTo>
                    <a:pt x="637" y="1310"/>
                  </a:lnTo>
                  <a:lnTo>
                    <a:pt x="804" y="1234"/>
                  </a:lnTo>
                  <a:lnTo>
                    <a:pt x="835" y="1143"/>
                  </a:lnTo>
                  <a:lnTo>
                    <a:pt x="811" y="1026"/>
                  </a:lnTo>
                  <a:lnTo>
                    <a:pt x="895" y="831"/>
                  </a:lnTo>
                  <a:lnTo>
                    <a:pt x="1010" y="740"/>
                  </a:lnTo>
                  <a:lnTo>
                    <a:pt x="1146" y="512"/>
                  </a:lnTo>
                  <a:lnTo>
                    <a:pt x="1275" y="299"/>
                  </a:lnTo>
                  <a:lnTo>
                    <a:pt x="1312" y="170"/>
                  </a:lnTo>
                  <a:lnTo>
                    <a:pt x="1358" y="109"/>
                  </a:lnTo>
                  <a:lnTo>
                    <a:pt x="1487" y="102"/>
                  </a:lnTo>
                  <a:lnTo>
                    <a:pt x="1574" y="0"/>
                  </a:lnTo>
                  <a:lnTo>
                    <a:pt x="1694" y="56"/>
                  </a:lnTo>
                  <a:lnTo>
                    <a:pt x="1698" y="78"/>
                  </a:lnTo>
                  <a:lnTo>
                    <a:pt x="1698" y="106"/>
                  </a:lnTo>
                  <a:lnTo>
                    <a:pt x="1692" y="185"/>
                  </a:lnTo>
                  <a:lnTo>
                    <a:pt x="1751" y="284"/>
                  </a:lnTo>
                  <a:lnTo>
                    <a:pt x="2034" y="455"/>
                  </a:lnTo>
                  <a:lnTo>
                    <a:pt x="2154" y="436"/>
                  </a:lnTo>
                  <a:lnTo>
                    <a:pt x="2262" y="540"/>
                  </a:lnTo>
                  <a:lnTo>
                    <a:pt x="2233" y="597"/>
                  </a:lnTo>
                  <a:lnTo>
                    <a:pt x="2119" y="540"/>
                  </a:lnTo>
                  <a:lnTo>
                    <a:pt x="2091" y="654"/>
                  </a:lnTo>
                  <a:lnTo>
                    <a:pt x="2290" y="711"/>
                  </a:lnTo>
                  <a:lnTo>
                    <a:pt x="2319" y="853"/>
                  </a:lnTo>
                  <a:lnTo>
                    <a:pt x="2233" y="940"/>
                  </a:lnTo>
                  <a:lnTo>
                    <a:pt x="2412" y="968"/>
                  </a:lnTo>
                  <a:lnTo>
                    <a:pt x="2495" y="968"/>
                  </a:lnTo>
                  <a:lnTo>
                    <a:pt x="2467" y="1088"/>
                  </a:lnTo>
                  <a:lnTo>
                    <a:pt x="2285" y="1173"/>
                  </a:lnTo>
                  <a:lnTo>
                    <a:pt x="2072" y="1199"/>
                  </a:lnTo>
                  <a:lnTo>
                    <a:pt x="1273" y="1436"/>
                  </a:lnTo>
                  <a:lnTo>
                    <a:pt x="904" y="1593"/>
                  </a:lnTo>
                  <a:lnTo>
                    <a:pt x="402" y="1733"/>
                  </a:lnTo>
                  <a:lnTo>
                    <a:pt x="268" y="1794"/>
                  </a:lnTo>
                  <a:lnTo>
                    <a:pt x="34" y="1836"/>
                  </a:lnTo>
                  <a:lnTo>
                    <a:pt x="54" y="1753"/>
                  </a:lnTo>
                  <a:lnTo>
                    <a:pt x="0" y="1620"/>
                  </a:lnTo>
                  <a:lnTo>
                    <a:pt x="58" y="1517"/>
                  </a:lnTo>
                  <a:lnTo>
                    <a:pt x="66" y="1400"/>
                  </a:lnTo>
                  <a:lnTo>
                    <a:pt x="51" y="1279"/>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50" name="Vermont">
              <a:extLst>
                <a:ext uri="{FF2B5EF4-FFF2-40B4-BE49-F238E27FC236}">
                  <a16:creationId xmlns:a16="http://schemas.microsoft.com/office/drawing/2014/main" id="{C12CC01C-0C35-734E-F0A2-B80248DBD347}"/>
                </a:ext>
              </a:extLst>
            </p:cNvPr>
            <p:cNvSpPr>
              <a:spLocks/>
            </p:cNvSpPr>
            <p:nvPr/>
          </p:nvSpPr>
          <p:spPr bwMode="auto">
            <a:xfrm>
              <a:off x="7404309" y="1798450"/>
              <a:ext cx="227248" cy="403649"/>
            </a:xfrm>
            <a:custGeom>
              <a:avLst/>
              <a:gdLst>
                <a:gd name="T0" fmla="*/ 0 w 734"/>
                <a:gd name="T1" fmla="*/ 48 h 1311"/>
                <a:gd name="T2" fmla="*/ 68 w 734"/>
                <a:gd name="T3" fmla="*/ 27 h 1311"/>
                <a:gd name="T4" fmla="*/ 106 w 734"/>
                <a:gd name="T5" fmla="*/ 4 h 1311"/>
                <a:gd name="T6" fmla="*/ 124 w 734"/>
                <a:gd name="T7" fmla="*/ 0 h 1311"/>
                <a:gd name="T8" fmla="*/ 136 w 734"/>
                <a:gd name="T9" fmla="*/ 34 h 1311"/>
                <a:gd name="T10" fmla="*/ 140 w 734"/>
                <a:gd name="T11" fmla="*/ 56 h 1311"/>
                <a:gd name="T12" fmla="*/ 124 w 734"/>
                <a:gd name="T13" fmla="*/ 80 h 1311"/>
                <a:gd name="T14" fmla="*/ 122 w 734"/>
                <a:gd name="T15" fmla="*/ 126 h 1311"/>
                <a:gd name="T16" fmla="*/ 124 w 734"/>
                <a:gd name="T17" fmla="*/ 154 h 1311"/>
                <a:gd name="T18" fmla="*/ 126 w 734"/>
                <a:gd name="T19" fmla="*/ 182 h 1311"/>
                <a:gd name="T20" fmla="*/ 134 w 734"/>
                <a:gd name="T21" fmla="*/ 217 h 1311"/>
                <a:gd name="T22" fmla="*/ 140 w 734"/>
                <a:gd name="T23" fmla="*/ 231 h 1311"/>
                <a:gd name="T24" fmla="*/ 87 w 734"/>
                <a:gd name="T25" fmla="*/ 249 h 1311"/>
                <a:gd name="T26" fmla="*/ 77 w 734"/>
                <a:gd name="T27" fmla="*/ 219 h 1311"/>
                <a:gd name="T28" fmla="*/ 71 w 734"/>
                <a:gd name="T29" fmla="*/ 181 h 1311"/>
                <a:gd name="T30" fmla="*/ 34 w 734"/>
                <a:gd name="T31" fmla="*/ 121 h 1311"/>
                <a:gd name="T32" fmla="*/ 23 w 734"/>
                <a:gd name="T33" fmla="*/ 78 h 1311"/>
                <a:gd name="T34" fmla="*/ 16 w 734"/>
                <a:gd name="T35" fmla="*/ 60 h 1311"/>
                <a:gd name="T36" fmla="*/ 0 w 734"/>
                <a:gd name="T37" fmla="*/ 48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4" h="1311">
                  <a:moveTo>
                    <a:pt x="0" y="255"/>
                  </a:moveTo>
                  <a:lnTo>
                    <a:pt x="358" y="143"/>
                  </a:lnTo>
                  <a:lnTo>
                    <a:pt x="558" y="23"/>
                  </a:lnTo>
                  <a:lnTo>
                    <a:pt x="651" y="0"/>
                  </a:lnTo>
                  <a:lnTo>
                    <a:pt x="711" y="180"/>
                  </a:lnTo>
                  <a:lnTo>
                    <a:pt x="734" y="295"/>
                  </a:lnTo>
                  <a:lnTo>
                    <a:pt x="651" y="420"/>
                  </a:lnTo>
                  <a:lnTo>
                    <a:pt x="638" y="663"/>
                  </a:lnTo>
                  <a:lnTo>
                    <a:pt x="651" y="810"/>
                  </a:lnTo>
                  <a:lnTo>
                    <a:pt x="662" y="959"/>
                  </a:lnTo>
                  <a:lnTo>
                    <a:pt x="702" y="1143"/>
                  </a:lnTo>
                  <a:lnTo>
                    <a:pt x="734" y="1215"/>
                  </a:lnTo>
                  <a:lnTo>
                    <a:pt x="454" y="1311"/>
                  </a:lnTo>
                  <a:lnTo>
                    <a:pt x="406" y="1155"/>
                  </a:lnTo>
                  <a:lnTo>
                    <a:pt x="374" y="953"/>
                  </a:lnTo>
                  <a:lnTo>
                    <a:pt x="180" y="639"/>
                  </a:lnTo>
                  <a:lnTo>
                    <a:pt x="122" y="409"/>
                  </a:lnTo>
                  <a:lnTo>
                    <a:pt x="82" y="315"/>
                  </a:lnTo>
                  <a:lnTo>
                    <a:pt x="0" y="255"/>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51" name="Utah">
              <a:extLst>
                <a:ext uri="{FF2B5EF4-FFF2-40B4-BE49-F238E27FC236}">
                  <a16:creationId xmlns:a16="http://schemas.microsoft.com/office/drawing/2014/main" id="{E3BC9FD0-CBCA-B183-838D-684AA1123945}"/>
                </a:ext>
              </a:extLst>
            </p:cNvPr>
            <p:cNvSpPr>
              <a:spLocks/>
            </p:cNvSpPr>
            <p:nvPr/>
          </p:nvSpPr>
          <p:spPr bwMode="auto">
            <a:xfrm>
              <a:off x="2802540" y="2792174"/>
              <a:ext cx="693106" cy="864038"/>
            </a:xfrm>
            <a:custGeom>
              <a:avLst/>
              <a:gdLst>
                <a:gd name="T0" fmla="*/ 71 w 2254"/>
                <a:gd name="T1" fmla="*/ 0 h 2808"/>
                <a:gd name="T2" fmla="*/ 181 w 2254"/>
                <a:gd name="T3" fmla="*/ 16 h 2808"/>
                <a:gd name="T4" fmla="*/ 279 w 2254"/>
                <a:gd name="T5" fmla="*/ 42 h 2808"/>
                <a:gd name="T6" fmla="*/ 273 w 2254"/>
                <a:gd name="T7" fmla="*/ 81 h 2808"/>
                <a:gd name="T8" fmla="*/ 270 w 2254"/>
                <a:gd name="T9" fmla="*/ 133 h 2808"/>
                <a:gd name="T10" fmla="*/ 365 w 2254"/>
                <a:gd name="T11" fmla="*/ 139 h 2808"/>
                <a:gd name="T12" fmla="*/ 427 w 2254"/>
                <a:gd name="T13" fmla="*/ 146 h 2808"/>
                <a:gd name="T14" fmla="*/ 405 w 2254"/>
                <a:gd name="T15" fmla="*/ 284 h 2808"/>
                <a:gd name="T16" fmla="*/ 383 w 2254"/>
                <a:gd name="T17" fmla="*/ 533 h 2808"/>
                <a:gd name="T18" fmla="*/ 0 w 2254"/>
                <a:gd name="T19" fmla="*/ 476 h 2808"/>
                <a:gd name="T20" fmla="*/ 11 w 2254"/>
                <a:gd name="T21" fmla="*/ 386 h 2808"/>
                <a:gd name="T22" fmla="*/ 36 w 2254"/>
                <a:gd name="T23" fmla="*/ 231 h 2808"/>
                <a:gd name="T24" fmla="*/ 44 w 2254"/>
                <a:gd name="T25" fmla="*/ 159 h 2808"/>
                <a:gd name="T26" fmla="*/ 50 w 2254"/>
                <a:gd name="T27" fmla="*/ 95 h 2808"/>
                <a:gd name="T28" fmla="*/ 65 w 2254"/>
                <a:gd name="T29" fmla="*/ 22 h 2808"/>
                <a:gd name="T30" fmla="*/ 71 w 2254"/>
                <a:gd name="T31" fmla="*/ 0 h 28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54" h="2808">
                  <a:moveTo>
                    <a:pt x="377" y="0"/>
                  </a:moveTo>
                  <a:lnTo>
                    <a:pt x="956" y="85"/>
                  </a:lnTo>
                  <a:lnTo>
                    <a:pt x="1472" y="220"/>
                  </a:lnTo>
                  <a:lnTo>
                    <a:pt x="1441" y="428"/>
                  </a:lnTo>
                  <a:lnTo>
                    <a:pt x="1423" y="702"/>
                  </a:lnTo>
                  <a:lnTo>
                    <a:pt x="1926" y="730"/>
                  </a:lnTo>
                  <a:lnTo>
                    <a:pt x="2254" y="767"/>
                  </a:lnTo>
                  <a:lnTo>
                    <a:pt x="2136" y="1498"/>
                  </a:lnTo>
                  <a:lnTo>
                    <a:pt x="2024" y="2808"/>
                  </a:lnTo>
                  <a:lnTo>
                    <a:pt x="0" y="2509"/>
                  </a:lnTo>
                  <a:lnTo>
                    <a:pt x="56" y="2032"/>
                  </a:lnTo>
                  <a:lnTo>
                    <a:pt x="189" y="1219"/>
                  </a:lnTo>
                  <a:lnTo>
                    <a:pt x="234" y="838"/>
                  </a:lnTo>
                  <a:lnTo>
                    <a:pt x="266" y="501"/>
                  </a:lnTo>
                  <a:lnTo>
                    <a:pt x="345" y="118"/>
                  </a:lnTo>
                  <a:lnTo>
                    <a:pt x="377" y="0"/>
                  </a:lnTo>
                  <a:close/>
                </a:path>
              </a:pathLst>
            </a:custGeom>
            <a:grp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52" name="Texas">
              <a:extLst>
                <a:ext uri="{FF2B5EF4-FFF2-40B4-BE49-F238E27FC236}">
                  <a16:creationId xmlns:a16="http://schemas.microsoft.com/office/drawing/2014/main" id="{D6BA466B-2EDF-882A-EBDE-065BB97122ED}"/>
                </a:ext>
              </a:extLst>
            </p:cNvPr>
            <p:cNvSpPr>
              <a:spLocks/>
            </p:cNvSpPr>
            <p:nvPr/>
          </p:nvSpPr>
          <p:spPr bwMode="auto">
            <a:xfrm>
              <a:off x="3674198" y="3772929"/>
              <a:ext cx="1770910" cy="1655126"/>
            </a:xfrm>
            <a:custGeom>
              <a:avLst/>
              <a:gdLst>
                <a:gd name="T0" fmla="*/ 11 w 5759"/>
                <a:gd name="T1" fmla="*/ 444 h 5383"/>
                <a:gd name="T2" fmla="*/ 68 w 5759"/>
                <a:gd name="T3" fmla="*/ 494 h 5383"/>
                <a:gd name="T4" fmla="*/ 108 w 5759"/>
                <a:gd name="T5" fmla="*/ 540 h 5383"/>
                <a:gd name="T6" fmla="*/ 137 w 5759"/>
                <a:gd name="T7" fmla="*/ 574 h 5383"/>
                <a:gd name="T8" fmla="*/ 163 w 5759"/>
                <a:gd name="T9" fmla="*/ 636 h 5383"/>
                <a:gd name="T10" fmla="*/ 205 w 5759"/>
                <a:gd name="T11" fmla="*/ 693 h 5383"/>
                <a:gd name="T12" fmla="*/ 271 w 5759"/>
                <a:gd name="T13" fmla="*/ 730 h 5383"/>
                <a:gd name="T14" fmla="*/ 313 w 5759"/>
                <a:gd name="T15" fmla="*/ 710 h 5383"/>
                <a:gd name="T16" fmla="*/ 353 w 5759"/>
                <a:gd name="T17" fmla="*/ 666 h 5383"/>
                <a:gd name="T18" fmla="*/ 412 w 5759"/>
                <a:gd name="T19" fmla="*/ 661 h 5383"/>
                <a:gd name="T20" fmla="*/ 488 w 5759"/>
                <a:gd name="T21" fmla="*/ 727 h 5383"/>
                <a:gd name="T22" fmla="*/ 563 w 5759"/>
                <a:gd name="T23" fmla="*/ 841 h 5383"/>
                <a:gd name="T24" fmla="*/ 606 w 5759"/>
                <a:gd name="T25" fmla="*/ 909 h 5383"/>
                <a:gd name="T26" fmla="*/ 637 w 5759"/>
                <a:gd name="T27" fmla="*/ 983 h 5383"/>
                <a:gd name="T28" fmla="*/ 745 w 5759"/>
                <a:gd name="T29" fmla="*/ 1018 h 5383"/>
                <a:gd name="T30" fmla="*/ 811 w 5759"/>
                <a:gd name="T31" fmla="*/ 1021 h 5383"/>
                <a:gd name="T32" fmla="*/ 794 w 5759"/>
                <a:gd name="T33" fmla="*/ 979 h 5383"/>
                <a:gd name="T34" fmla="*/ 768 w 5759"/>
                <a:gd name="T35" fmla="*/ 938 h 5383"/>
                <a:gd name="T36" fmla="*/ 773 w 5759"/>
                <a:gd name="T37" fmla="*/ 892 h 5383"/>
                <a:gd name="T38" fmla="*/ 777 w 5759"/>
                <a:gd name="T39" fmla="*/ 868 h 5383"/>
                <a:gd name="T40" fmla="*/ 762 w 5759"/>
                <a:gd name="T41" fmla="*/ 830 h 5383"/>
                <a:gd name="T42" fmla="*/ 779 w 5759"/>
                <a:gd name="T43" fmla="*/ 796 h 5383"/>
                <a:gd name="T44" fmla="*/ 830 w 5759"/>
                <a:gd name="T45" fmla="*/ 762 h 5383"/>
                <a:gd name="T46" fmla="*/ 859 w 5759"/>
                <a:gd name="T47" fmla="*/ 739 h 5383"/>
                <a:gd name="T48" fmla="*/ 930 w 5759"/>
                <a:gd name="T49" fmla="*/ 725 h 5383"/>
                <a:gd name="T50" fmla="*/ 955 w 5759"/>
                <a:gd name="T51" fmla="*/ 688 h 5383"/>
                <a:gd name="T52" fmla="*/ 967 w 5759"/>
                <a:gd name="T53" fmla="*/ 636 h 5383"/>
                <a:gd name="T54" fmla="*/ 1001 w 5759"/>
                <a:gd name="T55" fmla="*/ 653 h 5383"/>
                <a:gd name="T56" fmla="*/ 1080 w 5759"/>
                <a:gd name="T57" fmla="*/ 625 h 5383"/>
                <a:gd name="T58" fmla="*/ 1075 w 5759"/>
                <a:gd name="T59" fmla="*/ 523 h 5383"/>
                <a:gd name="T60" fmla="*/ 1083 w 5759"/>
                <a:gd name="T61" fmla="*/ 469 h 5383"/>
                <a:gd name="T62" fmla="*/ 1049 w 5759"/>
                <a:gd name="T63" fmla="*/ 422 h 5383"/>
                <a:gd name="T64" fmla="*/ 1038 w 5759"/>
                <a:gd name="T65" fmla="*/ 367 h 5383"/>
                <a:gd name="T66" fmla="*/ 1038 w 5759"/>
                <a:gd name="T67" fmla="*/ 317 h 5383"/>
                <a:gd name="T68" fmla="*/ 1036 w 5759"/>
                <a:gd name="T69" fmla="*/ 277 h 5383"/>
                <a:gd name="T70" fmla="*/ 991 w 5759"/>
                <a:gd name="T71" fmla="*/ 256 h 5383"/>
                <a:gd name="T72" fmla="*/ 940 w 5759"/>
                <a:gd name="T73" fmla="*/ 233 h 5383"/>
                <a:gd name="T74" fmla="*/ 895 w 5759"/>
                <a:gd name="T75" fmla="*/ 237 h 5383"/>
                <a:gd name="T76" fmla="*/ 797 w 5759"/>
                <a:gd name="T77" fmla="*/ 248 h 5383"/>
                <a:gd name="T78" fmla="*/ 744 w 5759"/>
                <a:gd name="T79" fmla="*/ 237 h 5383"/>
                <a:gd name="T80" fmla="*/ 686 w 5759"/>
                <a:gd name="T81" fmla="*/ 217 h 5383"/>
                <a:gd name="T82" fmla="*/ 611 w 5759"/>
                <a:gd name="T83" fmla="*/ 205 h 5383"/>
                <a:gd name="T84" fmla="*/ 566 w 5759"/>
                <a:gd name="T85" fmla="*/ 191 h 5383"/>
                <a:gd name="T86" fmla="*/ 535 w 5759"/>
                <a:gd name="T87" fmla="*/ 163 h 5383"/>
                <a:gd name="T88" fmla="*/ 535 w 5759"/>
                <a:gd name="T89" fmla="*/ 118 h 5383"/>
                <a:gd name="T90" fmla="*/ 539 w 5759"/>
                <a:gd name="T91" fmla="*/ 38 h 5383"/>
                <a:gd name="T92" fmla="*/ 473 w 5759"/>
                <a:gd name="T93" fmla="*/ 0 h 5383"/>
                <a:gd name="T94" fmla="*/ 305 w 5759"/>
                <a:gd name="T95" fmla="*/ 3 h 5383"/>
                <a:gd name="T96" fmla="*/ 303 w 5759"/>
                <a:gd name="T97" fmla="*/ 433 h 53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759" h="5383">
                  <a:moveTo>
                    <a:pt x="0" y="2219"/>
                  </a:moveTo>
                  <a:lnTo>
                    <a:pt x="60" y="2339"/>
                  </a:lnTo>
                  <a:lnTo>
                    <a:pt x="199" y="2439"/>
                  </a:lnTo>
                  <a:lnTo>
                    <a:pt x="361" y="2605"/>
                  </a:lnTo>
                  <a:lnTo>
                    <a:pt x="421" y="2755"/>
                  </a:lnTo>
                  <a:lnTo>
                    <a:pt x="571" y="2845"/>
                  </a:lnTo>
                  <a:lnTo>
                    <a:pt x="661" y="2875"/>
                  </a:lnTo>
                  <a:lnTo>
                    <a:pt x="721" y="3025"/>
                  </a:lnTo>
                  <a:lnTo>
                    <a:pt x="841" y="3175"/>
                  </a:lnTo>
                  <a:lnTo>
                    <a:pt x="863" y="3351"/>
                  </a:lnTo>
                  <a:lnTo>
                    <a:pt x="951" y="3519"/>
                  </a:lnTo>
                  <a:lnTo>
                    <a:pt x="1081" y="3655"/>
                  </a:lnTo>
                  <a:lnTo>
                    <a:pt x="1261" y="3685"/>
                  </a:lnTo>
                  <a:lnTo>
                    <a:pt x="1431" y="3847"/>
                  </a:lnTo>
                  <a:lnTo>
                    <a:pt x="1535" y="3815"/>
                  </a:lnTo>
                  <a:lnTo>
                    <a:pt x="1651" y="3745"/>
                  </a:lnTo>
                  <a:lnTo>
                    <a:pt x="1681" y="3595"/>
                  </a:lnTo>
                  <a:lnTo>
                    <a:pt x="1863" y="3511"/>
                  </a:lnTo>
                  <a:lnTo>
                    <a:pt x="1981" y="3415"/>
                  </a:lnTo>
                  <a:lnTo>
                    <a:pt x="2175" y="3487"/>
                  </a:lnTo>
                  <a:lnTo>
                    <a:pt x="2319" y="3567"/>
                  </a:lnTo>
                  <a:lnTo>
                    <a:pt x="2575" y="3831"/>
                  </a:lnTo>
                  <a:lnTo>
                    <a:pt x="2735" y="4095"/>
                  </a:lnTo>
                  <a:lnTo>
                    <a:pt x="2972" y="4435"/>
                  </a:lnTo>
                  <a:lnTo>
                    <a:pt x="3122" y="4555"/>
                  </a:lnTo>
                  <a:lnTo>
                    <a:pt x="3199" y="4791"/>
                  </a:lnTo>
                  <a:lnTo>
                    <a:pt x="3327" y="5023"/>
                  </a:lnTo>
                  <a:lnTo>
                    <a:pt x="3362" y="5185"/>
                  </a:lnTo>
                  <a:lnTo>
                    <a:pt x="3631" y="5279"/>
                  </a:lnTo>
                  <a:lnTo>
                    <a:pt x="3932" y="5365"/>
                  </a:lnTo>
                  <a:lnTo>
                    <a:pt x="4119" y="5383"/>
                  </a:lnTo>
                  <a:lnTo>
                    <a:pt x="4279" y="5383"/>
                  </a:lnTo>
                  <a:lnTo>
                    <a:pt x="4207" y="5271"/>
                  </a:lnTo>
                  <a:lnTo>
                    <a:pt x="4191" y="5159"/>
                  </a:lnTo>
                  <a:lnTo>
                    <a:pt x="4119" y="5079"/>
                  </a:lnTo>
                  <a:lnTo>
                    <a:pt x="4052" y="4945"/>
                  </a:lnTo>
                  <a:lnTo>
                    <a:pt x="4079" y="4839"/>
                  </a:lnTo>
                  <a:lnTo>
                    <a:pt x="4082" y="4705"/>
                  </a:lnTo>
                  <a:lnTo>
                    <a:pt x="3975" y="4639"/>
                  </a:lnTo>
                  <a:lnTo>
                    <a:pt x="4103" y="4575"/>
                  </a:lnTo>
                  <a:lnTo>
                    <a:pt x="4112" y="4435"/>
                  </a:lnTo>
                  <a:lnTo>
                    <a:pt x="4022" y="4375"/>
                  </a:lnTo>
                  <a:lnTo>
                    <a:pt x="4202" y="4345"/>
                  </a:lnTo>
                  <a:lnTo>
                    <a:pt x="4112" y="4195"/>
                  </a:lnTo>
                  <a:lnTo>
                    <a:pt x="4322" y="4165"/>
                  </a:lnTo>
                  <a:lnTo>
                    <a:pt x="4382" y="4015"/>
                  </a:lnTo>
                  <a:lnTo>
                    <a:pt x="4472" y="4015"/>
                  </a:lnTo>
                  <a:lnTo>
                    <a:pt x="4532" y="3895"/>
                  </a:lnTo>
                  <a:lnTo>
                    <a:pt x="4772" y="3895"/>
                  </a:lnTo>
                  <a:lnTo>
                    <a:pt x="4911" y="3823"/>
                  </a:lnTo>
                  <a:lnTo>
                    <a:pt x="5042" y="3745"/>
                  </a:lnTo>
                  <a:lnTo>
                    <a:pt x="5042" y="3625"/>
                  </a:lnTo>
                  <a:lnTo>
                    <a:pt x="5192" y="3535"/>
                  </a:lnTo>
                  <a:lnTo>
                    <a:pt x="5102" y="3355"/>
                  </a:lnTo>
                  <a:lnTo>
                    <a:pt x="5252" y="3325"/>
                  </a:lnTo>
                  <a:lnTo>
                    <a:pt x="5282" y="3445"/>
                  </a:lnTo>
                  <a:lnTo>
                    <a:pt x="5463" y="3391"/>
                  </a:lnTo>
                  <a:lnTo>
                    <a:pt x="5702" y="3295"/>
                  </a:lnTo>
                  <a:lnTo>
                    <a:pt x="5695" y="3031"/>
                  </a:lnTo>
                  <a:lnTo>
                    <a:pt x="5672" y="2755"/>
                  </a:lnTo>
                  <a:lnTo>
                    <a:pt x="5759" y="2671"/>
                  </a:lnTo>
                  <a:lnTo>
                    <a:pt x="5719" y="2471"/>
                  </a:lnTo>
                  <a:lnTo>
                    <a:pt x="5612" y="2305"/>
                  </a:lnTo>
                  <a:lnTo>
                    <a:pt x="5535" y="2223"/>
                  </a:lnTo>
                  <a:lnTo>
                    <a:pt x="5462" y="2035"/>
                  </a:lnTo>
                  <a:lnTo>
                    <a:pt x="5479" y="1935"/>
                  </a:lnTo>
                  <a:lnTo>
                    <a:pt x="5463" y="1799"/>
                  </a:lnTo>
                  <a:lnTo>
                    <a:pt x="5479" y="1671"/>
                  </a:lnTo>
                  <a:lnTo>
                    <a:pt x="5439" y="1559"/>
                  </a:lnTo>
                  <a:lnTo>
                    <a:pt x="5471" y="1463"/>
                  </a:lnTo>
                  <a:lnTo>
                    <a:pt x="5432" y="1345"/>
                  </a:lnTo>
                  <a:lnTo>
                    <a:pt x="5231" y="1351"/>
                  </a:lnTo>
                  <a:lnTo>
                    <a:pt x="5075" y="1317"/>
                  </a:lnTo>
                  <a:lnTo>
                    <a:pt x="4964" y="1226"/>
                  </a:lnTo>
                  <a:lnTo>
                    <a:pt x="4865" y="1271"/>
                  </a:lnTo>
                  <a:lnTo>
                    <a:pt x="4727" y="1251"/>
                  </a:lnTo>
                  <a:lnTo>
                    <a:pt x="4479" y="1350"/>
                  </a:lnTo>
                  <a:lnTo>
                    <a:pt x="4208" y="1305"/>
                  </a:lnTo>
                  <a:lnTo>
                    <a:pt x="4055" y="1319"/>
                  </a:lnTo>
                  <a:lnTo>
                    <a:pt x="3927" y="1251"/>
                  </a:lnTo>
                  <a:lnTo>
                    <a:pt x="3786" y="1287"/>
                  </a:lnTo>
                  <a:lnTo>
                    <a:pt x="3620" y="1143"/>
                  </a:lnTo>
                  <a:lnTo>
                    <a:pt x="3392" y="1179"/>
                  </a:lnTo>
                  <a:lnTo>
                    <a:pt x="3227" y="1079"/>
                  </a:lnTo>
                  <a:lnTo>
                    <a:pt x="3084" y="1068"/>
                  </a:lnTo>
                  <a:lnTo>
                    <a:pt x="2988" y="1005"/>
                  </a:lnTo>
                  <a:lnTo>
                    <a:pt x="2828" y="989"/>
                  </a:lnTo>
                  <a:lnTo>
                    <a:pt x="2823" y="858"/>
                  </a:lnTo>
                  <a:lnTo>
                    <a:pt x="2786" y="740"/>
                  </a:lnTo>
                  <a:lnTo>
                    <a:pt x="2823" y="620"/>
                  </a:lnTo>
                  <a:lnTo>
                    <a:pt x="2852" y="458"/>
                  </a:lnTo>
                  <a:lnTo>
                    <a:pt x="2843" y="198"/>
                  </a:lnTo>
                  <a:lnTo>
                    <a:pt x="2825" y="0"/>
                  </a:lnTo>
                  <a:lnTo>
                    <a:pt x="2498" y="0"/>
                  </a:lnTo>
                  <a:lnTo>
                    <a:pt x="2156" y="9"/>
                  </a:lnTo>
                  <a:lnTo>
                    <a:pt x="1611" y="18"/>
                  </a:lnTo>
                  <a:lnTo>
                    <a:pt x="1629" y="1167"/>
                  </a:lnTo>
                  <a:lnTo>
                    <a:pt x="1598" y="2282"/>
                  </a:lnTo>
                  <a:lnTo>
                    <a:pt x="0" y="2219"/>
                  </a:lnTo>
                  <a:close/>
                </a:path>
              </a:pathLst>
            </a:custGeom>
            <a:solidFill>
              <a:srgbClr val="47325E"/>
            </a:solidFill>
            <a:ln w="6350" cmpd="sng">
              <a:solidFill>
                <a:schemeClr val="bg1"/>
              </a:solidFill>
              <a:prstDash val="solid"/>
              <a:round/>
              <a:headEnd/>
              <a:tailEnd/>
            </a:ln>
            <a:effectLst/>
          </p:spPr>
          <p:txBody>
            <a:bodyPr/>
            <a:lstStyle/>
            <a:p>
              <a:endParaRPr lang="zh-CN" altLang="en-US" kern="0"/>
            </a:p>
          </p:txBody>
        </p:sp>
        <p:sp>
          <p:nvSpPr>
            <p:cNvPr id="1053" name="Tennessee">
              <a:extLst>
                <a:ext uri="{FF2B5EF4-FFF2-40B4-BE49-F238E27FC236}">
                  <a16:creationId xmlns:a16="http://schemas.microsoft.com/office/drawing/2014/main" id="{48E8EB51-BC96-D5FC-3112-8B00690EC6A4}"/>
                </a:ext>
              </a:extLst>
            </p:cNvPr>
            <p:cNvSpPr>
              <a:spLocks/>
            </p:cNvSpPr>
            <p:nvPr/>
          </p:nvSpPr>
          <p:spPr bwMode="auto">
            <a:xfrm>
              <a:off x="5820066" y="3430881"/>
              <a:ext cx="1014499" cy="465251"/>
            </a:xfrm>
            <a:custGeom>
              <a:avLst/>
              <a:gdLst>
                <a:gd name="T0" fmla="*/ 27 w 3296"/>
                <a:gd name="T1" fmla="*/ 190 h 1514"/>
                <a:gd name="T2" fmla="*/ 28 w 3296"/>
                <a:gd name="T3" fmla="*/ 207 h 1514"/>
                <a:gd name="T4" fmla="*/ 17 w 3296"/>
                <a:gd name="T5" fmla="*/ 222 h 1514"/>
                <a:gd name="T6" fmla="*/ 16 w 3296"/>
                <a:gd name="T7" fmla="*/ 238 h 1514"/>
                <a:gd name="T8" fmla="*/ 5 w 3296"/>
                <a:gd name="T9" fmla="*/ 250 h 1514"/>
                <a:gd name="T10" fmla="*/ 0 w 3296"/>
                <a:gd name="T11" fmla="*/ 287 h 1514"/>
                <a:gd name="T12" fmla="*/ 10 w 3296"/>
                <a:gd name="T13" fmla="*/ 286 h 1514"/>
                <a:gd name="T14" fmla="*/ 44 w 3296"/>
                <a:gd name="T15" fmla="*/ 280 h 1514"/>
                <a:gd name="T16" fmla="*/ 77 w 3296"/>
                <a:gd name="T17" fmla="*/ 277 h 1514"/>
                <a:gd name="T18" fmla="*/ 97 w 3296"/>
                <a:gd name="T19" fmla="*/ 273 h 1514"/>
                <a:gd name="T20" fmla="*/ 114 w 3296"/>
                <a:gd name="T21" fmla="*/ 273 h 1514"/>
                <a:gd name="T22" fmla="*/ 143 w 3296"/>
                <a:gd name="T23" fmla="*/ 272 h 1514"/>
                <a:gd name="T24" fmla="*/ 157 w 3296"/>
                <a:gd name="T25" fmla="*/ 261 h 1514"/>
                <a:gd name="T26" fmla="*/ 162 w 3296"/>
                <a:gd name="T27" fmla="*/ 250 h 1514"/>
                <a:gd name="T28" fmla="*/ 181 w 3296"/>
                <a:gd name="T29" fmla="*/ 255 h 1514"/>
                <a:gd name="T30" fmla="*/ 196 w 3296"/>
                <a:gd name="T31" fmla="*/ 244 h 1514"/>
                <a:gd name="T32" fmla="*/ 208 w 3296"/>
                <a:gd name="T33" fmla="*/ 248 h 1514"/>
                <a:gd name="T34" fmla="*/ 211 w 3296"/>
                <a:gd name="T35" fmla="*/ 260 h 1514"/>
                <a:gd name="T36" fmla="*/ 236 w 3296"/>
                <a:gd name="T37" fmla="*/ 256 h 1514"/>
                <a:gd name="T38" fmla="*/ 275 w 3296"/>
                <a:gd name="T39" fmla="*/ 244 h 1514"/>
                <a:gd name="T40" fmla="*/ 302 w 3296"/>
                <a:gd name="T41" fmla="*/ 241 h 1514"/>
                <a:gd name="T42" fmla="*/ 338 w 3296"/>
                <a:gd name="T43" fmla="*/ 228 h 1514"/>
                <a:gd name="T44" fmla="*/ 373 w 3296"/>
                <a:gd name="T45" fmla="*/ 227 h 1514"/>
                <a:gd name="T46" fmla="*/ 396 w 3296"/>
                <a:gd name="T47" fmla="*/ 216 h 1514"/>
                <a:gd name="T48" fmla="*/ 426 w 3296"/>
                <a:gd name="T49" fmla="*/ 218 h 1514"/>
                <a:gd name="T50" fmla="*/ 447 w 3296"/>
                <a:gd name="T51" fmla="*/ 204 h 1514"/>
                <a:gd name="T52" fmla="*/ 447 w 3296"/>
                <a:gd name="T53" fmla="*/ 176 h 1514"/>
                <a:gd name="T54" fmla="*/ 464 w 3296"/>
                <a:gd name="T55" fmla="*/ 171 h 1514"/>
                <a:gd name="T56" fmla="*/ 479 w 3296"/>
                <a:gd name="T57" fmla="*/ 146 h 1514"/>
                <a:gd name="T58" fmla="*/ 550 w 3296"/>
                <a:gd name="T59" fmla="*/ 92 h 1514"/>
                <a:gd name="T60" fmla="*/ 543 w 3296"/>
                <a:gd name="T61" fmla="*/ 74 h 1514"/>
                <a:gd name="T62" fmla="*/ 612 w 3296"/>
                <a:gd name="T63" fmla="*/ 39 h 1514"/>
                <a:gd name="T64" fmla="*/ 625 w 3296"/>
                <a:gd name="T65" fmla="*/ 21 h 1514"/>
                <a:gd name="T66" fmla="*/ 624 w 3296"/>
                <a:gd name="T67" fmla="*/ 0 h 1514"/>
                <a:gd name="T68" fmla="*/ 598 w 3296"/>
                <a:gd name="T69" fmla="*/ 12 h 1514"/>
                <a:gd name="T70" fmla="*/ 551 w 3296"/>
                <a:gd name="T71" fmla="*/ 20 h 1514"/>
                <a:gd name="T72" fmla="*/ 491 w 3296"/>
                <a:gd name="T73" fmla="*/ 35 h 1514"/>
                <a:gd name="T74" fmla="*/ 450 w 3296"/>
                <a:gd name="T75" fmla="*/ 46 h 1514"/>
                <a:gd name="T76" fmla="*/ 396 w 3296"/>
                <a:gd name="T77" fmla="*/ 55 h 1514"/>
                <a:gd name="T78" fmla="*/ 352 w 3296"/>
                <a:gd name="T79" fmla="*/ 61 h 1514"/>
                <a:gd name="T80" fmla="*/ 279 w 3296"/>
                <a:gd name="T81" fmla="*/ 76 h 1514"/>
                <a:gd name="T82" fmla="*/ 228 w 3296"/>
                <a:gd name="T83" fmla="*/ 92 h 1514"/>
                <a:gd name="T84" fmla="*/ 193 w 3296"/>
                <a:gd name="T85" fmla="*/ 91 h 1514"/>
                <a:gd name="T86" fmla="*/ 131 w 3296"/>
                <a:gd name="T87" fmla="*/ 116 h 1514"/>
                <a:gd name="T88" fmla="*/ 104 w 3296"/>
                <a:gd name="T89" fmla="*/ 117 h 1514"/>
                <a:gd name="T90" fmla="*/ 82 w 3296"/>
                <a:gd name="T91" fmla="*/ 123 h 1514"/>
                <a:gd name="T92" fmla="*/ 60 w 3296"/>
                <a:gd name="T93" fmla="*/ 120 h 1514"/>
                <a:gd name="T94" fmla="*/ 43 w 3296"/>
                <a:gd name="T95" fmla="*/ 127 h 1514"/>
                <a:gd name="T96" fmla="*/ 36 w 3296"/>
                <a:gd name="T97" fmla="*/ 144 h 1514"/>
                <a:gd name="T98" fmla="*/ 27 w 3296"/>
                <a:gd name="T99" fmla="*/ 162 h 1514"/>
                <a:gd name="T100" fmla="*/ 32 w 3296"/>
                <a:gd name="T101" fmla="*/ 179 h 1514"/>
                <a:gd name="T102" fmla="*/ 27 w 3296"/>
                <a:gd name="T103" fmla="*/ 190 h 15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6" h="1514">
                  <a:moveTo>
                    <a:pt x="140" y="1004"/>
                  </a:moveTo>
                  <a:lnTo>
                    <a:pt x="150" y="1093"/>
                  </a:lnTo>
                  <a:lnTo>
                    <a:pt x="92" y="1169"/>
                  </a:lnTo>
                  <a:lnTo>
                    <a:pt x="86" y="1255"/>
                  </a:lnTo>
                  <a:lnTo>
                    <a:pt x="29" y="1321"/>
                  </a:lnTo>
                  <a:lnTo>
                    <a:pt x="0" y="1514"/>
                  </a:lnTo>
                  <a:lnTo>
                    <a:pt x="51" y="1511"/>
                  </a:lnTo>
                  <a:lnTo>
                    <a:pt x="231" y="1475"/>
                  </a:lnTo>
                  <a:lnTo>
                    <a:pt x="405" y="1463"/>
                  </a:lnTo>
                  <a:lnTo>
                    <a:pt x="513" y="1439"/>
                  </a:lnTo>
                  <a:lnTo>
                    <a:pt x="603" y="1439"/>
                  </a:lnTo>
                  <a:lnTo>
                    <a:pt x="753" y="1433"/>
                  </a:lnTo>
                  <a:lnTo>
                    <a:pt x="826" y="1378"/>
                  </a:lnTo>
                  <a:lnTo>
                    <a:pt x="856" y="1318"/>
                  </a:lnTo>
                  <a:lnTo>
                    <a:pt x="957" y="1343"/>
                  </a:lnTo>
                  <a:lnTo>
                    <a:pt x="1036" y="1288"/>
                  </a:lnTo>
                  <a:lnTo>
                    <a:pt x="1095" y="1307"/>
                  </a:lnTo>
                  <a:lnTo>
                    <a:pt x="1113" y="1373"/>
                  </a:lnTo>
                  <a:lnTo>
                    <a:pt x="1246" y="1348"/>
                  </a:lnTo>
                  <a:lnTo>
                    <a:pt x="1449" y="1289"/>
                  </a:lnTo>
                  <a:lnTo>
                    <a:pt x="1593" y="1271"/>
                  </a:lnTo>
                  <a:lnTo>
                    <a:pt x="1784" y="1205"/>
                  </a:lnTo>
                  <a:lnTo>
                    <a:pt x="1965" y="1198"/>
                  </a:lnTo>
                  <a:lnTo>
                    <a:pt x="2090" y="1139"/>
                  </a:lnTo>
                  <a:lnTo>
                    <a:pt x="2246" y="1151"/>
                  </a:lnTo>
                  <a:lnTo>
                    <a:pt x="2355" y="1078"/>
                  </a:lnTo>
                  <a:lnTo>
                    <a:pt x="2357" y="931"/>
                  </a:lnTo>
                  <a:lnTo>
                    <a:pt x="2445" y="903"/>
                  </a:lnTo>
                  <a:lnTo>
                    <a:pt x="2528" y="769"/>
                  </a:lnTo>
                  <a:lnTo>
                    <a:pt x="2900" y="483"/>
                  </a:lnTo>
                  <a:lnTo>
                    <a:pt x="2865" y="388"/>
                  </a:lnTo>
                  <a:lnTo>
                    <a:pt x="3225" y="208"/>
                  </a:lnTo>
                  <a:lnTo>
                    <a:pt x="3296" y="113"/>
                  </a:lnTo>
                  <a:lnTo>
                    <a:pt x="3293" y="0"/>
                  </a:lnTo>
                  <a:lnTo>
                    <a:pt x="3152" y="65"/>
                  </a:lnTo>
                  <a:lnTo>
                    <a:pt x="2906" y="107"/>
                  </a:lnTo>
                  <a:lnTo>
                    <a:pt x="2590" y="182"/>
                  </a:lnTo>
                  <a:lnTo>
                    <a:pt x="2372" y="245"/>
                  </a:lnTo>
                  <a:lnTo>
                    <a:pt x="2086" y="292"/>
                  </a:lnTo>
                  <a:lnTo>
                    <a:pt x="1856" y="322"/>
                  </a:lnTo>
                  <a:lnTo>
                    <a:pt x="1472" y="400"/>
                  </a:lnTo>
                  <a:lnTo>
                    <a:pt x="1200" y="485"/>
                  </a:lnTo>
                  <a:lnTo>
                    <a:pt x="1017" y="479"/>
                  </a:lnTo>
                  <a:lnTo>
                    <a:pt x="689" y="613"/>
                  </a:lnTo>
                  <a:lnTo>
                    <a:pt x="549" y="617"/>
                  </a:lnTo>
                  <a:lnTo>
                    <a:pt x="435" y="649"/>
                  </a:lnTo>
                  <a:lnTo>
                    <a:pt x="315" y="632"/>
                  </a:lnTo>
                  <a:lnTo>
                    <a:pt x="228" y="671"/>
                  </a:lnTo>
                  <a:lnTo>
                    <a:pt x="189" y="761"/>
                  </a:lnTo>
                  <a:lnTo>
                    <a:pt x="140" y="853"/>
                  </a:lnTo>
                  <a:lnTo>
                    <a:pt x="170" y="943"/>
                  </a:lnTo>
                  <a:lnTo>
                    <a:pt x="140" y="1004"/>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54" name="South Dakota">
              <a:extLst>
                <a:ext uri="{FF2B5EF4-FFF2-40B4-BE49-F238E27FC236}">
                  <a16:creationId xmlns:a16="http://schemas.microsoft.com/office/drawing/2014/main" id="{93E555EC-D0DD-F496-5A79-FD2862649491}"/>
                </a:ext>
              </a:extLst>
            </p:cNvPr>
            <p:cNvSpPr>
              <a:spLocks/>
            </p:cNvSpPr>
            <p:nvPr/>
          </p:nvSpPr>
          <p:spPr bwMode="auto">
            <a:xfrm>
              <a:off x="4079997" y="2307470"/>
              <a:ext cx="868411" cy="512263"/>
            </a:xfrm>
            <a:custGeom>
              <a:avLst/>
              <a:gdLst>
                <a:gd name="T0" fmla="*/ 0 w 2822"/>
                <a:gd name="T1" fmla="*/ 276 h 1670"/>
                <a:gd name="T2" fmla="*/ 108 w 2822"/>
                <a:gd name="T3" fmla="*/ 285 h 1670"/>
                <a:gd name="T4" fmla="*/ 217 w 2822"/>
                <a:gd name="T5" fmla="*/ 286 h 1670"/>
                <a:gd name="T6" fmla="*/ 295 w 2822"/>
                <a:gd name="T7" fmla="*/ 285 h 1670"/>
                <a:gd name="T8" fmla="*/ 349 w 2822"/>
                <a:gd name="T9" fmla="*/ 283 h 1670"/>
                <a:gd name="T10" fmla="*/ 376 w 2822"/>
                <a:gd name="T11" fmla="*/ 281 h 1670"/>
                <a:gd name="T12" fmla="*/ 422 w 2822"/>
                <a:gd name="T13" fmla="*/ 298 h 1670"/>
                <a:gd name="T14" fmla="*/ 439 w 2822"/>
                <a:gd name="T15" fmla="*/ 286 h 1670"/>
                <a:gd name="T16" fmla="*/ 473 w 2822"/>
                <a:gd name="T17" fmla="*/ 286 h 1670"/>
                <a:gd name="T18" fmla="*/ 485 w 2822"/>
                <a:gd name="T19" fmla="*/ 303 h 1670"/>
                <a:gd name="T20" fmla="*/ 535 w 2822"/>
                <a:gd name="T21" fmla="*/ 316 h 1670"/>
                <a:gd name="T22" fmla="*/ 535 w 2822"/>
                <a:gd name="T23" fmla="*/ 259 h 1670"/>
                <a:gd name="T24" fmla="*/ 528 w 2822"/>
                <a:gd name="T25" fmla="*/ 233 h 1670"/>
                <a:gd name="T26" fmla="*/ 533 w 2822"/>
                <a:gd name="T27" fmla="*/ 181 h 1670"/>
                <a:gd name="T28" fmla="*/ 526 w 2822"/>
                <a:gd name="T29" fmla="*/ 72 h 1670"/>
                <a:gd name="T30" fmla="*/ 502 w 2822"/>
                <a:gd name="T31" fmla="*/ 43 h 1670"/>
                <a:gd name="T32" fmla="*/ 509 w 2822"/>
                <a:gd name="T33" fmla="*/ 22 h 1670"/>
                <a:gd name="T34" fmla="*/ 507 w 2822"/>
                <a:gd name="T35" fmla="*/ 0 h 1670"/>
                <a:gd name="T36" fmla="*/ 388 w 2822"/>
                <a:gd name="T37" fmla="*/ 3 h 1670"/>
                <a:gd name="T38" fmla="*/ 10 w 2822"/>
                <a:gd name="T39" fmla="*/ 10 h 1670"/>
                <a:gd name="T40" fmla="*/ 5 w 2822"/>
                <a:gd name="T41" fmla="*/ 90 h 1670"/>
                <a:gd name="T42" fmla="*/ 0 w 2822"/>
                <a:gd name="T43" fmla="*/ 276 h 16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22" h="1670">
                  <a:moveTo>
                    <a:pt x="0" y="1456"/>
                  </a:moveTo>
                  <a:lnTo>
                    <a:pt x="570" y="1505"/>
                  </a:lnTo>
                  <a:lnTo>
                    <a:pt x="1143" y="1513"/>
                  </a:lnTo>
                  <a:lnTo>
                    <a:pt x="1558" y="1505"/>
                  </a:lnTo>
                  <a:lnTo>
                    <a:pt x="1842" y="1496"/>
                  </a:lnTo>
                  <a:lnTo>
                    <a:pt x="1985" y="1483"/>
                  </a:lnTo>
                  <a:lnTo>
                    <a:pt x="2225" y="1573"/>
                  </a:lnTo>
                  <a:lnTo>
                    <a:pt x="2315" y="1513"/>
                  </a:lnTo>
                  <a:lnTo>
                    <a:pt x="2496" y="1513"/>
                  </a:lnTo>
                  <a:lnTo>
                    <a:pt x="2556" y="1603"/>
                  </a:lnTo>
                  <a:lnTo>
                    <a:pt x="2822" y="1670"/>
                  </a:lnTo>
                  <a:lnTo>
                    <a:pt x="2822" y="1369"/>
                  </a:lnTo>
                  <a:lnTo>
                    <a:pt x="2785" y="1232"/>
                  </a:lnTo>
                  <a:lnTo>
                    <a:pt x="2813" y="957"/>
                  </a:lnTo>
                  <a:lnTo>
                    <a:pt x="2776" y="382"/>
                  </a:lnTo>
                  <a:lnTo>
                    <a:pt x="2646" y="226"/>
                  </a:lnTo>
                  <a:lnTo>
                    <a:pt x="2685" y="118"/>
                  </a:lnTo>
                  <a:lnTo>
                    <a:pt x="2674" y="0"/>
                  </a:lnTo>
                  <a:lnTo>
                    <a:pt x="2045" y="16"/>
                  </a:lnTo>
                  <a:lnTo>
                    <a:pt x="54" y="54"/>
                  </a:lnTo>
                  <a:lnTo>
                    <a:pt x="28" y="476"/>
                  </a:lnTo>
                  <a:lnTo>
                    <a:pt x="0" y="1456"/>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55" name="South Carolina">
              <a:extLst>
                <a:ext uri="{FF2B5EF4-FFF2-40B4-BE49-F238E27FC236}">
                  <a16:creationId xmlns:a16="http://schemas.microsoft.com/office/drawing/2014/main" id="{065C60D0-D0E5-D8E4-E77A-931E4A20F8F9}"/>
                </a:ext>
              </a:extLst>
            </p:cNvPr>
            <p:cNvSpPr>
              <a:spLocks/>
            </p:cNvSpPr>
            <p:nvPr/>
          </p:nvSpPr>
          <p:spPr bwMode="auto">
            <a:xfrm>
              <a:off x="6694971" y="3618926"/>
              <a:ext cx="608699" cy="486324"/>
            </a:xfrm>
            <a:custGeom>
              <a:avLst/>
              <a:gdLst>
                <a:gd name="T0" fmla="*/ 0 w 1978"/>
                <a:gd name="T1" fmla="*/ 68 h 1580"/>
                <a:gd name="T2" fmla="*/ 67 w 1978"/>
                <a:gd name="T3" fmla="*/ 37 h 1580"/>
                <a:gd name="T4" fmla="*/ 114 w 1978"/>
                <a:gd name="T5" fmla="*/ 23 h 1580"/>
                <a:gd name="T6" fmla="*/ 150 w 1978"/>
                <a:gd name="T7" fmla="*/ 13 h 1580"/>
                <a:gd name="T8" fmla="*/ 182 w 1978"/>
                <a:gd name="T9" fmla="*/ 17 h 1580"/>
                <a:gd name="T10" fmla="*/ 199 w 1978"/>
                <a:gd name="T11" fmla="*/ 34 h 1580"/>
                <a:gd name="T12" fmla="*/ 234 w 1978"/>
                <a:gd name="T13" fmla="*/ 23 h 1580"/>
                <a:gd name="T14" fmla="*/ 279 w 1978"/>
                <a:gd name="T15" fmla="*/ 0 h 1580"/>
                <a:gd name="T16" fmla="*/ 325 w 1978"/>
                <a:gd name="T17" fmla="*/ 40 h 1580"/>
                <a:gd name="T18" fmla="*/ 364 w 1978"/>
                <a:gd name="T19" fmla="*/ 63 h 1580"/>
                <a:gd name="T20" fmla="*/ 375 w 1978"/>
                <a:gd name="T21" fmla="*/ 85 h 1580"/>
                <a:gd name="T22" fmla="*/ 359 w 1978"/>
                <a:gd name="T23" fmla="*/ 119 h 1580"/>
                <a:gd name="T24" fmla="*/ 330 w 1978"/>
                <a:gd name="T25" fmla="*/ 148 h 1580"/>
                <a:gd name="T26" fmla="*/ 330 w 1978"/>
                <a:gd name="T27" fmla="*/ 176 h 1580"/>
                <a:gd name="T28" fmla="*/ 307 w 1978"/>
                <a:gd name="T29" fmla="*/ 193 h 1580"/>
                <a:gd name="T30" fmla="*/ 296 w 1978"/>
                <a:gd name="T31" fmla="*/ 222 h 1580"/>
                <a:gd name="T32" fmla="*/ 273 w 1978"/>
                <a:gd name="T33" fmla="*/ 249 h 1580"/>
                <a:gd name="T34" fmla="*/ 247 w 1978"/>
                <a:gd name="T35" fmla="*/ 246 h 1580"/>
                <a:gd name="T36" fmla="*/ 237 w 1978"/>
                <a:gd name="T37" fmla="*/ 257 h 1580"/>
                <a:gd name="T38" fmla="*/ 234 w 1978"/>
                <a:gd name="T39" fmla="*/ 275 h 1580"/>
                <a:gd name="T40" fmla="*/ 230 w 1978"/>
                <a:gd name="T41" fmla="*/ 300 h 1580"/>
                <a:gd name="T42" fmla="*/ 206 w 1978"/>
                <a:gd name="T43" fmla="*/ 274 h 1580"/>
                <a:gd name="T44" fmla="*/ 178 w 1978"/>
                <a:gd name="T45" fmla="*/ 249 h 1580"/>
                <a:gd name="T46" fmla="*/ 184 w 1978"/>
                <a:gd name="T47" fmla="*/ 232 h 1580"/>
                <a:gd name="T48" fmla="*/ 145 w 1978"/>
                <a:gd name="T49" fmla="*/ 198 h 1580"/>
                <a:gd name="T50" fmla="*/ 118 w 1978"/>
                <a:gd name="T51" fmla="*/ 185 h 1580"/>
                <a:gd name="T52" fmla="*/ 99 w 1978"/>
                <a:gd name="T53" fmla="*/ 166 h 1580"/>
                <a:gd name="T54" fmla="*/ 75 w 1978"/>
                <a:gd name="T55" fmla="*/ 152 h 1580"/>
                <a:gd name="T56" fmla="*/ 48 w 1978"/>
                <a:gd name="T57" fmla="*/ 141 h 1580"/>
                <a:gd name="T58" fmla="*/ 43 w 1978"/>
                <a:gd name="T59" fmla="*/ 122 h 1580"/>
                <a:gd name="T60" fmla="*/ 21 w 1978"/>
                <a:gd name="T61" fmla="*/ 114 h 1580"/>
                <a:gd name="T62" fmla="*/ 8 w 1978"/>
                <a:gd name="T63" fmla="*/ 95 h 1580"/>
                <a:gd name="T64" fmla="*/ 0 w 1978"/>
                <a:gd name="T65" fmla="*/ 68 h 15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78" h="1580">
                  <a:moveTo>
                    <a:pt x="0" y="359"/>
                  </a:moveTo>
                  <a:lnTo>
                    <a:pt x="352" y="195"/>
                  </a:lnTo>
                  <a:lnTo>
                    <a:pt x="599" y="120"/>
                  </a:lnTo>
                  <a:lnTo>
                    <a:pt x="793" y="67"/>
                  </a:lnTo>
                  <a:lnTo>
                    <a:pt x="960" y="90"/>
                  </a:lnTo>
                  <a:lnTo>
                    <a:pt x="1050" y="180"/>
                  </a:lnTo>
                  <a:lnTo>
                    <a:pt x="1233" y="123"/>
                  </a:lnTo>
                  <a:lnTo>
                    <a:pt x="1470" y="0"/>
                  </a:lnTo>
                  <a:lnTo>
                    <a:pt x="1714" y="211"/>
                  </a:lnTo>
                  <a:lnTo>
                    <a:pt x="1921" y="330"/>
                  </a:lnTo>
                  <a:lnTo>
                    <a:pt x="1978" y="450"/>
                  </a:lnTo>
                  <a:lnTo>
                    <a:pt x="1891" y="629"/>
                  </a:lnTo>
                  <a:lnTo>
                    <a:pt x="1741" y="779"/>
                  </a:lnTo>
                  <a:lnTo>
                    <a:pt x="1741" y="929"/>
                  </a:lnTo>
                  <a:lnTo>
                    <a:pt x="1621" y="1019"/>
                  </a:lnTo>
                  <a:lnTo>
                    <a:pt x="1561" y="1169"/>
                  </a:lnTo>
                  <a:lnTo>
                    <a:pt x="1441" y="1309"/>
                  </a:lnTo>
                  <a:lnTo>
                    <a:pt x="1305" y="1297"/>
                  </a:lnTo>
                  <a:lnTo>
                    <a:pt x="1249" y="1353"/>
                  </a:lnTo>
                  <a:lnTo>
                    <a:pt x="1233" y="1449"/>
                  </a:lnTo>
                  <a:lnTo>
                    <a:pt x="1211" y="1580"/>
                  </a:lnTo>
                  <a:lnTo>
                    <a:pt x="1088" y="1442"/>
                  </a:lnTo>
                  <a:lnTo>
                    <a:pt x="941" y="1311"/>
                  </a:lnTo>
                  <a:lnTo>
                    <a:pt x="971" y="1220"/>
                  </a:lnTo>
                  <a:lnTo>
                    <a:pt x="765" y="1042"/>
                  </a:lnTo>
                  <a:lnTo>
                    <a:pt x="621" y="973"/>
                  </a:lnTo>
                  <a:lnTo>
                    <a:pt x="521" y="874"/>
                  </a:lnTo>
                  <a:lnTo>
                    <a:pt x="397" y="798"/>
                  </a:lnTo>
                  <a:lnTo>
                    <a:pt x="253" y="742"/>
                  </a:lnTo>
                  <a:lnTo>
                    <a:pt x="228" y="641"/>
                  </a:lnTo>
                  <a:lnTo>
                    <a:pt x="109" y="598"/>
                  </a:lnTo>
                  <a:lnTo>
                    <a:pt x="43" y="500"/>
                  </a:lnTo>
                  <a:lnTo>
                    <a:pt x="0" y="359"/>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56" name="Rhode Island">
              <a:extLst>
                <a:ext uri="{FF2B5EF4-FFF2-40B4-BE49-F238E27FC236}">
                  <a16:creationId xmlns:a16="http://schemas.microsoft.com/office/drawing/2014/main" id="{B3484BF0-488A-7627-24E2-20F272C01148}"/>
                </a:ext>
              </a:extLst>
            </p:cNvPr>
            <p:cNvSpPr>
              <a:spLocks/>
            </p:cNvSpPr>
            <p:nvPr/>
          </p:nvSpPr>
          <p:spPr bwMode="auto">
            <a:xfrm>
              <a:off x="7728949" y="2224795"/>
              <a:ext cx="95769" cy="110234"/>
            </a:xfrm>
            <a:custGeom>
              <a:avLst/>
              <a:gdLst>
                <a:gd name="T0" fmla="*/ 0 w 314"/>
                <a:gd name="T1" fmla="*/ 13 h 363"/>
                <a:gd name="T2" fmla="*/ 42 w 314"/>
                <a:gd name="T3" fmla="*/ 0 h 363"/>
                <a:gd name="T4" fmla="*/ 59 w 314"/>
                <a:gd name="T5" fmla="*/ 32 h 363"/>
                <a:gd name="T6" fmla="*/ 51 w 314"/>
                <a:gd name="T7" fmla="*/ 36 h 363"/>
                <a:gd name="T8" fmla="*/ 45 w 314"/>
                <a:gd name="T9" fmla="*/ 53 h 363"/>
                <a:gd name="T10" fmla="*/ 29 w 314"/>
                <a:gd name="T11" fmla="*/ 68 h 363"/>
                <a:gd name="T12" fmla="*/ 26 w 314"/>
                <a:gd name="T13" fmla="*/ 37 h 363"/>
                <a:gd name="T14" fmla="*/ 0 w 314"/>
                <a:gd name="T15" fmla="*/ 13 h 3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4" h="363">
                  <a:moveTo>
                    <a:pt x="0" y="69"/>
                  </a:moveTo>
                  <a:lnTo>
                    <a:pt x="225" y="0"/>
                  </a:lnTo>
                  <a:lnTo>
                    <a:pt x="314" y="171"/>
                  </a:lnTo>
                  <a:lnTo>
                    <a:pt x="273" y="192"/>
                  </a:lnTo>
                  <a:lnTo>
                    <a:pt x="237" y="282"/>
                  </a:lnTo>
                  <a:lnTo>
                    <a:pt x="156" y="363"/>
                  </a:lnTo>
                  <a:lnTo>
                    <a:pt x="138" y="195"/>
                  </a:lnTo>
                  <a:lnTo>
                    <a:pt x="0" y="69"/>
                  </a:lnTo>
                  <a:close/>
                </a:path>
              </a:pathLst>
            </a:custGeom>
            <a:grp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57" name="Pennsylvania">
              <a:extLst>
                <a:ext uri="{FF2B5EF4-FFF2-40B4-BE49-F238E27FC236}">
                  <a16:creationId xmlns:a16="http://schemas.microsoft.com/office/drawing/2014/main" id="{940E75F5-BE2C-DEA2-481F-F86EF59D2114}"/>
                </a:ext>
              </a:extLst>
            </p:cNvPr>
            <p:cNvSpPr>
              <a:spLocks/>
            </p:cNvSpPr>
            <p:nvPr/>
          </p:nvSpPr>
          <p:spPr bwMode="auto">
            <a:xfrm>
              <a:off x="6784247" y="2403115"/>
              <a:ext cx="712584" cy="518746"/>
            </a:xfrm>
            <a:custGeom>
              <a:avLst/>
              <a:gdLst>
                <a:gd name="T0" fmla="*/ 0 w 2320"/>
                <a:gd name="T1" fmla="*/ 115 h 1689"/>
                <a:gd name="T2" fmla="*/ 21 w 2320"/>
                <a:gd name="T3" fmla="*/ 97 h 1689"/>
                <a:gd name="T4" fmla="*/ 45 w 2320"/>
                <a:gd name="T5" fmla="*/ 98 h 1689"/>
                <a:gd name="T6" fmla="*/ 118 w 2320"/>
                <a:gd name="T7" fmla="*/ 74 h 1689"/>
                <a:gd name="T8" fmla="*/ 226 w 2320"/>
                <a:gd name="T9" fmla="*/ 38 h 1689"/>
                <a:gd name="T10" fmla="*/ 350 w 2320"/>
                <a:gd name="T11" fmla="*/ 0 h 1689"/>
                <a:gd name="T12" fmla="*/ 399 w 2320"/>
                <a:gd name="T13" fmla="*/ 33 h 1689"/>
                <a:gd name="T14" fmla="*/ 417 w 2320"/>
                <a:gd name="T15" fmla="*/ 41 h 1689"/>
                <a:gd name="T16" fmla="*/ 402 w 2320"/>
                <a:gd name="T17" fmla="*/ 64 h 1689"/>
                <a:gd name="T18" fmla="*/ 392 w 2320"/>
                <a:gd name="T19" fmla="*/ 92 h 1689"/>
                <a:gd name="T20" fmla="*/ 412 w 2320"/>
                <a:gd name="T21" fmla="*/ 124 h 1689"/>
                <a:gd name="T22" fmla="*/ 438 w 2320"/>
                <a:gd name="T23" fmla="*/ 143 h 1689"/>
                <a:gd name="T24" fmla="*/ 439 w 2320"/>
                <a:gd name="T25" fmla="*/ 159 h 1689"/>
                <a:gd name="T26" fmla="*/ 429 w 2320"/>
                <a:gd name="T27" fmla="*/ 177 h 1689"/>
                <a:gd name="T28" fmla="*/ 422 w 2320"/>
                <a:gd name="T29" fmla="*/ 196 h 1689"/>
                <a:gd name="T30" fmla="*/ 408 w 2320"/>
                <a:gd name="T31" fmla="*/ 211 h 1689"/>
                <a:gd name="T32" fmla="*/ 386 w 2320"/>
                <a:gd name="T33" fmla="*/ 213 h 1689"/>
                <a:gd name="T34" fmla="*/ 374 w 2320"/>
                <a:gd name="T35" fmla="*/ 221 h 1689"/>
                <a:gd name="T36" fmla="*/ 362 w 2320"/>
                <a:gd name="T37" fmla="*/ 225 h 1689"/>
                <a:gd name="T38" fmla="*/ 338 w 2320"/>
                <a:gd name="T39" fmla="*/ 224 h 1689"/>
                <a:gd name="T40" fmla="*/ 325 w 2320"/>
                <a:gd name="T41" fmla="*/ 225 h 1689"/>
                <a:gd name="T42" fmla="*/ 298 w 2320"/>
                <a:gd name="T43" fmla="*/ 237 h 1689"/>
                <a:gd name="T44" fmla="*/ 277 w 2320"/>
                <a:gd name="T45" fmla="*/ 242 h 1689"/>
                <a:gd name="T46" fmla="*/ 262 w 2320"/>
                <a:gd name="T47" fmla="*/ 259 h 1689"/>
                <a:gd name="T48" fmla="*/ 229 w 2320"/>
                <a:gd name="T49" fmla="*/ 265 h 1689"/>
                <a:gd name="T50" fmla="*/ 204 w 2320"/>
                <a:gd name="T51" fmla="*/ 274 h 1689"/>
                <a:gd name="T52" fmla="*/ 164 w 2320"/>
                <a:gd name="T53" fmla="*/ 285 h 1689"/>
                <a:gd name="T54" fmla="*/ 130 w 2320"/>
                <a:gd name="T55" fmla="*/ 297 h 1689"/>
                <a:gd name="T56" fmla="*/ 113 w 2320"/>
                <a:gd name="T57" fmla="*/ 297 h 1689"/>
                <a:gd name="T58" fmla="*/ 93 w 2320"/>
                <a:gd name="T59" fmla="*/ 313 h 1689"/>
                <a:gd name="T60" fmla="*/ 56 w 2320"/>
                <a:gd name="T61" fmla="*/ 320 h 1689"/>
                <a:gd name="T62" fmla="*/ 44 w 2320"/>
                <a:gd name="T63" fmla="*/ 300 h 1689"/>
                <a:gd name="T64" fmla="*/ 39 w 2320"/>
                <a:gd name="T65" fmla="*/ 248 h 1689"/>
                <a:gd name="T66" fmla="*/ 26 w 2320"/>
                <a:gd name="T67" fmla="*/ 252 h 1689"/>
                <a:gd name="T68" fmla="*/ 23 w 2320"/>
                <a:gd name="T69" fmla="*/ 196 h 1689"/>
                <a:gd name="T70" fmla="*/ 0 w 2320"/>
                <a:gd name="T71" fmla="*/ 115 h 16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320" h="1689">
                  <a:moveTo>
                    <a:pt x="0" y="606"/>
                  </a:moveTo>
                  <a:lnTo>
                    <a:pt x="112" y="510"/>
                  </a:lnTo>
                  <a:lnTo>
                    <a:pt x="238" y="516"/>
                  </a:lnTo>
                  <a:lnTo>
                    <a:pt x="622" y="390"/>
                  </a:lnTo>
                  <a:lnTo>
                    <a:pt x="1192" y="198"/>
                  </a:lnTo>
                  <a:lnTo>
                    <a:pt x="1852" y="0"/>
                  </a:lnTo>
                  <a:lnTo>
                    <a:pt x="2110" y="174"/>
                  </a:lnTo>
                  <a:lnTo>
                    <a:pt x="2206" y="216"/>
                  </a:lnTo>
                  <a:lnTo>
                    <a:pt x="2122" y="336"/>
                  </a:lnTo>
                  <a:lnTo>
                    <a:pt x="2071" y="486"/>
                  </a:lnTo>
                  <a:lnTo>
                    <a:pt x="2176" y="654"/>
                  </a:lnTo>
                  <a:lnTo>
                    <a:pt x="2314" y="756"/>
                  </a:lnTo>
                  <a:lnTo>
                    <a:pt x="2320" y="840"/>
                  </a:lnTo>
                  <a:lnTo>
                    <a:pt x="2266" y="935"/>
                  </a:lnTo>
                  <a:lnTo>
                    <a:pt x="2230" y="1037"/>
                  </a:lnTo>
                  <a:lnTo>
                    <a:pt x="2156" y="1115"/>
                  </a:lnTo>
                  <a:lnTo>
                    <a:pt x="2042" y="1125"/>
                  </a:lnTo>
                  <a:lnTo>
                    <a:pt x="1978" y="1167"/>
                  </a:lnTo>
                  <a:lnTo>
                    <a:pt x="1912" y="1189"/>
                  </a:lnTo>
                  <a:lnTo>
                    <a:pt x="1786" y="1181"/>
                  </a:lnTo>
                  <a:lnTo>
                    <a:pt x="1718" y="1187"/>
                  </a:lnTo>
                  <a:lnTo>
                    <a:pt x="1574" y="1251"/>
                  </a:lnTo>
                  <a:lnTo>
                    <a:pt x="1462" y="1275"/>
                  </a:lnTo>
                  <a:lnTo>
                    <a:pt x="1382" y="1367"/>
                  </a:lnTo>
                  <a:lnTo>
                    <a:pt x="1208" y="1397"/>
                  </a:lnTo>
                  <a:lnTo>
                    <a:pt x="1080" y="1445"/>
                  </a:lnTo>
                  <a:lnTo>
                    <a:pt x="866" y="1505"/>
                  </a:lnTo>
                  <a:lnTo>
                    <a:pt x="687" y="1568"/>
                  </a:lnTo>
                  <a:lnTo>
                    <a:pt x="597" y="1568"/>
                  </a:lnTo>
                  <a:lnTo>
                    <a:pt x="489" y="1653"/>
                  </a:lnTo>
                  <a:lnTo>
                    <a:pt x="297" y="1689"/>
                  </a:lnTo>
                  <a:lnTo>
                    <a:pt x="234" y="1581"/>
                  </a:lnTo>
                  <a:lnTo>
                    <a:pt x="208" y="1307"/>
                  </a:lnTo>
                  <a:lnTo>
                    <a:pt x="136" y="1329"/>
                  </a:lnTo>
                  <a:lnTo>
                    <a:pt x="122" y="1035"/>
                  </a:lnTo>
                  <a:lnTo>
                    <a:pt x="0" y="606"/>
                  </a:lnTo>
                  <a:close/>
                </a:path>
              </a:pathLst>
            </a:custGeom>
            <a:solidFill>
              <a:srgbClr val="87729E"/>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58" name="Oregon">
              <a:extLst>
                <a:ext uri="{FF2B5EF4-FFF2-40B4-BE49-F238E27FC236}">
                  <a16:creationId xmlns:a16="http://schemas.microsoft.com/office/drawing/2014/main" id="{F2557370-2716-3F77-2206-AE7B2CDBC41C}"/>
                </a:ext>
              </a:extLst>
            </p:cNvPr>
            <p:cNvSpPr>
              <a:spLocks/>
            </p:cNvSpPr>
            <p:nvPr/>
          </p:nvSpPr>
          <p:spPr bwMode="auto">
            <a:xfrm>
              <a:off x="1721490" y="1903820"/>
              <a:ext cx="1001514" cy="820267"/>
            </a:xfrm>
            <a:custGeom>
              <a:avLst/>
              <a:gdLst>
                <a:gd name="T0" fmla="*/ 150 w 3256"/>
                <a:gd name="T1" fmla="*/ 0 h 2669"/>
                <a:gd name="T2" fmla="*/ 127 w 3256"/>
                <a:gd name="T3" fmla="*/ 29 h 2669"/>
                <a:gd name="T4" fmla="*/ 132 w 3256"/>
                <a:gd name="T5" fmla="*/ 68 h 2669"/>
                <a:gd name="T6" fmla="*/ 109 w 3256"/>
                <a:gd name="T7" fmla="*/ 85 h 2669"/>
                <a:gd name="T8" fmla="*/ 103 w 3256"/>
                <a:gd name="T9" fmla="*/ 114 h 2669"/>
                <a:gd name="T10" fmla="*/ 91 w 3256"/>
                <a:gd name="T11" fmla="*/ 139 h 2669"/>
                <a:gd name="T12" fmla="*/ 79 w 3256"/>
                <a:gd name="T13" fmla="*/ 173 h 2669"/>
                <a:gd name="T14" fmla="*/ 58 w 3256"/>
                <a:gd name="T15" fmla="*/ 207 h 2669"/>
                <a:gd name="T16" fmla="*/ 30 w 3256"/>
                <a:gd name="T17" fmla="*/ 240 h 2669"/>
                <a:gd name="T18" fmla="*/ 29 w 3256"/>
                <a:gd name="T19" fmla="*/ 263 h 2669"/>
                <a:gd name="T20" fmla="*/ 12 w 3256"/>
                <a:gd name="T21" fmla="*/ 284 h 2669"/>
                <a:gd name="T22" fmla="*/ 17 w 3256"/>
                <a:gd name="T23" fmla="*/ 325 h 2669"/>
                <a:gd name="T24" fmla="*/ 0 w 3256"/>
                <a:gd name="T25" fmla="*/ 357 h 2669"/>
                <a:gd name="T26" fmla="*/ 9 w 3256"/>
                <a:gd name="T27" fmla="*/ 370 h 2669"/>
                <a:gd name="T28" fmla="*/ 46 w 3256"/>
                <a:gd name="T29" fmla="*/ 381 h 2669"/>
                <a:gd name="T30" fmla="*/ 302 w 3256"/>
                <a:gd name="T31" fmla="*/ 460 h 2669"/>
                <a:gd name="T32" fmla="*/ 524 w 3256"/>
                <a:gd name="T33" fmla="*/ 506 h 2669"/>
                <a:gd name="T34" fmla="*/ 547 w 3256"/>
                <a:gd name="T35" fmla="*/ 352 h 2669"/>
                <a:gd name="T36" fmla="*/ 569 w 3256"/>
                <a:gd name="T37" fmla="*/ 318 h 2669"/>
                <a:gd name="T38" fmla="*/ 552 w 3256"/>
                <a:gd name="T39" fmla="*/ 296 h 2669"/>
                <a:gd name="T40" fmla="*/ 552 w 3256"/>
                <a:gd name="T41" fmla="*/ 273 h 2669"/>
                <a:gd name="T42" fmla="*/ 581 w 3256"/>
                <a:gd name="T43" fmla="*/ 256 h 2669"/>
                <a:gd name="T44" fmla="*/ 586 w 3256"/>
                <a:gd name="T45" fmla="*/ 227 h 2669"/>
                <a:gd name="T46" fmla="*/ 586 w 3256"/>
                <a:gd name="T47" fmla="*/ 222 h 2669"/>
                <a:gd name="T48" fmla="*/ 592 w 3256"/>
                <a:gd name="T49" fmla="*/ 210 h 2669"/>
                <a:gd name="T50" fmla="*/ 615 w 3256"/>
                <a:gd name="T51" fmla="*/ 205 h 2669"/>
                <a:gd name="T52" fmla="*/ 617 w 3256"/>
                <a:gd name="T53" fmla="*/ 187 h 2669"/>
                <a:gd name="T54" fmla="*/ 615 w 3256"/>
                <a:gd name="T55" fmla="*/ 165 h 2669"/>
                <a:gd name="T56" fmla="*/ 598 w 3256"/>
                <a:gd name="T57" fmla="*/ 142 h 2669"/>
                <a:gd name="T58" fmla="*/ 571 w 3256"/>
                <a:gd name="T59" fmla="*/ 142 h 2669"/>
                <a:gd name="T60" fmla="*/ 514 w 3256"/>
                <a:gd name="T61" fmla="*/ 124 h 2669"/>
                <a:gd name="T62" fmla="*/ 496 w 3256"/>
                <a:gd name="T63" fmla="*/ 111 h 2669"/>
                <a:gd name="T64" fmla="*/ 466 w 3256"/>
                <a:gd name="T65" fmla="*/ 111 h 2669"/>
                <a:gd name="T66" fmla="*/ 446 w 3256"/>
                <a:gd name="T67" fmla="*/ 119 h 2669"/>
                <a:gd name="T68" fmla="*/ 428 w 3256"/>
                <a:gd name="T69" fmla="*/ 108 h 2669"/>
                <a:gd name="T70" fmla="*/ 377 w 3256"/>
                <a:gd name="T71" fmla="*/ 114 h 2669"/>
                <a:gd name="T72" fmla="*/ 337 w 3256"/>
                <a:gd name="T73" fmla="*/ 91 h 2669"/>
                <a:gd name="T74" fmla="*/ 314 w 3256"/>
                <a:gd name="T75" fmla="*/ 108 h 2669"/>
                <a:gd name="T76" fmla="*/ 286 w 3256"/>
                <a:gd name="T77" fmla="*/ 79 h 2669"/>
                <a:gd name="T78" fmla="*/ 252 w 3256"/>
                <a:gd name="T79" fmla="*/ 80 h 2669"/>
                <a:gd name="T80" fmla="*/ 218 w 3256"/>
                <a:gd name="T81" fmla="*/ 79 h 2669"/>
                <a:gd name="T82" fmla="*/ 206 w 3256"/>
                <a:gd name="T83" fmla="*/ 34 h 2669"/>
                <a:gd name="T84" fmla="*/ 191 w 3256"/>
                <a:gd name="T85" fmla="*/ 16 h 2669"/>
                <a:gd name="T86" fmla="*/ 171 w 3256"/>
                <a:gd name="T87" fmla="*/ 5 h 2669"/>
                <a:gd name="T88" fmla="*/ 150 w 3256"/>
                <a:gd name="T89" fmla="*/ 0 h 26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56" h="2669">
                  <a:moveTo>
                    <a:pt x="789" y="0"/>
                  </a:moveTo>
                  <a:lnTo>
                    <a:pt x="672" y="155"/>
                  </a:lnTo>
                  <a:lnTo>
                    <a:pt x="694" y="359"/>
                  </a:lnTo>
                  <a:lnTo>
                    <a:pt x="574" y="449"/>
                  </a:lnTo>
                  <a:lnTo>
                    <a:pt x="544" y="599"/>
                  </a:lnTo>
                  <a:lnTo>
                    <a:pt x="480" y="731"/>
                  </a:lnTo>
                  <a:lnTo>
                    <a:pt x="416" y="915"/>
                  </a:lnTo>
                  <a:lnTo>
                    <a:pt x="304" y="1091"/>
                  </a:lnTo>
                  <a:lnTo>
                    <a:pt x="160" y="1267"/>
                  </a:lnTo>
                  <a:lnTo>
                    <a:pt x="152" y="1387"/>
                  </a:lnTo>
                  <a:lnTo>
                    <a:pt x="64" y="1499"/>
                  </a:lnTo>
                  <a:lnTo>
                    <a:pt x="88" y="1715"/>
                  </a:lnTo>
                  <a:lnTo>
                    <a:pt x="0" y="1883"/>
                  </a:lnTo>
                  <a:lnTo>
                    <a:pt x="48" y="1952"/>
                  </a:lnTo>
                  <a:lnTo>
                    <a:pt x="244" y="2009"/>
                  </a:lnTo>
                  <a:lnTo>
                    <a:pt x="1594" y="2429"/>
                  </a:lnTo>
                  <a:lnTo>
                    <a:pt x="2765" y="2669"/>
                  </a:lnTo>
                  <a:lnTo>
                    <a:pt x="2885" y="1859"/>
                  </a:lnTo>
                  <a:lnTo>
                    <a:pt x="3005" y="1679"/>
                  </a:lnTo>
                  <a:lnTo>
                    <a:pt x="2915" y="1559"/>
                  </a:lnTo>
                  <a:lnTo>
                    <a:pt x="2915" y="1439"/>
                  </a:lnTo>
                  <a:lnTo>
                    <a:pt x="3065" y="1349"/>
                  </a:lnTo>
                  <a:lnTo>
                    <a:pt x="3095" y="1199"/>
                  </a:lnTo>
                  <a:lnTo>
                    <a:pt x="3095" y="1169"/>
                  </a:lnTo>
                  <a:lnTo>
                    <a:pt x="3125" y="1109"/>
                  </a:lnTo>
                  <a:lnTo>
                    <a:pt x="3245" y="1079"/>
                  </a:lnTo>
                  <a:lnTo>
                    <a:pt x="3256" y="987"/>
                  </a:lnTo>
                  <a:lnTo>
                    <a:pt x="3245" y="869"/>
                  </a:lnTo>
                  <a:lnTo>
                    <a:pt x="3158" y="749"/>
                  </a:lnTo>
                  <a:lnTo>
                    <a:pt x="3012" y="749"/>
                  </a:lnTo>
                  <a:lnTo>
                    <a:pt x="2715" y="653"/>
                  </a:lnTo>
                  <a:lnTo>
                    <a:pt x="2615" y="587"/>
                  </a:lnTo>
                  <a:lnTo>
                    <a:pt x="2460" y="587"/>
                  </a:lnTo>
                  <a:lnTo>
                    <a:pt x="2351" y="629"/>
                  </a:lnTo>
                  <a:lnTo>
                    <a:pt x="2259" y="569"/>
                  </a:lnTo>
                  <a:lnTo>
                    <a:pt x="1989" y="599"/>
                  </a:lnTo>
                  <a:lnTo>
                    <a:pt x="1779" y="480"/>
                  </a:lnTo>
                  <a:lnTo>
                    <a:pt x="1659" y="569"/>
                  </a:lnTo>
                  <a:lnTo>
                    <a:pt x="1508" y="419"/>
                  </a:lnTo>
                  <a:lnTo>
                    <a:pt x="1331" y="423"/>
                  </a:lnTo>
                  <a:lnTo>
                    <a:pt x="1148" y="419"/>
                  </a:lnTo>
                  <a:lnTo>
                    <a:pt x="1088" y="180"/>
                  </a:lnTo>
                  <a:lnTo>
                    <a:pt x="1010" y="87"/>
                  </a:lnTo>
                  <a:lnTo>
                    <a:pt x="905" y="29"/>
                  </a:lnTo>
                  <a:lnTo>
                    <a:pt x="789" y="0"/>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59" name="Oklahoma">
              <a:extLst>
                <a:ext uri="{FF2B5EF4-FFF2-40B4-BE49-F238E27FC236}">
                  <a16:creationId xmlns:a16="http://schemas.microsoft.com/office/drawing/2014/main" id="{09C72AE6-FD54-CB18-E0FB-DBE38E430005}"/>
                </a:ext>
              </a:extLst>
            </p:cNvPr>
            <p:cNvSpPr>
              <a:spLocks/>
            </p:cNvSpPr>
            <p:nvPr/>
          </p:nvSpPr>
          <p:spPr bwMode="auto">
            <a:xfrm>
              <a:off x="4169273" y="3657832"/>
              <a:ext cx="1113514" cy="530095"/>
            </a:xfrm>
            <a:custGeom>
              <a:avLst/>
              <a:gdLst>
                <a:gd name="T0" fmla="*/ 3 w 3616"/>
                <a:gd name="T1" fmla="*/ 24 h 1724"/>
                <a:gd name="T2" fmla="*/ 0 w 3616"/>
                <a:gd name="T3" fmla="*/ 74 h 1724"/>
                <a:gd name="T4" fmla="*/ 109 w 3616"/>
                <a:gd name="T5" fmla="*/ 73 h 1724"/>
                <a:gd name="T6" fmla="*/ 169 w 3616"/>
                <a:gd name="T7" fmla="*/ 71 h 1724"/>
                <a:gd name="T8" fmla="*/ 231 w 3616"/>
                <a:gd name="T9" fmla="*/ 71 h 1724"/>
                <a:gd name="T10" fmla="*/ 234 w 3616"/>
                <a:gd name="T11" fmla="*/ 106 h 1724"/>
                <a:gd name="T12" fmla="*/ 235 w 3616"/>
                <a:gd name="T13" fmla="*/ 158 h 1724"/>
                <a:gd name="T14" fmla="*/ 230 w 3616"/>
                <a:gd name="T15" fmla="*/ 187 h 1724"/>
                <a:gd name="T16" fmla="*/ 223 w 3616"/>
                <a:gd name="T17" fmla="*/ 211 h 1724"/>
                <a:gd name="T18" fmla="*/ 230 w 3616"/>
                <a:gd name="T19" fmla="*/ 234 h 1724"/>
                <a:gd name="T20" fmla="*/ 231 w 3616"/>
                <a:gd name="T21" fmla="*/ 259 h 1724"/>
                <a:gd name="T22" fmla="*/ 261 w 3616"/>
                <a:gd name="T23" fmla="*/ 262 h 1724"/>
                <a:gd name="T24" fmla="*/ 280 w 3616"/>
                <a:gd name="T25" fmla="*/ 274 h 1724"/>
                <a:gd name="T26" fmla="*/ 306 w 3616"/>
                <a:gd name="T27" fmla="*/ 276 h 1724"/>
                <a:gd name="T28" fmla="*/ 338 w 3616"/>
                <a:gd name="T29" fmla="*/ 295 h 1724"/>
                <a:gd name="T30" fmla="*/ 381 w 3616"/>
                <a:gd name="T31" fmla="*/ 288 h 1724"/>
                <a:gd name="T32" fmla="*/ 412 w 3616"/>
                <a:gd name="T33" fmla="*/ 315 h 1724"/>
                <a:gd name="T34" fmla="*/ 440 w 3616"/>
                <a:gd name="T35" fmla="*/ 309 h 1724"/>
                <a:gd name="T36" fmla="*/ 464 w 3616"/>
                <a:gd name="T37" fmla="*/ 321 h 1724"/>
                <a:gd name="T38" fmla="*/ 492 w 3616"/>
                <a:gd name="T39" fmla="*/ 319 h 1724"/>
                <a:gd name="T40" fmla="*/ 544 w 3616"/>
                <a:gd name="T41" fmla="*/ 327 h 1724"/>
                <a:gd name="T42" fmla="*/ 591 w 3616"/>
                <a:gd name="T43" fmla="*/ 309 h 1724"/>
                <a:gd name="T44" fmla="*/ 617 w 3616"/>
                <a:gd name="T45" fmla="*/ 312 h 1724"/>
                <a:gd name="T46" fmla="*/ 636 w 3616"/>
                <a:gd name="T47" fmla="*/ 303 h 1724"/>
                <a:gd name="T48" fmla="*/ 657 w 3616"/>
                <a:gd name="T49" fmla="*/ 321 h 1724"/>
                <a:gd name="T50" fmla="*/ 686 w 3616"/>
                <a:gd name="T51" fmla="*/ 327 h 1724"/>
                <a:gd name="T52" fmla="*/ 686 w 3616"/>
                <a:gd name="T53" fmla="*/ 173 h 1724"/>
                <a:gd name="T54" fmla="*/ 673 w 3616"/>
                <a:gd name="T55" fmla="*/ 112 h 1724"/>
                <a:gd name="T56" fmla="*/ 669 w 3616"/>
                <a:gd name="T57" fmla="*/ 74 h 1724"/>
                <a:gd name="T58" fmla="*/ 669 w 3616"/>
                <a:gd name="T59" fmla="*/ 48 h 1724"/>
                <a:gd name="T60" fmla="*/ 664 w 3616"/>
                <a:gd name="T61" fmla="*/ 26 h 1724"/>
                <a:gd name="T62" fmla="*/ 654 w 3616"/>
                <a:gd name="T63" fmla="*/ 0 h 1724"/>
                <a:gd name="T64" fmla="*/ 587 w 3616"/>
                <a:gd name="T65" fmla="*/ 5 h 1724"/>
                <a:gd name="T66" fmla="*/ 344 w 3616"/>
                <a:gd name="T67" fmla="*/ 25 h 1724"/>
                <a:gd name="T68" fmla="*/ 219 w 3616"/>
                <a:gd name="T69" fmla="*/ 25 h 1724"/>
                <a:gd name="T70" fmla="*/ 79 w 3616"/>
                <a:gd name="T71" fmla="*/ 25 h 1724"/>
                <a:gd name="T72" fmla="*/ 3 w 3616"/>
                <a:gd name="T73" fmla="*/ 24 h 17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16" h="1724">
                  <a:moveTo>
                    <a:pt x="14" y="124"/>
                  </a:moveTo>
                  <a:lnTo>
                    <a:pt x="0" y="392"/>
                  </a:lnTo>
                  <a:lnTo>
                    <a:pt x="573" y="383"/>
                  </a:lnTo>
                  <a:lnTo>
                    <a:pt x="893" y="374"/>
                  </a:lnTo>
                  <a:lnTo>
                    <a:pt x="1215" y="374"/>
                  </a:lnTo>
                  <a:lnTo>
                    <a:pt x="1231" y="557"/>
                  </a:lnTo>
                  <a:lnTo>
                    <a:pt x="1241" y="831"/>
                  </a:lnTo>
                  <a:lnTo>
                    <a:pt x="1213" y="987"/>
                  </a:lnTo>
                  <a:lnTo>
                    <a:pt x="1177" y="1115"/>
                  </a:lnTo>
                  <a:lnTo>
                    <a:pt x="1213" y="1233"/>
                  </a:lnTo>
                  <a:lnTo>
                    <a:pt x="1215" y="1364"/>
                  </a:lnTo>
                  <a:lnTo>
                    <a:pt x="1378" y="1380"/>
                  </a:lnTo>
                  <a:lnTo>
                    <a:pt x="1478" y="1444"/>
                  </a:lnTo>
                  <a:lnTo>
                    <a:pt x="1615" y="1453"/>
                  </a:lnTo>
                  <a:lnTo>
                    <a:pt x="1780" y="1553"/>
                  </a:lnTo>
                  <a:lnTo>
                    <a:pt x="2009" y="1517"/>
                  </a:lnTo>
                  <a:lnTo>
                    <a:pt x="2173" y="1663"/>
                  </a:lnTo>
                  <a:lnTo>
                    <a:pt x="2319" y="1627"/>
                  </a:lnTo>
                  <a:lnTo>
                    <a:pt x="2446" y="1694"/>
                  </a:lnTo>
                  <a:lnTo>
                    <a:pt x="2594" y="1681"/>
                  </a:lnTo>
                  <a:lnTo>
                    <a:pt x="2866" y="1724"/>
                  </a:lnTo>
                  <a:lnTo>
                    <a:pt x="3115" y="1627"/>
                  </a:lnTo>
                  <a:lnTo>
                    <a:pt x="3252" y="1645"/>
                  </a:lnTo>
                  <a:lnTo>
                    <a:pt x="3353" y="1599"/>
                  </a:lnTo>
                  <a:lnTo>
                    <a:pt x="3462" y="1691"/>
                  </a:lnTo>
                  <a:lnTo>
                    <a:pt x="3616" y="1724"/>
                  </a:lnTo>
                  <a:lnTo>
                    <a:pt x="3616" y="914"/>
                  </a:lnTo>
                  <a:lnTo>
                    <a:pt x="3545" y="593"/>
                  </a:lnTo>
                  <a:lnTo>
                    <a:pt x="3526" y="392"/>
                  </a:lnTo>
                  <a:lnTo>
                    <a:pt x="3526" y="254"/>
                  </a:lnTo>
                  <a:lnTo>
                    <a:pt x="3499" y="136"/>
                  </a:lnTo>
                  <a:lnTo>
                    <a:pt x="3446" y="0"/>
                  </a:lnTo>
                  <a:lnTo>
                    <a:pt x="3096" y="28"/>
                  </a:lnTo>
                  <a:lnTo>
                    <a:pt x="1814" y="134"/>
                  </a:lnTo>
                  <a:lnTo>
                    <a:pt x="1155" y="134"/>
                  </a:lnTo>
                  <a:lnTo>
                    <a:pt x="416" y="130"/>
                  </a:lnTo>
                  <a:lnTo>
                    <a:pt x="14" y="124"/>
                  </a:lnTo>
                  <a:close/>
                </a:path>
              </a:pathLst>
            </a:custGeom>
            <a:solidFill>
              <a:srgbClr val="87729E"/>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60" name="Ohio">
              <a:extLst>
                <a:ext uri="{FF2B5EF4-FFF2-40B4-BE49-F238E27FC236}">
                  <a16:creationId xmlns:a16="http://schemas.microsoft.com/office/drawing/2014/main" id="{9D98D359-BEA1-5B59-864C-13A711962045}"/>
                </a:ext>
              </a:extLst>
            </p:cNvPr>
            <p:cNvSpPr>
              <a:spLocks/>
            </p:cNvSpPr>
            <p:nvPr/>
          </p:nvSpPr>
          <p:spPr bwMode="auto">
            <a:xfrm>
              <a:off x="6305403" y="2587918"/>
              <a:ext cx="525917" cy="594938"/>
            </a:xfrm>
            <a:custGeom>
              <a:avLst/>
              <a:gdLst>
                <a:gd name="T0" fmla="*/ 0 w 1707"/>
                <a:gd name="T1" fmla="*/ 109 h 1934"/>
                <a:gd name="T2" fmla="*/ 23 w 1707"/>
                <a:gd name="T3" fmla="*/ 94 h 1934"/>
                <a:gd name="T4" fmla="*/ 60 w 1707"/>
                <a:gd name="T5" fmla="*/ 93 h 1934"/>
                <a:gd name="T6" fmla="*/ 60 w 1707"/>
                <a:gd name="T7" fmla="*/ 85 h 1934"/>
                <a:gd name="T8" fmla="*/ 96 w 1707"/>
                <a:gd name="T9" fmla="*/ 82 h 1934"/>
                <a:gd name="T10" fmla="*/ 122 w 1707"/>
                <a:gd name="T11" fmla="*/ 90 h 1934"/>
                <a:gd name="T12" fmla="*/ 153 w 1707"/>
                <a:gd name="T13" fmla="*/ 99 h 1934"/>
                <a:gd name="T14" fmla="*/ 218 w 1707"/>
                <a:gd name="T15" fmla="*/ 59 h 1934"/>
                <a:gd name="T16" fmla="*/ 295 w 1707"/>
                <a:gd name="T17" fmla="*/ 0 h 1934"/>
                <a:gd name="T18" fmla="*/ 318 w 1707"/>
                <a:gd name="T19" fmla="*/ 82 h 1934"/>
                <a:gd name="T20" fmla="*/ 321 w 1707"/>
                <a:gd name="T21" fmla="*/ 140 h 1934"/>
                <a:gd name="T22" fmla="*/ 324 w 1707"/>
                <a:gd name="T23" fmla="*/ 190 h 1934"/>
                <a:gd name="T24" fmla="*/ 312 w 1707"/>
                <a:gd name="T25" fmla="*/ 225 h 1934"/>
                <a:gd name="T26" fmla="*/ 292 w 1707"/>
                <a:gd name="T27" fmla="*/ 250 h 1934"/>
                <a:gd name="T28" fmla="*/ 272 w 1707"/>
                <a:gd name="T29" fmla="*/ 265 h 1934"/>
                <a:gd name="T30" fmla="*/ 275 w 1707"/>
                <a:gd name="T31" fmla="*/ 284 h 1934"/>
                <a:gd name="T32" fmla="*/ 268 w 1707"/>
                <a:gd name="T33" fmla="*/ 302 h 1934"/>
                <a:gd name="T34" fmla="*/ 250 w 1707"/>
                <a:gd name="T35" fmla="*/ 299 h 1934"/>
                <a:gd name="T36" fmla="*/ 250 w 1707"/>
                <a:gd name="T37" fmla="*/ 325 h 1934"/>
                <a:gd name="T38" fmla="*/ 244 w 1707"/>
                <a:gd name="T39" fmla="*/ 344 h 1934"/>
                <a:gd name="T40" fmla="*/ 221 w 1707"/>
                <a:gd name="T41" fmla="*/ 367 h 1934"/>
                <a:gd name="T42" fmla="*/ 206 w 1707"/>
                <a:gd name="T43" fmla="*/ 349 h 1934"/>
                <a:gd name="T44" fmla="*/ 184 w 1707"/>
                <a:gd name="T45" fmla="*/ 332 h 1934"/>
                <a:gd name="T46" fmla="*/ 168 w 1707"/>
                <a:gd name="T47" fmla="*/ 349 h 1934"/>
                <a:gd name="T48" fmla="*/ 147 w 1707"/>
                <a:gd name="T49" fmla="*/ 356 h 1934"/>
                <a:gd name="T50" fmla="*/ 113 w 1707"/>
                <a:gd name="T51" fmla="*/ 356 h 1934"/>
                <a:gd name="T52" fmla="*/ 83 w 1707"/>
                <a:gd name="T53" fmla="*/ 352 h 1934"/>
                <a:gd name="T54" fmla="*/ 52 w 1707"/>
                <a:gd name="T55" fmla="*/ 332 h 1934"/>
                <a:gd name="T56" fmla="*/ 46 w 1707"/>
                <a:gd name="T57" fmla="*/ 293 h 1934"/>
                <a:gd name="T58" fmla="*/ 32 w 1707"/>
                <a:gd name="T59" fmla="*/ 258 h 1934"/>
                <a:gd name="T60" fmla="*/ 29 w 1707"/>
                <a:gd name="T61" fmla="*/ 206 h 1934"/>
                <a:gd name="T62" fmla="*/ 20 w 1707"/>
                <a:gd name="T63" fmla="*/ 189 h 1934"/>
                <a:gd name="T64" fmla="*/ 7 w 1707"/>
                <a:gd name="T65" fmla="*/ 150 h 1934"/>
                <a:gd name="T66" fmla="*/ 13 w 1707"/>
                <a:gd name="T67" fmla="*/ 135 h 1934"/>
                <a:gd name="T68" fmla="*/ 0 w 1707"/>
                <a:gd name="T69" fmla="*/ 109 h 19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07" h="1934">
                  <a:moveTo>
                    <a:pt x="0" y="575"/>
                  </a:moveTo>
                  <a:lnTo>
                    <a:pt x="123" y="496"/>
                  </a:lnTo>
                  <a:lnTo>
                    <a:pt x="315" y="488"/>
                  </a:lnTo>
                  <a:lnTo>
                    <a:pt x="315" y="448"/>
                  </a:lnTo>
                  <a:lnTo>
                    <a:pt x="507" y="432"/>
                  </a:lnTo>
                  <a:lnTo>
                    <a:pt x="643" y="472"/>
                  </a:lnTo>
                  <a:lnTo>
                    <a:pt x="805" y="523"/>
                  </a:lnTo>
                  <a:lnTo>
                    <a:pt x="1147" y="312"/>
                  </a:lnTo>
                  <a:lnTo>
                    <a:pt x="1555" y="0"/>
                  </a:lnTo>
                  <a:lnTo>
                    <a:pt x="1675" y="433"/>
                  </a:lnTo>
                  <a:lnTo>
                    <a:pt x="1691" y="736"/>
                  </a:lnTo>
                  <a:lnTo>
                    <a:pt x="1707" y="1000"/>
                  </a:lnTo>
                  <a:lnTo>
                    <a:pt x="1645" y="1184"/>
                  </a:lnTo>
                  <a:lnTo>
                    <a:pt x="1539" y="1320"/>
                  </a:lnTo>
                  <a:lnTo>
                    <a:pt x="1435" y="1394"/>
                  </a:lnTo>
                  <a:lnTo>
                    <a:pt x="1451" y="1496"/>
                  </a:lnTo>
                  <a:lnTo>
                    <a:pt x="1411" y="1592"/>
                  </a:lnTo>
                  <a:lnTo>
                    <a:pt x="1315" y="1574"/>
                  </a:lnTo>
                  <a:lnTo>
                    <a:pt x="1315" y="1712"/>
                  </a:lnTo>
                  <a:lnTo>
                    <a:pt x="1285" y="1814"/>
                  </a:lnTo>
                  <a:lnTo>
                    <a:pt x="1165" y="1934"/>
                  </a:lnTo>
                  <a:lnTo>
                    <a:pt x="1083" y="1840"/>
                  </a:lnTo>
                  <a:lnTo>
                    <a:pt x="971" y="1752"/>
                  </a:lnTo>
                  <a:lnTo>
                    <a:pt x="883" y="1840"/>
                  </a:lnTo>
                  <a:lnTo>
                    <a:pt x="775" y="1874"/>
                  </a:lnTo>
                  <a:lnTo>
                    <a:pt x="595" y="1874"/>
                  </a:lnTo>
                  <a:lnTo>
                    <a:pt x="435" y="1856"/>
                  </a:lnTo>
                  <a:lnTo>
                    <a:pt x="275" y="1750"/>
                  </a:lnTo>
                  <a:lnTo>
                    <a:pt x="242" y="1544"/>
                  </a:lnTo>
                  <a:lnTo>
                    <a:pt x="170" y="1361"/>
                  </a:lnTo>
                  <a:lnTo>
                    <a:pt x="153" y="1085"/>
                  </a:lnTo>
                  <a:lnTo>
                    <a:pt x="107" y="998"/>
                  </a:lnTo>
                  <a:lnTo>
                    <a:pt x="35" y="791"/>
                  </a:lnTo>
                  <a:lnTo>
                    <a:pt x="66" y="710"/>
                  </a:lnTo>
                  <a:lnTo>
                    <a:pt x="0" y="575"/>
                  </a:lnTo>
                  <a:close/>
                </a:path>
              </a:pathLst>
            </a:custGeom>
            <a:solidFill>
              <a:srgbClr val="87729E"/>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61" name="North Dakota">
              <a:extLst>
                <a:ext uri="{FF2B5EF4-FFF2-40B4-BE49-F238E27FC236}">
                  <a16:creationId xmlns:a16="http://schemas.microsoft.com/office/drawing/2014/main" id="{72FF3677-C7B2-5503-1AB7-A76B68326B60}"/>
                </a:ext>
              </a:extLst>
            </p:cNvPr>
            <p:cNvSpPr>
              <a:spLocks/>
            </p:cNvSpPr>
            <p:nvPr/>
          </p:nvSpPr>
          <p:spPr bwMode="auto">
            <a:xfrm>
              <a:off x="4096230" y="1845461"/>
              <a:ext cx="805106" cy="478219"/>
            </a:xfrm>
            <a:custGeom>
              <a:avLst/>
              <a:gdLst>
                <a:gd name="T0" fmla="*/ 14 w 2622"/>
                <a:gd name="T1" fmla="*/ 7 h 1560"/>
                <a:gd name="T2" fmla="*/ 0 w 2622"/>
                <a:gd name="T3" fmla="*/ 295 h 1560"/>
                <a:gd name="T4" fmla="*/ 496 w 2622"/>
                <a:gd name="T5" fmla="*/ 284 h 1560"/>
                <a:gd name="T6" fmla="*/ 486 w 2622"/>
                <a:gd name="T7" fmla="*/ 217 h 1560"/>
                <a:gd name="T8" fmla="*/ 477 w 2622"/>
                <a:gd name="T9" fmla="*/ 130 h 1560"/>
                <a:gd name="T10" fmla="*/ 454 w 2622"/>
                <a:gd name="T11" fmla="*/ 99 h 1560"/>
                <a:gd name="T12" fmla="*/ 447 w 2622"/>
                <a:gd name="T13" fmla="*/ 58 h 1560"/>
                <a:gd name="T14" fmla="*/ 443 w 2622"/>
                <a:gd name="T15" fmla="*/ 0 h 1560"/>
                <a:gd name="T16" fmla="*/ 355 w 2622"/>
                <a:gd name="T17" fmla="*/ 3 h 1560"/>
                <a:gd name="T18" fmla="*/ 310 w 2622"/>
                <a:gd name="T19" fmla="*/ 12 h 1560"/>
                <a:gd name="T20" fmla="*/ 236 w 2622"/>
                <a:gd name="T21" fmla="*/ 9 h 1560"/>
                <a:gd name="T22" fmla="*/ 140 w 2622"/>
                <a:gd name="T23" fmla="*/ 10 h 1560"/>
                <a:gd name="T24" fmla="*/ 14 w 2622"/>
                <a:gd name="T25" fmla="*/ 7 h 15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22" h="1560">
                  <a:moveTo>
                    <a:pt x="72" y="35"/>
                  </a:moveTo>
                  <a:lnTo>
                    <a:pt x="0" y="1560"/>
                  </a:lnTo>
                  <a:lnTo>
                    <a:pt x="2622" y="1503"/>
                  </a:lnTo>
                  <a:lnTo>
                    <a:pt x="2568" y="1149"/>
                  </a:lnTo>
                  <a:lnTo>
                    <a:pt x="2520" y="690"/>
                  </a:lnTo>
                  <a:lnTo>
                    <a:pt x="2400" y="525"/>
                  </a:lnTo>
                  <a:lnTo>
                    <a:pt x="2364" y="309"/>
                  </a:lnTo>
                  <a:lnTo>
                    <a:pt x="2340" y="0"/>
                  </a:lnTo>
                  <a:lnTo>
                    <a:pt x="1878" y="15"/>
                  </a:lnTo>
                  <a:lnTo>
                    <a:pt x="1638" y="63"/>
                  </a:lnTo>
                  <a:lnTo>
                    <a:pt x="1248" y="45"/>
                  </a:lnTo>
                  <a:lnTo>
                    <a:pt x="738" y="51"/>
                  </a:lnTo>
                  <a:lnTo>
                    <a:pt x="72" y="35"/>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62" name="North Carolina">
              <a:extLst>
                <a:ext uri="{FF2B5EF4-FFF2-40B4-BE49-F238E27FC236}">
                  <a16:creationId xmlns:a16="http://schemas.microsoft.com/office/drawing/2014/main" id="{183FAD24-74C9-B7B9-682E-18F0BFDAE0E1}"/>
                </a:ext>
              </a:extLst>
            </p:cNvPr>
            <p:cNvSpPr>
              <a:spLocks/>
            </p:cNvSpPr>
            <p:nvPr/>
          </p:nvSpPr>
          <p:spPr bwMode="auto">
            <a:xfrm>
              <a:off x="6545636" y="3221762"/>
              <a:ext cx="1051833" cy="539820"/>
            </a:xfrm>
            <a:custGeom>
              <a:avLst/>
              <a:gdLst>
                <a:gd name="T0" fmla="*/ 0 w 3422"/>
                <a:gd name="T1" fmla="*/ 333 h 1760"/>
                <a:gd name="T2" fmla="*/ 32 w 3422"/>
                <a:gd name="T3" fmla="*/ 329 h 1760"/>
                <a:gd name="T4" fmla="*/ 70 w 3422"/>
                <a:gd name="T5" fmla="*/ 317 h 1760"/>
                <a:gd name="T6" fmla="*/ 92 w 3422"/>
                <a:gd name="T7" fmla="*/ 314 h 1760"/>
                <a:gd name="T8" fmla="*/ 161 w 3422"/>
                <a:gd name="T9" fmla="*/ 282 h 1760"/>
                <a:gd name="T10" fmla="*/ 205 w 3422"/>
                <a:gd name="T11" fmla="*/ 268 h 1760"/>
                <a:gd name="T12" fmla="*/ 243 w 3422"/>
                <a:gd name="T13" fmla="*/ 258 h 1760"/>
                <a:gd name="T14" fmla="*/ 275 w 3422"/>
                <a:gd name="T15" fmla="*/ 262 h 1760"/>
                <a:gd name="T16" fmla="*/ 292 w 3422"/>
                <a:gd name="T17" fmla="*/ 280 h 1760"/>
                <a:gd name="T18" fmla="*/ 327 w 3422"/>
                <a:gd name="T19" fmla="*/ 268 h 1760"/>
                <a:gd name="T20" fmla="*/ 371 w 3422"/>
                <a:gd name="T21" fmla="*/ 246 h 1760"/>
                <a:gd name="T22" fmla="*/ 418 w 3422"/>
                <a:gd name="T23" fmla="*/ 286 h 1760"/>
                <a:gd name="T24" fmla="*/ 457 w 3422"/>
                <a:gd name="T25" fmla="*/ 308 h 1760"/>
                <a:gd name="T26" fmla="*/ 467 w 3422"/>
                <a:gd name="T27" fmla="*/ 331 h 1760"/>
                <a:gd name="T28" fmla="*/ 506 w 3422"/>
                <a:gd name="T29" fmla="*/ 301 h 1760"/>
                <a:gd name="T30" fmla="*/ 525 w 3422"/>
                <a:gd name="T31" fmla="*/ 276 h 1760"/>
                <a:gd name="T32" fmla="*/ 537 w 3422"/>
                <a:gd name="T33" fmla="*/ 246 h 1760"/>
                <a:gd name="T34" fmla="*/ 554 w 3422"/>
                <a:gd name="T35" fmla="*/ 217 h 1760"/>
                <a:gd name="T36" fmla="*/ 582 w 3422"/>
                <a:gd name="T37" fmla="*/ 202 h 1760"/>
                <a:gd name="T38" fmla="*/ 603 w 3422"/>
                <a:gd name="T39" fmla="*/ 187 h 1760"/>
                <a:gd name="T40" fmla="*/ 614 w 3422"/>
                <a:gd name="T41" fmla="*/ 176 h 1760"/>
                <a:gd name="T42" fmla="*/ 603 w 3422"/>
                <a:gd name="T43" fmla="*/ 165 h 1760"/>
                <a:gd name="T44" fmla="*/ 568 w 3422"/>
                <a:gd name="T45" fmla="*/ 182 h 1760"/>
                <a:gd name="T46" fmla="*/ 563 w 3422"/>
                <a:gd name="T47" fmla="*/ 165 h 1760"/>
                <a:gd name="T48" fmla="*/ 582 w 3422"/>
                <a:gd name="T49" fmla="*/ 160 h 1760"/>
                <a:gd name="T50" fmla="*/ 592 w 3422"/>
                <a:gd name="T51" fmla="*/ 148 h 1760"/>
                <a:gd name="T52" fmla="*/ 591 w 3422"/>
                <a:gd name="T53" fmla="*/ 125 h 1760"/>
                <a:gd name="T54" fmla="*/ 625 w 3422"/>
                <a:gd name="T55" fmla="*/ 114 h 1760"/>
                <a:gd name="T56" fmla="*/ 645 w 3422"/>
                <a:gd name="T57" fmla="*/ 90 h 1760"/>
                <a:gd name="T58" fmla="*/ 648 w 3422"/>
                <a:gd name="T59" fmla="*/ 68 h 1760"/>
                <a:gd name="T60" fmla="*/ 625 w 3422"/>
                <a:gd name="T61" fmla="*/ 45 h 1760"/>
                <a:gd name="T62" fmla="*/ 620 w 3422"/>
                <a:gd name="T63" fmla="*/ 68 h 1760"/>
                <a:gd name="T64" fmla="*/ 602 w 3422"/>
                <a:gd name="T65" fmla="*/ 63 h 1760"/>
                <a:gd name="T66" fmla="*/ 570 w 3422"/>
                <a:gd name="T67" fmla="*/ 70 h 1760"/>
                <a:gd name="T68" fmla="*/ 551 w 3422"/>
                <a:gd name="T69" fmla="*/ 51 h 1760"/>
                <a:gd name="T70" fmla="*/ 564 w 3422"/>
                <a:gd name="T71" fmla="*/ 39 h 1760"/>
                <a:gd name="T72" fmla="*/ 586 w 3422"/>
                <a:gd name="T73" fmla="*/ 49 h 1760"/>
                <a:gd name="T74" fmla="*/ 599 w 3422"/>
                <a:gd name="T75" fmla="*/ 34 h 1760"/>
                <a:gd name="T76" fmla="*/ 620 w 3422"/>
                <a:gd name="T77" fmla="*/ 28 h 1760"/>
                <a:gd name="T78" fmla="*/ 591 w 3422"/>
                <a:gd name="T79" fmla="*/ 0 h 1760"/>
                <a:gd name="T80" fmla="*/ 554 w 3422"/>
                <a:gd name="T81" fmla="*/ 17 h 1760"/>
                <a:gd name="T82" fmla="*/ 512 w 3422"/>
                <a:gd name="T83" fmla="*/ 23 h 1760"/>
                <a:gd name="T84" fmla="*/ 351 w 3422"/>
                <a:gd name="T85" fmla="*/ 70 h 1760"/>
                <a:gd name="T86" fmla="*/ 280 w 3422"/>
                <a:gd name="T87" fmla="*/ 101 h 1760"/>
                <a:gd name="T88" fmla="*/ 178 w 3422"/>
                <a:gd name="T89" fmla="*/ 129 h 1760"/>
                <a:gd name="T90" fmla="*/ 178 w 3422"/>
                <a:gd name="T91" fmla="*/ 151 h 1760"/>
                <a:gd name="T92" fmla="*/ 165 w 3422"/>
                <a:gd name="T93" fmla="*/ 169 h 1760"/>
                <a:gd name="T94" fmla="*/ 97 w 3422"/>
                <a:gd name="T95" fmla="*/ 202 h 1760"/>
                <a:gd name="T96" fmla="*/ 103 w 3422"/>
                <a:gd name="T97" fmla="*/ 220 h 1760"/>
                <a:gd name="T98" fmla="*/ 32 w 3422"/>
                <a:gd name="T99" fmla="*/ 275 h 1760"/>
                <a:gd name="T100" fmla="*/ 18 w 3422"/>
                <a:gd name="T101" fmla="*/ 300 h 1760"/>
                <a:gd name="T102" fmla="*/ 1 w 3422"/>
                <a:gd name="T103" fmla="*/ 305 h 1760"/>
                <a:gd name="T104" fmla="*/ 0 w 3422"/>
                <a:gd name="T105" fmla="*/ 333 h 17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422" h="1760">
                  <a:moveTo>
                    <a:pt x="0" y="1760"/>
                  </a:moveTo>
                  <a:lnTo>
                    <a:pt x="168" y="1738"/>
                  </a:lnTo>
                  <a:lnTo>
                    <a:pt x="369" y="1675"/>
                  </a:lnTo>
                  <a:lnTo>
                    <a:pt x="487" y="1657"/>
                  </a:lnTo>
                  <a:lnTo>
                    <a:pt x="848" y="1490"/>
                  </a:lnTo>
                  <a:lnTo>
                    <a:pt x="1082" y="1419"/>
                  </a:lnTo>
                  <a:lnTo>
                    <a:pt x="1283" y="1365"/>
                  </a:lnTo>
                  <a:lnTo>
                    <a:pt x="1452" y="1386"/>
                  </a:lnTo>
                  <a:lnTo>
                    <a:pt x="1542" y="1478"/>
                  </a:lnTo>
                  <a:lnTo>
                    <a:pt x="1726" y="1418"/>
                  </a:lnTo>
                  <a:lnTo>
                    <a:pt x="1961" y="1298"/>
                  </a:lnTo>
                  <a:lnTo>
                    <a:pt x="2209" y="1511"/>
                  </a:lnTo>
                  <a:lnTo>
                    <a:pt x="2411" y="1626"/>
                  </a:lnTo>
                  <a:lnTo>
                    <a:pt x="2468" y="1748"/>
                  </a:lnTo>
                  <a:lnTo>
                    <a:pt x="2672" y="1590"/>
                  </a:lnTo>
                  <a:lnTo>
                    <a:pt x="2772" y="1460"/>
                  </a:lnTo>
                  <a:lnTo>
                    <a:pt x="2836" y="1300"/>
                  </a:lnTo>
                  <a:lnTo>
                    <a:pt x="2924" y="1148"/>
                  </a:lnTo>
                  <a:lnTo>
                    <a:pt x="3076" y="1068"/>
                  </a:lnTo>
                  <a:lnTo>
                    <a:pt x="3182" y="990"/>
                  </a:lnTo>
                  <a:lnTo>
                    <a:pt x="3244" y="932"/>
                  </a:lnTo>
                  <a:lnTo>
                    <a:pt x="3182" y="870"/>
                  </a:lnTo>
                  <a:lnTo>
                    <a:pt x="3002" y="960"/>
                  </a:lnTo>
                  <a:lnTo>
                    <a:pt x="2972" y="870"/>
                  </a:lnTo>
                  <a:lnTo>
                    <a:pt x="3076" y="844"/>
                  </a:lnTo>
                  <a:lnTo>
                    <a:pt x="3124" y="780"/>
                  </a:lnTo>
                  <a:lnTo>
                    <a:pt x="3122" y="660"/>
                  </a:lnTo>
                  <a:lnTo>
                    <a:pt x="3302" y="600"/>
                  </a:lnTo>
                  <a:lnTo>
                    <a:pt x="3404" y="476"/>
                  </a:lnTo>
                  <a:lnTo>
                    <a:pt x="3422" y="360"/>
                  </a:lnTo>
                  <a:lnTo>
                    <a:pt x="3302" y="240"/>
                  </a:lnTo>
                  <a:lnTo>
                    <a:pt x="3272" y="360"/>
                  </a:lnTo>
                  <a:lnTo>
                    <a:pt x="3180" y="332"/>
                  </a:lnTo>
                  <a:lnTo>
                    <a:pt x="3012" y="372"/>
                  </a:lnTo>
                  <a:lnTo>
                    <a:pt x="2912" y="270"/>
                  </a:lnTo>
                  <a:lnTo>
                    <a:pt x="2980" y="204"/>
                  </a:lnTo>
                  <a:lnTo>
                    <a:pt x="3092" y="260"/>
                  </a:lnTo>
                  <a:lnTo>
                    <a:pt x="3164" y="180"/>
                  </a:lnTo>
                  <a:lnTo>
                    <a:pt x="3272" y="150"/>
                  </a:lnTo>
                  <a:lnTo>
                    <a:pt x="3122" y="0"/>
                  </a:lnTo>
                  <a:lnTo>
                    <a:pt x="2924" y="92"/>
                  </a:lnTo>
                  <a:lnTo>
                    <a:pt x="2702" y="120"/>
                  </a:lnTo>
                  <a:lnTo>
                    <a:pt x="1852" y="372"/>
                  </a:lnTo>
                  <a:lnTo>
                    <a:pt x="1477" y="532"/>
                  </a:lnTo>
                  <a:lnTo>
                    <a:pt x="939" y="683"/>
                  </a:lnTo>
                  <a:lnTo>
                    <a:pt x="942" y="797"/>
                  </a:lnTo>
                  <a:lnTo>
                    <a:pt x="871" y="892"/>
                  </a:lnTo>
                  <a:lnTo>
                    <a:pt x="513" y="1070"/>
                  </a:lnTo>
                  <a:lnTo>
                    <a:pt x="545" y="1164"/>
                  </a:lnTo>
                  <a:lnTo>
                    <a:pt x="171" y="1451"/>
                  </a:lnTo>
                  <a:lnTo>
                    <a:pt x="93" y="1583"/>
                  </a:lnTo>
                  <a:lnTo>
                    <a:pt x="3" y="1614"/>
                  </a:lnTo>
                  <a:lnTo>
                    <a:pt x="0" y="1760"/>
                  </a:lnTo>
                  <a:close/>
                </a:path>
              </a:pathLst>
            </a:custGeom>
            <a:solidFill>
              <a:srgbClr val="87729E"/>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63" name="New York">
              <a:extLst>
                <a:ext uri="{FF2B5EF4-FFF2-40B4-BE49-F238E27FC236}">
                  <a16:creationId xmlns:a16="http://schemas.microsoft.com/office/drawing/2014/main" id="{EAE5442A-9CBA-CAC6-46B9-FF5D9A5800FF}"/>
                </a:ext>
              </a:extLst>
            </p:cNvPr>
            <p:cNvSpPr>
              <a:spLocks/>
            </p:cNvSpPr>
            <p:nvPr/>
          </p:nvSpPr>
          <p:spPr bwMode="auto">
            <a:xfrm>
              <a:off x="6816710" y="1876262"/>
              <a:ext cx="800238" cy="684098"/>
            </a:xfrm>
            <a:custGeom>
              <a:avLst/>
              <a:gdLst>
                <a:gd name="T0" fmla="*/ 0 w 2597"/>
                <a:gd name="T1" fmla="*/ 421 h 2224"/>
                <a:gd name="T2" fmla="*/ 24 w 2597"/>
                <a:gd name="T3" fmla="*/ 422 h 2224"/>
                <a:gd name="T4" fmla="*/ 207 w 2597"/>
                <a:gd name="T5" fmla="*/ 361 h 2224"/>
                <a:gd name="T6" fmla="*/ 330 w 2597"/>
                <a:gd name="T7" fmla="*/ 324 h 2224"/>
                <a:gd name="T8" fmla="*/ 380 w 2597"/>
                <a:gd name="T9" fmla="*/ 357 h 2224"/>
                <a:gd name="T10" fmla="*/ 398 w 2597"/>
                <a:gd name="T11" fmla="*/ 365 h 2224"/>
                <a:gd name="T12" fmla="*/ 436 w 2597"/>
                <a:gd name="T13" fmla="*/ 367 h 2224"/>
                <a:gd name="T14" fmla="*/ 474 w 2597"/>
                <a:gd name="T15" fmla="*/ 373 h 2224"/>
                <a:gd name="T16" fmla="*/ 493 w 2597"/>
                <a:gd name="T17" fmla="*/ 346 h 2224"/>
                <a:gd name="T18" fmla="*/ 483 w 2597"/>
                <a:gd name="T19" fmla="*/ 334 h 2224"/>
                <a:gd name="T20" fmla="*/ 482 w 2597"/>
                <a:gd name="T21" fmla="*/ 314 h 2224"/>
                <a:gd name="T22" fmla="*/ 465 w 2597"/>
                <a:gd name="T23" fmla="*/ 301 h 2224"/>
                <a:gd name="T24" fmla="*/ 459 w 2597"/>
                <a:gd name="T25" fmla="*/ 278 h 2224"/>
                <a:gd name="T26" fmla="*/ 454 w 2597"/>
                <a:gd name="T27" fmla="*/ 241 h 2224"/>
                <a:gd name="T28" fmla="*/ 447 w 2597"/>
                <a:gd name="T29" fmla="*/ 198 h 2224"/>
                <a:gd name="T30" fmla="*/ 439 w 2597"/>
                <a:gd name="T31" fmla="*/ 170 h 2224"/>
                <a:gd name="T32" fmla="*/ 433 w 2597"/>
                <a:gd name="T33" fmla="*/ 132 h 2224"/>
                <a:gd name="T34" fmla="*/ 396 w 2597"/>
                <a:gd name="T35" fmla="*/ 73 h 2224"/>
                <a:gd name="T36" fmla="*/ 385 w 2597"/>
                <a:gd name="T37" fmla="*/ 28 h 2224"/>
                <a:gd name="T38" fmla="*/ 377 w 2597"/>
                <a:gd name="T39" fmla="*/ 11 h 2224"/>
                <a:gd name="T40" fmla="*/ 362 w 2597"/>
                <a:gd name="T41" fmla="*/ 0 h 2224"/>
                <a:gd name="T42" fmla="*/ 351 w 2597"/>
                <a:gd name="T43" fmla="*/ 11 h 2224"/>
                <a:gd name="T44" fmla="*/ 328 w 2597"/>
                <a:gd name="T45" fmla="*/ 16 h 2224"/>
                <a:gd name="T46" fmla="*/ 301 w 2597"/>
                <a:gd name="T47" fmla="*/ 29 h 2224"/>
                <a:gd name="T48" fmla="*/ 260 w 2597"/>
                <a:gd name="T49" fmla="*/ 39 h 2224"/>
                <a:gd name="T50" fmla="*/ 243 w 2597"/>
                <a:gd name="T51" fmla="*/ 61 h 2224"/>
                <a:gd name="T52" fmla="*/ 225 w 2597"/>
                <a:gd name="T53" fmla="*/ 85 h 2224"/>
                <a:gd name="T54" fmla="*/ 227 w 2597"/>
                <a:gd name="T55" fmla="*/ 108 h 2224"/>
                <a:gd name="T56" fmla="*/ 233 w 2597"/>
                <a:gd name="T57" fmla="*/ 123 h 2224"/>
                <a:gd name="T58" fmla="*/ 197 w 2597"/>
                <a:gd name="T59" fmla="*/ 159 h 2224"/>
                <a:gd name="T60" fmla="*/ 211 w 2597"/>
                <a:gd name="T61" fmla="*/ 165 h 2224"/>
                <a:gd name="T62" fmla="*/ 225 w 2597"/>
                <a:gd name="T63" fmla="*/ 159 h 2224"/>
                <a:gd name="T64" fmla="*/ 228 w 2597"/>
                <a:gd name="T65" fmla="*/ 173 h 2224"/>
                <a:gd name="T66" fmla="*/ 214 w 2597"/>
                <a:gd name="T67" fmla="*/ 187 h 2224"/>
                <a:gd name="T68" fmla="*/ 237 w 2597"/>
                <a:gd name="T69" fmla="*/ 198 h 2224"/>
                <a:gd name="T70" fmla="*/ 242 w 2597"/>
                <a:gd name="T71" fmla="*/ 216 h 2224"/>
                <a:gd name="T72" fmla="*/ 213 w 2597"/>
                <a:gd name="T73" fmla="*/ 225 h 2224"/>
                <a:gd name="T74" fmla="*/ 183 w 2597"/>
                <a:gd name="T75" fmla="*/ 243 h 2224"/>
                <a:gd name="T76" fmla="*/ 151 w 2597"/>
                <a:gd name="T77" fmla="*/ 267 h 2224"/>
                <a:gd name="T78" fmla="*/ 120 w 2597"/>
                <a:gd name="T79" fmla="*/ 261 h 2224"/>
                <a:gd name="T80" fmla="*/ 88 w 2597"/>
                <a:gd name="T81" fmla="*/ 273 h 2224"/>
                <a:gd name="T82" fmla="*/ 60 w 2597"/>
                <a:gd name="T83" fmla="*/ 291 h 2224"/>
                <a:gd name="T84" fmla="*/ 58 w 2597"/>
                <a:gd name="T85" fmla="*/ 310 h 2224"/>
                <a:gd name="T86" fmla="*/ 77 w 2597"/>
                <a:gd name="T87" fmla="*/ 329 h 2224"/>
                <a:gd name="T88" fmla="*/ 76 w 2597"/>
                <a:gd name="T89" fmla="*/ 351 h 2224"/>
                <a:gd name="T90" fmla="*/ 60 w 2597"/>
                <a:gd name="T91" fmla="*/ 369 h 2224"/>
                <a:gd name="T92" fmla="*/ 0 w 2597"/>
                <a:gd name="T93" fmla="*/ 421 h 22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97" h="2224">
                  <a:moveTo>
                    <a:pt x="0" y="2218"/>
                  </a:moveTo>
                  <a:lnTo>
                    <a:pt x="128" y="2224"/>
                  </a:lnTo>
                  <a:lnTo>
                    <a:pt x="1088" y="1905"/>
                  </a:lnTo>
                  <a:lnTo>
                    <a:pt x="1737" y="1708"/>
                  </a:lnTo>
                  <a:lnTo>
                    <a:pt x="2003" y="1884"/>
                  </a:lnTo>
                  <a:lnTo>
                    <a:pt x="2094" y="1924"/>
                  </a:lnTo>
                  <a:lnTo>
                    <a:pt x="2298" y="1936"/>
                  </a:lnTo>
                  <a:lnTo>
                    <a:pt x="2498" y="1968"/>
                  </a:lnTo>
                  <a:lnTo>
                    <a:pt x="2597" y="1826"/>
                  </a:lnTo>
                  <a:lnTo>
                    <a:pt x="2546" y="1760"/>
                  </a:lnTo>
                  <a:lnTo>
                    <a:pt x="2538" y="1656"/>
                  </a:lnTo>
                  <a:lnTo>
                    <a:pt x="2450" y="1584"/>
                  </a:lnTo>
                  <a:lnTo>
                    <a:pt x="2417" y="1466"/>
                  </a:lnTo>
                  <a:lnTo>
                    <a:pt x="2394" y="1272"/>
                  </a:lnTo>
                  <a:lnTo>
                    <a:pt x="2357" y="1046"/>
                  </a:lnTo>
                  <a:lnTo>
                    <a:pt x="2314" y="896"/>
                  </a:lnTo>
                  <a:lnTo>
                    <a:pt x="2282" y="696"/>
                  </a:lnTo>
                  <a:lnTo>
                    <a:pt x="2087" y="386"/>
                  </a:lnTo>
                  <a:lnTo>
                    <a:pt x="2027" y="146"/>
                  </a:lnTo>
                  <a:lnTo>
                    <a:pt x="1986" y="56"/>
                  </a:lnTo>
                  <a:lnTo>
                    <a:pt x="1906" y="0"/>
                  </a:lnTo>
                  <a:lnTo>
                    <a:pt x="1847" y="56"/>
                  </a:lnTo>
                  <a:lnTo>
                    <a:pt x="1727" y="86"/>
                  </a:lnTo>
                  <a:lnTo>
                    <a:pt x="1586" y="152"/>
                  </a:lnTo>
                  <a:lnTo>
                    <a:pt x="1367" y="206"/>
                  </a:lnTo>
                  <a:lnTo>
                    <a:pt x="1282" y="320"/>
                  </a:lnTo>
                  <a:lnTo>
                    <a:pt x="1186" y="446"/>
                  </a:lnTo>
                  <a:lnTo>
                    <a:pt x="1194" y="568"/>
                  </a:lnTo>
                  <a:lnTo>
                    <a:pt x="1226" y="648"/>
                  </a:lnTo>
                  <a:lnTo>
                    <a:pt x="1036" y="836"/>
                  </a:lnTo>
                  <a:lnTo>
                    <a:pt x="1114" y="872"/>
                  </a:lnTo>
                  <a:lnTo>
                    <a:pt x="1186" y="836"/>
                  </a:lnTo>
                  <a:lnTo>
                    <a:pt x="1202" y="912"/>
                  </a:lnTo>
                  <a:lnTo>
                    <a:pt x="1126" y="986"/>
                  </a:lnTo>
                  <a:lnTo>
                    <a:pt x="1247" y="1046"/>
                  </a:lnTo>
                  <a:lnTo>
                    <a:pt x="1277" y="1136"/>
                  </a:lnTo>
                  <a:lnTo>
                    <a:pt x="1122" y="1184"/>
                  </a:lnTo>
                  <a:lnTo>
                    <a:pt x="962" y="1280"/>
                  </a:lnTo>
                  <a:lnTo>
                    <a:pt x="796" y="1406"/>
                  </a:lnTo>
                  <a:lnTo>
                    <a:pt x="634" y="1376"/>
                  </a:lnTo>
                  <a:lnTo>
                    <a:pt x="466" y="1440"/>
                  </a:lnTo>
                  <a:lnTo>
                    <a:pt x="314" y="1536"/>
                  </a:lnTo>
                  <a:lnTo>
                    <a:pt x="306" y="1632"/>
                  </a:lnTo>
                  <a:lnTo>
                    <a:pt x="406" y="1736"/>
                  </a:lnTo>
                  <a:lnTo>
                    <a:pt x="402" y="1848"/>
                  </a:lnTo>
                  <a:lnTo>
                    <a:pt x="316" y="1946"/>
                  </a:lnTo>
                  <a:lnTo>
                    <a:pt x="0" y="2218"/>
                  </a:lnTo>
                  <a:close/>
                </a:path>
              </a:pathLst>
            </a:custGeom>
            <a:solidFill>
              <a:srgbClr val="87729E"/>
            </a:solidFill>
            <a:ln w="6350" cmpd="sng">
              <a:solidFill>
                <a:schemeClr val="bg1"/>
              </a:solidFill>
              <a:prstDash val="solid"/>
              <a:round/>
              <a:headEnd/>
              <a:tailEnd/>
            </a:ln>
            <a:effectLst/>
          </p:spPr>
          <p:txBody>
            <a:bodyPr/>
            <a:lstStyle/>
            <a:p>
              <a:pPr fontAlgn="base">
                <a:spcBef>
                  <a:spcPct val="0"/>
                </a:spcBef>
                <a:spcAft>
                  <a:spcPct val="0"/>
                </a:spcAft>
              </a:pPr>
              <a:endParaRPr lang="zh-CN" altLang="en-US" b="1" kern="0">
                <a:solidFill>
                  <a:srgbClr val="000000"/>
                </a:solidFill>
                <a:latin typeface="Arial" charset="0"/>
              </a:endParaRPr>
            </a:p>
          </p:txBody>
        </p:sp>
        <p:sp>
          <p:nvSpPr>
            <p:cNvPr id="1064" name="New Mexico">
              <a:extLst>
                <a:ext uri="{FF2B5EF4-FFF2-40B4-BE49-F238E27FC236}">
                  <a16:creationId xmlns:a16="http://schemas.microsoft.com/office/drawing/2014/main" id="{7D3A1C30-8230-7AE4-B6B0-FB9C9F46A802}"/>
                </a:ext>
              </a:extLst>
            </p:cNvPr>
            <p:cNvSpPr>
              <a:spLocks/>
            </p:cNvSpPr>
            <p:nvPr/>
          </p:nvSpPr>
          <p:spPr bwMode="auto">
            <a:xfrm>
              <a:off x="3357674" y="3656212"/>
              <a:ext cx="816469" cy="893217"/>
            </a:xfrm>
            <a:custGeom>
              <a:avLst/>
              <a:gdLst>
                <a:gd name="T0" fmla="*/ 41 w 2655"/>
                <a:gd name="T1" fmla="*/ 0 h 2904"/>
                <a:gd name="T2" fmla="*/ 261 w 2655"/>
                <a:gd name="T3" fmla="*/ 16 h 2904"/>
                <a:gd name="T4" fmla="*/ 411 w 2655"/>
                <a:gd name="T5" fmla="*/ 23 h 2904"/>
                <a:gd name="T6" fmla="*/ 503 w 2655"/>
                <a:gd name="T7" fmla="*/ 25 h 2904"/>
                <a:gd name="T8" fmla="*/ 500 w 2655"/>
                <a:gd name="T9" fmla="*/ 75 h 2904"/>
                <a:gd name="T10" fmla="*/ 503 w 2655"/>
                <a:gd name="T11" fmla="*/ 283 h 2904"/>
                <a:gd name="T12" fmla="*/ 497 w 2655"/>
                <a:gd name="T13" fmla="*/ 505 h 2904"/>
                <a:gd name="T14" fmla="*/ 194 w 2655"/>
                <a:gd name="T15" fmla="*/ 494 h 2904"/>
                <a:gd name="T16" fmla="*/ 206 w 2655"/>
                <a:gd name="T17" fmla="*/ 516 h 2904"/>
                <a:gd name="T18" fmla="*/ 171 w 2655"/>
                <a:gd name="T19" fmla="*/ 510 h 2904"/>
                <a:gd name="T20" fmla="*/ 130 w 2655"/>
                <a:gd name="T21" fmla="*/ 512 h 2904"/>
                <a:gd name="T22" fmla="*/ 80 w 2655"/>
                <a:gd name="T23" fmla="*/ 505 h 2904"/>
                <a:gd name="T24" fmla="*/ 78 w 2655"/>
                <a:gd name="T25" fmla="*/ 532 h 2904"/>
                <a:gd name="T26" fmla="*/ 73 w 2655"/>
                <a:gd name="T27" fmla="*/ 551 h 2904"/>
                <a:gd name="T28" fmla="*/ 0 w 2655"/>
                <a:gd name="T29" fmla="*/ 549 h 2904"/>
                <a:gd name="T30" fmla="*/ 41 w 2655"/>
                <a:gd name="T31" fmla="*/ 0 h 29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55" h="2904">
                  <a:moveTo>
                    <a:pt x="217" y="0"/>
                  </a:moveTo>
                  <a:lnTo>
                    <a:pt x="1377" y="84"/>
                  </a:lnTo>
                  <a:lnTo>
                    <a:pt x="2169" y="122"/>
                  </a:lnTo>
                  <a:lnTo>
                    <a:pt x="2653" y="132"/>
                  </a:lnTo>
                  <a:lnTo>
                    <a:pt x="2637" y="396"/>
                  </a:lnTo>
                  <a:lnTo>
                    <a:pt x="2655" y="1494"/>
                  </a:lnTo>
                  <a:lnTo>
                    <a:pt x="2625" y="2664"/>
                  </a:lnTo>
                  <a:lnTo>
                    <a:pt x="1026" y="2601"/>
                  </a:lnTo>
                  <a:lnTo>
                    <a:pt x="1086" y="2721"/>
                  </a:lnTo>
                  <a:lnTo>
                    <a:pt x="903" y="2688"/>
                  </a:lnTo>
                  <a:lnTo>
                    <a:pt x="687" y="2700"/>
                  </a:lnTo>
                  <a:lnTo>
                    <a:pt x="423" y="2664"/>
                  </a:lnTo>
                  <a:lnTo>
                    <a:pt x="411" y="2802"/>
                  </a:lnTo>
                  <a:lnTo>
                    <a:pt x="387" y="2904"/>
                  </a:lnTo>
                  <a:lnTo>
                    <a:pt x="0" y="2892"/>
                  </a:lnTo>
                  <a:lnTo>
                    <a:pt x="217" y="0"/>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65" name="New Jersey">
              <a:extLst>
                <a:ext uri="{FF2B5EF4-FFF2-40B4-BE49-F238E27FC236}">
                  <a16:creationId xmlns:a16="http://schemas.microsoft.com/office/drawing/2014/main" id="{F54B86C9-F4EF-0AB4-981D-FCF716495BC5}"/>
                </a:ext>
              </a:extLst>
            </p:cNvPr>
            <p:cNvSpPr>
              <a:spLocks/>
            </p:cNvSpPr>
            <p:nvPr/>
          </p:nvSpPr>
          <p:spPr bwMode="auto">
            <a:xfrm>
              <a:off x="7420541" y="2467958"/>
              <a:ext cx="185044" cy="366365"/>
            </a:xfrm>
            <a:custGeom>
              <a:avLst/>
              <a:gdLst>
                <a:gd name="T0" fmla="*/ 10 w 601"/>
                <a:gd name="T1" fmla="*/ 23 h 1190"/>
                <a:gd name="T2" fmla="*/ 0 w 601"/>
                <a:gd name="T3" fmla="*/ 51 h 1190"/>
                <a:gd name="T4" fmla="*/ 20 w 601"/>
                <a:gd name="T5" fmla="*/ 84 h 1190"/>
                <a:gd name="T6" fmla="*/ 46 w 601"/>
                <a:gd name="T7" fmla="*/ 103 h 1190"/>
                <a:gd name="T8" fmla="*/ 47 w 601"/>
                <a:gd name="T9" fmla="*/ 119 h 1190"/>
                <a:gd name="T10" fmla="*/ 38 w 601"/>
                <a:gd name="T11" fmla="*/ 136 h 1190"/>
                <a:gd name="T12" fmla="*/ 30 w 601"/>
                <a:gd name="T13" fmla="*/ 156 h 1190"/>
                <a:gd name="T14" fmla="*/ 17 w 601"/>
                <a:gd name="T15" fmla="*/ 171 h 1190"/>
                <a:gd name="T16" fmla="*/ 27 w 601"/>
                <a:gd name="T17" fmla="*/ 201 h 1190"/>
                <a:gd name="T18" fmla="*/ 48 w 601"/>
                <a:gd name="T19" fmla="*/ 198 h 1190"/>
                <a:gd name="T20" fmla="*/ 66 w 601"/>
                <a:gd name="T21" fmla="*/ 216 h 1190"/>
                <a:gd name="T22" fmla="*/ 85 w 601"/>
                <a:gd name="T23" fmla="*/ 226 h 1190"/>
                <a:gd name="T24" fmla="*/ 91 w 601"/>
                <a:gd name="T25" fmla="*/ 188 h 1190"/>
                <a:gd name="T26" fmla="*/ 97 w 601"/>
                <a:gd name="T27" fmla="*/ 165 h 1190"/>
                <a:gd name="T28" fmla="*/ 102 w 601"/>
                <a:gd name="T29" fmla="*/ 137 h 1190"/>
                <a:gd name="T30" fmla="*/ 114 w 601"/>
                <a:gd name="T31" fmla="*/ 108 h 1190"/>
                <a:gd name="T32" fmla="*/ 108 w 601"/>
                <a:gd name="T33" fmla="*/ 74 h 1190"/>
                <a:gd name="T34" fmla="*/ 86 w 601"/>
                <a:gd name="T35" fmla="*/ 57 h 1190"/>
                <a:gd name="T36" fmla="*/ 86 w 601"/>
                <a:gd name="T37" fmla="*/ 33 h 1190"/>
                <a:gd name="T38" fmla="*/ 102 w 601"/>
                <a:gd name="T39" fmla="*/ 9 h 1190"/>
                <a:gd name="T40" fmla="*/ 64 w 601"/>
                <a:gd name="T41" fmla="*/ 2 h 1190"/>
                <a:gd name="T42" fmla="*/ 26 w 601"/>
                <a:gd name="T43" fmla="*/ 0 h 1190"/>
                <a:gd name="T44" fmla="*/ 10 w 601"/>
                <a:gd name="T45" fmla="*/ 23 h 119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1" h="1190">
                  <a:moveTo>
                    <a:pt x="54" y="119"/>
                  </a:moveTo>
                  <a:lnTo>
                    <a:pt x="0" y="269"/>
                  </a:lnTo>
                  <a:lnTo>
                    <a:pt x="106" y="440"/>
                  </a:lnTo>
                  <a:lnTo>
                    <a:pt x="244" y="540"/>
                  </a:lnTo>
                  <a:lnTo>
                    <a:pt x="250" y="624"/>
                  </a:lnTo>
                  <a:lnTo>
                    <a:pt x="199" y="716"/>
                  </a:lnTo>
                  <a:lnTo>
                    <a:pt x="159" y="821"/>
                  </a:lnTo>
                  <a:lnTo>
                    <a:pt x="87" y="902"/>
                  </a:lnTo>
                  <a:lnTo>
                    <a:pt x="141" y="1059"/>
                  </a:lnTo>
                  <a:lnTo>
                    <a:pt x="254" y="1044"/>
                  </a:lnTo>
                  <a:lnTo>
                    <a:pt x="346" y="1135"/>
                  </a:lnTo>
                  <a:lnTo>
                    <a:pt x="446" y="1190"/>
                  </a:lnTo>
                  <a:lnTo>
                    <a:pt x="481" y="989"/>
                  </a:lnTo>
                  <a:lnTo>
                    <a:pt x="511" y="869"/>
                  </a:lnTo>
                  <a:lnTo>
                    <a:pt x="538" y="724"/>
                  </a:lnTo>
                  <a:lnTo>
                    <a:pt x="601" y="569"/>
                  </a:lnTo>
                  <a:lnTo>
                    <a:pt x="571" y="389"/>
                  </a:lnTo>
                  <a:lnTo>
                    <a:pt x="451" y="299"/>
                  </a:lnTo>
                  <a:lnTo>
                    <a:pt x="455" y="175"/>
                  </a:lnTo>
                  <a:lnTo>
                    <a:pt x="540" y="45"/>
                  </a:lnTo>
                  <a:lnTo>
                    <a:pt x="340" y="12"/>
                  </a:lnTo>
                  <a:lnTo>
                    <a:pt x="135" y="0"/>
                  </a:lnTo>
                  <a:lnTo>
                    <a:pt x="54" y="119"/>
                  </a:lnTo>
                  <a:close/>
                </a:path>
              </a:pathLst>
            </a:custGeom>
            <a:grp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66" name="New Hampshire">
              <a:extLst>
                <a:ext uri="{FF2B5EF4-FFF2-40B4-BE49-F238E27FC236}">
                  <a16:creationId xmlns:a16="http://schemas.microsoft.com/office/drawing/2014/main" id="{BA9F8B8A-2AA0-E64E-B041-8ED8CC26770F}"/>
                </a:ext>
              </a:extLst>
            </p:cNvPr>
            <p:cNvSpPr>
              <a:spLocks/>
            </p:cNvSpPr>
            <p:nvPr/>
          </p:nvSpPr>
          <p:spPr bwMode="auto">
            <a:xfrm>
              <a:off x="7602339" y="1769271"/>
              <a:ext cx="188291" cy="402029"/>
            </a:xfrm>
            <a:custGeom>
              <a:avLst/>
              <a:gdLst>
                <a:gd name="T0" fmla="*/ 66 w 615"/>
                <a:gd name="T1" fmla="*/ 233 h 1311"/>
                <a:gd name="T2" fmla="*/ 96 w 615"/>
                <a:gd name="T3" fmla="*/ 224 h 1311"/>
                <a:gd name="T4" fmla="*/ 107 w 615"/>
                <a:gd name="T5" fmla="*/ 201 h 1311"/>
                <a:gd name="T6" fmla="*/ 107 w 615"/>
                <a:gd name="T7" fmla="*/ 184 h 1311"/>
                <a:gd name="T8" fmla="*/ 116 w 615"/>
                <a:gd name="T9" fmla="*/ 170 h 1311"/>
                <a:gd name="T10" fmla="*/ 96 w 615"/>
                <a:gd name="T11" fmla="*/ 162 h 1311"/>
                <a:gd name="T12" fmla="*/ 89 w 615"/>
                <a:gd name="T13" fmla="*/ 136 h 1311"/>
                <a:gd name="T14" fmla="*/ 54 w 615"/>
                <a:gd name="T15" fmla="*/ 74 h 1311"/>
                <a:gd name="T16" fmla="*/ 25 w 615"/>
                <a:gd name="T17" fmla="*/ 0 h 1311"/>
                <a:gd name="T18" fmla="*/ 9 w 615"/>
                <a:gd name="T19" fmla="*/ 6 h 1311"/>
                <a:gd name="T20" fmla="*/ 2 w 615"/>
                <a:gd name="T21" fmla="*/ 18 h 1311"/>
                <a:gd name="T22" fmla="*/ 14 w 615"/>
                <a:gd name="T23" fmla="*/ 52 h 1311"/>
                <a:gd name="T24" fmla="*/ 18 w 615"/>
                <a:gd name="T25" fmla="*/ 74 h 1311"/>
                <a:gd name="T26" fmla="*/ 2 w 615"/>
                <a:gd name="T27" fmla="*/ 97 h 1311"/>
                <a:gd name="T28" fmla="*/ 0 w 615"/>
                <a:gd name="T29" fmla="*/ 145 h 1311"/>
                <a:gd name="T30" fmla="*/ 5 w 615"/>
                <a:gd name="T31" fmla="*/ 200 h 1311"/>
                <a:gd name="T32" fmla="*/ 12 w 615"/>
                <a:gd name="T33" fmla="*/ 234 h 1311"/>
                <a:gd name="T34" fmla="*/ 18 w 615"/>
                <a:gd name="T35" fmla="*/ 248 h 1311"/>
                <a:gd name="T36" fmla="*/ 66 w 615"/>
                <a:gd name="T37" fmla="*/ 233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5" h="1311">
                  <a:moveTo>
                    <a:pt x="349" y="1231"/>
                  </a:moveTo>
                  <a:lnTo>
                    <a:pt x="507" y="1183"/>
                  </a:lnTo>
                  <a:lnTo>
                    <a:pt x="567" y="1063"/>
                  </a:lnTo>
                  <a:lnTo>
                    <a:pt x="567" y="975"/>
                  </a:lnTo>
                  <a:lnTo>
                    <a:pt x="615" y="900"/>
                  </a:lnTo>
                  <a:lnTo>
                    <a:pt x="508" y="859"/>
                  </a:lnTo>
                  <a:lnTo>
                    <a:pt x="472" y="721"/>
                  </a:lnTo>
                  <a:lnTo>
                    <a:pt x="285" y="390"/>
                  </a:lnTo>
                  <a:lnTo>
                    <a:pt x="135" y="0"/>
                  </a:lnTo>
                  <a:lnTo>
                    <a:pt x="46" y="31"/>
                  </a:lnTo>
                  <a:lnTo>
                    <a:pt x="13" y="97"/>
                  </a:lnTo>
                  <a:lnTo>
                    <a:pt x="75" y="277"/>
                  </a:lnTo>
                  <a:lnTo>
                    <a:pt x="96" y="393"/>
                  </a:lnTo>
                  <a:lnTo>
                    <a:pt x="12" y="514"/>
                  </a:lnTo>
                  <a:lnTo>
                    <a:pt x="0" y="766"/>
                  </a:lnTo>
                  <a:lnTo>
                    <a:pt x="24" y="1056"/>
                  </a:lnTo>
                  <a:lnTo>
                    <a:pt x="64" y="1239"/>
                  </a:lnTo>
                  <a:lnTo>
                    <a:pt x="96" y="1311"/>
                  </a:lnTo>
                  <a:lnTo>
                    <a:pt x="349" y="1231"/>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67" name="Nevada">
              <a:extLst>
                <a:ext uri="{FF2B5EF4-FFF2-40B4-BE49-F238E27FC236}">
                  <a16:creationId xmlns:a16="http://schemas.microsoft.com/office/drawing/2014/main" id="{E814BED1-21FD-2419-2B9D-7D1E18C2144F}"/>
                </a:ext>
              </a:extLst>
            </p:cNvPr>
            <p:cNvSpPr>
              <a:spLocks/>
            </p:cNvSpPr>
            <p:nvPr/>
          </p:nvSpPr>
          <p:spPr bwMode="auto">
            <a:xfrm>
              <a:off x="2130536" y="2649518"/>
              <a:ext cx="788875" cy="1189874"/>
            </a:xfrm>
            <a:custGeom>
              <a:avLst/>
              <a:gdLst>
                <a:gd name="T0" fmla="*/ 49 w 2565"/>
                <a:gd name="T1" fmla="*/ 0 h 3871"/>
                <a:gd name="T2" fmla="*/ 272 w 2565"/>
                <a:gd name="T3" fmla="*/ 46 h 3871"/>
                <a:gd name="T4" fmla="*/ 486 w 2565"/>
                <a:gd name="T5" fmla="*/ 88 h 3871"/>
                <a:gd name="T6" fmla="*/ 480 w 2565"/>
                <a:gd name="T7" fmla="*/ 110 h 3871"/>
                <a:gd name="T8" fmla="*/ 465 w 2565"/>
                <a:gd name="T9" fmla="*/ 183 h 3871"/>
                <a:gd name="T10" fmla="*/ 458 w 2565"/>
                <a:gd name="T11" fmla="*/ 251 h 3871"/>
                <a:gd name="T12" fmla="*/ 450 w 2565"/>
                <a:gd name="T13" fmla="*/ 318 h 3871"/>
                <a:gd name="T14" fmla="*/ 425 w 2565"/>
                <a:gd name="T15" fmla="*/ 472 h 3871"/>
                <a:gd name="T16" fmla="*/ 414 w 2565"/>
                <a:gd name="T17" fmla="*/ 569 h 3871"/>
                <a:gd name="T18" fmla="*/ 409 w 2565"/>
                <a:gd name="T19" fmla="*/ 587 h 3871"/>
                <a:gd name="T20" fmla="*/ 409 w 2565"/>
                <a:gd name="T21" fmla="*/ 612 h 3871"/>
                <a:gd name="T22" fmla="*/ 399 w 2565"/>
                <a:gd name="T23" fmla="*/ 624 h 3871"/>
                <a:gd name="T24" fmla="*/ 404 w 2565"/>
                <a:gd name="T25" fmla="*/ 652 h 3871"/>
                <a:gd name="T26" fmla="*/ 376 w 2565"/>
                <a:gd name="T27" fmla="*/ 642 h 3871"/>
                <a:gd name="T28" fmla="*/ 357 w 2565"/>
                <a:gd name="T29" fmla="*/ 637 h 3871"/>
                <a:gd name="T30" fmla="*/ 342 w 2565"/>
                <a:gd name="T31" fmla="*/ 646 h 3871"/>
                <a:gd name="T32" fmla="*/ 341 w 2565"/>
                <a:gd name="T33" fmla="*/ 662 h 3871"/>
                <a:gd name="T34" fmla="*/ 348 w 2565"/>
                <a:gd name="T35" fmla="*/ 695 h 3871"/>
                <a:gd name="T36" fmla="*/ 346 w 2565"/>
                <a:gd name="T37" fmla="*/ 718 h 3871"/>
                <a:gd name="T38" fmla="*/ 333 w 2565"/>
                <a:gd name="T39" fmla="*/ 734 h 3871"/>
                <a:gd name="T40" fmla="*/ 214 w 2565"/>
                <a:gd name="T41" fmla="*/ 579 h 3871"/>
                <a:gd name="T42" fmla="*/ 170 w 2565"/>
                <a:gd name="T43" fmla="*/ 523 h 3871"/>
                <a:gd name="T44" fmla="*/ 108 w 2565"/>
                <a:gd name="T45" fmla="*/ 424 h 3871"/>
                <a:gd name="T46" fmla="*/ 27 w 2565"/>
                <a:gd name="T47" fmla="*/ 323 h 3871"/>
                <a:gd name="T48" fmla="*/ 0 w 2565"/>
                <a:gd name="T49" fmla="*/ 277 h 3871"/>
                <a:gd name="T50" fmla="*/ 49 w 2565"/>
                <a:gd name="T51" fmla="*/ 0 h 38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565" h="3871">
                  <a:moveTo>
                    <a:pt x="261" y="0"/>
                  </a:moveTo>
                  <a:lnTo>
                    <a:pt x="1437" y="241"/>
                  </a:lnTo>
                  <a:lnTo>
                    <a:pt x="2565" y="465"/>
                  </a:lnTo>
                  <a:lnTo>
                    <a:pt x="2532" y="580"/>
                  </a:lnTo>
                  <a:lnTo>
                    <a:pt x="2454" y="964"/>
                  </a:lnTo>
                  <a:lnTo>
                    <a:pt x="2418" y="1324"/>
                  </a:lnTo>
                  <a:lnTo>
                    <a:pt x="2376" y="1678"/>
                  </a:lnTo>
                  <a:lnTo>
                    <a:pt x="2243" y="2489"/>
                  </a:lnTo>
                  <a:lnTo>
                    <a:pt x="2183" y="2999"/>
                  </a:lnTo>
                  <a:lnTo>
                    <a:pt x="2160" y="3094"/>
                  </a:lnTo>
                  <a:lnTo>
                    <a:pt x="2160" y="3226"/>
                  </a:lnTo>
                  <a:lnTo>
                    <a:pt x="2106" y="3292"/>
                  </a:lnTo>
                  <a:lnTo>
                    <a:pt x="2130" y="3436"/>
                  </a:lnTo>
                  <a:lnTo>
                    <a:pt x="1986" y="3388"/>
                  </a:lnTo>
                  <a:lnTo>
                    <a:pt x="1883" y="3359"/>
                  </a:lnTo>
                  <a:lnTo>
                    <a:pt x="1806" y="3406"/>
                  </a:lnTo>
                  <a:lnTo>
                    <a:pt x="1800" y="3490"/>
                  </a:lnTo>
                  <a:lnTo>
                    <a:pt x="1836" y="3664"/>
                  </a:lnTo>
                  <a:lnTo>
                    <a:pt x="1824" y="3784"/>
                  </a:lnTo>
                  <a:lnTo>
                    <a:pt x="1757" y="3871"/>
                  </a:lnTo>
                  <a:lnTo>
                    <a:pt x="1130" y="3054"/>
                  </a:lnTo>
                  <a:lnTo>
                    <a:pt x="899" y="2758"/>
                  </a:lnTo>
                  <a:lnTo>
                    <a:pt x="569" y="2236"/>
                  </a:lnTo>
                  <a:lnTo>
                    <a:pt x="144" y="1702"/>
                  </a:lnTo>
                  <a:lnTo>
                    <a:pt x="0" y="1459"/>
                  </a:lnTo>
                  <a:lnTo>
                    <a:pt x="261" y="0"/>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68" name="Nebraska">
              <a:extLst>
                <a:ext uri="{FF2B5EF4-FFF2-40B4-BE49-F238E27FC236}">
                  <a16:creationId xmlns:a16="http://schemas.microsoft.com/office/drawing/2014/main" id="{4668C088-7835-F9E5-9CFF-10C059E3C54E}"/>
                </a:ext>
              </a:extLst>
            </p:cNvPr>
            <p:cNvSpPr>
              <a:spLocks/>
            </p:cNvSpPr>
            <p:nvPr/>
          </p:nvSpPr>
          <p:spPr bwMode="auto">
            <a:xfrm>
              <a:off x="4070258" y="2756510"/>
              <a:ext cx="1020992" cy="455525"/>
            </a:xfrm>
            <a:custGeom>
              <a:avLst/>
              <a:gdLst>
                <a:gd name="T0" fmla="*/ 7 w 3321"/>
                <a:gd name="T1" fmla="*/ 0 h 1486"/>
                <a:gd name="T2" fmla="*/ 0 w 3321"/>
                <a:gd name="T3" fmla="*/ 197 h 1486"/>
                <a:gd name="T4" fmla="*/ 123 w 3321"/>
                <a:gd name="T5" fmla="*/ 200 h 1486"/>
                <a:gd name="T6" fmla="*/ 146 w 3321"/>
                <a:gd name="T7" fmla="*/ 196 h 1486"/>
                <a:gd name="T8" fmla="*/ 144 w 3321"/>
                <a:gd name="T9" fmla="*/ 218 h 1486"/>
                <a:gd name="T10" fmla="*/ 147 w 3321"/>
                <a:gd name="T11" fmla="*/ 252 h 1486"/>
                <a:gd name="T12" fmla="*/ 150 w 3321"/>
                <a:gd name="T13" fmla="*/ 281 h 1486"/>
                <a:gd name="T14" fmla="*/ 413 w 3321"/>
                <a:gd name="T15" fmla="*/ 281 h 1486"/>
                <a:gd name="T16" fmla="*/ 529 w 3321"/>
                <a:gd name="T17" fmla="*/ 275 h 1486"/>
                <a:gd name="T18" fmla="*/ 557 w 3321"/>
                <a:gd name="T19" fmla="*/ 272 h 1486"/>
                <a:gd name="T20" fmla="*/ 588 w 3321"/>
                <a:gd name="T21" fmla="*/ 271 h 1486"/>
                <a:gd name="T22" fmla="*/ 629 w 3321"/>
                <a:gd name="T23" fmla="*/ 269 h 1486"/>
                <a:gd name="T24" fmla="*/ 607 w 3321"/>
                <a:gd name="T25" fmla="*/ 225 h 1486"/>
                <a:gd name="T26" fmla="*/ 607 w 3321"/>
                <a:gd name="T27" fmla="*/ 179 h 1486"/>
                <a:gd name="T28" fmla="*/ 556 w 3321"/>
                <a:gd name="T29" fmla="*/ 78 h 1486"/>
                <a:gd name="T30" fmla="*/ 540 w 3321"/>
                <a:gd name="T31" fmla="*/ 40 h 1486"/>
                <a:gd name="T32" fmla="*/ 490 w 3321"/>
                <a:gd name="T33" fmla="*/ 28 h 1486"/>
                <a:gd name="T34" fmla="*/ 480 w 3321"/>
                <a:gd name="T35" fmla="*/ 11 h 1486"/>
                <a:gd name="T36" fmla="*/ 445 w 3321"/>
                <a:gd name="T37" fmla="*/ 11 h 1486"/>
                <a:gd name="T38" fmla="*/ 428 w 3321"/>
                <a:gd name="T39" fmla="*/ 22 h 1486"/>
                <a:gd name="T40" fmla="*/ 382 w 3321"/>
                <a:gd name="T41" fmla="*/ 5 h 1486"/>
                <a:gd name="T42" fmla="*/ 353 w 3321"/>
                <a:gd name="T43" fmla="*/ 8 h 1486"/>
                <a:gd name="T44" fmla="*/ 301 w 3321"/>
                <a:gd name="T45" fmla="*/ 9 h 1486"/>
                <a:gd name="T46" fmla="*/ 220 w 3321"/>
                <a:gd name="T47" fmla="*/ 11 h 1486"/>
                <a:gd name="T48" fmla="*/ 115 w 3321"/>
                <a:gd name="T49" fmla="*/ 9 h 1486"/>
                <a:gd name="T50" fmla="*/ 7 w 3321"/>
                <a:gd name="T51" fmla="*/ 0 h 14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321" h="1486">
                  <a:moveTo>
                    <a:pt x="35" y="0"/>
                  </a:moveTo>
                  <a:lnTo>
                    <a:pt x="0" y="1044"/>
                  </a:lnTo>
                  <a:lnTo>
                    <a:pt x="651" y="1058"/>
                  </a:lnTo>
                  <a:lnTo>
                    <a:pt x="769" y="1034"/>
                  </a:lnTo>
                  <a:lnTo>
                    <a:pt x="761" y="1152"/>
                  </a:lnTo>
                  <a:lnTo>
                    <a:pt x="775" y="1332"/>
                  </a:lnTo>
                  <a:lnTo>
                    <a:pt x="793" y="1486"/>
                  </a:lnTo>
                  <a:lnTo>
                    <a:pt x="2181" y="1486"/>
                  </a:lnTo>
                  <a:lnTo>
                    <a:pt x="2791" y="1454"/>
                  </a:lnTo>
                  <a:lnTo>
                    <a:pt x="2939" y="1436"/>
                  </a:lnTo>
                  <a:lnTo>
                    <a:pt x="3107" y="1432"/>
                  </a:lnTo>
                  <a:lnTo>
                    <a:pt x="3321" y="1424"/>
                  </a:lnTo>
                  <a:lnTo>
                    <a:pt x="3203" y="1190"/>
                  </a:lnTo>
                  <a:lnTo>
                    <a:pt x="3203" y="946"/>
                  </a:lnTo>
                  <a:lnTo>
                    <a:pt x="2937" y="414"/>
                  </a:lnTo>
                  <a:lnTo>
                    <a:pt x="2849" y="212"/>
                  </a:lnTo>
                  <a:lnTo>
                    <a:pt x="2587" y="146"/>
                  </a:lnTo>
                  <a:lnTo>
                    <a:pt x="2533" y="56"/>
                  </a:lnTo>
                  <a:lnTo>
                    <a:pt x="2348" y="58"/>
                  </a:lnTo>
                  <a:lnTo>
                    <a:pt x="2259" y="116"/>
                  </a:lnTo>
                  <a:lnTo>
                    <a:pt x="2017" y="24"/>
                  </a:lnTo>
                  <a:lnTo>
                    <a:pt x="1862" y="42"/>
                  </a:lnTo>
                  <a:lnTo>
                    <a:pt x="1587" y="50"/>
                  </a:lnTo>
                  <a:lnTo>
                    <a:pt x="1159" y="56"/>
                  </a:lnTo>
                  <a:lnTo>
                    <a:pt x="607" y="48"/>
                  </a:lnTo>
                  <a:lnTo>
                    <a:pt x="35" y="0"/>
                  </a:lnTo>
                  <a:close/>
                </a:path>
              </a:pathLst>
            </a:custGeom>
            <a:solidFill>
              <a:srgbClr val="87729E"/>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69" name="Montana">
              <a:extLst>
                <a:ext uri="{FF2B5EF4-FFF2-40B4-BE49-F238E27FC236}">
                  <a16:creationId xmlns:a16="http://schemas.microsoft.com/office/drawing/2014/main" id="{561DB514-9EC3-08E3-9273-69AE1783C825}"/>
                </a:ext>
              </a:extLst>
            </p:cNvPr>
            <p:cNvSpPr>
              <a:spLocks/>
            </p:cNvSpPr>
            <p:nvPr/>
          </p:nvSpPr>
          <p:spPr bwMode="auto">
            <a:xfrm>
              <a:off x="2864222" y="1712532"/>
              <a:ext cx="1253110" cy="752182"/>
            </a:xfrm>
            <a:custGeom>
              <a:avLst/>
              <a:gdLst>
                <a:gd name="T0" fmla="*/ 6 w 4076"/>
                <a:gd name="T1" fmla="*/ 0 h 2449"/>
                <a:gd name="T2" fmla="*/ 221 w 4076"/>
                <a:gd name="T3" fmla="*/ 36 h 2449"/>
                <a:gd name="T4" fmla="*/ 511 w 4076"/>
                <a:gd name="T5" fmla="*/ 70 h 2449"/>
                <a:gd name="T6" fmla="*/ 772 w 4076"/>
                <a:gd name="T7" fmla="*/ 88 h 2449"/>
                <a:gd name="T8" fmla="*/ 755 w 4076"/>
                <a:gd name="T9" fmla="*/ 457 h 2449"/>
                <a:gd name="T10" fmla="*/ 385 w 4076"/>
                <a:gd name="T11" fmla="*/ 429 h 2449"/>
                <a:gd name="T12" fmla="*/ 277 w 4076"/>
                <a:gd name="T13" fmla="*/ 417 h 2449"/>
                <a:gd name="T14" fmla="*/ 267 w 4076"/>
                <a:gd name="T15" fmla="*/ 452 h 2449"/>
                <a:gd name="T16" fmla="*/ 239 w 4076"/>
                <a:gd name="T17" fmla="*/ 441 h 2449"/>
                <a:gd name="T18" fmla="*/ 239 w 4076"/>
                <a:gd name="T19" fmla="*/ 459 h 2449"/>
                <a:gd name="T20" fmla="*/ 217 w 4076"/>
                <a:gd name="T21" fmla="*/ 464 h 2449"/>
                <a:gd name="T22" fmla="*/ 199 w 4076"/>
                <a:gd name="T23" fmla="*/ 453 h 2449"/>
                <a:gd name="T24" fmla="*/ 154 w 4076"/>
                <a:gd name="T25" fmla="*/ 453 h 2449"/>
                <a:gd name="T26" fmla="*/ 136 w 4076"/>
                <a:gd name="T27" fmla="*/ 444 h 2449"/>
                <a:gd name="T28" fmla="*/ 120 w 4076"/>
                <a:gd name="T29" fmla="*/ 426 h 2449"/>
                <a:gd name="T30" fmla="*/ 110 w 4076"/>
                <a:gd name="T31" fmla="*/ 409 h 2449"/>
                <a:gd name="T32" fmla="*/ 108 w 4076"/>
                <a:gd name="T33" fmla="*/ 380 h 2449"/>
                <a:gd name="T34" fmla="*/ 92 w 4076"/>
                <a:gd name="T35" fmla="*/ 327 h 2449"/>
                <a:gd name="T36" fmla="*/ 60 w 4076"/>
                <a:gd name="T37" fmla="*/ 329 h 2449"/>
                <a:gd name="T38" fmla="*/ 60 w 4076"/>
                <a:gd name="T39" fmla="*/ 287 h 2449"/>
                <a:gd name="T40" fmla="*/ 80 w 4076"/>
                <a:gd name="T41" fmla="*/ 231 h 2449"/>
                <a:gd name="T42" fmla="*/ 57 w 4076"/>
                <a:gd name="T43" fmla="*/ 219 h 2449"/>
                <a:gd name="T44" fmla="*/ 46 w 4076"/>
                <a:gd name="T45" fmla="*/ 197 h 2449"/>
                <a:gd name="T46" fmla="*/ 18 w 4076"/>
                <a:gd name="T47" fmla="*/ 167 h 2449"/>
                <a:gd name="T48" fmla="*/ 0 w 4076"/>
                <a:gd name="T49" fmla="*/ 140 h 2449"/>
                <a:gd name="T50" fmla="*/ 0 w 4076"/>
                <a:gd name="T51" fmla="*/ 87 h 2449"/>
                <a:gd name="T52" fmla="*/ 1 w 4076"/>
                <a:gd name="T53" fmla="*/ 49 h 2449"/>
                <a:gd name="T54" fmla="*/ 6 w 4076"/>
                <a:gd name="T55" fmla="*/ 0 h 24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076" h="2449">
                  <a:moveTo>
                    <a:pt x="31" y="0"/>
                  </a:moveTo>
                  <a:lnTo>
                    <a:pt x="1165" y="192"/>
                  </a:lnTo>
                  <a:lnTo>
                    <a:pt x="2696" y="372"/>
                  </a:lnTo>
                  <a:lnTo>
                    <a:pt x="4076" y="462"/>
                  </a:lnTo>
                  <a:lnTo>
                    <a:pt x="3986" y="2412"/>
                  </a:lnTo>
                  <a:lnTo>
                    <a:pt x="2035" y="2262"/>
                  </a:lnTo>
                  <a:lnTo>
                    <a:pt x="1465" y="2202"/>
                  </a:lnTo>
                  <a:lnTo>
                    <a:pt x="1410" y="2388"/>
                  </a:lnTo>
                  <a:lnTo>
                    <a:pt x="1264" y="2329"/>
                  </a:lnTo>
                  <a:lnTo>
                    <a:pt x="1262" y="2421"/>
                  </a:lnTo>
                  <a:lnTo>
                    <a:pt x="1146" y="2449"/>
                  </a:lnTo>
                  <a:lnTo>
                    <a:pt x="1053" y="2390"/>
                  </a:lnTo>
                  <a:lnTo>
                    <a:pt x="811" y="2390"/>
                  </a:lnTo>
                  <a:lnTo>
                    <a:pt x="720" y="2341"/>
                  </a:lnTo>
                  <a:lnTo>
                    <a:pt x="632" y="2251"/>
                  </a:lnTo>
                  <a:lnTo>
                    <a:pt x="583" y="2159"/>
                  </a:lnTo>
                  <a:lnTo>
                    <a:pt x="572" y="2005"/>
                  </a:lnTo>
                  <a:lnTo>
                    <a:pt x="486" y="1727"/>
                  </a:lnTo>
                  <a:lnTo>
                    <a:pt x="319" y="1736"/>
                  </a:lnTo>
                  <a:lnTo>
                    <a:pt x="318" y="1515"/>
                  </a:lnTo>
                  <a:lnTo>
                    <a:pt x="421" y="1220"/>
                  </a:lnTo>
                  <a:lnTo>
                    <a:pt x="303" y="1154"/>
                  </a:lnTo>
                  <a:lnTo>
                    <a:pt x="241" y="1040"/>
                  </a:lnTo>
                  <a:lnTo>
                    <a:pt x="94" y="881"/>
                  </a:lnTo>
                  <a:lnTo>
                    <a:pt x="1" y="737"/>
                  </a:lnTo>
                  <a:lnTo>
                    <a:pt x="0" y="461"/>
                  </a:lnTo>
                  <a:lnTo>
                    <a:pt x="6" y="257"/>
                  </a:lnTo>
                  <a:lnTo>
                    <a:pt x="31" y="0"/>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70" name="Missouri">
              <a:extLst>
                <a:ext uri="{FF2B5EF4-FFF2-40B4-BE49-F238E27FC236}">
                  <a16:creationId xmlns:a16="http://schemas.microsoft.com/office/drawing/2014/main" id="{B8C32E35-7D78-7D06-8EAF-5AFB4E94ADE4}"/>
                </a:ext>
              </a:extLst>
            </p:cNvPr>
            <p:cNvSpPr>
              <a:spLocks/>
            </p:cNvSpPr>
            <p:nvPr/>
          </p:nvSpPr>
          <p:spPr bwMode="auto">
            <a:xfrm>
              <a:off x="5055540" y="3075864"/>
              <a:ext cx="861918" cy="677613"/>
            </a:xfrm>
            <a:custGeom>
              <a:avLst/>
              <a:gdLst>
                <a:gd name="T0" fmla="*/ 0 w 2800"/>
                <a:gd name="T1" fmla="*/ 29 h 2206"/>
                <a:gd name="T2" fmla="*/ 22 w 2800"/>
                <a:gd name="T3" fmla="*/ 73 h 2206"/>
                <a:gd name="T4" fmla="*/ 47 w 2800"/>
                <a:gd name="T5" fmla="*/ 86 h 2206"/>
                <a:gd name="T6" fmla="*/ 69 w 2800"/>
                <a:gd name="T7" fmla="*/ 98 h 2206"/>
                <a:gd name="T8" fmla="*/ 63 w 2800"/>
                <a:gd name="T9" fmla="*/ 115 h 2206"/>
                <a:gd name="T10" fmla="*/ 74 w 2800"/>
                <a:gd name="T11" fmla="*/ 146 h 2206"/>
                <a:gd name="T12" fmla="*/ 97 w 2800"/>
                <a:gd name="T13" fmla="*/ 160 h 2206"/>
                <a:gd name="T14" fmla="*/ 101 w 2800"/>
                <a:gd name="T15" fmla="*/ 211 h 2206"/>
                <a:gd name="T16" fmla="*/ 101 w 2800"/>
                <a:gd name="T17" fmla="*/ 271 h 2206"/>
                <a:gd name="T18" fmla="*/ 107 w 2800"/>
                <a:gd name="T19" fmla="*/ 324 h 2206"/>
                <a:gd name="T20" fmla="*/ 107 w 2800"/>
                <a:gd name="T21" fmla="*/ 359 h 2206"/>
                <a:gd name="T22" fmla="*/ 117 w 2800"/>
                <a:gd name="T23" fmla="*/ 385 h 2206"/>
                <a:gd name="T24" fmla="*/ 122 w 2800"/>
                <a:gd name="T25" fmla="*/ 409 h 2206"/>
                <a:gd name="T26" fmla="*/ 335 w 2800"/>
                <a:gd name="T27" fmla="*/ 382 h 2206"/>
                <a:gd name="T28" fmla="*/ 393 w 2800"/>
                <a:gd name="T29" fmla="*/ 376 h 2206"/>
                <a:gd name="T30" fmla="*/ 452 w 2800"/>
                <a:gd name="T31" fmla="*/ 364 h 2206"/>
                <a:gd name="T32" fmla="*/ 463 w 2800"/>
                <a:gd name="T33" fmla="*/ 375 h 2206"/>
                <a:gd name="T34" fmla="*/ 446 w 2800"/>
                <a:gd name="T35" fmla="*/ 398 h 2206"/>
                <a:gd name="T36" fmla="*/ 458 w 2800"/>
                <a:gd name="T37" fmla="*/ 409 h 2206"/>
                <a:gd name="T38" fmla="*/ 478 w 2800"/>
                <a:gd name="T39" fmla="*/ 418 h 2206"/>
                <a:gd name="T40" fmla="*/ 497 w 2800"/>
                <a:gd name="T41" fmla="*/ 409 h 2206"/>
                <a:gd name="T42" fmla="*/ 503 w 2800"/>
                <a:gd name="T43" fmla="*/ 398 h 2206"/>
                <a:gd name="T44" fmla="*/ 497 w 2800"/>
                <a:gd name="T45" fmla="*/ 381 h 2206"/>
                <a:gd name="T46" fmla="*/ 507 w 2800"/>
                <a:gd name="T47" fmla="*/ 363 h 2206"/>
                <a:gd name="T48" fmla="*/ 515 w 2800"/>
                <a:gd name="T49" fmla="*/ 347 h 2206"/>
                <a:gd name="T50" fmla="*/ 531 w 2800"/>
                <a:gd name="T51" fmla="*/ 339 h 2206"/>
                <a:gd name="T52" fmla="*/ 529 w 2800"/>
                <a:gd name="T53" fmla="*/ 324 h 2206"/>
                <a:gd name="T54" fmla="*/ 528 w 2800"/>
                <a:gd name="T55" fmla="*/ 306 h 2206"/>
                <a:gd name="T56" fmla="*/ 509 w 2800"/>
                <a:gd name="T57" fmla="*/ 296 h 2206"/>
                <a:gd name="T58" fmla="*/ 492 w 2800"/>
                <a:gd name="T59" fmla="*/ 273 h 2206"/>
                <a:gd name="T60" fmla="*/ 486 w 2800"/>
                <a:gd name="T61" fmla="*/ 244 h 2206"/>
                <a:gd name="T62" fmla="*/ 458 w 2800"/>
                <a:gd name="T63" fmla="*/ 222 h 2206"/>
                <a:gd name="T64" fmla="*/ 435 w 2800"/>
                <a:gd name="T65" fmla="*/ 210 h 2206"/>
                <a:gd name="T66" fmla="*/ 418 w 2800"/>
                <a:gd name="T67" fmla="*/ 187 h 2206"/>
                <a:gd name="T68" fmla="*/ 426 w 2800"/>
                <a:gd name="T69" fmla="*/ 166 h 2206"/>
                <a:gd name="T70" fmla="*/ 429 w 2800"/>
                <a:gd name="T71" fmla="*/ 142 h 2206"/>
                <a:gd name="T72" fmla="*/ 414 w 2800"/>
                <a:gd name="T73" fmla="*/ 133 h 2206"/>
                <a:gd name="T74" fmla="*/ 396 w 2800"/>
                <a:gd name="T75" fmla="*/ 128 h 2206"/>
                <a:gd name="T76" fmla="*/ 378 w 2800"/>
                <a:gd name="T77" fmla="*/ 114 h 2206"/>
                <a:gd name="T78" fmla="*/ 355 w 2800"/>
                <a:gd name="T79" fmla="*/ 85 h 2206"/>
                <a:gd name="T80" fmla="*/ 337 w 2800"/>
                <a:gd name="T81" fmla="*/ 74 h 2206"/>
                <a:gd name="T82" fmla="*/ 321 w 2800"/>
                <a:gd name="T83" fmla="*/ 51 h 2206"/>
                <a:gd name="T84" fmla="*/ 315 w 2800"/>
                <a:gd name="T85" fmla="*/ 21 h 2206"/>
                <a:gd name="T86" fmla="*/ 287 w 2800"/>
                <a:gd name="T87" fmla="*/ 0 h 2206"/>
                <a:gd name="T88" fmla="*/ 260 w 2800"/>
                <a:gd name="T89" fmla="*/ 4 h 2206"/>
                <a:gd name="T90" fmla="*/ 200 w 2800"/>
                <a:gd name="T91" fmla="*/ 15 h 2206"/>
                <a:gd name="T92" fmla="*/ 122 w 2800"/>
                <a:gd name="T93" fmla="*/ 22 h 2206"/>
                <a:gd name="T94" fmla="*/ 58 w 2800"/>
                <a:gd name="T95" fmla="*/ 26 h 2206"/>
                <a:gd name="T96" fmla="*/ 0 w 2800"/>
                <a:gd name="T97" fmla="*/ 29 h 220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00" h="2206">
                  <a:moveTo>
                    <a:pt x="0" y="152"/>
                  </a:moveTo>
                  <a:lnTo>
                    <a:pt x="118" y="387"/>
                  </a:lnTo>
                  <a:lnTo>
                    <a:pt x="247" y="452"/>
                  </a:lnTo>
                  <a:lnTo>
                    <a:pt x="363" y="518"/>
                  </a:lnTo>
                  <a:lnTo>
                    <a:pt x="333" y="608"/>
                  </a:lnTo>
                  <a:lnTo>
                    <a:pt x="388" y="771"/>
                  </a:lnTo>
                  <a:lnTo>
                    <a:pt x="513" y="845"/>
                  </a:lnTo>
                  <a:lnTo>
                    <a:pt x="535" y="1115"/>
                  </a:lnTo>
                  <a:lnTo>
                    <a:pt x="535" y="1431"/>
                  </a:lnTo>
                  <a:lnTo>
                    <a:pt x="562" y="1710"/>
                  </a:lnTo>
                  <a:lnTo>
                    <a:pt x="562" y="1895"/>
                  </a:lnTo>
                  <a:lnTo>
                    <a:pt x="618" y="2034"/>
                  </a:lnTo>
                  <a:lnTo>
                    <a:pt x="645" y="2160"/>
                  </a:lnTo>
                  <a:lnTo>
                    <a:pt x="1769" y="2014"/>
                  </a:lnTo>
                  <a:lnTo>
                    <a:pt x="2073" y="1982"/>
                  </a:lnTo>
                  <a:lnTo>
                    <a:pt x="2383" y="1920"/>
                  </a:lnTo>
                  <a:lnTo>
                    <a:pt x="2443" y="1980"/>
                  </a:lnTo>
                  <a:lnTo>
                    <a:pt x="2353" y="2100"/>
                  </a:lnTo>
                  <a:lnTo>
                    <a:pt x="2413" y="2160"/>
                  </a:lnTo>
                  <a:lnTo>
                    <a:pt x="2520" y="2206"/>
                  </a:lnTo>
                  <a:lnTo>
                    <a:pt x="2623" y="2160"/>
                  </a:lnTo>
                  <a:lnTo>
                    <a:pt x="2653" y="2100"/>
                  </a:lnTo>
                  <a:lnTo>
                    <a:pt x="2623" y="2010"/>
                  </a:lnTo>
                  <a:lnTo>
                    <a:pt x="2672" y="1918"/>
                  </a:lnTo>
                  <a:lnTo>
                    <a:pt x="2713" y="1830"/>
                  </a:lnTo>
                  <a:lnTo>
                    <a:pt x="2800" y="1790"/>
                  </a:lnTo>
                  <a:lnTo>
                    <a:pt x="2792" y="1710"/>
                  </a:lnTo>
                  <a:lnTo>
                    <a:pt x="2784" y="1614"/>
                  </a:lnTo>
                  <a:lnTo>
                    <a:pt x="2683" y="1560"/>
                  </a:lnTo>
                  <a:lnTo>
                    <a:pt x="2593" y="1440"/>
                  </a:lnTo>
                  <a:lnTo>
                    <a:pt x="2563" y="1290"/>
                  </a:lnTo>
                  <a:lnTo>
                    <a:pt x="2413" y="1170"/>
                  </a:lnTo>
                  <a:lnTo>
                    <a:pt x="2293" y="1110"/>
                  </a:lnTo>
                  <a:lnTo>
                    <a:pt x="2203" y="989"/>
                  </a:lnTo>
                  <a:lnTo>
                    <a:pt x="2248" y="878"/>
                  </a:lnTo>
                  <a:lnTo>
                    <a:pt x="2263" y="749"/>
                  </a:lnTo>
                  <a:lnTo>
                    <a:pt x="2184" y="702"/>
                  </a:lnTo>
                  <a:lnTo>
                    <a:pt x="2089" y="678"/>
                  </a:lnTo>
                  <a:lnTo>
                    <a:pt x="1994" y="599"/>
                  </a:lnTo>
                  <a:lnTo>
                    <a:pt x="1874" y="449"/>
                  </a:lnTo>
                  <a:lnTo>
                    <a:pt x="1777" y="390"/>
                  </a:lnTo>
                  <a:lnTo>
                    <a:pt x="1694" y="269"/>
                  </a:lnTo>
                  <a:lnTo>
                    <a:pt x="1659" y="110"/>
                  </a:lnTo>
                  <a:lnTo>
                    <a:pt x="1511" y="0"/>
                  </a:lnTo>
                  <a:lnTo>
                    <a:pt x="1373" y="23"/>
                  </a:lnTo>
                  <a:lnTo>
                    <a:pt x="1055" y="80"/>
                  </a:lnTo>
                  <a:lnTo>
                    <a:pt x="643" y="117"/>
                  </a:lnTo>
                  <a:lnTo>
                    <a:pt x="306" y="135"/>
                  </a:lnTo>
                  <a:lnTo>
                    <a:pt x="0" y="152"/>
                  </a:lnTo>
                  <a:close/>
                </a:path>
              </a:pathLst>
            </a:custGeom>
            <a:solidFill>
              <a:srgbClr val="87729E"/>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71" name="Mississippi">
              <a:extLst>
                <a:ext uri="{FF2B5EF4-FFF2-40B4-BE49-F238E27FC236}">
                  <a16:creationId xmlns:a16="http://schemas.microsoft.com/office/drawing/2014/main" id="{B79F66B3-8834-CE40-1F87-960EC3C3508C}"/>
                </a:ext>
              </a:extLst>
            </p:cNvPr>
            <p:cNvSpPr>
              <a:spLocks/>
            </p:cNvSpPr>
            <p:nvPr/>
          </p:nvSpPr>
          <p:spPr bwMode="auto">
            <a:xfrm>
              <a:off x="5699950" y="3871816"/>
              <a:ext cx="431771" cy="748941"/>
            </a:xfrm>
            <a:custGeom>
              <a:avLst/>
              <a:gdLst>
                <a:gd name="T0" fmla="*/ 74 w 1400"/>
                <a:gd name="T1" fmla="*/ 16 h 2439"/>
                <a:gd name="T2" fmla="*/ 63 w 1400"/>
                <a:gd name="T3" fmla="*/ 36 h 2439"/>
                <a:gd name="T4" fmla="*/ 46 w 1400"/>
                <a:gd name="T5" fmla="*/ 82 h 2439"/>
                <a:gd name="T6" fmla="*/ 25 w 1400"/>
                <a:gd name="T7" fmla="*/ 110 h 2439"/>
                <a:gd name="T8" fmla="*/ 17 w 1400"/>
                <a:gd name="T9" fmla="*/ 147 h 2439"/>
                <a:gd name="T10" fmla="*/ 20 w 1400"/>
                <a:gd name="T11" fmla="*/ 200 h 2439"/>
                <a:gd name="T12" fmla="*/ 17 w 1400"/>
                <a:gd name="T13" fmla="*/ 231 h 2439"/>
                <a:gd name="T14" fmla="*/ 26 w 1400"/>
                <a:gd name="T15" fmla="*/ 252 h 2439"/>
                <a:gd name="T16" fmla="*/ 34 w 1400"/>
                <a:gd name="T17" fmla="*/ 265 h 2439"/>
                <a:gd name="T18" fmla="*/ 29 w 1400"/>
                <a:gd name="T19" fmla="*/ 279 h 2439"/>
                <a:gd name="T20" fmla="*/ 34 w 1400"/>
                <a:gd name="T21" fmla="*/ 293 h 2439"/>
                <a:gd name="T22" fmla="*/ 23 w 1400"/>
                <a:gd name="T23" fmla="*/ 311 h 2439"/>
                <a:gd name="T24" fmla="*/ 23 w 1400"/>
                <a:gd name="T25" fmla="*/ 333 h 2439"/>
                <a:gd name="T26" fmla="*/ 5 w 1400"/>
                <a:gd name="T27" fmla="*/ 359 h 2439"/>
                <a:gd name="T28" fmla="*/ 0 w 1400"/>
                <a:gd name="T29" fmla="*/ 384 h 2439"/>
                <a:gd name="T30" fmla="*/ 1 w 1400"/>
                <a:gd name="T31" fmla="*/ 407 h 2439"/>
                <a:gd name="T32" fmla="*/ 84 w 1400"/>
                <a:gd name="T33" fmla="*/ 407 h 2439"/>
                <a:gd name="T34" fmla="*/ 111 w 1400"/>
                <a:gd name="T35" fmla="*/ 402 h 2439"/>
                <a:gd name="T36" fmla="*/ 139 w 1400"/>
                <a:gd name="T37" fmla="*/ 397 h 2439"/>
                <a:gd name="T38" fmla="*/ 154 w 1400"/>
                <a:gd name="T39" fmla="*/ 401 h 2439"/>
                <a:gd name="T40" fmla="*/ 151 w 1400"/>
                <a:gd name="T41" fmla="*/ 421 h 2439"/>
                <a:gd name="T42" fmla="*/ 161 w 1400"/>
                <a:gd name="T43" fmla="*/ 446 h 2439"/>
                <a:gd name="T44" fmla="*/ 173 w 1400"/>
                <a:gd name="T45" fmla="*/ 462 h 2439"/>
                <a:gd name="T46" fmla="*/ 218 w 1400"/>
                <a:gd name="T47" fmla="*/ 437 h 2439"/>
                <a:gd name="T48" fmla="*/ 258 w 1400"/>
                <a:gd name="T49" fmla="*/ 437 h 2439"/>
                <a:gd name="T50" fmla="*/ 264 w 1400"/>
                <a:gd name="T51" fmla="*/ 426 h 2439"/>
                <a:gd name="T52" fmla="*/ 266 w 1400"/>
                <a:gd name="T53" fmla="*/ 386 h 2439"/>
                <a:gd name="T54" fmla="*/ 259 w 1400"/>
                <a:gd name="T55" fmla="*/ 336 h 2439"/>
                <a:gd name="T56" fmla="*/ 252 w 1400"/>
                <a:gd name="T57" fmla="*/ 278 h 2439"/>
                <a:gd name="T58" fmla="*/ 243 w 1400"/>
                <a:gd name="T59" fmla="*/ 159 h 2439"/>
                <a:gd name="T60" fmla="*/ 235 w 1400"/>
                <a:gd name="T61" fmla="*/ 96 h 2439"/>
                <a:gd name="T62" fmla="*/ 236 w 1400"/>
                <a:gd name="T63" fmla="*/ 52 h 2439"/>
                <a:gd name="T64" fmla="*/ 218 w 1400"/>
                <a:gd name="T65" fmla="*/ 0 h 2439"/>
                <a:gd name="T66" fmla="*/ 188 w 1400"/>
                <a:gd name="T67" fmla="*/ 1 h 2439"/>
                <a:gd name="T68" fmla="*/ 171 w 1400"/>
                <a:gd name="T69" fmla="*/ 1 h 2439"/>
                <a:gd name="T70" fmla="*/ 149 w 1400"/>
                <a:gd name="T71" fmla="*/ 6 h 2439"/>
                <a:gd name="T72" fmla="*/ 118 w 1400"/>
                <a:gd name="T73" fmla="*/ 8 h 2439"/>
                <a:gd name="T74" fmla="*/ 84 w 1400"/>
                <a:gd name="T75" fmla="*/ 15 h 2439"/>
                <a:gd name="T76" fmla="*/ 74 w 1400"/>
                <a:gd name="T77" fmla="*/ 16 h 24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0" h="2439">
                  <a:moveTo>
                    <a:pt x="390" y="83"/>
                  </a:moveTo>
                  <a:lnTo>
                    <a:pt x="330" y="189"/>
                  </a:lnTo>
                  <a:lnTo>
                    <a:pt x="241" y="431"/>
                  </a:lnTo>
                  <a:lnTo>
                    <a:pt x="129" y="582"/>
                  </a:lnTo>
                  <a:lnTo>
                    <a:pt x="87" y="774"/>
                  </a:lnTo>
                  <a:lnTo>
                    <a:pt x="106" y="1056"/>
                  </a:lnTo>
                  <a:lnTo>
                    <a:pt x="90" y="1221"/>
                  </a:lnTo>
                  <a:lnTo>
                    <a:pt x="139" y="1329"/>
                  </a:lnTo>
                  <a:lnTo>
                    <a:pt x="180" y="1398"/>
                  </a:lnTo>
                  <a:lnTo>
                    <a:pt x="151" y="1472"/>
                  </a:lnTo>
                  <a:lnTo>
                    <a:pt x="180" y="1548"/>
                  </a:lnTo>
                  <a:lnTo>
                    <a:pt x="120" y="1640"/>
                  </a:lnTo>
                  <a:lnTo>
                    <a:pt x="121" y="1758"/>
                  </a:lnTo>
                  <a:lnTo>
                    <a:pt x="25" y="1893"/>
                  </a:lnTo>
                  <a:lnTo>
                    <a:pt x="0" y="2027"/>
                  </a:lnTo>
                  <a:lnTo>
                    <a:pt x="3" y="2147"/>
                  </a:lnTo>
                  <a:lnTo>
                    <a:pt x="444" y="2151"/>
                  </a:lnTo>
                  <a:lnTo>
                    <a:pt x="585" y="2121"/>
                  </a:lnTo>
                  <a:lnTo>
                    <a:pt x="732" y="2097"/>
                  </a:lnTo>
                  <a:lnTo>
                    <a:pt x="811" y="2117"/>
                  </a:lnTo>
                  <a:lnTo>
                    <a:pt x="793" y="2223"/>
                  </a:lnTo>
                  <a:lnTo>
                    <a:pt x="847" y="2357"/>
                  </a:lnTo>
                  <a:lnTo>
                    <a:pt x="910" y="2439"/>
                  </a:lnTo>
                  <a:lnTo>
                    <a:pt x="1148" y="2309"/>
                  </a:lnTo>
                  <a:lnTo>
                    <a:pt x="1358" y="2309"/>
                  </a:lnTo>
                  <a:lnTo>
                    <a:pt x="1388" y="2249"/>
                  </a:lnTo>
                  <a:lnTo>
                    <a:pt x="1400" y="2037"/>
                  </a:lnTo>
                  <a:lnTo>
                    <a:pt x="1363" y="1772"/>
                  </a:lnTo>
                  <a:lnTo>
                    <a:pt x="1327" y="1470"/>
                  </a:lnTo>
                  <a:lnTo>
                    <a:pt x="1281" y="839"/>
                  </a:lnTo>
                  <a:lnTo>
                    <a:pt x="1238" y="509"/>
                  </a:lnTo>
                  <a:lnTo>
                    <a:pt x="1244" y="272"/>
                  </a:lnTo>
                  <a:lnTo>
                    <a:pt x="1146" y="0"/>
                  </a:lnTo>
                  <a:lnTo>
                    <a:pt x="988" y="5"/>
                  </a:lnTo>
                  <a:lnTo>
                    <a:pt x="900" y="6"/>
                  </a:lnTo>
                  <a:lnTo>
                    <a:pt x="786" y="30"/>
                  </a:lnTo>
                  <a:lnTo>
                    <a:pt x="621" y="42"/>
                  </a:lnTo>
                  <a:lnTo>
                    <a:pt x="444" y="77"/>
                  </a:lnTo>
                  <a:lnTo>
                    <a:pt x="390" y="83"/>
                  </a:lnTo>
                  <a:close/>
                </a:path>
              </a:pathLst>
            </a:custGeom>
            <a:solidFill>
              <a:srgbClr val="CDC4D6"/>
            </a:solidFill>
            <a:ln w="6350" cmpd="sng">
              <a:solidFill>
                <a:schemeClr val="bg1"/>
              </a:solidFill>
              <a:prstDash val="solid"/>
              <a:round/>
              <a:headEnd/>
              <a:tailEnd/>
            </a:ln>
            <a:effectLst/>
          </p:spPr>
          <p:txBody>
            <a:bodyPr/>
            <a:lstStyle/>
            <a:p>
              <a:endParaRPr lang="zh-CN" altLang="en-US" kern="0"/>
            </a:p>
          </p:txBody>
        </p:sp>
        <p:sp>
          <p:nvSpPr>
            <p:cNvPr id="1072" name="Minnesota">
              <a:extLst>
                <a:ext uri="{FF2B5EF4-FFF2-40B4-BE49-F238E27FC236}">
                  <a16:creationId xmlns:a16="http://schemas.microsoft.com/office/drawing/2014/main" id="{0ECAE3DE-6B74-2493-AA22-0C39C50D4BE0}"/>
                </a:ext>
              </a:extLst>
            </p:cNvPr>
            <p:cNvSpPr>
              <a:spLocks/>
            </p:cNvSpPr>
            <p:nvPr/>
          </p:nvSpPr>
          <p:spPr bwMode="auto">
            <a:xfrm>
              <a:off x="4813683" y="1770891"/>
              <a:ext cx="801861" cy="915912"/>
            </a:xfrm>
            <a:custGeom>
              <a:avLst/>
              <a:gdLst>
                <a:gd name="T0" fmla="*/ 0 w 2604"/>
                <a:gd name="T1" fmla="*/ 45 h 2977"/>
                <a:gd name="T2" fmla="*/ 31 w 2604"/>
                <a:gd name="T3" fmla="*/ 46 h 2977"/>
                <a:gd name="T4" fmla="*/ 64 w 2604"/>
                <a:gd name="T5" fmla="*/ 43 h 2977"/>
                <a:gd name="T6" fmla="*/ 91 w 2604"/>
                <a:gd name="T7" fmla="*/ 46 h 2977"/>
                <a:gd name="T8" fmla="*/ 117 w 2604"/>
                <a:gd name="T9" fmla="*/ 40 h 2977"/>
                <a:gd name="T10" fmla="*/ 117 w 2604"/>
                <a:gd name="T11" fmla="*/ 0 h 2977"/>
                <a:gd name="T12" fmla="*/ 137 w 2604"/>
                <a:gd name="T13" fmla="*/ 5 h 2977"/>
                <a:gd name="T14" fmla="*/ 125 w 2604"/>
                <a:gd name="T15" fmla="*/ 25 h 2977"/>
                <a:gd name="T16" fmla="*/ 134 w 2604"/>
                <a:gd name="T17" fmla="*/ 40 h 2977"/>
                <a:gd name="T18" fmla="*/ 163 w 2604"/>
                <a:gd name="T19" fmla="*/ 51 h 2977"/>
                <a:gd name="T20" fmla="*/ 184 w 2604"/>
                <a:gd name="T21" fmla="*/ 61 h 2977"/>
                <a:gd name="T22" fmla="*/ 225 w 2604"/>
                <a:gd name="T23" fmla="*/ 68 h 2977"/>
                <a:gd name="T24" fmla="*/ 265 w 2604"/>
                <a:gd name="T25" fmla="*/ 68 h 2977"/>
                <a:gd name="T26" fmla="*/ 282 w 2604"/>
                <a:gd name="T27" fmla="*/ 57 h 2977"/>
                <a:gd name="T28" fmla="*/ 305 w 2604"/>
                <a:gd name="T29" fmla="*/ 74 h 2977"/>
                <a:gd name="T30" fmla="*/ 339 w 2604"/>
                <a:gd name="T31" fmla="*/ 80 h 2977"/>
                <a:gd name="T32" fmla="*/ 373 w 2604"/>
                <a:gd name="T33" fmla="*/ 97 h 2977"/>
                <a:gd name="T34" fmla="*/ 407 w 2604"/>
                <a:gd name="T35" fmla="*/ 85 h 2977"/>
                <a:gd name="T36" fmla="*/ 419 w 2604"/>
                <a:gd name="T37" fmla="*/ 93 h 2977"/>
                <a:gd name="T38" fmla="*/ 447 w 2604"/>
                <a:gd name="T39" fmla="*/ 91 h 2977"/>
                <a:gd name="T40" fmla="*/ 469 w 2604"/>
                <a:gd name="T41" fmla="*/ 91 h 2977"/>
                <a:gd name="T42" fmla="*/ 494 w 2604"/>
                <a:gd name="T43" fmla="*/ 90 h 2977"/>
                <a:gd name="T44" fmla="*/ 492 w 2604"/>
                <a:gd name="T45" fmla="*/ 94 h 2977"/>
                <a:gd name="T46" fmla="*/ 428 w 2604"/>
                <a:gd name="T47" fmla="*/ 136 h 2977"/>
                <a:gd name="T48" fmla="*/ 402 w 2604"/>
                <a:gd name="T49" fmla="*/ 160 h 2977"/>
                <a:gd name="T50" fmla="*/ 390 w 2604"/>
                <a:gd name="T51" fmla="*/ 188 h 2977"/>
                <a:gd name="T52" fmla="*/ 351 w 2604"/>
                <a:gd name="T53" fmla="*/ 216 h 2977"/>
                <a:gd name="T54" fmla="*/ 328 w 2604"/>
                <a:gd name="T55" fmla="*/ 245 h 2977"/>
                <a:gd name="T56" fmla="*/ 339 w 2604"/>
                <a:gd name="T57" fmla="*/ 279 h 2977"/>
                <a:gd name="T58" fmla="*/ 319 w 2604"/>
                <a:gd name="T59" fmla="*/ 307 h 2977"/>
                <a:gd name="T60" fmla="*/ 299 w 2604"/>
                <a:gd name="T61" fmla="*/ 330 h 2977"/>
                <a:gd name="T62" fmla="*/ 322 w 2604"/>
                <a:gd name="T63" fmla="*/ 359 h 2977"/>
                <a:gd name="T64" fmla="*/ 319 w 2604"/>
                <a:gd name="T65" fmla="*/ 400 h 2977"/>
                <a:gd name="T66" fmla="*/ 311 w 2604"/>
                <a:gd name="T67" fmla="*/ 421 h 2977"/>
                <a:gd name="T68" fmla="*/ 330 w 2604"/>
                <a:gd name="T69" fmla="*/ 430 h 2977"/>
                <a:gd name="T70" fmla="*/ 356 w 2604"/>
                <a:gd name="T71" fmla="*/ 427 h 2977"/>
                <a:gd name="T72" fmla="*/ 393 w 2604"/>
                <a:gd name="T73" fmla="*/ 460 h 2977"/>
                <a:gd name="T74" fmla="*/ 453 w 2604"/>
                <a:gd name="T75" fmla="*/ 501 h 2977"/>
                <a:gd name="T76" fmla="*/ 442 w 2604"/>
                <a:gd name="T77" fmla="*/ 530 h 2977"/>
                <a:gd name="T78" fmla="*/ 75 w 2604"/>
                <a:gd name="T79" fmla="*/ 565 h 2977"/>
                <a:gd name="T80" fmla="*/ 80 w 2604"/>
                <a:gd name="T81" fmla="*/ 513 h 2977"/>
                <a:gd name="T82" fmla="*/ 73 w 2604"/>
                <a:gd name="T83" fmla="*/ 403 h 2977"/>
                <a:gd name="T84" fmla="*/ 49 w 2604"/>
                <a:gd name="T85" fmla="*/ 374 h 2977"/>
                <a:gd name="T86" fmla="*/ 56 w 2604"/>
                <a:gd name="T87" fmla="*/ 353 h 2977"/>
                <a:gd name="T88" fmla="*/ 53 w 2604"/>
                <a:gd name="T89" fmla="*/ 330 h 2977"/>
                <a:gd name="T90" fmla="*/ 43 w 2604"/>
                <a:gd name="T91" fmla="*/ 263 h 2977"/>
                <a:gd name="T92" fmla="*/ 34 w 2604"/>
                <a:gd name="T93" fmla="*/ 176 h 2977"/>
                <a:gd name="T94" fmla="*/ 11 w 2604"/>
                <a:gd name="T95" fmla="*/ 145 h 2977"/>
                <a:gd name="T96" fmla="*/ 5 w 2604"/>
                <a:gd name="T97" fmla="*/ 106 h 2977"/>
                <a:gd name="T98" fmla="*/ 0 w 2604"/>
                <a:gd name="T99" fmla="*/ 45 h 29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604" h="2977">
                  <a:moveTo>
                    <a:pt x="0" y="239"/>
                  </a:moveTo>
                  <a:lnTo>
                    <a:pt x="161" y="242"/>
                  </a:lnTo>
                  <a:lnTo>
                    <a:pt x="337" y="226"/>
                  </a:lnTo>
                  <a:lnTo>
                    <a:pt x="481" y="242"/>
                  </a:lnTo>
                  <a:lnTo>
                    <a:pt x="617" y="210"/>
                  </a:lnTo>
                  <a:lnTo>
                    <a:pt x="617" y="0"/>
                  </a:lnTo>
                  <a:lnTo>
                    <a:pt x="721" y="26"/>
                  </a:lnTo>
                  <a:lnTo>
                    <a:pt x="657" y="130"/>
                  </a:lnTo>
                  <a:lnTo>
                    <a:pt x="705" y="210"/>
                  </a:lnTo>
                  <a:lnTo>
                    <a:pt x="857" y="270"/>
                  </a:lnTo>
                  <a:lnTo>
                    <a:pt x="969" y="322"/>
                  </a:lnTo>
                  <a:lnTo>
                    <a:pt x="1187" y="360"/>
                  </a:lnTo>
                  <a:lnTo>
                    <a:pt x="1398" y="360"/>
                  </a:lnTo>
                  <a:lnTo>
                    <a:pt x="1488" y="300"/>
                  </a:lnTo>
                  <a:lnTo>
                    <a:pt x="1608" y="390"/>
                  </a:lnTo>
                  <a:lnTo>
                    <a:pt x="1788" y="420"/>
                  </a:lnTo>
                  <a:lnTo>
                    <a:pt x="1968" y="510"/>
                  </a:lnTo>
                  <a:lnTo>
                    <a:pt x="2148" y="450"/>
                  </a:lnTo>
                  <a:lnTo>
                    <a:pt x="2209" y="490"/>
                  </a:lnTo>
                  <a:lnTo>
                    <a:pt x="2358" y="480"/>
                  </a:lnTo>
                  <a:lnTo>
                    <a:pt x="2473" y="482"/>
                  </a:lnTo>
                  <a:lnTo>
                    <a:pt x="2604" y="476"/>
                  </a:lnTo>
                  <a:lnTo>
                    <a:pt x="2596" y="497"/>
                  </a:lnTo>
                  <a:lnTo>
                    <a:pt x="2257" y="714"/>
                  </a:lnTo>
                  <a:lnTo>
                    <a:pt x="2121" y="842"/>
                  </a:lnTo>
                  <a:lnTo>
                    <a:pt x="2058" y="990"/>
                  </a:lnTo>
                  <a:lnTo>
                    <a:pt x="1848" y="1140"/>
                  </a:lnTo>
                  <a:lnTo>
                    <a:pt x="1728" y="1290"/>
                  </a:lnTo>
                  <a:lnTo>
                    <a:pt x="1788" y="1470"/>
                  </a:lnTo>
                  <a:lnTo>
                    <a:pt x="1681" y="1618"/>
                  </a:lnTo>
                  <a:lnTo>
                    <a:pt x="1578" y="1740"/>
                  </a:lnTo>
                  <a:lnTo>
                    <a:pt x="1698" y="1890"/>
                  </a:lnTo>
                  <a:lnTo>
                    <a:pt x="1681" y="2106"/>
                  </a:lnTo>
                  <a:lnTo>
                    <a:pt x="1638" y="2220"/>
                  </a:lnTo>
                  <a:lnTo>
                    <a:pt x="1737" y="2266"/>
                  </a:lnTo>
                  <a:lnTo>
                    <a:pt x="1878" y="2250"/>
                  </a:lnTo>
                  <a:lnTo>
                    <a:pt x="2073" y="2426"/>
                  </a:lnTo>
                  <a:lnTo>
                    <a:pt x="2388" y="2640"/>
                  </a:lnTo>
                  <a:lnTo>
                    <a:pt x="2329" y="2794"/>
                  </a:lnTo>
                  <a:lnTo>
                    <a:pt x="394" y="2977"/>
                  </a:lnTo>
                  <a:lnTo>
                    <a:pt x="421" y="2701"/>
                  </a:lnTo>
                  <a:lnTo>
                    <a:pt x="385" y="2123"/>
                  </a:lnTo>
                  <a:lnTo>
                    <a:pt x="256" y="1969"/>
                  </a:lnTo>
                  <a:lnTo>
                    <a:pt x="294" y="1862"/>
                  </a:lnTo>
                  <a:lnTo>
                    <a:pt x="282" y="1741"/>
                  </a:lnTo>
                  <a:lnTo>
                    <a:pt x="229" y="1387"/>
                  </a:lnTo>
                  <a:lnTo>
                    <a:pt x="181" y="928"/>
                  </a:lnTo>
                  <a:lnTo>
                    <a:pt x="60" y="763"/>
                  </a:lnTo>
                  <a:lnTo>
                    <a:pt x="25" y="556"/>
                  </a:lnTo>
                  <a:lnTo>
                    <a:pt x="0" y="239"/>
                  </a:lnTo>
                  <a:close/>
                </a:path>
              </a:pathLst>
            </a:custGeom>
            <a:solidFill>
              <a:srgbClr val="30223F"/>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73" name="Michigan">
              <a:extLst>
                <a:ext uri="{FF2B5EF4-FFF2-40B4-BE49-F238E27FC236}">
                  <a16:creationId xmlns:a16="http://schemas.microsoft.com/office/drawing/2014/main" id="{B118B02B-1601-B2A4-DBEA-178CB99E5093}"/>
                </a:ext>
              </a:extLst>
            </p:cNvPr>
            <p:cNvSpPr>
              <a:spLocks/>
            </p:cNvSpPr>
            <p:nvPr/>
          </p:nvSpPr>
          <p:spPr bwMode="auto">
            <a:xfrm>
              <a:off x="6044068" y="2155088"/>
              <a:ext cx="486960" cy="627360"/>
            </a:xfrm>
            <a:custGeom>
              <a:avLst/>
              <a:gdLst>
                <a:gd name="T0" fmla="*/ 96 w 1586"/>
                <a:gd name="T1" fmla="*/ 0 h 2040"/>
                <a:gd name="T2" fmla="*/ 74 w 1586"/>
                <a:gd name="T3" fmla="*/ 9 h 2040"/>
                <a:gd name="T4" fmla="*/ 70 w 1586"/>
                <a:gd name="T5" fmla="*/ 25 h 2040"/>
                <a:gd name="T6" fmla="*/ 82 w 1586"/>
                <a:gd name="T7" fmla="*/ 39 h 2040"/>
                <a:gd name="T8" fmla="*/ 69 w 1586"/>
                <a:gd name="T9" fmla="*/ 56 h 2040"/>
                <a:gd name="T10" fmla="*/ 73 w 1586"/>
                <a:gd name="T11" fmla="*/ 72 h 2040"/>
                <a:gd name="T12" fmla="*/ 63 w 1586"/>
                <a:gd name="T13" fmla="*/ 89 h 2040"/>
                <a:gd name="T14" fmla="*/ 50 w 1586"/>
                <a:gd name="T15" fmla="*/ 79 h 2040"/>
                <a:gd name="T16" fmla="*/ 42 w 1586"/>
                <a:gd name="T17" fmla="*/ 63 h 2040"/>
                <a:gd name="T18" fmla="*/ 24 w 1586"/>
                <a:gd name="T19" fmla="*/ 88 h 2040"/>
                <a:gd name="T20" fmla="*/ 13 w 1586"/>
                <a:gd name="T21" fmla="*/ 91 h 2040"/>
                <a:gd name="T22" fmla="*/ 5 w 1586"/>
                <a:gd name="T23" fmla="*/ 123 h 2040"/>
                <a:gd name="T24" fmla="*/ 13 w 1586"/>
                <a:gd name="T25" fmla="*/ 142 h 2040"/>
                <a:gd name="T26" fmla="*/ 0 w 1586"/>
                <a:gd name="T27" fmla="*/ 168 h 2040"/>
                <a:gd name="T28" fmla="*/ 7 w 1586"/>
                <a:gd name="T29" fmla="*/ 186 h 2040"/>
                <a:gd name="T30" fmla="*/ 12 w 1586"/>
                <a:gd name="T31" fmla="*/ 213 h 2040"/>
                <a:gd name="T32" fmla="*/ 34 w 1586"/>
                <a:gd name="T33" fmla="*/ 241 h 2040"/>
                <a:gd name="T34" fmla="*/ 40 w 1586"/>
                <a:gd name="T35" fmla="*/ 271 h 2040"/>
                <a:gd name="T36" fmla="*/ 45 w 1586"/>
                <a:gd name="T37" fmla="*/ 300 h 2040"/>
                <a:gd name="T38" fmla="*/ 26 w 1586"/>
                <a:gd name="T39" fmla="*/ 387 h 2040"/>
                <a:gd name="T40" fmla="*/ 58 w 1586"/>
                <a:gd name="T41" fmla="*/ 382 h 2040"/>
                <a:gd name="T42" fmla="*/ 145 w 1586"/>
                <a:gd name="T43" fmla="*/ 365 h 2040"/>
                <a:gd name="T44" fmla="*/ 161 w 1586"/>
                <a:gd name="T45" fmla="*/ 376 h 2040"/>
                <a:gd name="T46" fmla="*/ 184 w 1586"/>
                <a:gd name="T47" fmla="*/ 361 h 2040"/>
                <a:gd name="T48" fmla="*/ 221 w 1586"/>
                <a:gd name="T49" fmla="*/ 359 h 2040"/>
                <a:gd name="T50" fmla="*/ 221 w 1586"/>
                <a:gd name="T51" fmla="*/ 352 h 2040"/>
                <a:gd name="T52" fmla="*/ 257 w 1586"/>
                <a:gd name="T53" fmla="*/ 349 h 2040"/>
                <a:gd name="T54" fmla="*/ 266 w 1586"/>
                <a:gd name="T55" fmla="*/ 332 h 2040"/>
                <a:gd name="T56" fmla="*/ 276 w 1586"/>
                <a:gd name="T57" fmla="*/ 323 h 2040"/>
                <a:gd name="T58" fmla="*/ 277 w 1586"/>
                <a:gd name="T59" fmla="*/ 313 h 2040"/>
                <a:gd name="T60" fmla="*/ 267 w 1586"/>
                <a:gd name="T61" fmla="*/ 308 h 2040"/>
                <a:gd name="T62" fmla="*/ 278 w 1586"/>
                <a:gd name="T63" fmla="*/ 278 h 2040"/>
                <a:gd name="T64" fmla="*/ 292 w 1586"/>
                <a:gd name="T65" fmla="*/ 266 h 2040"/>
                <a:gd name="T66" fmla="*/ 298 w 1586"/>
                <a:gd name="T67" fmla="*/ 246 h 2040"/>
                <a:gd name="T68" fmla="*/ 300 w 1586"/>
                <a:gd name="T69" fmla="*/ 201 h 2040"/>
                <a:gd name="T70" fmla="*/ 284 w 1586"/>
                <a:gd name="T71" fmla="*/ 171 h 2040"/>
                <a:gd name="T72" fmla="*/ 272 w 1586"/>
                <a:gd name="T73" fmla="*/ 140 h 2040"/>
                <a:gd name="T74" fmla="*/ 250 w 1586"/>
                <a:gd name="T75" fmla="*/ 132 h 2040"/>
                <a:gd name="T76" fmla="*/ 230 w 1586"/>
                <a:gd name="T77" fmla="*/ 134 h 2040"/>
                <a:gd name="T78" fmla="*/ 221 w 1586"/>
                <a:gd name="T79" fmla="*/ 149 h 2040"/>
                <a:gd name="T80" fmla="*/ 215 w 1586"/>
                <a:gd name="T81" fmla="*/ 168 h 2040"/>
                <a:gd name="T82" fmla="*/ 197 w 1586"/>
                <a:gd name="T83" fmla="*/ 174 h 2040"/>
                <a:gd name="T84" fmla="*/ 180 w 1586"/>
                <a:gd name="T85" fmla="*/ 159 h 2040"/>
                <a:gd name="T86" fmla="*/ 193 w 1586"/>
                <a:gd name="T87" fmla="*/ 143 h 2040"/>
                <a:gd name="T88" fmla="*/ 201 w 1586"/>
                <a:gd name="T89" fmla="*/ 126 h 2040"/>
                <a:gd name="T90" fmla="*/ 209 w 1586"/>
                <a:gd name="T91" fmla="*/ 94 h 2040"/>
                <a:gd name="T92" fmla="*/ 201 w 1586"/>
                <a:gd name="T93" fmla="*/ 66 h 2040"/>
                <a:gd name="T94" fmla="*/ 187 w 1586"/>
                <a:gd name="T95" fmla="*/ 47 h 2040"/>
                <a:gd name="T96" fmla="*/ 197 w 1586"/>
                <a:gd name="T97" fmla="*/ 30 h 2040"/>
                <a:gd name="T98" fmla="*/ 162 w 1586"/>
                <a:gd name="T99" fmla="*/ 15 h 2040"/>
                <a:gd name="T100" fmla="*/ 134 w 1586"/>
                <a:gd name="T101" fmla="*/ 9 h 2040"/>
                <a:gd name="T102" fmla="*/ 114 w 1586"/>
                <a:gd name="T103" fmla="*/ 7 h 2040"/>
                <a:gd name="T104" fmla="*/ 96 w 1586"/>
                <a:gd name="T105" fmla="*/ 0 h 20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86" h="2040">
                  <a:moveTo>
                    <a:pt x="506" y="0"/>
                  </a:moveTo>
                  <a:lnTo>
                    <a:pt x="392" y="48"/>
                  </a:lnTo>
                  <a:lnTo>
                    <a:pt x="368" y="132"/>
                  </a:lnTo>
                  <a:lnTo>
                    <a:pt x="434" y="204"/>
                  </a:lnTo>
                  <a:lnTo>
                    <a:pt x="363" y="293"/>
                  </a:lnTo>
                  <a:lnTo>
                    <a:pt x="386" y="378"/>
                  </a:lnTo>
                  <a:lnTo>
                    <a:pt x="332" y="468"/>
                  </a:lnTo>
                  <a:lnTo>
                    <a:pt x="266" y="414"/>
                  </a:lnTo>
                  <a:lnTo>
                    <a:pt x="224" y="330"/>
                  </a:lnTo>
                  <a:lnTo>
                    <a:pt x="128" y="462"/>
                  </a:lnTo>
                  <a:lnTo>
                    <a:pt x="68" y="480"/>
                  </a:lnTo>
                  <a:lnTo>
                    <a:pt x="26" y="648"/>
                  </a:lnTo>
                  <a:lnTo>
                    <a:pt x="68" y="750"/>
                  </a:lnTo>
                  <a:lnTo>
                    <a:pt x="0" y="883"/>
                  </a:lnTo>
                  <a:lnTo>
                    <a:pt x="38" y="978"/>
                  </a:lnTo>
                  <a:lnTo>
                    <a:pt x="62" y="1122"/>
                  </a:lnTo>
                  <a:lnTo>
                    <a:pt x="182" y="1272"/>
                  </a:lnTo>
                  <a:lnTo>
                    <a:pt x="212" y="1428"/>
                  </a:lnTo>
                  <a:lnTo>
                    <a:pt x="236" y="1584"/>
                  </a:lnTo>
                  <a:lnTo>
                    <a:pt x="137" y="2040"/>
                  </a:lnTo>
                  <a:lnTo>
                    <a:pt x="304" y="2013"/>
                  </a:lnTo>
                  <a:lnTo>
                    <a:pt x="766" y="1926"/>
                  </a:lnTo>
                  <a:lnTo>
                    <a:pt x="851" y="1983"/>
                  </a:lnTo>
                  <a:lnTo>
                    <a:pt x="973" y="1905"/>
                  </a:lnTo>
                  <a:lnTo>
                    <a:pt x="1166" y="1895"/>
                  </a:lnTo>
                  <a:lnTo>
                    <a:pt x="1166" y="1857"/>
                  </a:lnTo>
                  <a:lnTo>
                    <a:pt x="1360" y="1841"/>
                  </a:lnTo>
                  <a:lnTo>
                    <a:pt x="1406" y="1752"/>
                  </a:lnTo>
                  <a:lnTo>
                    <a:pt x="1460" y="1704"/>
                  </a:lnTo>
                  <a:lnTo>
                    <a:pt x="1466" y="1650"/>
                  </a:lnTo>
                  <a:lnTo>
                    <a:pt x="1409" y="1626"/>
                  </a:lnTo>
                  <a:lnTo>
                    <a:pt x="1472" y="1464"/>
                  </a:lnTo>
                  <a:lnTo>
                    <a:pt x="1544" y="1404"/>
                  </a:lnTo>
                  <a:lnTo>
                    <a:pt x="1574" y="1296"/>
                  </a:lnTo>
                  <a:lnTo>
                    <a:pt x="1586" y="1062"/>
                  </a:lnTo>
                  <a:lnTo>
                    <a:pt x="1502" y="900"/>
                  </a:lnTo>
                  <a:lnTo>
                    <a:pt x="1436" y="738"/>
                  </a:lnTo>
                  <a:lnTo>
                    <a:pt x="1322" y="696"/>
                  </a:lnTo>
                  <a:lnTo>
                    <a:pt x="1214" y="708"/>
                  </a:lnTo>
                  <a:lnTo>
                    <a:pt x="1166" y="786"/>
                  </a:lnTo>
                  <a:lnTo>
                    <a:pt x="1136" y="888"/>
                  </a:lnTo>
                  <a:lnTo>
                    <a:pt x="1040" y="918"/>
                  </a:lnTo>
                  <a:lnTo>
                    <a:pt x="952" y="837"/>
                  </a:lnTo>
                  <a:lnTo>
                    <a:pt x="1022" y="756"/>
                  </a:lnTo>
                  <a:lnTo>
                    <a:pt x="1064" y="666"/>
                  </a:lnTo>
                  <a:lnTo>
                    <a:pt x="1106" y="498"/>
                  </a:lnTo>
                  <a:lnTo>
                    <a:pt x="1064" y="348"/>
                  </a:lnTo>
                  <a:lnTo>
                    <a:pt x="986" y="246"/>
                  </a:lnTo>
                  <a:lnTo>
                    <a:pt x="1040" y="156"/>
                  </a:lnTo>
                  <a:lnTo>
                    <a:pt x="854" y="78"/>
                  </a:lnTo>
                  <a:lnTo>
                    <a:pt x="710" y="48"/>
                  </a:lnTo>
                  <a:lnTo>
                    <a:pt x="602" y="36"/>
                  </a:lnTo>
                  <a:lnTo>
                    <a:pt x="506" y="0"/>
                  </a:lnTo>
                  <a:close/>
                </a:path>
              </a:pathLst>
            </a:custGeom>
            <a:solidFill>
              <a:srgbClr val="87729E"/>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74" name="Massachusetts">
              <a:extLst>
                <a:ext uri="{FF2B5EF4-FFF2-40B4-BE49-F238E27FC236}">
                  <a16:creationId xmlns:a16="http://schemas.microsoft.com/office/drawing/2014/main" id="{21D33BDB-D5C5-7001-89D1-6E8534A304C7}"/>
                </a:ext>
              </a:extLst>
            </p:cNvPr>
            <p:cNvSpPr>
              <a:spLocks/>
            </p:cNvSpPr>
            <p:nvPr/>
          </p:nvSpPr>
          <p:spPr bwMode="auto">
            <a:xfrm>
              <a:off x="7545527" y="2069170"/>
              <a:ext cx="423655" cy="260995"/>
            </a:xfrm>
            <a:custGeom>
              <a:avLst/>
              <a:gdLst>
                <a:gd name="T0" fmla="*/ 142 w 1383"/>
                <a:gd name="T1" fmla="*/ 17 h 850"/>
                <a:gd name="T2" fmla="*/ 131 w 1383"/>
                <a:gd name="T3" fmla="*/ 40 h 850"/>
                <a:gd name="T4" fmla="*/ 53 w 1383"/>
                <a:gd name="T5" fmla="*/ 64 h 850"/>
                <a:gd name="T6" fmla="*/ 0 w 1383"/>
                <a:gd name="T7" fmla="*/ 83 h 850"/>
                <a:gd name="T8" fmla="*/ 6 w 1383"/>
                <a:gd name="T9" fmla="*/ 122 h 850"/>
                <a:gd name="T10" fmla="*/ 11 w 1383"/>
                <a:gd name="T11" fmla="*/ 161 h 850"/>
                <a:gd name="T12" fmla="*/ 113 w 1383"/>
                <a:gd name="T13" fmla="*/ 109 h 850"/>
                <a:gd name="T14" fmla="*/ 156 w 1383"/>
                <a:gd name="T15" fmla="*/ 96 h 850"/>
                <a:gd name="T16" fmla="*/ 172 w 1383"/>
                <a:gd name="T17" fmla="*/ 128 h 850"/>
                <a:gd name="T18" fmla="*/ 193 w 1383"/>
                <a:gd name="T19" fmla="*/ 142 h 850"/>
                <a:gd name="T20" fmla="*/ 201 w 1383"/>
                <a:gd name="T21" fmla="*/ 125 h 850"/>
                <a:gd name="T22" fmla="*/ 233 w 1383"/>
                <a:gd name="T23" fmla="*/ 102 h 850"/>
                <a:gd name="T24" fmla="*/ 261 w 1383"/>
                <a:gd name="T25" fmla="*/ 85 h 850"/>
                <a:gd name="T26" fmla="*/ 252 w 1383"/>
                <a:gd name="T27" fmla="*/ 73 h 850"/>
                <a:gd name="T28" fmla="*/ 250 w 1383"/>
                <a:gd name="T29" fmla="*/ 62 h 850"/>
                <a:gd name="T30" fmla="*/ 245 w 1383"/>
                <a:gd name="T31" fmla="*/ 44 h 850"/>
                <a:gd name="T32" fmla="*/ 240 w 1383"/>
                <a:gd name="T33" fmla="*/ 50 h 850"/>
                <a:gd name="T34" fmla="*/ 243 w 1383"/>
                <a:gd name="T35" fmla="*/ 60 h 850"/>
                <a:gd name="T36" fmla="*/ 240 w 1383"/>
                <a:gd name="T37" fmla="*/ 70 h 850"/>
                <a:gd name="T38" fmla="*/ 245 w 1383"/>
                <a:gd name="T39" fmla="*/ 82 h 850"/>
                <a:gd name="T40" fmla="*/ 227 w 1383"/>
                <a:gd name="T41" fmla="*/ 97 h 850"/>
                <a:gd name="T42" fmla="*/ 204 w 1383"/>
                <a:gd name="T43" fmla="*/ 85 h 850"/>
                <a:gd name="T44" fmla="*/ 176 w 1383"/>
                <a:gd name="T45" fmla="*/ 51 h 850"/>
                <a:gd name="T46" fmla="*/ 168 w 1383"/>
                <a:gd name="T47" fmla="*/ 23 h 850"/>
                <a:gd name="T48" fmla="*/ 142 w 1383"/>
                <a:gd name="T49" fmla="*/ 0 h 850"/>
                <a:gd name="T50" fmla="*/ 142 w 1383"/>
                <a:gd name="T51" fmla="*/ 17 h 8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83" h="850">
                  <a:moveTo>
                    <a:pt x="753" y="90"/>
                  </a:moveTo>
                  <a:lnTo>
                    <a:pt x="693" y="210"/>
                  </a:lnTo>
                  <a:lnTo>
                    <a:pt x="281" y="340"/>
                  </a:lnTo>
                  <a:lnTo>
                    <a:pt x="0" y="436"/>
                  </a:lnTo>
                  <a:lnTo>
                    <a:pt x="30" y="645"/>
                  </a:lnTo>
                  <a:lnTo>
                    <a:pt x="57" y="850"/>
                  </a:lnTo>
                  <a:lnTo>
                    <a:pt x="597" y="573"/>
                  </a:lnTo>
                  <a:lnTo>
                    <a:pt x="825" y="507"/>
                  </a:lnTo>
                  <a:lnTo>
                    <a:pt x="913" y="675"/>
                  </a:lnTo>
                  <a:lnTo>
                    <a:pt x="1023" y="750"/>
                  </a:lnTo>
                  <a:lnTo>
                    <a:pt x="1065" y="659"/>
                  </a:lnTo>
                  <a:lnTo>
                    <a:pt x="1233" y="540"/>
                  </a:lnTo>
                  <a:lnTo>
                    <a:pt x="1383" y="450"/>
                  </a:lnTo>
                  <a:lnTo>
                    <a:pt x="1337" y="383"/>
                  </a:lnTo>
                  <a:lnTo>
                    <a:pt x="1325" y="325"/>
                  </a:lnTo>
                  <a:lnTo>
                    <a:pt x="1297" y="233"/>
                  </a:lnTo>
                  <a:lnTo>
                    <a:pt x="1273" y="263"/>
                  </a:lnTo>
                  <a:lnTo>
                    <a:pt x="1285" y="319"/>
                  </a:lnTo>
                  <a:lnTo>
                    <a:pt x="1273" y="371"/>
                  </a:lnTo>
                  <a:lnTo>
                    <a:pt x="1297" y="435"/>
                  </a:lnTo>
                  <a:lnTo>
                    <a:pt x="1203" y="510"/>
                  </a:lnTo>
                  <a:lnTo>
                    <a:pt x="1081" y="451"/>
                  </a:lnTo>
                  <a:lnTo>
                    <a:pt x="933" y="270"/>
                  </a:lnTo>
                  <a:lnTo>
                    <a:pt x="889" y="123"/>
                  </a:lnTo>
                  <a:lnTo>
                    <a:pt x="753" y="0"/>
                  </a:lnTo>
                  <a:lnTo>
                    <a:pt x="753" y="90"/>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75" name="Maryland">
              <a:extLst>
                <a:ext uri="{FF2B5EF4-FFF2-40B4-BE49-F238E27FC236}">
                  <a16:creationId xmlns:a16="http://schemas.microsoft.com/office/drawing/2014/main" id="{32E3E6AF-2CE9-C42C-226C-C2AD278B9323}"/>
                </a:ext>
              </a:extLst>
            </p:cNvPr>
            <p:cNvSpPr>
              <a:spLocks/>
            </p:cNvSpPr>
            <p:nvPr/>
          </p:nvSpPr>
          <p:spPr bwMode="auto">
            <a:xfrm>
              <a:off x="6993640" y="2748405"/>
              <a:ext cx="543771" cy="269100"/>
            </a:xfrm>
            <a:custGeom>
              <a:avLst/>
              <a:gdLst>
                <a:gd name="T0" fmla="*/ 171 w 1675"/>
                <a:gd name="T1" fmla="*/ 132 h 830"/>
                <a:gd name="T2" fmla="*/ 227 w 1675"/>
                <a:gd name="T3" fmla="*/ 166 h 830"/>
                <a:gd name="T4" fmla="*/ 251 w 1675"/>
                <a:gd name="T5" fmla="*/ 162 h 830"/>
                <a:gd name="T6" fmla="*/ 254 w 1675"/>
                <a:gd name="T7" fmla="*/ 147 h 830"/>
                <a:gd name="T8" fmla="*/ 250 w 1675"/>
                <a:gd name="T9" fmla="*/ 139 h 830"/>
                <a:gd name="T10" fmla="*/ 250 w 1675"/>
                <a:gd name="T11" fmla="*/ 129 h 830"/>
                <a:gd name="T12" fmla="*/ 241 w 1675"/>
                <a:gd name="T13" fmla="*/ 116 h 830"/>
                <a:gd name="T14" fmla="*/ 233 w 1675"/>
                <a:gd name="T15" fmla="*/ 99 h 830"/>
                <a:gd name="T16" fmla="*/ 226 w 1675"/>
                <a:gd name="T17" fmla="*/ 79 h 830"/>
                <a:gd name="T18" fmla="*/ 218 w 1675"/>
                <a:gd name="T19" fmla="*/ 68 h 830"/>
                <a:gd name="T20" fmla="*/ 227 w 1675"/>
                <a:gd name="T21" fmla="*/ 50 h 830"/>
                <a:gd name="T22" fmla="*/ 227 w 1675"/>
                <a:gd name="T23" fmla="*/ 28 h 830"/>
                <a:gd name="T24" fmla="*/ 250 w 1675"/>
                <a:gd name="T25" fmla="*/ 45 h 830"/>
                <a:gd name="T26" fmla="*/ 246 w 1675"/>
                <a:gd name="T27" fmla="*/ 68 h 830"/>
                <a:gd name="T28" fmla="*/ 244 w 1675"/>
                <a:gd name="T29" fmla="*/ 84 h 830"/>
                <a:gd name="T30" fmla="*/ 255 w 1675"/>
                <a:gd name="T31" fmla="*/ 92 h 830"/>
                <a:gd name="T32" fmla="*/ 263 w 1675"/>
                <a:gd name="T33" fmla="*/ 100 h 830"/>
                <a:gd name="T34" fmla="*/ 259 w 1675"/>
                <a:gd name="T35" fmla="*/ 111 h 830"/>
                <a:gd name="T36" fmla="*/ 269 w 1675"/>
                <a:gd name="T37" fmla="*/ 123 h 830"/>
                <a:gd name="T38" fmla="*/ 284 w 1675"/>
                <a:gd name="T39" fmla="*/ 124 h 830"/>
                <a:gd name="T40" fmla="*/ 301 w 1675"/>
                <a:gd name="T41" fmla="*/ 141 h 830"/>
                <a:gd name="T42" fmla="*/ 316 w 1675"/>
                <a:gd name="T43" fmla="*/ 141 h 830"/>
                <a:gd name="T44" fmla="*/ 332 w 1675"/>
                <a:gd name="T45" fmla="*/ 137 h 830"/>
                <a:gd name="T46" fmla="*/ 334 w 1675"/>
                <a:gd name="T47" fmla="*/ 118 h 830"/>
                <a:gd name="T48" fmla="*/ 335 w 1675"/>
                <a:gd name="T49" fmla="*/ 103 h 830"/>
                <a:gd name="T50" fmla="*/ 321 w 1675"/>
                <a:gd name="T51" fmla="*/ 105 h 830"/>
                <a:gd name="T52" fmla="*/ 303 w 1675"/>
                <a:gd name="T53" fmla="*/ 113 h 830"/>
                <a:gd name="T54" fmla="*/ 297 w 1675"/>
                <a:gd name="T55" fmla="*/ 102 h 830"/>
                <a:gd name="T56" fmla="*/ 289 w 1675"/>
                <a:gd name="T57" fmla="*/ 82 h 830"/>
                <a:gd name="T58" fmla="*/ 284 w 1675"/>
                <a:gd name="T59" fmla="*/ 63 h 830"/>
                <a:gd name="T60" fmla="*/ 276 w 1675"/>
                <a:gd name="T61" fmla="*/ 50 h 830"/>
                <a:gd name="T62" fmla="*/ 272 w 1675"/>
                <a:gd name="T63" fmla="*/ 33 h 830"/>
                <a:gd name="T64" fmla="*/ 265 w 1675"/>
                <a:gd name="T65" fmla="*/ 19 h 830"/>
                <a:gd name="T66" fmla="*/ 258 w 1675"/>
                <a:gd name="T67" fmla="*/ 0 h 830"/>
                <a:gd name="T68" fmla="*/ 244 w 1675"/>
                <a:gd name="T69" fmla="*/ 9 h 830"/>
                <a:gd name="T70" fmla="*/ 233 w 1675"/>
                <a:gd name="T71" fmla="*/ 13 h 830"/>
                <a:gd name="T72" fmla="*/ 210 w 1675"/>
                <a:gd name="T73" fmla="*/ 11 h 830"/>
                <a:gd name="T74" fmla="*/ 195 w 1675"/>
                <a:gd name="T75" fmla="*/ 13 h 830"/>
                <a:gd name="T76" fmla="*/ 170 w 1675"/>
                <a:gd name="T77" fmla="*/ 24 h 830"/>
                <a:gd name="T78" fmla="*/ 147 w 1675"/>
                <a:gd name="T79" fmla="*/ 29 h 830"/>
                <a:gd name="T80" fmla="*/ 132 w 1675"/>
                <a:gd name="T81" fmla="*/ 46 h 830"/>
                <a:gd name="T82" fmla="*/ 100 w 1675"/>
                <a:gd name="T83" fmla="*/ 52 h 830"/>
                <a:gd name="T84" fmla="*/ 75 w 1675"/>
                <a:gd name="T85" fmla="*/ 61 h 830"/>
                <a:gd name="T86" fmla="*/ 33 w 1675"/>
                <a:gd name="T87" fmla="*/ 73 h 830"/>
                <a:gd name="T88" fmla="*/ 0 w 1675"/>
                <a:gd name="T89" fmla="*/ 85 h 830"/>
                <a:gd name="T90" fmla="*/ 6 w 1675"/>
                <a:gd name="T91" fmla="*/ 113 h 830"/>
                <a:gd name="T92" fmla="*/ 18 w 1675"/>
                <a:gd name="T93" fmla="*/ 113 h 830"/>
                <a:gd name="T94" fmla="*/ 36 w 1675"/>
                <a:gd name="T95" fmla="*/ 92 h 830"/>
                <a:gd name="T96" fmla="*/ 55 w 1675"/>
                <a:gd name="T97" fmla="*/ 81 h 830"/>
                <a:gd name="T98" fmla="*/ 76 w 1675"/>
                <a:gd name="T99" fmla="*/ 78 h 830"/>
                <a:gd name="T100" fmla="*/ 86 w 1675"/>
                <a:gd name="T101" fmla="*/ 62 h 830"/>
                <a:gd name="T102" fmla="*/ 98 w 1675"/>
                <a:gd name="T103" fmla="*/ 56 h 830"/>
                <a:gd name="T104" fmla="*/ 114 w 1675"/>
                <a:gd name="T105" fmla="*/ 67 h 830"/>
                <a:gd name="T106" fmla="*/ 136 w 1675"/>
                <a:gd name="T107" fmla="*/ 76 h 830"/>
                <a:gd name="T108" fmla="*/ 151 w 1675"/>
                <a:gd name="T109" fmla="*/ 82 h 830"/>
                <a:gd name="T110" fmla="*/ 160 w 1675"/>
                <a:gd name="T111" fmla="*/ 74 h 830"/>
                <a:gd name="T112" fmla="*/ 174 w 1675"/>
                <a:gd name="T113" fmla="*/ 85 h 830"/>
                <a:gd name="T114" fmla="*/ 161 w 1675"/>
                <a:gd name="T115" fmla="*/ 97 h 830"/>
                <a:gd name="T116" fmla="*/ 159 w 1675"/>
                <a:gd name="T117" fmla="*/ 113 h 830"/>
                <a:gd name="T118" fmla="*/ 171 w 1675"/>
                <a:gd name="T119" fmla="*/ 132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75" h="830">
                  <a:moveTo>
                    <a:pt x="853" y="659"/>
                  </a:moveTo>
                  <a:lnTo>
                    <a:pt x="1136" y="830"/>
                  </a:lnTo>
                  <a:lnTo>
                    <a:pt x="1256" y="810"/>
                  </a:lnTo>
                  <a:lnTo>
                    <a:pt x="1269" y="736"/>
                  </a:lnTo>
                  <a:lnTo>
                    <a:pt x="1250" y="697"/>
                  </a:lnTo>
                  <a:lnTo>
                    <a:pt x="1250" y="646"/>
                  </a:lnTo>
                  <a:lnTo>
                    <a:pt x="1205" y="579"/>
                  </a:lnTo>
                  <a:lnTo>
                    <a:pt x="1165" y="494"/>
                  </a:lnTo>
                  <a:lnTo>
                    <a:pt x="1131" y="397"/>
                  </a:lnTo>
                  <a:lnTo>
                    <a:pt x="1091" y="340"/>
                  </a:lnTo>
                  <a:lnTo>
                    <a:pt x="1136" y="251"/>
                  </a:lnTo>
                  <a:lnTo>
                    <a:pt x="1136" y="138"/>
                  </a:lnTo>
                  <a:lnTo>
                    <a:pt x="1250" y="223"/>
                  </a:lnTo>
                  <a:lnTo>
                    <a:pt x="1228" y="340"/>
                  </a:lnTo>
                  <a:lnTo>
                    <a:pt x="1222" y="420"/>
                  </a:lnTo>
                  <a:lnTo>
                    <a:pt x="1273" y="460"/>
                  </a:lnTo>
                  <a:lnTo>
                    <a:pt x="1313" y="499"/>
                  </a:lnTo>
                  <a:lnTo>
                    <a:pt x="1296" y="556"/>
                  </a:lnTo>
                  <a:lnTo>
                    <a:pt x="1347" y="613"/>
                  </a:lnTo>
                  <a:lnTo>
                    <a:pt x="1421" y="619"/>
                  </a:lnTo>
                  <a:lnTo>
                    <a:pt x="1507" y="705"/>
                  </a:lnTo>
                  <a:lnTo>
                    <a:pt x="1581" y="703"/>
                  </a:lnTo>
                  <a:lnTo>
                    <a:pt x="1661" y="686"/>
                  </a:lnTo>
                  <a:lnTo>
                    <a:pt x="1672" y="590"/>
                  </a:lnTo>
                  <a:lnTo>
                    <a:pt x="1675" y="517"/>
                  </a:lnTo>
                  <a:lnTo>
                    <a:pt x="1605" y="527"/>
                  </a:lnTo>
                  <a:lnTo>
                    <a:pt x="1515" y="564"/>
                  </a:lnTo>
                  <a:lnTo>
                    <a:pt x="1484" y="511"/>
                  </a:lnTo>
                  <a:lnTo>
                    <a:pt x="1444" y="408"/>
                  </a:lnTo>
                  <a:lnTo>
                    <a:pt x="1418" y="314"/>
                  </a:lnTo>
                  <a:lnTo>
                    <a:pt x="1381" y="249"/>
                  </a:lnTo>
                  <a:lnTo>
                    <a:pt x="1362" y="163"/>
                  </a:lnTo>
                  <a:lnTo>
                    <a:pt x="1323" y="95"/>
                  </a:lnTo>
                  <a:lnTo>
                    <a:pt x="1288" y="0"/>
                  </a:lnTo>
                  <a:lnTo>
                    <a:pt x="1222" y="45"/>
                  </a:lnTo>
                  <a:lnTo>
                    <a:pt x="1165" y="63"/>
                  </a:lnTo>
                  <a:lnTo>
                    <a:pt x="1051" y="54"/>
                  </a:lnTo>
                  <a:lnTo>
                    <a:pt x="977" y="63"/>
                  </a:lnTo>
                  <a:lnTo>
                    <a:pt x="851" y="119"/>
                  </a:lnTo>
                  <a:lnTo>
                    <a:pt x="735" y="143"/>
                  </a:lnTo>
                  <a:lnTo>
                    <a:pt x="662" y="232"/>
                  </a:lnTo>
                  <a:lnTo>
                    <a:pt x="501" y="260"/>
                  </a:lnTo>
                  <a:lnTo>
                    <a:pt x="376" y="304"/>
                  </a:lnTo>
                  <a:lnTo>
                    <a:pt x="165" y="365"/>
                  </a:lnTo>
                  <a:lnTo>
                    <a:pt x="0" y="423"/>
                  </a:lnTo>
                  <a:lnTo>
                    <a:pt x="29" y="564"/>
                  </a:lnTo>
                  <a:lnTo>
                    <a:pt x="88" y="564"/>
                  </a:lnTo>
                  <a:lnTo>
                    <a:pt x="178" y="461"/>
                  </a:lnTo>
                  <a:lnTo>
                    <a:pt x="277" y="403"/>
                  </a:lnTo>
                  <a:lnTo>
                    <a:pt x="380" y="388"/>
                  </a:lnTo>
                  <a:lnTo>
                    <a:pt x="428" y="308"/>
                  </a:lnTo>
                  <a:lnTo>
                    <a:pt x="491" y="282"/>
                  </a:lnTo>
                  <a:lnTo>
                    <a:pt x="571" y="334"/>
                  </a:lnTo>
                  <a:lnTo>
                    <a:pt x="680" y="378"/>
                  </a:lnTo>
                  <a:lnTo>
                    <a:pt x="754" y="412"/>
                  </a:lnTo>
                  <a:lnTo>
                    <a:pt x="802" y="372"/>
                  </a:lnTo>
                  <a:lnTo>
                    <a:pt x="871" y="424"/>
                  </a:lnTo>
                  <a:lnTo>
                    <a:pt x="805" y="483"/>
                  </a:lnTo>
                  <a:lnTo>
                    <a:pt x="795" y="563"/>
                  </a:lnTo>
                  <a:lnTo>
                    <a:pt x="853" y="659"/>
                  </a:lnTo>
                  <a:close/>
                </a:path>
              </a:pathLst>
            </a:custGeom>
            <a:solidFill>
              <a:srgbClr val="CDC4D6"/>
            </a:solidFill>
            <a:ln w="6350" cmpd="sng">
              <a:noFill/>
              <a:prstDash val="solid"/>
              <a:round/>
              <a:headEnd/>
              <a:tailEnd/>
            </a:ln>
            <a:effectLst/>
          </p:spPr>
          <p:txBody>
            <a:bodyPr/>
            <a:lstStyle/>
            <a:p>
              <a:endParaRPr lang="zh-CN" altLang="en-US" kern="0">
                <a:solidFill>
                  <a:sysClr val="windowText" lastClr="000000"/>
                </a:solidFill>
              </a:endParaRPr>
            </a:p>
          </p:txBody>
        </p:sp>
        <p:sp>
          <p:nvSpPr>
            <p:cNvPr id="1076" name="Maine">
              <a:extLst>
                <a:ext uri="{FF2B5EF4-FFF2-40B4-BE49-F238E27FC236}">
                  <a16:creationId xmlns:a16="http://schemas.microsoft.com/office/drawing/2014/main" id="{7F981D35-005C-DFC3-9321-2A90D8EEB2D6}"/>
                </a:ext>
              </a:extLst>
            </p:cNvPr>
            <p:cNvSpPr>
              <a:spLocks/>
            </p:cNvSpPr>
            <p:nvPr/>
          </p:nvSpPr>
          <p:spPr bwMode="auto">
            <a:xfrm>
              <a:off x="7642918" y="1367242"/>
              <a:ext cx="426902" cy="679234"/>
            </a:xfrm>
            <a:custGeom>
              <a:avLst/>
              <a:gdLst>
                <a:gd name="T0" fmla="*/ 0 w 1386"/>
                <a:gd name="T1" fmla="*/ 249 h 2211"/>
                <a:gd name="T2" fmla="*/ 29 w 1386"/>
                <a:gd name="T3" fmla="*/ 323 h 2211"/>
                <a:gd name="T4" fmla="*/ 64 w 1386"/>
                <a:gd name="T5" fmla="*/ 385 h 2211"/>
                <a:gd name="T6" fmla="*/ 71 w 1386"/>
                <a:gd name="T7" fmla="*/ 411 h 2211"/>
                <a:gd name="T8" fmla="*/ 92 w 1386"/>
                <a:gd name="T9" fmla="*/ 419 h 2211"/>
                <a:gd name="T10" fmla="*/ 109 w 1386"/>
                <a:gd name="T11" fmla="*/ 374 h 2211"/>
                <a:gd name="T12" fmla="*/ 109 w 1386"/>
                <a:gd name="T13" fmla="*/ 351 h 2211"/>
                <a:gd name="T14" fmla="*/ 125 w 1386"/>
                <a:gd name="T15" fmla="*/ 333 h 2211"/>
                <a:gd name="T16" fmla="*/ 143 w 1386"/>
                <a:gd name="T17" fmla="*/ 318 h 2211"/>
                <a:gd name="T18" fmla="*/ 166 w 1386"/>
                <a:gd name="T19" fmla="*/ 289 h 2211"/>
                <a:gd name="T20" fmla="*/ 172 w 1386"/>
                <a:gd name="T21" fmla="*/ 266 h 2211"/>
                <a:gd name="T22" fmla="*/ 164 w 1386"/>
                <a:gd name="T23" fmla="*/ 260 h 2211"/>
                <a:gd name="T24" fmla="*/ 178 w 1386"/>
                <a:gd name="T25" fmla="*/ 245 h 2211"/>
                <a:gd name="T26" fmla="*/ 189 w 1386"/>
                <a:gd name="T27" fmla="*/ 266 h 2211"/>
                <a:gd name="T28" fmla="*/ 195 w 1386"/>
                <a:gd name="T29" fmla="*/ 261 h 2211"/>
                <a:gd name="T30" fmla="*/ 195 w 1386"/>
                <a:gd name="T31" fmla="*/ 232 h 2211"/>
                <a:gd name="T32" fmla="*/ 229 w 1386"/>
                <a:gd name="T33" fmla="*/ 215 h 2211"/>
                <a:gd name="T34" fmla="*/ 245 w 1386"/>
                <a:gd name="T35" fmla="*/ 200 h 2211"/>
                <a:gd name="T36" fmla="*/ 263 w 1386"/>
                <a:gd name="T37" fmla="*/ 181 h 2211"/>
                <a:gd name="T38" fmla="*/ 263 w 1386"/>
                <a:gd name="T39" fmla="*/ 158 h 2211"/>
                <a:gd name="T40" fmla="*/ 248 w 1386"/>
                <a:gd name="T41" fmla="*/ 150 h 2211"/>
                <a:gd name="T42" fmla="*/ 246 w 1386"/>
                <a:gd name="T43" fmla="*/ 136 h 2211"/>
                <a:gd name="T44" fmla="*/ 226 w 1386"/>
                <a:gd name="T45" fmla="*/ 138 h 2211"/>
                <a:gd name="T46" fmla="*/ 212 w 1386"/>
                <a:gd name="T47" fmla="*/ 130 h 2211"/>
                <a:gd name="T48" fmla="*/ 202 w 1386"/>
                <a:gd name="T49" fmla="*/ 114 h 2211"/>
                <a:gd name="T50" fmla="*/ 183 w 1386"/>
                <a:gd name="T51" fmla="*/ 113 h 2211"/>
                <a:gd name="T52" fmla="*/ 170 w 1386"/>
                <a:gd name="T53" fmla="*/ 100 h 2211"/>
                <a:gd name="T54" fmla="*/ 167 w 1386"/>
                <a:gd name="T55" fmla="*/ 76 h 2211"/>
                <a:gd name="T56" fmla="*/ 152 w 1386"/>
                <a:gd name="T57" fmla="*/ 56 h 2211"/>
                <a:gd name="T58" fmla="*/ 144 w 1386"/>
                <a:gd name="T59" fmla="*/ 35 h 2211"/>
                <a:gd name="T60" fmla="*/ 129 w 1386"/>
                <a:gd name="T61" fmla="*/ 0 h 2211"/>
                <a:gd name="T62" fmla="*/ 109 w 1386"/>
                <a:gd name="T63" fmla="*/ 2 h 2211"/>
                <a:gd name="T64" fmla="*/ 90 w 1386"/>
                <a:gd name="T65" fmla="*/ 2 h 2211"/>
                <a:gd name="T66" fmla="*/ 70 w 1386"/>
                <a:gd name="T67" fmla="*/ 24 h 2211"/>
                <a:gd name="T68" fmla="*/ 52 w 1386"/>
                <a:gd name="T69" fmla="*/ 33 h 2211"/>
                <a:gd name="T70" fmla="*/ 35 w 1386"/>
                <a:gd name="T71" fmla="*/ 23 h 2211"/>
                <a:gd name="T72" fmla="*/ 30 w 1386"/>
                <a:gd name="T73" fmla="*/ 11 h 2211"/>
                <a:gd name="T74" fmla="*/ 15 w 1386"/>
                <a:gd name="T75" fmla="*/ 41 h 2211"/>
                <a:gd name="T76" fmla="*/ 21 w 1386"/>
                <a:gd name="T77" fmla="*/ 56 h 2211"/>
                <a:gd name="T78" fmla="*/ 18 w 1386"/>
                <a:gd name="T79" fmla="*/ 74 h 2211"/>
                <a:gd name="T80" fmla="*/ 11 w 1386"/>
                <a:gd name="T81" fmla="*/ 104 h 2211"/>
                <a:gd name="T82" fmla="*/ 15 w 1386"/>
                <a:gd name="T83" fmla="*/ 133 h 2211"/>
                <a:gd name="T84" fmla="*/ 24 w 1386"/>
                <a:gd name="T85" fmla="*/ 163 h 2211"/>
                <a:gd name="T86" fmla="*/ 18 w 1386"/>
                <a:gd name="T87" fmla="*/ 187 h 2211"/>
                <a:gd name="T88" fmla="*/ 11 w 1386"/>
                <a:gd name="T89" fmla="*/ 224 h 2211"/>
                <a:gd name="T90" fmla="*/ 0 w 1386"/>
                <a:gd name="T91" fmla="*/ 249 h 2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86" h="2211">
                  <a:moveTo>
                    <a:pt x="0" y="1313"/>
                  </a:moveTo>
                  <a:lnTo>
                    <a:pt x="153" y="1703"/>
                  </a:lnTo>
                  <a:lnTo>
                    <a:pt x="337" y="2030"/>
                  </a:lnTo>
                  <a:lnTo>
                    <a:pt x="373" y="2169"/>
                  </a:lnTo>
                  <a:lnTo>
                    <a:pt x="483" y="2211"/>
                  </a:lnTo>
                  <a:lnTo>
                    <a:pt x="576" y="1976"/>
                  </a:lnTo>
                  <a:lnTo>
                    <a:pt x="577" y="1853"/>
                  </a:lnTo>
                  <a:lnTo>
                    <a:pt x="657" y="1757"/>
                  </a:lnTo>
                  <a:lnTo>
                    <a:pt x="753" y="1677"/>
                  </a:lnTo>
                  <a:lnTo>
                    <a:pt x="876" y="1526"/>
                  </a:lnTo>
                  <a:lnTo>
                    <a:pt x="906" y="1406"/>
                  </a:lnTo>
                  <a:lnTo>
                    <a:pt x="865" y="1373"/>
                  </a:lnTo>
                  <a:lnTo>
                    <a:pt x="937" y="1293"/>
                  </a:lnTo>
                  <a:lnTo>
                    <a:pt x="996" y="1406"/>
                  </a:lnTo>
                  <a:lnTo>
                    <a:pt x="1026" y="1376"/>
                  </a:lnTo>
                  <a:lnTo>
                    <a:pt x="1026" y="1226"/>
                  </a:lnTo>
                  <a:lnTo>
                    <a:pt x="1206" y="1136"/>
                  </a:lnTo>
                  <a:lnTo>
                    <a:pt x="1289" y="1056"/>
                  </a:lnTo>
                  <a:lnTo>
                    <a:pt x="1386" y="956"/>
                  </a:lnTo>
                  <a:lnTo>
                    <a:pt x="1386" y="836"/>
                  </a:lnTo>
                  <a:lnTo>
                    <a:pt x="1305" y="792"/>
                  </a:lnTo>
                  <a:lnTo>
                    <a:pt x="1296" y="716"/>
                  </a:lnTo>
                  <a:lnTo>
                    <a:pt x="1193" y="728"/>
                  </a:lnTo>
                  <a:lnTo>
                    <a:pt x="1116" y="686"/>
                  </a:lnTo>
                  <a:lnTo>
                    <a:pt x="1065" y="600"/>
                  </a:lnTo>
                  <a:lnTo>
                    <a:pt x="966" y="596"/>
                  </a:lnTo>
                  <a:lnTo>
                    <a:pt x="897" y="528"/>
                  </a:lnTo>
                  <a:lnTo>
                    <a:pt x="881" y="400"/>
                  </a:lnTo>
                  <a:lnTo>
                    <a:pt x="801" y="296"/>
                  </a:lnTo>
                  <a:lnTo>
                    <a:pt x="761" y="184"/>
                  </a:lnTo>
                  <a:lnTo>
                    <a:pt x="681" y="0"/>
                  </a:lnTo>
                  <a:lnTo>
                    <a:pt x="577" y="8"/>
                  </a:lnTo>
                  <a:lnTo>
                    <a:pt x="473" y="8"/>
                  </a:lnTo>
                  <a:lnTo>
                    <a:pt x="369" y="128"/>
                  </a:lnTo>
                  <a:lnTo>
                    <a:pt x="276" y="176"/>
                  </a:lnTo>
                  <a:lnTo>
                    <a:pt x="185" y="120"/>
                  </a:lnTo>
                  <a:lnTo>
                    <a:pt x="156" y="56"/>
                  </a:lnTo>
                  <a:lnTo>
                    <a:pt x="81" y="216"/>
                  </a:lnTo>
                  <a:lnTo>
                    <a:pt x="113" y="296"/>
                  </a:lnTo>
                  <a:lnTo>
                    <a:pt x="97" y="392"/>
                  </a:lnTo>
                  <a:lnTo>
                    <a:pt x="57" y="549"/>
                  </a:lnTo>
                  <a:lnTo>
                    <a:pt x="81" y="704"/>
                  </a:lnTo>
                  <a:lnTo>
                    <a:pt x="129" y="861"/>
                  </a:lnTo>
                  <a:lnTo>
                    <a:pt x="96" y="986"/>
                  </a:lnTo>
                  <a:lnTo>
                    <a:pt x="57" y="1184"/>
                  </a:lnTo>
                  <a:lnTo>
                    <a:pt x="0" y="1313"/>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77" name="Lousiana">
              <a:extLst>
                <a:ext uri="{FF2B5EF4-FFF2-40B4-BE49-F238E27FC236}">
                  <a16:creationId xmlns:a16="http://schemas.microsoft.com/office/drawing/2014/main" id="{2EC94AF1-B4F5-F799-0D8C-783C4088AE74}"/>
                </a:ext>
              </a:extLst>
            </p:cNvPr>
            <p:cNvSpPr>
              <a:spLocks/>
            </p:cNvSpPr>
            <p:nvPr/>
          </p:nvSpPr>
          <p:spPr bwMode="auto">
            <a:xfrm>
              <a:off x="5354208" y="4220348"/>
              <a:ext cx="715830" cy="603043"/>
            </a:xfrm>
            <a:custGeom>
              <a:avLst/>
              <a:gdLst>
                <a:gd name="T0" fmla="*/ 54 w 2329"/>
                <a:gd name="T1" fmla="*/ 9 h 1959"/>
                <a:gd name="T2" fmla="*/ 187 w 2329"/>
                <a:gd name="T3" fmla="*/ 6 h 1959"/>
                <a:gd name="T4" fmla="*/ 240 w 2329"/>
                <a:gd name="T5" fmla="*/ 21 h 1959"/>
                <a:gd name="T6" fmla="*/ 242 w 2329"/>
                <a:gd name="T7" fmla="*/ 48 h 1959"/>
                <a:gd name="T8" fmla="*/ 237 w 2329"/>
                <a:gd name="T9" fmla="*/ 80 h 1959"/>
                <a:gd name="T10" fmla="*/ 218 w 2329"/>
                <a:gd name="T11" fmla="*/ 128 h 1959"/>
                <a:gd name="T12" fmla="*/ 214 w 2329"/>
                <a:gd name="T13" fmla="*/ 176 h 1959"/>
                <a:gd name="T14" fmla="*/ 298 w 2329"/>
                <a:gd name="T15" fmla="*/ 177 h 1959"/>
                <a:gd name="T16" fmla="*/ 352 w 2329"/>
                <a:gd name="T17" fmla="*/ 166 h 1959"/>
                <a:gd name="T18" fmla="*/ 364 w 2329"/>
                <a:gd name="T19" fmla="*/ 190 h 1959"/>
                <a:gd name="T20" fmla="*/ 374 w 2329"/>
                <a:gd name="T21" fmla="*/ 216 h 1959"/>
                <a:gd name="T22" fmla="*/ 384 w 2329"/>
                <a:gd name="T23" fmla="*/ 239 h 1959"/>
                <a:gd name="T24" fmla="*/ 339 w 2329"/>
                <a:gd name="T25" fmla="*/ 222 h 1959"/>
                <a:gd name="T26" fmla="*/ 319 w 2329"/>
                <a:gd name="T27" fmla="*/ 252 h 1959"/>
                <a:gd name="T28" fmla="*/ 342 w 2329"/>
                <a:gd name="T29" fmla="*/ 264 h 1959"/>
                <a:gd name="T30" fmla="*/ 373 w 2329"/>
                <a:gd name="T31" fmla="*/ 250 h 1959"/>
                <a:gd name="T32" fmla="*/ 384 w 2329"/>
                <a:gd name="T33" fmla="*/ 259 h 1959"/>
                <a:gd name="T34" fmla="*/ 405 w 2329"/>
                <a:gd name="T35" fmla="*/ 254 h 1959"/>
                <a:gd name="T36" fmla="*/ 427 w 2329"/>
                <a:gd name="T37" fmla="*/ 267 h 1959"/>
                <a:gd name="T38" fmla="*/ 410 w 2329"/>
                <a:gd name="T39" fmla="*/ 292 h 1959"/>
                <a:gd name="T40" fmla="*/ 436 w 2329"/>
                <a:gd name="T41" fmla="*/ 320 h 1959"/>
                <a:gd name="T42" fmla="*/ 425 w 2329"/>
                <a:gd name="T43" fmla="*/ 362 h 1959"/>
                <a:gd name="T44" fmla="*/ 396 w 2329"/>
                <a:gd name="T45" fmla="*/ 333 h 1959"/>
                <a:gd name="T46" fmla="*/ 369 w 2329"/>
                <a:gd name="T47" fmla="*/ 320 h 1959"/>
                <a:gd name="T48" fmla="*/ 327 w 2329"/>
                <a:gd name="T49" fmla="*/ 296 h 1959"/>
                <a:gd name="T50" fmla="*/ 357 w 2329"/>
                <a:gd name="T51" fmla="*/ 341 h 1959"/>
                <a:gd name="T52" fmla="*/ 333 w 2329"/>
                <a:gd name="T53" fmla="*/ 361 h 1959"/>
                <a:gd name="T54" fmla="*/ 302 w 2329"/>
                <a:gd name="T55" fmla="*/ 353 h 1959"/>
                <a:gd name="T56" fmla="*/ 266 w 2329"/>
                <a:gd name="T57" fmla="*/ 369 h 1959"/>
                <a:gd name="T58" fmla="*/ 257 w 2329"/>
                <a:gd name="T59" fmla="*/ 342 h 1959"/>
                <a:gd name="T60" fmla="*/ 248 w 2329"/>
                <a:gd name="T61" fmla="*/ 298 h 1959"/>
                <a:gd name="T62" fmla="*/ 242 w 2329"/>
                <a:gd name="T63" fmla="*/ 330 h 1959"/>
                <a:gd name="T64" fmla="*/ 201 w 2329"/>
                <a:gd name="T65" fmla="*/ 309 h 1959"/>
                <a:gd name="T66" fmla="*/ 171 w 2329"/>
                <a:gd name="T67" fmla="*/ 336 h 1959"/>
                <a:gd name="T68" fmla="*/ 119 w 2329"/>
                <a:gd name="T69" fmla="*/ 326 h 1959"/>
                <a:gd name="T70" fmla="*/ 74 w 2329"/>
                <a:gd name="T71" fmla="*/ 330 h 1959"/>
                <a:gd name="T72" fmla="*/ 44 w 2329"/>
                <a:gd name="T73" fmla="*/ 284 h 1959"/>
                <a:gd name="T74" fmla="*/ 56 w 2329"/>
                <a:gd name="T75" fmla="*/ 215 h 1959"/>
                <a:gd name="T76" fmla="*/ 30 w 2329"/>
                <a:gd name="T77" fmla="*/ 146 h 1959"/>
                <a:gd name="T78" fmla="*/ 0 w 2329"/>
                <a:gd name="T79" fmla="*/ 93 h 1959"/>
                <a:gd name="T80" fmla="*/ 0 w 2329"/>
                <a:gd name="T81" fmla="*/ 50 h 19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9" h="1959">
                  <a:moveTo>
                    <a:pt x="16" y="123"/>
                  </a:moveTo>
                  <a:lnTo>
                    <a:pt x="283" y="48"/>
                  </a:lnTo>
                  <a:lnTo>
                    <a:pt x="694" y="33"/>
                  </a:lnTo>
                  <a:lnTo>
                    <a:pt x="988" y="32"/>
                  </a:lnTo>
                  <a:lnTo>
                    <a:pt x="1216" y="0"/>
                  </a:lnTo>
                  <a:lnTo>
                    <a:pt x="1267" y="108"/>
                  </a:lnTo>
                  <a:lnTo>
                    <a:pt x="1309" y="177"/>
                  </a:lnTo>
                  <a:lnTo>
                    <a:pt x="1279" y="252"/>
                  </a:lnTo>
                  <a:lnTo>
                    <a:pt x="1309" y="327"/>
                  </a:lnTo>
                  <a:lnTo>
                    <a:pt x="1249" y="420"/>
                  </a:lnTo>
                  <a:lnTo>
                    <a:pt x="1249" y="537"/>
                  </a:lnTo>
                  <a:lnTo>
                    <a:pt x="1153" y="672"/>
                  </a:lnTo>
                  <a:lnTo>
                    <a:pt x="1129" y="807"/>
                  </a:lnTo>
                  <a:lnTo>
                    <a:pt x="1129" y="927"/>
                  </a:lnTo>
                  <a:lnTo>
                    <a:pt x="1339" y="927"/>
                  </a:lnTo>
                  <a:lnTo>
                    <a:pt x="1573" y="930"/>
                  </a:lnTo>
                  <a:lnTo>
                    <a:pt x="1729" y="897"/>
                  </a:lnTo>
                  <a:lnTo>
                    <a:pt x="1861" y="876"/>
                  </a:lnTo>
                  <a:lnTo>
                    <a:pt x="1939" y="897"/>
                  </a:lnTo>
                  <a:lnTo>
                    <a:pt x="1921" y="1002"/>
                  </a:lnTo>
                  <a:lnTo>
                    <a:pt x="1939" y="1047"/>
                  </a:lnTo>
                  <a:lnTo>
                    <a:pt x="1975" y="1137"/>
                  </a:lnTo>
                  <a:lnTo>
                    <a:pt x="2035" y="1215"/>
                  </a:lnTo>
                  <a:lnTo>
                    <a:pt x="2029" y="1257"/>
                  </a:lnTo>
                  <a:lnTo>
                    <a:pt x="1909" y="1209"/>
                  </a:lnTo>
                  <a:lnTo>
                    <a:pt x="1789" y="1167"/>
                  </a:lnTo>
                  <a:lnTo>
                    <a:pt x="1609" y="1257"/>
                  </a:lnTo>
                  <a:lnTo>
                    <a:pt x="1687" y="1329"/>
                  </a:lnTo>
                  <a:lnTo>
                    <a:pt x="1729" y="1497"/>
                  </a:lnTo>
                  <a:lnTo>
                    <a:pt x="1807" y="1392"/>
                  </a:lnTo>
                  <a:lnTo>
                    <a:pt x="1867" y="1299"/>
                  </a:lnTo>
                  <a:lnTo>
                    <a:pt x="1969" y="1317"/>
                  </a:lnTo>
                  <a:lnTo>
                    <a:pt x="1969" y="1377"/>
                  </a:lnTo>
                  <a:lnTo>
                    <a:pt x="2029" y="1362"/>
                  </a:lnTo>
                  <a:lnTo>
                    <a:pt x="2071" y="1314"/>
                  </a:lnTo>
                  <a:lnTo>
                    <a:pt x="2137" y="1338"/>
                  </a:lnTo>
                  <a:lnTo>
                    <a:pt x="2209" y="1347"/>
                  </a:lnTo>
                  <a:lnTo>
                    <a:pt x="2257" y="1407"/>
                  </a:lnTo>
                  <a:lnTo>
                    <a:pt x="2209" y="1470"/>
                  </a:lnTo>
                  <a:lnTo>
                    <a:pt x="2167" y="1536"/>
                  </a:lnTo>
                  <a:lnTo>
                    <a:pt x="2179" y="1647"/>
                  </a:lnTo>
                  <a:lnTo>
                    <a:pt x="2305" y="1683"/>
                  </a:lnTo>
                  <a:lnTo>
                    <a:pt x="2329" y="1797"/>
                  </a:lnTo>
                  <a:lnTo>
                    <a:pt x="2245" y="1905"/>
                  </a:lnTo>
                  <a:lnTo>
                    <a:pt x="2161" y="1815"/>
                  </a:lnTo>
                  <a:lnTo>
                    <a:pt x="2089" y="1755"/>
                  </a:lnTo>
                  <a:lnTo>
                    <a:pt x="2011" y="1731"/>
                  </a:lnTo>
                  <a:lnTo>
                    <a:pt x="1951" y="1683"/>
                  </a:lnTo>
                  <a:lnTo>
                    <a:pt x="1789" y="1557"/>
                  </a:lnTo>
                  <a:lnTo>
                    <a:pt x="1729" y="1557"/>
                  </a:lnTo>
                  <a:lnTo>
                    <a:pt x="1837" y="1689"/>
                  </a:lnTo>
                  <a:lnTo>
                    <a:pt x="1885" y="1797"/>
                  </a:lnTo>
                  <a:lnTo>
                    <a:pt x="1825" y="1875"/>
                  </a:lnTo>
                  <a:lnTo>
                    <a:pt x="1759" y="1902"/>
                  </a:lnTo>
                  <a:lnTo>
                    <a:pt x="1705" y="1857"/>
                  </a:lnTo>
                  <a:lnTo>
                    <a:pt x="1597" y="1857"/>
                  </a:lnTo>
                  <a:lnTo>
                    <a:pt x="1537" y="1959"/>
                  </a:lnTo>
                  <a:lnTo>
                    <a:pt x="1405" y="1944"/>
                  </a:lnTo>
                  <a:lnTo>
                    <a:pt x="1369" y="1905"/>
                  </a:lnTo>
                  <a:lnTo>
                    <a:pt x="1357" y="1803"/>
                  </a:lnTo>
                  <a:lnTo>
                    <a:pt x="1399" y="1647"/>
                  </a:lnTo>
                  <a:lnTo>
                    <a:pt x="1309" y="1569"/>
                  </a:lnTo>
                  <a:lnTo>
                    <a:pt x="1321" y="1647"/>
                  </a:lnTo>
                  <a:lnTo>
                    <a:pt x="1279" y="1737"/>
                  </a:lnTo>
                  <a:lnTo>
                    <a:pt x="1177" y="1659"/>
                  </a:lnTo>
                  <a:lnTo>
                    <a:pt x="1063" y="1626"/>
                  </a:lnTo>
                  <a:lnTo>
                    <a:pt x="949" y="1677"/>
                  </a:lnTo>
                  <a:lnTo>
                    <a:pt x="901" y="1770"/>
                  </a:lnTo>
                  <a:lnTo>
                    <a:pt x="769" y="1797"/>
                  </a:lnTo>
                  <a:lnTo>
                    <a:pt x="631" y="1719"/>
                  </a:lnTo>
                  <a:lnTo>
                    <a:pt x="469" y="1677"/>
                  </a:lnTo>
                  <a:lnTo>
                    <a:pt x="391" y="1737"/>
                  </a:lnTo>
                  <a:lnTo>
                    <a:pt x="241" y="1751"/>
                  </a:lnTo>
                  <a:lnTo>
                    <a:pt x="234" y="1496"/>
                  </a:lnTo>
                  <a:lnTo>
                    <a:pt x="211" y="1214"/>
                  </a:lnTo>
                  <a:lnTo>
                    <a:pt x="297" y="1130"/>
                  </a:lnTo>
                  <a:lnTo>
                    <a:pt x="258" y="932"/>
                  </a:lnTo>
                  <a:lnTo>
                    <a:pt x="156" y="770"/>
                  </a:lnTo>
                  <a:lnTo>
                    <a:pt x="73" y="681"/>
                  </a:lnTo>
                  <a:lnTo>
                    <a:pt x="0" y="491"/>
                  </a:lnTo>
                  <a:lnTo>
                    <a:pt x="18" y="389"/>
                  </a:lnTo>
                  <a:lnTo>
                    <a:pt x="1" y="263"/>
                  </a:lnTo>
                  <a:lnTo>
                    <a:pt x="16" y="123"/>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78" name="Kentucky">
              <a:extLst>
                <a:ext uri="{FF2B5EF4-FFF2-40B4-BE49-F238E27FC236}">
                  <a16:creationId xmlns:a16="http://schemas.microsoft.com/office/drawing/2014/main" id="{AFCF8CA2-EFE4-41D0-8A4A-CAFF93AD0EDF}"/>
                </a:ext>
              </a:extLst>
            </p:cNvPr>
            <p:cNvSpPr>
              <a:spLocks/>
            </p:cNvSpPr>
            <p:nvPr/>
          </p:nvSpPr>
          <p:spPr bwMode="auto">
            <a:xfrm>
              <a:off x="5881748" y="3126117"/>
              <a:ext cx="844064" cy="504156"/>
            </a:xfrm>
            <a:custGeom>
              <a:avLst/>
              <a:gdLst>
                <a:gd name="T0" fmla="*/ 0 w 2741"/>
                <a:gd name="T1" fmla="*/ 264 h 1641"/>
                <a:gd name="T2" fmla="*/ 19 w 2741"/>
                <a:gd name="T3" fmla="*/ 275 h 1641"/>
                <a:gd name="T4" fmla="*/ 22 w 2741"/>
                <a:gd name="T5" fmla="*/ 308 h 1641"/>
                <a:gd name="T6" fmla="*/ 45 w 2741"/>
                <a:gd name="T7" fmla="*/ 311 h 1641"/>
                <a:gd name="T8" fmla="*/ 66 w 2741"/>
                <a:gd name="T9" fmla="*/ 305 h 1641"/>
                <a:gd name="T10" fmla="*/ 93 w 2741"/>
                <a:gd name="T11" fmla="*/ 304 h 1641"/>
                <a:gd name="T12" fmla="*/ 124 w 2741"/>
                <a:gd name="T13" fmla="*/ 292 h 1641"/>
                <a:gd name="T14" fmla="*/ 155 w 2741"/>
                <a:gd name="T15" fmla="*/ 279 h 1641"/>
                <a:gd name="T16" fmla="*/ 189 w 2741"/>
                <a:gd name="T17" fmla="*/ 280 h 1641"/>
                <a:gd name="T18" fmla="*/ 240 w 2741"/>
                <a:gd name="T19" fmla="*/ 264 h 1641"/>
                <a:gd name="T20" fmla="*/ 313 w 2741"/>
                <a:gd name="T21" fmla="*/ 250 h 1641"/>
                <a:gd name="T22" fmla="*/ 357 w 2741"/>
                <a:gd name="T23" fmla="*/ 244 h 1641"/>
                <a:gd name="T24" fmla="*/ 412 w 2741"/>
                <a:gd name="T25" fmla="*/ 235 h 1641"/>
                <a:gd name="T26" fmla="*/ 456 w 2741"/>
                <a:gd name="T27" fmla="*/ 222 h 1641"/>
                <a:gd name="T28" fmla="*/ 513 w 2741"/>
                <a:gd name="T29" fmla="*/ 209 h 1641"/>
                <a:gd name="T30" fmla="*/ 518 w 2741"/>
                <a:gd name="T31" fmla="*/ 193 h 1641"/>
                <a:gd name="T32" fmla="*/ 507 w 2741"/>
                <a:gd name="T33" fmla="*/ 165 h 1641"/>
                <a:gd name="T34" fmla="*/ 518 w 2741"/>
                <a:gd name="T35" fmla="*/ 145 h 1641"/>
                <a:gd name="T36" fmla="*/ 520 w 2741"/>
                <a:gd name="T37" fmla="*/ 121 h 1641"/>
                <a:gd name="T38" fmla="*/ 517 w 2741"/>
                <a:gd name="T39" fmla="*/ 97 h 1641"/>
                <a:gd name="T40" fmla="*/ 496 w 2741"/>
                <a:gd name="T41" fmla="*/ 80 h 1641"/>
                <a:gd name="T42" fmla="*/ 493 w 2741"/>
                <a:gd name="T43" fmla="*/ 47 h 1641"/>
                <a:gd name="T44" fmla="*/ 482 w 2741"/>
                <a:gd name="T45" fmla="*/ 34 h 1641"/>
                <a:gd name="T46" fmla="*/ 469 w 2741"/>
                <a:gd name="T47" fmla="*/ 19 h 1641"/>
                <a:gd name="T48" fmla="*/ 445 w 2741"/>
                <a:gd name="T49" fmla="*/ 0 h 1641"/>
                <a:gd name="T50" fmla="*/ 430 w 2741"/>
                <a:gd name="T51" fmla="*/ 16 h 1641"/>
                <a:gd name="T52" fmla="*/ 409 w 2741"/>
                <a:gd name="T53" fmla="*/ 23 h 1641"/>
                <a:gd name="T54" fmla="*/ 375 w 2741"/>
                <a:gd name="T55" fmla="*/ 23 h 1641"/>
                <a:gd name="T56" fmla="*/ 344 w 2741"/>
                <a:gd name="T57" fmla="*/ 20 h 1641"/>
                <a:gd name="T58" fmla="*/ 313 w 2741"/>
                <a:gd name="T59" fmla="*/ 0 h 1641"/>
                <a:gd name="T60" fmla="*/ 307 w 2741"/>
                <a:gd name="T61" fmla="*/ 26 h 1641"/>
                <a:gd name="T62" fmla="*/ 315 w 2741"/>
                <a:gd name="T63" fmla="*/ 46 h 1641"/>
                <a:gd name="T64" fmla="*/ 280 w 2741"/>
                <a:gd name="T65" fmla="*/ 52 h 1641"/>
                <a:gd name="T66" fmla="*/ 257 w 2741"/>
                <a:gd name="T67" fmla="*/ 65 h 1641"/>
                <a:gd name="T68" fmla="*/ 257 w 2741"/>
                <a:gd name="T69" fmla="*/ 87 h 1641"/>
                <a:gd name="T70" fmla="*/ 241 w 2741"/>
                <a:gd name="T71" fmla="*/ 111 h 1641"/>
                <a:gd name="T72" fmla="*/ 223 w 2741"/>
                <a:gd name="T73" fmla="*/ 136 h 1641"/>
                <a:gd name="T74" fmla="*/ 196 w 2741"/>
                <a:gd name="T75" fmla="*/ 129 h 1641"/>
                <a:gd name="T76" fmla="*/ 188 w 2741"/>
                <a:gd name="T77" fmla="*/ 148 h 1641"/>
                <a:gd name="T78" fmla="*/ 165 w 2741"/>
                <a:gd name="T79" fmla="*/ 159 h 1641"/>
                <a:gd name="T80" fmla="*/ 145 w 2741"/>
                <a:gd name="T81" fmla="*/ 178 h 1641"/>
                <a:gd name="T82" fmla="*/ 126 w 2741"/>
                <a:gd name="T83" fmla="*/ 165 h 1641"/>
                <a:gd name="T84" fmla="*/ 111 w 2741"/>
                <a:gd name="T85" fmla="*/ 179 h 1641"/>
                <a:gd name="T86" fmla="*/ 89 w 2741"/>
                <a:gd name="T87" fmla="*/ 190 h 1641"/>
                <a:gd name="T88" fmla="*/ 91 w 2741"/>
                <a:gd name="T89" fmla="*/ 210 h 1641"/>
                <a:gd name="T90" fmla="*/ 78 w 2741"/>
                <a:gd name="T91" fmla="*/ 225 h 1641"/>
                <a:gd name="T92" fmla="*/ 60 w 2741"/>
                <a:gd name="T93" fmla="*/ 237 h 1641"/>
                <a:gd name="T94" fmla="*/ 40 w 2741"/>
                <a:gd name="T95" fmla="*/ 248 h 1641"/>
                <a:gd name="T96" fmla="*/ 0 w 2741"/>
                <a:gd name="T97" fmla="*/ 264 h 1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741" h="1641">
                  <a:moveTo>
                    <a:pt x="0" y="1394"/>
                  </a:moveTo>
                  <a:lnTo>
                    <a:pt x="100" y="1452"/>
                  </a:lnTo>
                  <a:lnTo>
                    <a:pt x="117" y="1626"/>
                  </a:lnTo>
                  <a:lnTo>
                    <a:pt x="237" y="1641"/>
                  </a:lnTo>
                  <a:lnTo>
                    <a:pt x="350" y="1611"/>
                  </a:lnTo>
                  <a:lnTo>
                    <a:pt x="488" y="1605"/>
                  </a:lnTo>
                  <a:lnTo>
                    <a:pt x="656" y="1539"/>
                  </a:lnTo>
                  <a:lnTo>
                    <a:pt x="818" y="1473"/>
                  </a:lnTo>
                  <a:lnTo>
                    <a:pt x="998" y="1479"/>
                  </a:lnTo>
                  <a:lnTo>
                    <a:pt x="1267" y="1395"/>
                  </a:lnTo>
                  <a:lnTo>
                    <a:pt x="1651" y="1317"/>
                  </a:lnTo>
                  <a:lnTo>
                    <a:pt x="1884" y="1287"/>
                  </a:lnTo>
                  <a:lnTo>
                    <a:pt x="2172" y="1239"/>
                  </a:lnTo>
                  <a:lnTo>
                    <a:pt x="2402" y="1172"/>
                  </a:lnTo>
                  <a:lnTo>
                    <a:pt x="2705" y="1101"/>
                  </a:lnTo>
                  <a:lnTo>
                    <a:pt x="2729" y="1017"/>
                  </a:lnTo>
                  <a:lnTo>
                    <a:pt x="2672" y="872"/>
                  </a:lnTo>
                  <a:lnTo>
                    <a:pt x="2729" y="765"/>
                  </a:lnTo>
                  <a:lnTo>
                    <a:pt x="2741" y="639"/>
                  </a:lnTo>
                  <a:lnTo>
                    <a:pt x="2723" y="513"/>
                  </a:lnTo>
                  <a:lnTo>
                    <a:pt x="2615" y="423"/>
                  </a:lnTo>
                  <a:lnTo>
                    <a:pt x="2597" y="249"/>
                  </a:lnTo>
                  <a:lnTo>
                    <a:pt x="2540" y="182"/>
                  </a:lnTo>
                  <a:lnTo>
                    <a:pt x="2470" y="99"/>
                  </a:lnTo>
                  <a:lnTo>
                    <a:pt x="2347" y="2"/>
                  </a:lnTo>
                  <a:lnTo>
                    <a:pt x="2266" y="87"/>
                  </a:lnTo>
                  <a:lnTo>
                    <a:pt x="2154" y="123"/>
                  </a:lnTo>
                  <a:lnTo>
                    <a:pt x="1976" y="123"/>
                  </a:lnTo>
                  <a:lnTo>
                    <a:pt x="1813" y="107"/>
                  </a:lnTo>
                  <a:lnTo>
                    <a:pt x="1651" y="0"/>
                  </a:lnTo>
                  <a:lnTo>
                    <a:pt x="1620" y="138"/>
                  </a:lnTo>
                  <a:lnTo>
                    <a:pt x="1659" y="242"/>
                  </a:lnTo>
                  <a:lnTo>
                    <a:pt x="1476" y="272"/>
                  </a:lnTo>
                  <a:lnTo>
                    <a:pt x="1357" y="344"/>
                  </a:lnTo>
                  <a:lnTo>
                    <a:pt x="1356" y="458"/>
                  </a:lnTo>
                  <a:lnTo>
                    <a:pt x="1269" y="588"/>
                  </a:lnTo>
                  <a:lnTo>
                    <a:pt x="1173" y="717"/>
                  </a:lnTo>
                  <a:lnTo>
                    <a:pt x="1035" y="681"/>
                  </a:lnTo>
                  <a:lnTo>
                    <a:pt x="992" y="780"/>
                  </a:lnTo>
                  <a:lnTo>
                    <a:pt x="871" y="837"/>
                  </a:lnTo>
                  <a:lnTo>
                    <a:pt x="766" y="938"/>
                  </a:lnTo>
                  <a:lnTo>
                    <a:pt x="662" y="870"/>
                  </a:lnTo>
                  <a:lnTo>
                    <a:pt x="583" y="944"/>
                  </a:lnTo>
                  <a:lnTo>
                    <a:pt x="471" y="1005"/>
                  </a:lnTo>
                  <a:lnTo>
                    <a:pt x="479" y="1106"/>
                  </a:lnTo>
                  <a:lnTo>
                    <a:pt x="409" y="1185"/>
                  </a:lnTo>
                  <a:lnTo>
                    <a:pt x="315" y="1250"/>
                  </a:lnTo>
                  <a:lnTo>
                    <a:pt x="213" y="1307"/>
                  </a:lnTo>
                  <a:lnTo>
                    <a:pt x="0" y="1394"/>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79" name="Kansas">
              <a:extLst>
                <a:ext uri="{FF2B5EF4-FFF2-40B4-BE49-F238E27FC236}">
                  <a16:creationId xmlns:a16="http://schemas.microsoft.com/office/drawing/2014/main" id="{6DC4E26F-9F5B-C1F6-D34E-55CDCAF61CBD}"/>
                </a:ext>
              </a:extLst>
            </p:cNvPr>
            <p:cNvSpPr>
              <a:spLocks/>
            </p:cNvSpPr>
            <p:nvPr/>
          </p:nvSpPr>
          <p:spPr bwMode="auto">
            <a:xfrm>
              <a:off x="4294260" y="3194203"/>
              <a:ext cx="933339" cy="505778"/>
            </a:xfrm>
            <a:custGeom>
              <a:avLst/>
              <a:gdLst>
                <a:gd name="T0" fmla="*/ 12 w 3036"/>
                <a:gd name="T1" fmla="*/ 11 h 1646"/>
                <a:gd name="T2" fmla="*/ 0 w 3036"/>
                <a:gd name="T3" fmla="*/ 93 h 1646"/>
                <a:gd name="T4" fmla="*/ 2 w 3036"/>
                <a:gd name="T5" fmla="*/ 311 h 1646"/>
                <a:gd name="T6" fmla="*/ 265 w 3036"/>
                <a:gd name="T7" fmla="*/ 312 h 1646"/>
                <a:gd name="T8" fmla="*/ 435 w 3036"/>
                <a:gd name="T9" fmla="*/ 298 h 1646"/>
                <a:gd name="T10" fmla="*/ 575 w 3036"/>
                <a:gd name="T11" fmla="*/ 286 h 1646"/>
                <a:gd name="T12" fmla="*/ 575 w 3036"/>
                <a:gd name="T13" fmla="*/ 251 h 1646"/>
                <a:gd name="T14" fmla="*/ 570 w 3036"/>
                <a:gd name="T15" fmla="*/ 198 h 1646"/>
                <a:gd name="T16" fmla="*/ 570 w 3036"/>
                <a:gd name="T17" fmla="*/ 135 h 1646"/>
                <a:gd name="T18" fmla="*/ 566 w 3036"/>
                <a:gd name="T19" fmla="*/ 87 h 1646"/>
                <a:gd name="T20" fmla="*/ 542 w 3036"/>
                <a:gd name="T21" fmla="*/ 73 h 1646"/>
                <a:gd name="T22" fmla="*/ 532 w 3036"/>
                <a:gd name="T23" fmla="*/ 42 h 1646"/>
                <a:gd name="T24" fmla="*/ 537 w 3036"/>
                <a:gd name="T25" fmla="*/ 25 h 1646"/>
                <a:gd name="T26" fmla="*/ 518 w 3036"/>
                <a:gd name="T27" fmla="*/ 14 h 1646"/>
                <a:gd name="T28" fmla="*/ 491 w 3036"/>
                <a:gd name="T29" fmla="*/ 0 h 1646"/>
                <a:gd name="T30" fmla="*/ 453 w 3036"/>
                <a:gd name="T31" fmla="*/ 0 h 1646"/>
                <a:gd name="T32" fmla="*/ 419 w 3036"/>
                <a:gd name="T33" fmla="*/ 2 h 1646"/>
                <a:gd name="T34" fmla="*/ 391 w 3036"/>
                <a:gd name="T35" fmla="*/ 5 h 1646"/>
                <a:gd name="T36" fmla="*/ 279 w 3036"/>
                <a:gd name="T37" fmla="*/ 11 h 1646"/>
                <a:gd name="T38" fmla="*/ 12 w 3036"/>
                <a:gd name="T39" fmla="*/ 11 h 16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36" h="1646">
                  <a:moveTo>
                    <a:pt x="62" y="59"/>
                  </a:moveTo>
                  <a:lnTo>
                    <a:pt x="0" y="491"/>
                  </a:lnTo>
                  <a:lnTo>
                    <a:pt x="13" y="1641"/>
                  </a:lnTo>
                  <a:lnTo>
                    <a:pt x="1401" y="1646"/>
                  </a:lnTo>
                  <a:lnTo>
                    <a:pt x="2298" y="1572"/>
                  </a:lnTo>
                  <a:lnTo>
                    <a:pt x="3036" y="1509"/>
                  </a:lnTo>
                  <a:lnTo>
                    <a:pt x="3036" y="1326"/>
                  </a:lnTo>
                  <a:lnTo>
                    <a:pt x="3009" y="1043"/>
                  </a:lnTo>
                  <a:lnTo>
                    <a:pt x="3009" y="713"/>
                  </a:lnTo>
                  <a:lnTo>
                    <a:pt x="2987" y="461"/>
                  </a:lnTo>
                  <a:lnTo>
                    <a:pt x="2862" y="384"/>
                  </a:lnTo>
                  <a:lnTo>
                    <a:pt x="2807" y="221"/>
                  </a:lnTo>
                  <a:lnTo>
                    <a:pt x="2837" y="131"/>
                  </a:lnTo>
                  <a:lnTo>
                    <a:pt x="2734" y="73"/>
                  </a:lnTo>
                  <a:lnTo>
                    <a:pt x="2593" y="0"/>
                  </a:lnTo>
                  <a:lnTo>
                    <a:pt x="2392" y="2"/>
                  </a:lnTo>
                  <a:lnTo>
                    <a:pt x="2212" y="11"/>
                  </a:lnTo>
                  <a:lnTo>
                    <a:pt x="2062" y="27"/>
                  </a:lnTo>
                  <a:lnTo>
                    <a:pt x="1474" y="60"/>
                  </a:lnTo>
                  <a:lnTo>
                    <a:pt x="62" y="59"/>
                  </a:lnTo>
                  <a:close/>
                </a:path>
              </a:pathLst>
            </a:custGeom>
            <a:solidFill>
              <a:srgbClr val="5F437D"/>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80" name="Iowa">
              <a:extLst>
                <a:ext uri="{FF2B5EF4-FFF2-40B4-BE49-F238E27FC236}">
                  <a16:creationId xmlns:a16="http://schemas.microsoft.com/office/drawing/2014/main" id="{A777949B-6D30-599D-31D5-E600A503772F}"/>
                </a:ext>
              </a:extLst>
            </p:cNvPr>
            <p:cNvSpPr>
              <a:spLocks/>
            </p:cNvSpPr>
            <p:nvPr/>
          </p:nvSpPr>
          <p:spPr bwMode="auto">
            <a:xfrm>
              <a:off x="4937047" y="2630066"/>
              <a:ext cx="764526" cy="491188"/>
            </a:xfrm>
            <a:custGeom>
              <a:avLst/>
              <a:gdLst>
                <a:gd name="T0" fmla="*/ 0 w 2485"/>
                <a:gd name="T1" fmla="*/ 35 h 1601"/>
                <a:gd name="T2" fmla="*/ 367 w 2485"/>
                <a:gd name="T3" fmla="*/ 0 h 1601"/>
                <a:gd name="T4" fmla="*/ 378 w 2485"/>
                <a:gd name="T5" fmla="*/ 14 h 1601"/>
                <a:gd name="T6" fmla="*/ 379 w 2485"/>
                <a:gd name="T7" fmla="*/ 40 h 1601"/>
                <a:gd name="T8" fmla="*/ 386 w 2485"/>
                <a:gd name="T9" fmla="*/ 65 h 1601"/>
                <a:gd name="T10" fmla="*/ 408 w 2485"/>
                <a:gd name="T11" fmla="*/ 74 h 1601"/>
                <a:gd name="T12" fmla="*/ 428 w 2485"/>
                <a:gd name="T13" fmla="*/ 85 h 1601"/>
                <a:gd name="T14" fmla="*/ 447 w 2485"/>
                <a:gd name="T15" fmla="*/ 109 h 1601"/>
                <a:gd name="T16" fmla="*/ 463 w 2485"/>
                <a:gd name="T17" fmla="*/ 127 h 1601"/>
                <a:gd name="T18" fmla="*/ 471 w 2485"/>
                <a:gd name="T19" fmla="*/ 154 h 1601"/>
                <a:gd name="T20" fmla="*/ 451 w 2485"/>
                <a:gd name="T21" fmla="*/ 178 h 1601"/>
                <a:gd name="T22" fmla="*/ 426 w 2485"/>
                <a:gd name="T23" fmla="*/ 189 h 1601"/>
                <a:gd name="T24" fmla="*/ 399 w 2485"/>
                <a:gd name="T25" fmla="*/ 189 h 1601"/>
                <a:gd name="T26" fmla="*/ 416 w 2485"/>
                <a:gd name="T27" fmla="*/ 217 h 1601"/>
                <a:gd name="T28" fmla="*/ 407 w 2485"/>
                <a:gd name="T29" fmla="*/ 248 h 1601"/>
                <a:gd name="T30" fmla="*/ 394 w 2485"/>
                <a:gd name="T31" fmla="*/ 274 h 1601"/>
                <a:gd name="T32" fmla="*/ 388 w 2485"/>
                <a:gd name="T33" fmla="*/ 295 h 1601"/>
                <a:gd name="T34" fmla="*/ 360 w 2485"/>
                <a:gd name="T35" fmla="*/ 274 h 1601"/>
                <a:gd name="T36" fmla="*/ 277 w 2485"/>
                <a:gd name="T37" fmla="*/ 289 h 1601"/>
                <a:gd name="T38" fmla="*/ 195 w 2485"/>
                <a:gd name="T39" fmla="*/ 297 h 1601"/>
                <a:gd name="T40" fmla="*/ 73 w 2485"/>
                <a:gd name="T41" fmla="*/ 303 h 1601"/>
                <a:gd name="T42" fmla="*/ 73 w 2485"/>
                <a:gd name="T43" fmla="*/ 256 h 1601"/>
                <a:gd name="T44" fmla="*/ 23 w 2485"/>
                <a:gd name="T45" fmla="*/ 157 h 1601"/>
                <a:gd name="T46" fmla="*/ 6 w 2485"/>
                <a:gd name="T47" fmla="*/ 117 h 1601"/>
                <a:gd name="T48" fmla="*/ 6 w 2485"/>
                <a:gd name="T49" fmla="*/ 59 h 1601"/>
                <a:gd name="T50" fmla="*/ 0 w 2485"/>
                <a:gd name="T51" fmla="*/ 35 h 16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85" h="1601">
                  <a:moveTo>
                    <a:pt x="0" y="183"/>
                  </a:moveTo>
                  <a:lnTo>
                    <a:pt x="1935" y="0"/>
                  </a:lnTo>
                  <a:lnTo>
                    <a:pt x="1996" y="75"/>
                  </a:lnTo>
                  <a:lnTo>
                    <a:pt x="1998" y="212"/>
                  </a:lnTo>
                  <a:lnTo>
                    <a:pt x="2037" y="344"/>
                  </a:lnTo>
                  <a:lnTo>
                    <a:pt x="2155" y="393"/>
                  </a:lnTo>
                  <a:lnTo>
                    <a:pt x="2257" y="447"/>
                  </a:lnTo>
                  <a:lnTo>
                    <a:pt x="2357" y="575"/>
                  </a:lnTo>
                  <a:lnTo>
                    <a:pt x="2445" y="671"/>
                  </a:lnTo>
                  <a:lnTo>
                    <a:pt x="2485" y="815"/>
                  </a:lnTo>
                  <a:lnTo>
                    <a:pt x="2377" y="939"/>
                  </a:lnTo>
                  <a:lnTo>
                    <a:pt x="2245" y="999"/>
                  </a:lnTo>
                  <a:lnTo>
                    <a:pt x="2107" y="999"/>
                  </a:lnTo>
                  <a:lnTo>
                    <a:pt x="2197" y="1149"/>
                  </a:lnTo>
                  <a:lnTo>
                    <a:pt x="2149" y="1311"/>
                  </a:lnTo>
                  <a:lnTo>
                    <a:pt x="2077" y="1449"/>
                  </a:lnTo>
                  <a:lnTo>
                    <a:pt x="2045" y="1559"/>
                  </a:lnTo>
                  <a:lnTo>
                    <a:pt x="1897" y="1449"/>
                  </a:lnTo>
                  <a:lnTo>
                    <a:pt x="1461" y="1527"/>
                  </a:lnTo>
                  <a:lnTo>
                    <a:pt x="1029" y="1567"/>
                  </a:lnTo>
                  <a:lnTo>
                    <a:pt x="384" y="1601"/>
                  </a:lnTo>
                  <a:lnTo>
                    <a:pt x="384" y="1355"/>
                  </a:lnTo>
                  <a:lnTo>
                    <a:pt x="120" y="827"/>
                  </a:lnTo>
                  <a:lnTo>
                    <a:pt x="33" y="620"/>
                  </a:lnTo>
                  <a:lnTo>
                    <a:pt x="34" y="312"/>
                  </a:lnTo>
                  <a:lnTo>
                    <a:pt x="0" y="183"/>
                  </a:lnTo>
                  <a:close/>
                </a:path>
              </a:pathLst>
            </a:custGeom>
            <a:solidFill>
              <a:srgbClr val="47325E"/>
            </a:solidFill>
            <a:ln w="6350" cmpd="sng">
              <a:solidFill>
                <a:schemeClr val="bg1"/>
              </a:solidFill>
              <a:prstDash val="solid"/>
              <a:round/>
              <a:headEnd/>
              <a:tailEnd/>
            </a:ln>
            <a:effectLst/>
          </p:spPr>
          <p:txBody>
            <a:bodyPr/>
            <a:lstStyle/>
            <a:p>
              <a:endParaRPr lang="zh-CN" altLang="en-US" kern="0" dirty="0">
                <a:solidFill>
                  <a:sysClr val="windowText" lastClr="000000"/>
                </a:solidFill>
              </a:endParaRPr>
            </a:p>
          </p:txBody>
        </p:sp>
        <p:sp>
          <p:nvSpPr>
            <p:cNvPr id="1081" name="Indiana">
              <a:extLst>
                <a:ext uri="{FF2B5EF4-FFF2-40B4-BE49-F238E27FC236}">
                  <a16:creationId xmlns:a16="http://schemas.microsoft.com/office/drawing/2014/main" id="{C3573871-F124-56B2-5E9F-8A101505EE9A}"/>
                </a:ext>
              </a:extLst>
            </p:cNvPr>
            <p:cNvSpPr>
              <a:spLocks/>
            </p:cNvSpPr>
            <p:nvPr/>
          </p:nvSpPr>
          <p:spPr bwMode="auto">
            <a:xfrm>
              <a:off x="6006735" y="2746783"/>
              <a:ext cx="386322" cy="688960"/>
            </a:xfrm>
            <a:custGeom>
              <a:avLst/>
              <a:gdLst>
                <a:gd name="T0" fmla="*/ 0 w 1255"/>
                <a:gd name="T1" fmla="*/ 49 h 2237"/>
                <a:gd name="T2" fmla="*/ 2 w 1255"/>
                <a:gd name="T3" fmla="*/ 86 h 2237"/>
                <a:gd name="T4" fmla="*/ 13 w 1255"/>
                <a:gd name="T5" fmla="*/ 123 h 2237"/>
                <a:gd name="T6" fmla="*/ 27 w 1255"/>
                <a:gd name="T7" fmla="*/ 158 h 2237"/>
                <a:gd name="T8" fmla="*/ 29 w 1255"/>
                <a:gd name="T9" fmla="*/ 192 h 2237"/>
                <a:gd name="T10" fmla="*/ 40 w 1255"/>
                <a:gd name="T11" fmla="*/ 231 h 2237"/>
                <a:gd name="T12" fmla="*/ 23 w 1255"/>
                <a:gd name="T13" fmla="*/ 262 h 2237"/>
                <a:gd name="T14" fmla="*/ 34 w 1255"/>
                <a:gd name="T15" fmla="*/ 335 h 2237"/>
                <a:gd name="T16" fmla="*/ 14 w 1255"/>
                <a:gd name="T17" fmla="*/ 386 h 2237"/>
                <a:gd name="T18" fmla="*/ 12 w 1255"/>
                <a:gd name="T19" fmla="*/ 425 h 2237"/>
                <a:gd name="T20" fmla="*/ 33 w 1255"/>
                <a:gd name="T21" fmla="*/ 414 h 2237"/>
                <a:gd name="T22" fmla="*/ 49 w 1255"/>
                <a:gd name="T23" fmla="*/ 399 h 2237"/>
                <a:gd name="T24" fmla="*/ 68 w 1255"/>
                <a:gd name="T25" fmla="*/ 412 h 2237"/>
                <a:gd name="T26" fmla="*/ 88 w 1255"/>
                <a:gd name="T27" fmla="*/ 393 h 2237"/>
                <a:gd name="T28" fmla="*/ 111 w 1255"/>
                <a:gd name="T29" fmla="*/ 382 h 2237"/>
                <a:gd name="T30" fmla="*/ 120 w 1255"/>
                <a:gd name="T31" fmla="*/ 363 h 2237"/>
                <a:gd name="T32" fmla="*/ 145 w 1255"/>
                <a:gd name="T33" fmla="*/ 371 h 2237"/>
                <a:gd name="T34" fmla="*/ 162 w 1255"/>
                <a:gd name="T35" fmla="*/ 348 h 2237"/>
                <a:gd name="T36" fmla="*/ 180 w 1255"/>
                <a:gd name="T37" fmla="*/ 321 h 2237"/>
                <a:gd name="T38" fmla="*/ 180 w 1255"/>
                <a:gd name="T39" fmla="*/ 300 h 2237"/>
                <a:gd name="T40" fmla="*/ 203 w 1255"/>
                <a:gd name="T41" fmla="*/ 286 h 2237"/>
                <a:gd name="T42" fmla="*/ 238 w 1255"/>
                <a:gd name="T43" fmla="*/ 280 h 2237"/>
                <a:gd name="T44" fmla="*/ 230 w 1255"/>
                <a:gd name="T45" fmla="*/ 260 h 2237"/>
                <a:gd name="T46" fmla="*/ 236 w 1255"/>
                <a:gd name="T47" fmla="*/ 234 h 2237"/>
                <a:gd name="T48" fmla="*/ 230 w 1255"/>
                <a:gd name="T49" fmla="*/ 195 h 2237"/>
                <a:gd name="T50" fmla="*/ 217 w 1255"/>
                <a:gd name="T51" fmla="*/ 160 h 2237"/>
                <a:gd name="T52" fmla="*/ 214 w 1255"/>
                <a:gd name="T53" fmla="*/ 108 h 2237"/>
                <a:gd name="T54" fmla="*/ 205 w 1255"/>
                <a:gd name="T55" fmla="*/ 90 h 2237"/>
                <a:gd name="T56" fmla="*/ 197 w 1255"/>
                <a:gd name="T57" fmla="*/ 69 h 2237"/>
                <a:gd name="T58" fmla="*/ 191 w 1255"/>
                <a:gd name="T59" fmla="*/ 52 h 2237"/>
                <a:gd name="T60" fmla="*/ 197 w 1255"/>
                <a:gd name="T61" fmla="*/ 37 h 2237"/>
                <a:gd name="T62" fmla="*/ 185 w 1255"/>
                <a:gd name="T63" fmla="*/ 11 h 2237"/>
                <a:gd name="T64" fmla="*/ 168 w 1255"/>
                <a:gd name="T65" fmla="*/ 0 h 2237"/>
                <a:gd name="T66" fmla="*/ 126 w 1255"/>
                <a:gd name="T67" fmla="*/ 8 h 2237"/>
                <a:gd name="T68" fmla="*/ 80 w 1255"/>
                <a:gd name="T69" fmla="*/ 17 h 2237"/>
                <a:gd name="T70" fmla="*/ 49 w 1255"/>
                <a:gd name="T71" fmla="*/ 22 h 2237"/>
                <a:gd name="T72" fmla="*/ 24 w 1255"/>
                <a:gd name="T73" fmla="*/ 35 h 2237"/>
                <a:gd name="T74" fmla="*/ 0 w 1255"/>
                <a:gd name="T75" fmla="*/ 49 h 2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55" h="2237">
                  <a:moveTo>
                    <a:pt x="0" y="260"/>
                  </a:moveTo>
                  <a:lnTo>
                    <a:pt x="9" y="452"/>
                  </a:lnTo>
                  <a:lnTo>
                    <a:pt x="70" y="645"/>
                  </a:lnTo>
                  <a:lnTo>
                    <a:pt x="144" y="833"/>
                  </a:lnTo>
                  <a:lnTo>
                    <a:pt x="151" y="1011"/>
                  </a:lnTo>
                  <a:lnTo>
                    <a:pt x="211" y="1217"/>
                  </a:lnTo>
                  <a:lnTo>
                    <a:pt x="120" y="1379"/>
                  </a:lnTo>
                  <a:lnTo>
                    <a:pt x="181" y="1763"/>
                  </a:lnTo>
                  <a:lnTo>
                    <a:pt x="73" y="2033"/>
                  </a:lnTo>
                  <a:lnTo>
                    <a:pt x="64" y="2237"/>
                  </a:lnTo>
                  <a:lnTo>
                    <a:pt x="176" y="2178"/>
                  </a:lnTo>
                  <a:lnTo>
                    <a:pt x="256" y="2101"/>
                  </a:lnTo>
                  <a:lnTo>
                    <a:pt x="360" y="2170"/>
                  </a:lnTo>
                  <a:lnTo>
                    <a:pt x="466" y="2071"/>
                  </a:lnTo>
                  <a:lnTo>
                    <a:pt x="586" y="2011"/>
                  </a:lnTo>
                  <a:lnTo>
                    <a:pt x="631" y="1913"/>
                  </a:lnTo>
                  <a:lnTo>
                    <a:pt x="766" y="1951"/>
                  </a:lnTo>
                  <a:lnTo>
                    <a:pt x="855" y="1833"/>
                  </a:lnTo>
                  <a:lnTo>
                    <a:pt x="951" y="1689"/>
                  </a:lnTo>
                  <a:lnTo>
                    <a:pt x="951" y="1577"/>
                  </a:lnTo>
                  <a:lnTo>
                    <a:pt x="1071" y="1505"/>
                  </a:lnTo>
                  <a:lnTo>
                    <a:pt x="1255" y="1473"/>
                  </a:lnTo>
                  <a:lnTo>
                    <a:pt x="1215" y="1369"/>
                  </a:lnTo>
                  <a:lnTo>
                    <a:pt x="1246" y="1231"/>
                  </a:lnTo>
                  <a:lnTo>
                    <a:pt x="1215" y="1025"/>
                  </a:lnTo>
                  <a:lnTo>
                    <a:pt x="1143" y="841"/>
                  </a:lnTo>
                  <a:lnTo>
                    <a:pt x="1126" y="570"/>
                  </a:lnTo>
                  <a:lnTo>
                    <a:pt x="1079" y="473"/>
                  </a:lnTo>
                  <a:lnTo>
                    <a:pt x="1039" y="361"/>
                  </a:lnTo>
                  <a:lnTo>
                    <a:pt x="1007" y="273"/>
                  </a:lnTo>
                  <a:lnTo>
                    <a:pt x="1039" y="193"/>
                  </a:lnTo>
                  <a:lnTo>
                    <a:pt x="976" y="60"/>
                  </a:lnTo>
                  <a:lnTo>
                    <a:pt x="886" y="0"/>
                  </a:lnTo>
                  <a:lnTo>
                    <a:pt x="663" y="41"/>
                  </a:lnTo>
                  <a:lnTo>
                    <a:pt x="423" y="89"/>
                  </a:lnTo>
                  <a:lnTo>
                    <a:pt x="256" y="114"/>
                  </a:lnTo>
                  <a:lnTo>
                    <a:pt x="127" y="185"/>
                  </a:lnTo>
                  <a:lnTo>
                    <a:pt x="0" y="260"/>
                  </a:lnTo>
                  <a:close/>
                </a:path>
              </a:pathLst>
            </a:custGeom>
            <a:solidFill>
              <a:srgbClr val="87729E"/>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82" name="Illiniois">
              <a:extLst>
                <a:ext uri="{FF2B5EF4-FFF2-40B4-BE49-F238E27FC236}">
                  <a16:creationId xmlns:a16="http://schemas.microsoft.com/office/drawing/2014/main" id="{0F67FDC9-7E62-7740-B913-C19482F96BA4}"/>
                </a:ext>
              </a:extLst>
            </p:cNvPr>
            <p:cNvSpPr>
              <a:spLocks/>
            </p:cNvSpPr>
            <p:nvPr/>
          </p:nvSpPr>
          <p:spPr bwMode="auto">
            <a:xfrm>
              <a:off x="5566847" y="2719226"/>
              <a:ext cx="504814" cy="834858"/>
            </a:xfrm>
            <a:custGeom>
              <a:avLst/>
              <a:gdLst>
                <a:gd name="T0" fmla="*/ 40 w 1641"/>
                <a:gd name="T1" fmla="*/ 30 h 2721"/>
                <a:gd name="T2" fmla="*/ 56 w 1641"/>
                <a:gd name="T3" fmla="*/ 52 h 2721"/>
                <a:gd name="T4" fmla="*/ 76 w 1641"/>
                <a:gd name="T5" fmla="*/ 73 h 2721"/>
                <a:gd name="T6" fmla="*/ 83 w 1641"/>
                <a:gd name="T7" fmla="*/ 100 h 2721"/>
                <a:gd name="T8" fmla="*/ 63 w 1641"/>
                <a:gd name="T9" fmla="*/ 123 h 2721"/>
                <a:gd name="T10" fmla="*/ 38 w 1641"/>
                <a:gd name="T11" fmla="*/ 135 h 2721"/>
                <a:gd name="T12" fmla="*/ 12 w 1641"/>
                <a:gd name="T13" fmla="*/ 135 h 2721"/>
                <a:gd name="T14" fmla="*/ 28 w 1641"/>
                <a:gd name="T15" fmla="*/ 164 h 2721"/>
                <a:gd name="T16" fmla="*/ 20 w 1641"/>
                <a:gd name="T17" fmla="*/ 193 h 2721"/>
                <a:gd name="T18" fmla="*/ 6 w 1641"/>
                <a:gd name="T19" fmla="*/ 220 h 2721"/>
                <a:gd name="T20" fmla="*/ 0 w 1641"/>
                <a:gd name="T21" fmla="*/ 240 h 2721"/>
                <a:gd name="T22" fmla="*/ 6 w 1641"/>
                <a:gd name="T23" fmla="*/ 270 h 2721"/>
                <a:gd name="T24" fmla="*/ 23 w 1641"/>
                <a:gd name="T25" fmla="*/ 293 h 2721"/>
                <a:gd name="T26" fmla="*/ 41 w 1641"/>
                <a:gd name="T27" fmla="*/ 305 h 2721"/>
                <a:gd name="T28" fmla="*/ 63 w 1641"/>
                <a:gd name="T29" fmla="*/ 333 h 2721"/>
                <a:gd name="T30" fmla="*/ 82 w 1641"/>
                <a:gd name="T31" fmla="*/ 348 h 2721"/>
                <a:gd name="T32" fmla="*/ 100 w 1641"/>
                <a:gd name="T33" fmla="*/ 353 h 2721"/>
                <a:gd name="T34" fmla="*/ 115 w 1641"/>
                <a:gd name="T35" fmla="*/ 362 h 2721"/>
                <a:gd name="T36" fmla="*/ 111 w 1641"/>
                <a:gd name="T37" fmla="*/ 387 h 2721"/>
                <a:gd name="T38" fmla="*/ 103 w 1641"/>
                <a:gd name="T39" fmla="*/ 407 h 2721"/>
                <a:gd name="T40" fmla="*/ 121 w 1641"/>
                <a:gd name="T41" fmla="*/ 430 h 2721"/>
                <a:gd name="T42" fmla="*/ 143 w 1641"/>
                <a:gd name="T43" fmla="*/ 441 h 2721"/>
                <a:gd name="T44" fmla="*/ 172 w 1641"/>
                <a:gd name="T45" fmla="*/ 464 h 2721"/>
                <a:gd name="T46" fmla="*/ 177 w 1641"/>
                <a:gd name="T47" fmla="*/ 492 h 2721"/>
                <a:gd name="T48" fmla="*/ 194 w 1641"/>
                <a:gd name="T49" fmla="*/ 515 h 2721"/>
                <a:gd name="T50" fmla="*/ 194 w 1641"/>
                <a:gd name="T51" fmla="*/ 515 h 2721"/>
                <a:gd name="T52" fmla="*/ 220 w 1641"/>
                <a:gd name="T53" fmla="*/ 504 h 2721"/>
                <a:gd name="T54" fmla="*/ 235 w 1641"/>
                <a:gd name="T55" fmla="*/ 498 h 2721"/>
                <a:gd name="T56" fmla="*/ 254 w 1641"/>
                <a:gd name="T57" fmla="*/ 487 h 2721"/>
                <a:gd name="T58" fmla="*/ 271 w 1641"/>
                <a:gd name="T59" fmla="*/ 476 h 2721"/>
                <a:gd name="T60" fmla="*/ 285 w 1641"/>
                <a:gd name="T61" fmla="*/ 460 h 2721"/>
                <a:gd name="T62" fmla="*/ 284 w 1641"/>
                <a:gd name="T63" fmla="*/ 441 h 2721"/>
                <a:gd name="T64" fmla="*/ 285 w 1641"/>
                <a:gd name="T65" fmla="*/ 403 h 2721"/>
                <a:gd name="T66" fmla="*/ 305 w 1641"/>
                <a:gd name="T67" fmla="*/ 351 h 2721"/>
                <a:gd name="T68" fmla="*/ 300 w 1641"/>
                <a:gd name="T69" fmla="*/ 316 h 2721"/>
                <a:gd name="T70" fmla="*/ 294 w 1641"/>
                <a:gd name="T71" fmla="*/ 278 h 2721"/>
                <a:gd name="T72" fmla="*/ 311 w 1641"/>
                <a:gd name="T73" fmla="*/ 249 h 2721"/>
                <a:gd name="T74" fmla="*/ 300 w 1641"/>
                <a:gd name="T75" fmla="*/ 209 h 2721"/>
                <a:gd name="T76" fmla="*/ 298 w 1641"/>
                <a:gd name="T77" fmla="*/ 176 h 2721"/>
                <a:gd name="T78" fmla="*/ 285 w 1641"/>
                <a:gd name="T79" fmla="*/ 141 h 2721"/>
                <a:gd name="T80" fmla="*/ 273 w 1641"/>
                <a:gd name="T81" fmla="*/ 103 h 2721"/>
                <a:gd name="T82" fmla="*/ 271 w 1641"/>
                <a:gd name="T83" fmla="*/ 67 h 2721"/>
                <a:gd name="T84" fmla="*/ 248 w 1641"/>
                <a:gd name="T85" fmla="*/ 44 h 2721"/>
                <a:gd name="T86" fmla="*/ 236 w 1641"/>
                <a:gd name="T87" fmla="*/ 0 h 2721"/>
                <a:gd name="T88" fmla="*/ 40 w 1641"/>
                <a:gd name="T89" fmla="*/ 30 h 27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41" h="2721">
                  <a:moveTo>
                    <a:pt x="213" y="160"/>
                  </a:moveTo>
                  <a:lnTo>
                    <a:pt x="298" y="274"/>
                  </a:lnTo>
                  <a:lnTo>
                    <a:pt x="399" y="384"/>
                  </a:lnTo>
                  <a:lnTo>
                    <a:pt x="438" y="529"/>
                  </a:lnTo>
                  <a:lnTo>
                    <a:pt x="333" y="652"/>
                  </a:lnTo>
                  <a:lnTo>
                    <a:pt x="201" y="712"/>
                  </a:lnTo>
                  <a:lnTo>
                    <a:pt x="61" y="711"/>
                  </a:lnTo>
                  <a:lnTo>
                    <a:pt x="150" y="864"/>
                  </a:lnTo>
                  <a:lnTo>
                    <a:pt x="105" y="1020"/>
                  </a:lnTo>
                  <a:lnTo>
                    <a:pt x="31" y="1162"/>
                  </a:lnTo>
                  <a:lnTo>
                    <a:pt x="0" y="1270"/>
                  </a:lnTo>
                  <a:lnTo>
                    <a:pt x="34" y="1428"/>
                  </a:lnTo>
                  <a:lnTo>
                    <a:pt x="120" y="1550"/>
                  </a:lnTo>
                  <a:lnTo>
                    <a:pt x="216" y="1611"/>
                  </a:lnTo>
                  <a:lnTo>
                    <a:pt x="333" y="1757"/>
                  </a:lnTo>
                  <a:lnTo>
                    <a:pt x="433" y="1839"/>
                  </a:lnTo>
                  <a:lnTo>
                    <a:pt x="529" y="1863"/>
                  </a:lnTo>
                  <a:lnTo>
                    <a:pt x="605" y="1910"/>
                  </a:lnTo>
                  <a:lnTo>
                    <a:pt x="587" y="2045"/>
                  </a:lnTo>
                  <a:lnTo>
                    <a:pt x="543" y="2153"/>
                  </a:lnTo>
                  <a:lnTo>
                    <a:pt x="636" y="2270"/>
                  </a:lnTo>
                  <a:lnTo>
                    <a:pt x="756" y="2331"/>
                  </a:lnTo>
                  <a:lnTo>
                    <a:pt x="906" y="2451"/>
                  </a:lnTo>
                  <a:lnTo>
                    <a:pt x="933" y="2597"/>
                  </a:lnTo>
                  <a:lnTo>
                    <a:pt x="1023" y="2720"/>
                  </a:lnTo>
                  <a:lnTo>
                    <a:pt x="1022" y="2721"/>
                  </a:lnTo>
                  <a:lnTo>
                    <a:pt x="1161" y="2664"/>
                  </a:lnTo>
                  <a:lnTo>
                    <a:pt x="1238" y="2631"/>
                  </a:lnTo>
                  <a:lnTo>
                    <a:pt x="1341" y="2574"/>
                  </a:lnTo>
                  <a:lnTo>
                    <a:pt x="1431" y="2514"/>
                  </a:lnTo>
                  <a:lnTo>
                    <a:pt x="1502" y="2431"/>
                  </a:lnTo>
                  <a:lnTo>
                    <a:pt x="1496" y="2330"/>
                  </a:lnTo>
                  <a:lnTo>
                    <a:pt x="1502" y="2127"/>
                  </a:lnTo>
                  <a:lnTo>
                    <a:pt x="1611" y="1854"/>
                  </a:lnTo>
                  <a:lnTo>
                    <a:pt x="1582" y="1671"/>
                  </a:lnTo>
                  <a:lnTo>
                    <a:pt x="1550" y="1471"/>
                  </a:lnTo>
                  <a:lnTo>
                    <a:pt x="1641" y="1314"/>
                  </a:lnTo>
                  <a:lnTo>
                    <a:pt x="1582" y="1104"/>
                  </a:lnTo>
                  <a:lnTo>
                    <a:pt x="1574" y="928"/>
                  </a:lnTo>
                  <a:lnTo>
                    <a:pt x="1502" y="744"/>
                  </a:lnTo>
                  <a:lnTo>
                    <a:pt x="1438" y="544"/>
                  </a:lnTo>
                  <a:lnTo>
                    <a:pt x="1431" y="354"/>
                  </a:lnTo>
                  <a:lnTo>
                    <a:pt x="1311" y="234"/>
                  </a:lnTo>
                  <a:lnTo>
                    <a:pt x="1246" y="0"/>
                  </a:lnTo>
                  <a:lnTo>
                    <a:pt x="213" y="160"/>
                  </a:lnTo>
                  <a:close/>
                </a:path>
              </a:pathLst>
            </a:custGeom>
            <a:solidFill>
              <a:srgbClr val="87729E"/>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83" name="Idaho">
              <a:extLst>
                <a:ext uri="{FF2B5EF4-FFF2-40B4-BE49-F238E27FC236}">
                  <a16:creationId xmlns:a16="http://schemas.microsoft.com/office/drawing/2014/main" id="{0377FB83-B718-304B-394D-24F76AEE5CC0}"/>
                </a:ext>
              </a:extLst>
            </p:cNvPr>
            <p:cNvSpPr>
              <a:spLocks/>
            </p:cNvSpPr>
            <p:nvPr/>
          </p:nvSpPr>
          <p:spPr bwMode="auto">
            <a:xfrm>
              <a:off x="2572046" y="1693080"/>
              <a:ext cx="727193" cy="1167180"/>
            </a:xfrm>
            <a:custGeom>
              <a:avLst/>
              <a:gdLst>
                <a:gd name="T0" fmla="*/ 129 w 2360"/>
                <a:gd name="T1" fmla="*/ 2 h 3800"/>
                <a:gd name="T2" fmla="*/ 152 w 2360"/>
                <a:gd name="T3" fmla="*/ 0 h 3800"/>
                <a:gd name="T4" fmla="*/ 186 w 2360"/>
                <a:gd name="T5" fmla="*/ 12 h 3800"/>
                <a:gd name="T6" fmla="*/ 181 w 2360"/>
                <a:gd name="T7" fmla="*/ 59 h 3800"/>
                <a:gd name="T8" fmla="*/ 180 w 2360"/>
                <a:gd name="T9" fmla="*/ 100 h 3800"/>
                <a:gd name="T10" fmla="*/ 180 w 2360"/>
                <a:gd name="T11" fmla="*/ 152 h 3800"/>
                <a:gd name="T12" fmla="*/ 198 w 2360"/>
                <a:gd name="T13" fmla="*/ 179 h 3800"/>
                <a:gd name="T14" fmla="*/ 226 w 2360"/>
                <a:gd name="T15" fmla="*/ 209 h 3800"/>
                <a:gd name="T16" fmla="*/ 237 w 2360"/>
                <a:gd name="T17" fmla="*/ 230 h 3800"/>
                <a:gd name="T18" fmla="*/ 260 w 2360"/>
                <a:gd name="T19" fmla="*/ 243 h 3800"/>
                <a:gd name="T20" fmla="*/ 241 w 2360"/>
                <a:gd name="T21" fmla="*/ 299 h 3800"/>
                <a:gd name="T22" fmla="*/ 241 w 2360"/>
                <a:gd name="T23" fmla="*/ 320 h 3800"/>
                <a:gd name="T24" fmla="*/ 241 w 2360"/>
                <a:gd name="T25" fmla="*/ 341 h 3800"/>
                <a:gd name="T26" fmla="*/ 271 w 2360"/>
                <a:gd name="T27" fmla="*/ 340 h 3800"/>
                <a:gd name="T28" fmla="*/ 288 w 2360"/>
                <a:gd name="T29" fmla="*/ 391 h 3800"/>
                <a:gd name="T30" fmla="*/ 291 w 2360"/>
                <a:gd name="T31" fmla="*/ 421 h 3800"/>
                <a:gd name="T32" fmla="*/ 300 w 2360"/>
                <a:gd name="T33" fmla="*/ 440 h 3800"/>
                <a:gd name="T34" fmla="*/ 316 w 2360"/>
                <a:gd name="T35" fmla="*/ 456 h 3800"/>
                <a:gd name="T36" fmla="*/ 334 w 2360"/>
                <a:gd name="T37" fmla="*/ 465 h 3800"/>
                <a:gd name="T38" fmla="*/ 380 w 2360"/>
                <a:gd name="T39" fmla="*/ 465 h 3800"/>
                <a:gd name="T40" fmla="*/ 397 w 2360"/>
                <a:gd name="T41" fmla="*/ 476 h 3800"/>
                <a:gd name="T42" fmla="*/ 420 w 2360"/>
                <a:gd name="T43" fmla="*/ 471 h 3800"/>
                <a:gd name="T44" fmla="*/ 420 w 2360"/>
                <a:gd name="T45" fmla="*/ 454 h 3800"/>
                <a:gd name="T46" fmla="*/ 448 w 2360"/>
                <a:gd name="T47" fmla="*/ 465 h 3800"/>
                <a:gd name="T48" fmla="*/ 435 w 2360"/>
                <a:gd name="T49" fmla="*/ 590 h 3800"/>
                <a:gd name="T50" fmla="*/ 427 w 2360"/>
                <a:gd name="T51" fmla="*/ 662 h 3800"/>
                <a:gd name="T52" fmla="*/ 421 w 2360"/>
                <a:gd name="T53" fmla="*/ 720 h 3800"/>
                <a:gd name="T54" fmla="*/ 324 w 2360"/>
                <a:gd name="T55" fmla="*/ 694 h 3800"/>
                <a:gd name="T56" fmla="*/ 212 w 2360"/>
                <a:gd name="T57" fmla="*/ 678 h 3800"/>
                <a:gd name="T58" fmla="*/ 0 w 2360"/>
                <a:gd name="T59" fmla="*/ 636 h 3800"/>
                <a:gd name="T60" fmla="*/ 23 w 2360"/>
                <a:gd name="T61" fmla="*/ 482 h 3800"/>
                <a:gd name="T62" fmla="*/ 46 w 2360"/>
                <a:gd name="T63" fmla="*/ 448 h 3800"/>
                <a:gd name="T64" fmla="*/ 28 w 2360"/>
                <a:gd name="T65" fmla="*/ 425 h 3800"/>
                <a:gd name="T66" fmla="*/ 28 w 2360"/>
                <a:gd name="T67" fmla="*/ 403 h 3800"/>
                <a:gd name="T68" fmla="*/ 57 w 2360"/>
                <a:gd name="T69" fmla="*/ 385 h 3800"/>
                <a:gd name="T70" fmla="*/ 63 w 2360"/>
                <a:gd name="T71" fmla="*/ 358 h 3800"/>
                <a:gd name="T72" fmla="*/ 63 w 2360"/>
                <a:gd name="T73" fmla="*/ 351 h 3800"/>
                <a:gd name="T74" fmla="*/ 69 w 2360"/>
                <a:gd name="T75" fmla="*/ 340 h 3800"/>
                <a:gd name="T76" fmla="*/ 91 w 2360"/>
                <a:gd name="T77" fmla="*/ 334 h 3800"/>
                <a:gd name="T78" fmla="*/ 93 w 2360"/>
                <a:gd name="T79" fmla="*/ 317 h 3800"/>
                <a:gd name="T80" fmla="*/ 91 w 2360"/>
                <a:gd name="T81" fmla="*/ 294 h 3800"/>
                <a:gd name="T82" fmla="*/ 75 w 2360"/>
                <a:gd name="T83" fmla="*/ 271 h 3800"/>
                <a:gd name="T84" fmla="*/ 75 w 2360"/>
                <a:gd name="T85" fmla="*/ 237 h 3800"/>
                <a:gd name="T86" fmla="*/ 99 w 2360"/>
                <a:gd name="T87" fmla="*/ 156 h 3800"/>
                <a:gd name="T88" fmla="*/ 103 w 2360"/>
                <a:gd name="T89" fmla="*/ 131 h 3800"/>
                <a:gd name="T90" fmla="*/ 102 w 2360"/>
                <a:gd name="T91" fmla="*/ 96 h 3800"/>
                <a:gd name="T92" fmla="*/ 114 w 2360"/>
                <a:gd name="T93" fmla="*/ 59 h 3800"/>
                <a:gd name="T94" fmla="*/ 120 w 2360"/>
                <a:gd name="T95" fmla="*/ 20 h 3800"/>
                <a:gd name="T96" fmla="*/ 129 w 2360"/>
                <a:gd name="T97" fmla="*/ 2 h 38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360" h="3800">
                  <a:moveTo>
                    <a:pt x="681" y="12"/>
                  </a:moveTo>
                  <a:lnTo>
                    <a:pt x="803" y="0"/>
                  </a:lnTo>
                  <a:lnTo>
                    <a:pt x="979" y="64"/>
                  </a:lnTo>
                  <a:lnTo>
                    <a:pt x="955" y="312"/>
                  </a:lnTo>
                  <a:lnTo>
                    <a:pt x="947" y="528"/>
                  </a:lnTo>
                  <a:lnTo>
                    <a:pt x="950" y="804"/>
                  </a:lnTo>
                  <a:lnTo>
                    <a:pt x="1043" y="944"/>
                  </a:lnTo>
                  <a:lnTo>
                    <a:pt x="1190" y="1104"/>
                  </a:lnTo>
                  <a:lnTo>
                    <a:pt x="1251" y="1216"/>
                  </a:lnTo>
                  <a:lnTo>
                    <a:pt x="1370" y="1284"/>
                  </a:lnTo>
                  <a:lnTo>
                    <a:pt x="1267" y="1576"/>
                  </a:lnTo>
                  <a:lnTo>
                    <a:pt x="1267" y="1688"/>
                  </a:lnTo>
                  <a:lnTo>
                    <a:pt x="1267" y="1800"/>
                  </a:lnTo>
                  <a:lnTo>
                    <a:pt x="1430" y="1794"/>
                  </a:lnTo>
                  <a:lnTo>
                    <a:pt x="1515" y="2064"/>
                  </a:lnTo>
                  <a:lnTo>
                    <a:pt x="1531" y="2224"/>
                  </a:lnTo>
                  <a:lnTo>
                    <a:pt x="1579" y="2320"/>
                  </a:lnTo>
                  <a:lnTo>
                    <a:pt x="1667" y="2408"/>
                  </a:lnTo>
                  <a:lnTo>
                    <a:pt x="1760" y="2454"/>
                  </a:lnTo>
                  <a:lnTo>
                    <a:pt x="2000" y="2454"/>
                  </a:lnTo>
                  <a:lnTo>
                    <a:pt x="2090" y="2514"/>
                  </a:lnTo>
                  <a:lnTo>
                    <a:pt x="2210" y="2484"/>
                  </a:lnTo>
                  <a:lnTo>
                    <a:pt x="2210" y="2394"/>
                  </a:lnTo>
                  <a:lnTo>
                    <a:pt x="2360" y="2454"/>
                  </a:lnTo>
                  <a:lnTo>
                    <a:pt x="2291" y="3112"/>
                  </a:lnTo>
                  <a:lnTo>
                    <a:pt x="2251" y="3496"/>
                  </a:lnTo>
                  <a:lnTo>
                    <a:pt x="2219" y="3800"/>
                  </a:lnTo>
                  <a:lnTo>
                    <a:pt x="1707" y="3664"/>
                  </a:lnTo>
                  <a:lnTo>
                    <a:pt x="1115" y="3576"/>
                  </a:lnTo>
                  <a:lnTo>
                    <a:pt x="0" y="3355"/>
                  </a:lnTo>
                  <a:lnTo>
                    <a:pt x="121" y="2544"/>
                  </a:lnTo>
                  <a:lnTo>
                    <a:pt x="241" y="2365"/>
                  </a:lnTo>
                  <a:lnTo>
                    <a:pt x="150" y="2242"/>
                  </a:lnTo>
                  <a:lnTo>
                    <a:pt x="150" y="2125"/>
                  </a:lnTo>
                  <a:lnTo>
                    <a:pt x="300" y="2034"/>
                  </a:lnTo>
                  <a:lnTo>
                    <a:pt x="330" y="1887"/>
                  </a:lnTo>
                  <a:lnTo>
                    <a:pt x="330" y="1852"/>
                  </a:lnTo>
                  <a:lnTo>
                    <a:pt x="361" y="1794"/>
                  </a:lnTo>
                  <a:lnTo>
                    <a:pt x="478" y="1764"/>
                  </a:lnTo>
                  <a:lnTo>
                    <a:pt x="492" y="1671"/>
                  </a:lnTo>
                  <a:lnTo>
                    <a:pt x="480" y="1554"/>
                  </a:lnTo>
                  <a:lnTo>
                    <a:pt x="393" y="1432"/>
                  </a:lnTo>
                  <a:lnTo>
                    <a:pt x="396" y="1252"/>
                  </a:lnTo>
                  <a:lnTo>
                    <a:pt x="519" y="823"/>
                  </a:lnTo>
                  <a:lnTo>
                    <a:pt x="544" y="691"/>
                  </a:lnTo>
                  <a:lnTo>
                    <a:pt x="535" y="505"/>
                  </a:lnTo>
                  <a:lnTo>
                    <a:pt x="598" y="312"/>
                  </a:lnTo>
                  <a:lnTo>
                    <a:pt x="633" y="105"/>
                  </a:lnTo>
                  <a:lnTo>
                    <a:pt x="681" y="12"/>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84" name="Hawaii">
              <a:extLst>
                <a:ext uri="{FF2B5EF4-FFF2-40B4-BE49-F238E27FC236}">
                  <a16:creationId xmlns:a16="http://schemas.microsoft.com/office/drawing/2014/main" id="{9E4E2A38-99DD-B72A-697F-3A582613B20F}"/>
                </a:ext>
              </a:extLst>
            </p:cNvPr>
            <p:cNvSpPr>
              <a:spLocks/>
            </p:cNvSpPr>
            <p:nvPr/>
          </p:nvSpPr>
          <p:spPr bwMode="auto">
            <a:xfrm>
              <a:off x="2137841" y="4805584"/>
              <a:ext cx="1024238" cy="637085"/>
            </a:xfrm>
            <a:custGeom>
              <a:avLst/>
              <a:gdLst>
                <a:gd name="connsiteX0" fmla="*/ 795449 w 1024238"/>
                <a:gd name="connsiteY0" fmla="*/ 335564 h 637085"/>
                <a:gd name="connsiteX1" fmla="*/ 810210 w 1024238"/>
                <a:gd name="connsiteY1" fmla="*/ 351563 h 637085"/>
                <a:gd name="connsiteX2" fmla="*/ 839731 w 1024238"/>
                <a:gd name="connsiteY2" fmla="*/ 363870 h 637085"/>
                <a:gd name="connsiteX3" fmla="*/ 865254 w 1024238"/>
                <a:gd name="connsiteY3" fmla="*/ 363563 h 637085"/>
                <a:gd name="connsiteX4" fmla="*/ 891393 w 1024238"/>
                <a:gd name="connsiteY4" fmla="*/ 373716 h 637085"/>
                <a:gd name="connsiteX5" fmla="*/ 915994 w 1024238"/>
                <a:gd name="connsiteY5" fmla="*/ 378639 h 637085"/>
                <a:gd name="connsiteX6" fmla="*/ 935060 w 1024238"/>
                <a:gd name="connsiteY6" fmla="*/ 405406 h 637085"/>
                <a:gd name="connsiteX7" fmla="*/ 957816 w 1024238"/>
                <a:gd name="connsiteY7" fmla="*/ 422944 h 637085"/>
                <a:gd name="connsiteX8" fmla="*/ 963043 w 1024238"/>
                <a:gd name="connsiteY8" fmla="*/ 447250 h 637085"/>
                <a:gd name="connsiteX9" fmla="*/ 1002097 w 1024238"/>
                <a:gd name="connsiteY9" fmla="*/ 462326 h 637085"/>
                <a:gd name="connsiteX10" fmla="*/ 1024238 w 1024238"/>
                <a:gd name="connsiteY10" fmla="*/ 484479 h 637085"/>
                <a:gd name="connsiteX11" fmla="*/ 1011938 w 1024238"/>
                <a:gd name="connsiteY11" fmla="*/ 501708 h 637085"/>
                <a:gd name="connsiteX12" fmla="*/ 994717 w 1024238"/>
                <a:gd name="connsiteY12" fmla="*/ 531245 h 637085"/>
                <a:gd name="connsiteX13" fmla="*/ 970116 w 1024238"/>
                <a:gd name="connsiteY13" fmla="*/ 536168 h 637085"/>
                <a:gd name="connsiteX14" fmla="*/ 935675 w 1024238"/>
                <a:gd name="connsiteY14" fmla="*/ 553398 h 637085"/>
                <a:gd name="connsiteX15" fmla="*/ 915994 w 1024238"/>
                <a:gd name="connsiteY15" fmla="*/ 573089 h 637085"/>
                <a:gd name="connsiteX16" fmla="*/ 896313 w 1024238"/>
                <a:gd name="connsiteY16" fmla="*/ 590319 h 637085"/>
                <a:gd name="connsiteX17" fmla="*/ 891393 w 1024238"/>
                <a:gd name="connsiteY17" fmla="*/ 612471 h 637085"/>
                <a:gd name="connsiteX18" fmla="*/ 876632 w 1024238"/>
                <a:gd name="connsiteY18" fmla="*/ 637085 h 637085"/>
                <a:gd name="connsiteX19" fmla="*/ 837271 w 1024238"/>
                <a:gd name="connsiteY19" fmla="*/ 628470 h 637085"/>
                <a:gd name="connsiteX20" fmla="*/ 824970 w 1024238"/>
                <a:gd name="connsiteY20" fmla="*/ 614933 h 637085"/>
                <a:gd name="connsiteX21" fmla="*/ 809595 w 1024238"/>
                <a:gd name="connsiteY21" fmla="*/ 586627 h 637085"/>
                <a:gd name="connsiteX22" fmla="*/ 820050 w 1024238"/>
                <a:gd name="connsiteY22" fmla="*/ 568166 h 637085"/>
                <a:gd name="connsiteX23" fmla="*/ 810210 w 1024238"/>
                <a:gd name="connsiteY23" fmla="*/ 536168 h 637085"/>
                <a:gd name="connsiteX24" fmla="*/ 795449 w 1024238"/>
                <a:gd name="connsiteY24" fmla="*/ 502939 h 637085"/>
                <a:gd name="connsiteX25" fmla="*/ 767773 w 1024238"/>
                <a:gd name="connsiteY25" fmla="*/ 474941 h 637085"/>
                <a:gd name="connsiteX26" fmla="*/ 781611 w 1024238"/>
                <a:gd name="connsiteY26" fmla="*/ 447250 h 637085"/>
                <a:gd name="connsiteX27" fmla="*/ 797909 w 1024238"/>
                <a:gd name="connsiteY27" fmla="*/ 425405 h 637085"/>
                <a:gd name="connsiteX28" fmla="*/ 812670 w 1024238"/>
                <a:gd name="connsiteY28" fmla="*/ 410637 h 637085"/>
                <a:gd name="connsiteX29" fmla="*/ 800369 w 1024238"/>
                <a:gd name="connsiteY29" fmla="*/ 383561 h 637085"/>
                <a:gd name="connsiteX30" fmla="*/ 781611 w 1024238"/>
                <a:gd name="connsiteY30" fmla="*/ 377408 h 637085"/>
                <a:gd name="connsiteX31" fmla="*/ 783149 w 1024238"/>
                <a:gd name="connsiteY31" fmla="*/ 361409 h 637085"/>
                <a:gd name="connsiteX32" fmla="*/ 557748 w 1024238"/>
                <a:gd name="connsiteY32" fmla="*/ 223709 h 637085"/>
                <a:gd name="connsiteX33" fmla="*/ 572036 w 1024238"/>
                <a:gd name="connsiteY33" fmla="*/ 237815 h 637085"/>
                <a:gd name="connsiteX34" fmla="*/ 594090 w 1024238"/>
                <a:gd name="connsiteY34" fmla="*/ 244711 h 637085"/>
                <a:gd name="connsiteX35" fmla="*/ 590363 w 1024238"/>
                <a:gd name="connsiteY35" fmla="*/ 263519 h 637085"/>
                <a:gd name="connsiteX36" fmla="*/ 575453 w 1024238"/>
                <a:gd name="connsiteY36" fmla="*/ 280447 h 637085"/>
                <a:gd name="connsiteX37" fmla="*/ 564271 w 1024238"/>
                <a:gd name="connsiteY37" fmla="*/ 274804 h 637085"/>
                <a:gd name="connsiteX38" fmla="*/ 554953 w 1024238"/>
                <a:gd name="connsiteY38" fmla="*/ 261639 h 637085"/>
                <a:gd name="connsiteX39" fmla="*/ 543771 w 1024238"/>
                <a:gd name="connsiteY39" fmla="*/ 237815 h 637085"/>
                <a:gd name="connsiteX40" fmla="*/ 630517 w 1024238"/>
                <a:gd name="connsiteY40" fmla="*/ 202635 h 637085"/>
                <a:gd name="connsiteX41" fmla="*/ 655478 w 1024238"/>
                <a:gd name="connsiteY41" fmla="*/ 210643 h 637085"/>
                <a:gd name="connsiteX42" fmla="*/ 673043 w 1024238"/>
                <a:gd name="connsiteY42" fmla="*/ 217419 h 637085"/>
                <a:gd name="connsiteX43" fmla="*/ 683212 w 1024238"/>
                <a:gd name="connsiteY43" fmla="*/ 210643 h 637085"/>
                <a:gd name="connsiteX44" fmla="*/ 711871 w 1024238"/>
                <a:gd name="connsiteY44" fmla="*/ 206331 h 637085"/>
                <a:gd name="connsiteX45" fmla="*/ 725430 w 1024238"/>
                <a:gd name="connsiteY45" fmla="*/ 224503 h 637085"/>
                <a:gd name="connsiteX46" fmla="*/ 753164 w 1024238"/>
                <a:gd name="connsiteY46" fmla="*/ 238364 h 637085"/>
                <a:gd name="connsiteX47" fmla="*/ 753164 w 1024238"/>
                <a:gd name="connsiteY47" fmla="*/ 266392 h 637085"/>
                <a:gd name="connsiteX48" fmla="*/ 734058 w 1024238"/>
                <a:gd name="connsiteY48" fmla="*/ 282100 h 637085"/>
                <a:gd name="connsiteX49" fmla="*/ 722965 w 1024238"/>
                <a:gd name="connsiteY49" fmla="*/ 283949 h 637085"/>
                <a:gd name="connsiteX50" fmla="*/ 708173 w 1024238"/>
                <a:gd name="connsiteY50" fmla="*/ 285797 h 637085"/>
                <a:gd name="connsiteX51" fmla="*/ 695230 w 1024238"/>
                <a:gd name="connsiteY51" fmla="*/ 295037 h 637085"/>
                <a:gd name="connsiteX52" fmla="*/ 683212 w 1024238"/>
                <a:gd name="connsiteY52" fmla="*/ 280252 h 637085"/>
                <a:gd name="connsiteX53" fmla="*/ 671194 w 1024238"/>
                <a:gd name="connsiteY53" fmla="*/ 263620 h 637085"/>
                <a:gd name="connsiteX54" fmla="*/ 650856 w 1024238"/>
                <a:gd name="connsiteY54" fmla="*/ 248836 h 637085"/>
                <a:gd name="connsiteX55" fmla="*/ 627436 w 1024238"/>
                <a:gd name="connsiteY55" fmla="*/ 252532 h 637085"/>
                <a:gd name="connsiteX56" fmla="*/ 617575 w 1024238"/>
                <a:gd name="connsiteY56" fmla="*/ 237748 h 637085"/>
                <a:gd name="connsiteX57" fmla="*/ 613569 w 1024238"/>
                <a:gd name="connsiteY57" fmla="*/ 224503 h 637085"/>
                <a:gd name="connsiteX58" fmla="*/ 627436 w 1024238"/>
                <a:gd name="connsiteY58" fmla="*/ 210643 h 637085"/>
                <a:gd name="connsiteX59" fmla="*/ 599512 w 1024238"/>
                <a:gd name="connsiteY59" fmla="*/ 168593 h 637085"/>
                <a:gd name="connsiteX60" fmla="*/ 613569 w 1024238"/>
                <a:gd name="connsiteY60" fmla="*/ 182539 h 637085"/>
                <a:gd name="connsiteX61" fmla="*/ 613569 w 1024238"/>
                <a:gd name="connsiteY61" fmla="*/ 196485 h 637085"/>
                <a:gd name="connsiteX62" fmla="*/ 602873 w 1024238"/>
                <a:gd name="connsiteY62" fmla="*/ 198965 h 637085"/>
                <a:gd name="connsiteX63" fmla="*/ 590038 w 1024238"/>
                <a:gd name="connsiteY63" fmla="*/ 204543 h 637085"/>
                <a:gd name="connsiteX64" fmla="*/ 557951 w 1024238"/>
                <a:gd name="connsiteY64" fmla="*/ 196485 h 637085"/>
                <a:gd name="connsiteX65" fmla="*/ 544200 w 1024238"/>
                <a:gd name="connsiteY65" fmla="*/ 196485 h 637085"/>
                <a:gd name="connsiteX66" fmla="*/ 516391 w 1024238"/>
                <a:gd name="connsiteY66" fmla="*/ 210742 h 637085"/>
                <a:gd name="connsiteX67" fmla="*/ 502028 w 1024238"/>
                <a:gd name="connsiteY67" fmla="*/ 202684 h 637085"/>
                <a:gd name="connsiteX68" fmla="*/ 488582 w 1024238"/>
                <a:gd name="connsiteY68" fmla="*/ 182539 h 637085"/>
                <a:gd name="connsiteX69" fmla="*/ 509362 w 1024238"/>
                <a:gd name="connsiteY69" fmla="*/ 169213 h 637085"/>
                <a:gd name="connsiteX70" fmla="*/ 533198 w 1024238"/>
                <a:gd name="connsiteY70" fmla="*/ 171072 h 637085"/>
                <a:gd name="connsiteX71" fmla="*/ 557951 w 1024238"/>
                <a:gd name="connsiteY71" fmla="*/ 182539 h 637085"/>
                <a:gd name="connsiteX72" fmla="*/ 580871 w 1024238"/>
                <a:gd name="connsiteY72" fmla="*/ 172932 h 637085"/>
                <a:gd name="connsiteX73" fmla="*/ 354350 w 1024238"/>
                <a:gd name="connsiteY73" fmla="*/ 84296 h 637085"/>
                <a:gd name="connsiteX74" fmla="*/ 372700 w 1024238"/>
                <a:gd name="connsiteY74" fmla="*/ 104577 h 637085"/>
                <a:gd name="connsiteX75" fmla="*/ 385544 w 1024238"/>
                <a:gd name="connsiteY75" fmla="*/ 132234 h 637085"/>
                <a:gd name="connsiteX76" fmla="*/ 400224 w 1024238"/>
                <a:gd name="connsiteY76" fmla="*/ 141452 h 637085"/>
                <a:gd name="connsiteX77" fmla="*/ 418573 w 1024238"/>
                <a:gd name="connsiteY77" fmla="*/ 146984 h 637085"/>
                <a:gd name="connsiteX78" fmla="*/ 420408 w 1024238"/>
                <a:gd name="connsiteY78" fmla="*/ 169109 h 637085"/>
                <a:gd name="connsiteX79" fmla="*/ 392884 w 1024238"/>
                <a:gd name="connsiteY79" fmla="*/ 183859 h 637085"/>
                <a:gd name="connsiteX80" fmla="*/ 362913 w 1024238"/>
                <a:gd name="connsiteY80" fmla="*/ 196151 h 637085"/>
                <a:gd name="connsiteX81" fmla="*/ 335390 w 1024238"/>
                <a:gd name="connsiteY81" fmla="*/ 182323 h 637085"/>
                <a:gd name="connsiteX82" fmla="*/ 321322 w 1024238"/>
                <a:gd name="connsiteY82" fmla="*/ 168494 h 637085"/>
                <a:gd name="connsiteX83" fmla="*/ 321322 w 1024238"/>
                <a:gd name="connsiteY83" fmla="*/ 154359 h 637085"/>
                <a:gd name="connsiteX84" fmla="*/ 297468 w 1024238"/>
                <a:gd name="connsiteY84" fmla="*/ 143296 h 637085"/>
                <a:gd name="connsiteX85" fmla="*/ 293798 w 1024238"/>
                <a:gd name="connsiteY85" fmla="*/ 117483 h 637085"/>
                <a:gd name="connsiteX86" fmla="*/ 326827 w 1024238"/>
                <a:gd name="connsiteY86" fmla="*/ 113796 h 637085"/>
                <a:gd name="connsiteX87" fmla="*/ 332331 w 1024238"/>
                <a:gd name="connsiteY87" fmla="*/ 95358 h 637085"/>
                <a:gd name="connsiteX88" fmla="*/ 59665 w 1024238"/>
                <a:gd name="connsiteY88" fmla="*/ 0 h 637085"/>
                <a:gd name="connsiteX89" fmla="*/ 84884 w 1024238"/>
                <a:gd name="connsiteY89" fmla="*/ 2190 h 637085"/>
                <a:gd name="connsiteX90" fmla="*/ 87652 w 1024238"/>
                <a:gd name="connsiteY90" fmla="*/ 28479 h 637085"/>
                <a:gd name="connsiteX91" fmla="*/ 87652 w 1024238"/>
                <a:gd name="connsiteY91" fmla="*/ 56957 h 637085"/>
                <a:gd name="connsiteX92" fmla="*/ 75657 w 1024238"/>
                <a:gd name="connsiteY92" fmla="*/ 75422 h 637085"/>
                <a:gd name="connsiteX93" fmla="*/ 53206 w 1024238"/>
                <a:gd name="connsiteY93" fmla="*/ 81055 h 637085"/>
                <a:gd name="connsiteX94" fmla="*/ 31985 w 1024238"/>
                <a:gd name="connsiteY94" fmla="*/ 71040 h 637085"/>
                <a:gd name="connsiteX95" fmla="*/ 12610 w 1024238"/>
                <a:gd name="connsiteY95" fmla="*/ 75422 h 637085"/>
                <a:gd name="connsiteX96" fmla="*/ 0 w 1024238"/>
                <a:gd name="connsiteY96" fmla="*/ 64155 h 637085"/>
                <a:gd name="connsiteX97" fmla="*/ 3998 w 1024238"/>
                <a:gd name="connsiteY97" fmla="*/ 42561 h 637085"/>
                <a:gd name="connsiteX98" fmla="*/ 17838 w 1024238"/>
                <a:gd name="connsiteY98" fmla="*/ 14396 h 637085"/>
                <a:gd name="connsiteX99" fmla="*/ 36906 w 1024238"/>
                <a:gd name="connsiteY99" fmla="*/ 2190 h 63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024238" h="637085">
                  <a:moveTo>
                    <a:pt x="795449" y="335564"/>
                  </a:moveTo>
                  <a:lnTo>
                    <a:pt x="810210" y="351563"/>
                  </a:lnTo>
                  <a:lnTo>
                    <a:pt x="839731" y="363870"/>
                  </a:lnTo>
                  <a:lnTo>
                    <a:pt x="865254" y="363563"/>
                  </a:lnTo>
                  <a:lnTo>
                    <a:pt x="891393" y="373716"/>
                  </a:lnTo>
                  <a:lnTo>
                    <a:pt x="915994" y="378639"/>
                  </a:lnTo>
                  <a:lnTo>
                    <a:pt x="935060" y="405406"/>
                  </a:lnTo>
                  <a:lnTo>
                    <a:pt x="957816" y="422944"/>
                  </a:lnTo>
                  <a:lnTo>
                    <a:pt x="963043" y="447250"/>
                  </a:lnTo>
                  <a:lnTo>
                    <a:pt x="1002097" y="462326"/>
                  </a:lnTo>
                  <a:lnTo>
                    <a:pt x="1024238" y="484479"/>
                  </a:lnTo>
                  <a:lnTo>
                    <a:pt x="1011938" y="501708"/>
                  </a:lnTo>
                  <a:lnTo>
                    <a:pt x="994717" y="531245"/>
                  </a:lnTo>
                  <a:lnTo>
                    <a:pt x="970116" y="536168"/>
                  </a:lnTo>
                  <a:lnTo>
                    <a:pt x="935675" y="553398"/>
                  </a:lnTo>
                  <a:lnTo>
                    <a:pt x="915994" y="573089"/>
                  </a:lnTo>
                  <a:lnTo>
                    <a:pt x="896313" y="590319"/>
                  </a:lnTo>
                  <a:lnTo>
                    <a:pt x="891393" y="612471"/>
                  </a:lnTo>
                  <a:lnTo>
                    <a:pt x="876632" y="637085"/>
                  </a:lnTo>
                  <a:lnTo>
                    <a:pt x="837271" y="628470"/>
                  </a:lnTo>
                  <a:lnTo>
                    <a:pt x="824970" y="614933"/>
                  </a:lnTo>
                  <a:lnTo>
                    <a:pt x="809595" y="586627"/>
                  </a:lnTo>
                  <a:lnTo>
                    <a:pt x="820050" y="568166"/>
                  </a:lnTo>
                  <a:lnTo>
                    <a:pt x="810210" y="536168"/>
                  </a:lnTo>
                  <a:lnTo>
                    <a:pt x="795449" y="502939"/>
                  </a:lnTo>
                  <a:lnTo>
                    <a:pt x="767773" y="474941"/>
                  </a:lnTo>
                  <a:lnTo>
                    <a:pt x="781611" y="447250"/>
                  </a:lnTo>
                  <a:lnTo>
                    <a:pt x="797909" y="425405"/>
                  </a:lnTo>
                  <a:lnTo>
                    <a:pt x="812670" y="410637"/>
                  </a:lnTo>
                  <a:lnTo>
                    <a:pt x="800369" y="383561"/>
                  </a:lnTo>
                  <a:lnTo>
                    <a:pt x="781611" y="377408"/>
                  </a:lnTo>
                  <a:lnTo>
                    <a:pt x="783149" y="361409"/>
                  </a:lnTo>
                  <a:close/>
                  <a:moveTo>
                    <a:pt x="557748" y="223709"/>
                  </a:moveTo>
                  <a:lnTo>
                    <a:pt x="572036" y="237815"/>
                  </a:lnTo>
                  <a:lnTo>
                    <a:pt x="594090" y="244711"/>
                  </a:lnTo>
                  <a:lnTo>
                    <a:pt x="590363" y="263519"/>
                  </a:lnTo>
                  <a:lnTo>
                    <a:pt x="575453" y="280447"/>
                  </a:lnTo>
                  <a:lnTo>
                    <a:pt x="564271" y="274804"/>
                  </a:lnTo>
                  <a:lnTo>
                    <a:pt x="554953" y="261639"/>
                  </a:lnTo>
                  <a:lnTo>
                    <a:pt x="543771" y="237815"/>
                  </a:lnTo>
                  <a:close/>
                  <a:moveTo>
                    <a:pt x="630517" y="202635"/>
                  </a:moveTo>
                  <a:lnTo>
                    <a:pt x="655478" y="210643"/>
                  </a:lnTo>
                  <a:lnTo>
                    <a:pt x="673043" y="217419"/>
                  </a:lnTo>
                  <a:lnTo>
                    <a:pt x="683212" y="210643"/>
                  </a:lnTo>
                  <a:lnTo>
                    <a:pt x="711871" y="206331"/>
                  </a:lnTo>
                  <a:lnTo>
                    <a:pt x="725430" y="224503"/>
                  </a:lnTo>
                  <a:lnTo>
                    <a:pt x="753164" y="238364"/>
                  </a:lnTo>
                  <a:lnTo>
                    <a:pt x="753164" y="266392"/>
                  </a:lnTo>
                  <a:lnTo>
                    <a:pt x="734058" y="282100"/>
                  </a:lnTo>
                  <a:lnTo>
                    <a:pt x="722965" y="283949"/>
                  </a:lnTo>
                  <a:lnTo>
                    <a:pt x="708173" y="285797"/>
                  </a:lnTo>
                  <a:lnTo>
                    <a:pt x="695230" y="295037"/>
                  </a:lnTo>
                  <a:lnTo>
                    <a:pt x="683212" y="280252"/>
                  </a:lnTo>
                  <a:lnTo>
                    <a:pt x="671194" y="263620"/>
                  </a:lnTo>
                  <a:lnTo>
                    <a:pt x="650856" y="248836"/>
                  </a:lnTo>
                  <a:lnTo>
                    <a:pt x="627436" y="252532"/>
                  </a:lnTo>
                  <a:lnTo>
                    <a:pt x="617575" y="237748"/>
                  </a:lnTo>
                  <a:lnTo>
                    <a:pt x="613569" y="224503"/>
                  </a:lnTo>
                  <a:lnTo>
                    <a:pt x="627436" y="210643"/>
                  </a:lnTo>
                  <a:close/>
                  <a:moveTo>
                    <a:pt x="599512" y="168593"/>
                  </a:moveTo>
                  <a:lnTo>
                    <a:pt x="613569" y="182539"/>
                  </a:lnTo>
                  <a:lnTo>
                    <a:pt x="613569" y="196485"/>
                  </a:lnTo>
                  <a:lnTo>
                    <a:pt x="602873" y="198965"/>
                  </a:lnTo>
                  <a:lnTo>
                    <a:pt x="590038" y="204543"/>
                  </a:lnTo>
                  <a:lnTo>
                    <a:pt x="557951" y="196485"/>
                  </a:lnTo>
                  <a:lnTo>
                    <a:pt x="544200" y="196485"/>
                  </a:lnTo>
                  <a:lnTo>
                    <a:pt x="516391" y="210742"/>
                  </a:lnTo>
                  <a:lnTo>
                    <a:pt x="502028" y="202684"/>
                  </a:lnTo>
                  <a:lnTo>
                    <a:pt x="488582" y="182539"/>
                  </a:lnTo>
                  <a:lnTo>
                    <a:pt x="509362" y="169213"/>
                  </a:lnTo>
                  <a:lnTo>
                    <a:pt x="533198" y="171072"/>
                  </a:lnTo>
                  <a:lnTo>
                    <a:pt x="557951" y="182539"/>
                  </a:lnTo>
                  <a:lnTo>
                    <a:pt x="580871" y="172932"/>
                  </a:lnTo>
                  <a:close/>
                  <a:moveTo>
                    <a:pt x="354350" y="84296"/>
                  </a:moveTo>
                  <a:lnTo>
                    <a:pt x="372700" y="104577"/>
                  </a:lnTo>
                  <a:lnTo>
                    <a:pt x="385544" y="132234"/>
                  </a:lnTo>
                  <a:lnTo>
                    <a:pt x="400224" y="141452"/>
                  </a:lnTo>
                  <a:lnTo>
                    <a:pt x="418573" y="146984"/>
                  </a:lnTo>
                  <a:lnTo>
                    <a:pt x="420408" y="169109"/>
                  </a:lnTo>
                  <a:lnTo>
                    <a:pt x="392884" y="183859"/>
                  </a:lnTo>
                  <a:lnTo>
                    <a:pt x="362913" y="196151"/>
                  </a:lnTo>
                  <a:lnTo>
                    <a:pt x="335390" y="182323"/>
                  </a:lnTo>
                  <a:lnTo>
                    <a:pt x="321322" y="168494"/>
                  </a:lnTo>
                  <a:lnTo>
                    <a:pt x="321322" y="154359"/>
                  </a:lnTo>
                  <a:lnTo>
                    <a:pt x="297468" y="143296"/>
                  </a:lnTo>
                  <a:lnTo>
                    <a:pt x="293798" y="117483"/>
                  </a:lnTo>
                  <a:lnTo>
                    <a:pt x="326827" y="113796"/>
                  </a:lnTo>
                  <a:lnTo>
                    <a:pt x="332331" y="95358"/>
                  </a:lnTo>
                  <a:close/>
                  <a:moveTo>
                    <a:pt x="59665" y="0"/>
                  </a:moveTo>
                  <a:lnTo>
                    <a:pt x="84884" y="2190"/>
                  </a:lnTo>
                  <a:lnTo>
                    <a:pt x="87652" y="28479"/>
                  </a:lnTo>
                  <a:lnTo>
                    <a:pt x="87652" y="56957"/>
                  </a:lnTo>
                  <a:lnTo>
                    <a:pt x="75657" y="75422"/>
                  </a:lnTo>
                  <a:lnTo>
                    <a:pt x="53206" y="81055"/>
                  </a:lnTo>
                  <a:lnTo>
                    <a:pt x="31985" y="71040"/>
                  </a:lnTo>
                  <a:lnTo>
                    <a:pt x="12610" y="75422"/>
                  </a:lnTo>
                  <a:lnTo>
                    <a:pt x="0" y="64155"/>
                  </a:lnTo>
                  <a:lnTo>
                    <a:pt x="3998" y="42561"/>
                  </a:lnTo>
                  <a:lnTo>
                    <a:pt x="17838" y="14396"/>
                  </a:lnTo>
                  <a:lnTo>
                    <a:pt x="36906" y="2190"/>
                  </a:lnTo>
                  <a:close/>
                </a:path>
              </a:pathLst>
            </a:custGeom>
            <a:grpFill/>
            <a:ln w="9525" cmpd="sng">
              <a:solidFill>
                <a:schemeClr val="bg1"/>
              </a:solidFill>
              <a:prstDash val="solid"/>
              <a:round/>
              <a:headEnd/>
              <a:tailEnd/>
            </a:ln>
            <a:effectLst/>
          </p:spPr>
          <p:txBody>
            <a:bodyPr wrap="square">
              <a:noAutofit/>
            </a:bodyPr>
            <a:lstStyle/>
            <a:p>
              <a:endParaRPr lang="zh-CN" altLang="en-US" kern="0">
                <a:solidFill>
                  <a:sysClr val="windowText" lastClr="000000"/>
                </a:solidFill>
              </a:endParaRPr>
            </a:p>
          </p:txBody>
        </p:sp>
        <p:sp>
          <p:nvSpPr>
            <p:cNvPr id="1085" name="Georgia">
              <a:extLst>
                <a:ext uri="{FF2B5EF4-FFF2-40B4-BE49-F238E27FC236}">
                  <a16:creationId xmlns:a16="http://schemas.microsoft.com/office/drawing/2014/main" id="{152C4EB6-4AE9-2C9B-B8B4-534967F7DEAC}"/>
                </a:ext>
              </a:extLst>
            </p:cNvPr>
            <p:cNvSpPr>
              <a:spLocks/>
            </p:cNvSpPr>
            <p:nvPr/>
          </p:nvSpPr>
          <p:spPr bwMode="auto">
            <a:xfrm>
              <a:off x="6417404" y="3730781"/>
              <a:ext cx="650902" cy="697066"/>
            </a:xfrm>
            <a:custGeom>
              <a:avLst/>
              <a:gdLst>
                <a:gd name="T0" fmla="*/ 5 w 2113"/>
                <a:gd name="T1" fmla="*/ 43 h 2269"/>
                <a:gd name="T2" fmla="*/ 28 w 2113"/>
                <a:gd name="T3" fmla="*/ 31 h 2269"/>
                <a:gd name="T4" fmla="*/ 58 w 2113"/>
                <a:gd name="T5" fmla="*/ 33 h 2269"/>
                <a:gd name="T6" fmla="*/ 79 w 2113"/>
                <a:gd name="T7" fmla="*/ 19 h 2269"/>
                <a:gd name="T8" fmla="*/ 110 w 2113"/>
                <a:gd name="T9" fmla="*/ 16 h 2269"/>
                <a:gd name="T10" fmla="*/ 148 w 2113"/>
                <a:gd name="T11" fmla="*/ 3 h 2269"/>
                <a:gd name="T12" fmla="*/ 171 w 2113"/>
                <a:gd name="T13" fmla="*/ 0 h 2269"/>
                <a:gd name="T14" fmla="*/ 179 w 2113"/>
                <a:gd name="T15" fmla="*/ 26 h 2269"/>
                <a:gd name="T16" fmla="*/ 191 w 2113"/>
                <a:gd name="T17" fmla="*/ 45 h 2269"/>
                <a:gd name="T18" fmla="*/ 214 w 2113"/>
                <a:gd name="T19" fmla="*/ 54 h 2269"/>
                <a:gd name="T20" fmla="*/ 219 w 2113"/>
                <a:gd name="T21" fmla="*/ 72 h 2269"/>
                <a:gd name="T22" fmla="*/ 247 w 2113"/>
                <a:gd name="T23" fmla="*/ 83 h 2269"/>
                <a:gd name="T24" fmla="*/ 270 w 2113"/>
                <a:gd name="T25" fmla="*/ 97 h 2269"/>
                <a:gd name="T26" fmla="*/ 289 w 2113"/>
                <a:gd name="T27" fmla="*/ 116 h 2269"/>
                <a:gd name="T28" fmla="*/ 316 w 2113"/>
                <a:gd name="T29" fmla="*/ 129 h 2269"/>
                <a:gd name="T30" fmla="*/ 355 w 2113"/>
                <a:gd name="T31" fmla="*/ 163 h 2269"/>
                <a:gd name="T32" fmla="*/ 350 w 2113"/>
                <a:gd name="T33" fmla="*/ 180 h 2269"/>
                <a:gd name="T34" fmla="*/ 377 w 2113"/>
                <a:gd name="T35" fmla="*/ 204 h 2269"/>
                <a:gd name="T36" fmla="*/ 401 w 2113"/>
                <a:gd name="T37" fmla="*/ 231 h 2269"/>
                <a:gd name="T38" fmla="*/ 384 w 2113"/>
                <a:gd name="T39" fmla="*/ 263 h 2269"/>
                <a:gd name="T40" fmla="*/ 377 w 2113"/>
                <a:gd name="T41" fmla="*/ 303 h 2269"/>
                <a:gd name="T42" fmla="*/ 384 w 2113"/>
                <a:gd name="T43" fmla="*/ 334 h 2269"/>
                <a:gd name="T44" fmla="*/ 388 w 2113"/>
                <a:gd name="T45" fmla="*/ 367 h 2269"/>
                <a:gd name="T46" fmla="*/ 367 w 2113"/>
                <a:gd name="T47" fmla="*/ 378 h 2269"/>
                <a:gd name="T48" fmla="*/ 344 w 2113"/>
                <a:gd name="T49" fmla="*/ 373 h 2269"/>
                <a:gd name="T50" fmla="*/ 334 w 2113"/>
                <a:gd name="T51" fmla="*/ 388 h 2269"/>
                <a:gd name="T52" fmla="*/ 334 w 2113"/>
                <a:gd name="T53" fmla="*/ 402 h 2269"/>
                <a:gd name="T54" fmla="*/ 329 w 2113"/>
                <a:gd name="T55" fmla="*/ 417 h 2269"/>
                <a:gd name="T56" fmla="*/ 318 w 2113"/>
                <a:gd name="T57" fmla="*/ 409 h 2269"/>
                <a:gd name="T58" fmla="*/ 284 w 2113"/>
                <a:gd name="T59" fmla="*/ 414 h 2269"/>
                <a:gd name="T60" fmla="*/ 216 w 2113"/>
                <a:gd name="T61" fmla="*/ 417 h 2269"/>
                <a:gd name="T62" fmla="*/ 162 w 2113"/>
                <a:gd name="T63" fmla="*/ 426 h 2269"/>
                <a:gd name="T64" fmla="*/ 116 w 2113"/>
                <a:gd name="T65" fmla="*/ 430 h 2269"/>
                <a:gd name="T66" fmla="*/ 96 w 2113"/>
                <a:gd name="T67" fmla="*/ 423 h 2269"/>
                <a:gd name="T68" fmla="*/ 81 w 2113"/>
                <a:gd name="T69" fmla="*/ 409 h 2269"/>
                <a:gd name="T70" fmla="*/ 88 w 2113"/>
                <a:gd name="T71" fmla="*/ 380 h 2269"/>
                <a:gd name="T72" fmla="*/ 80 w 2113"/>
                <a:gd name="T73" fmla="*/ 356 h 2269"/>
                <a:gd name="T74" fmla="*/ 76 w 2113"/>
                <a:gd name="T75" fmla="*/ 326 h 2269"/>
                <a:gd name="T76" fmla="*/ 73 w 2113"/>
                <a:gd name="T77" fmla="*/ 305 h 2269"/>
                <a:gd name="T78" fmla="*/ 79 w 2113"/>
                <a:gd name="T79" fmla="*/ 274 h 2269"/>
                <a:gd name="T80" fmla="*/ 47 w 2113"/>
                <a:gd name="T81" fmla="*/ 218 h 2269"/>
                <a:gd name="T82" fmla="*/ 33 w 2113"/>
                <a:gd name="T83" fmla="*/ 162 h 2269"/>
                <a:gd name="T84" fmla="*/ 14 w 2113"/>
                <a:gd name="T85" fmla="*/ 95 h 2269"/>
                <a:gd name="T86" fmla="*/ 0 w 2113"/>
                <a:gd name="T87" fmla="*/ 70 h 2269"/>
                <a:gd name="T88" fmla="*/ 5 w 2113"/>
                <a:gd name="T89" fmla="*/ 43 h 2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13" h="2269">
                  <a:moveTo>
                    <a:pt x="26" y="225"/>
                  </a:moveTo>
                  <a:lnTo>
                    <a:pt x="150" y="164"/>
                  </a:lnTo>
                  <a:lnTo>
                    <a:pt x="308" y="176"/>
                  </a:lnTo>
                  <a:lnTo>
                    <a:pt x="416" y="102"/>
                  </a:lnTo>
                  <a:lnTo>
                    <a:pt x="579" y="82"/>
                  </a:lnTo>
                  <a:lnTo>
                    <a:pt x="781" y="18"/>
                  </a:lnTo>
                  <a:lnTo>
                    <a:pt x="899" y="0"/>
                  </a:lnTo>
                  <a:lnTo>
                    <a:pt x="943" y="139"/>
                  </a:lnTo>
                  <a:lnTo>
                    <a:pt x="1009" y="238"/>
                  </a:lnTo>
                  <a:lnTo>
                    <a:pt x="1128" y="283"/>
                  </a:lnTo>
                  <a:lnTo>
                    <a:pt x="1153" y="379"/>
                  </a:lnTo>
                  <a:lnTo>
                    <a:pt x="1302" y="439"/>
                  </a:lnTo>
                  <a:lnTo>
                    <a:pt x="1421" y="512"/>
                  </a:lnTo>
                  <a:lnTo>
                    <a:pt x="1521" y="612"/>
                  </a:lnTo>
                  <a:lnTo>
                    <a:pt x="1663" y="679"/>
                  </a:lnTo>
                  <a:lnTo>
                    <a:pt x="1873" y="859"/>
                  </a:lnTo>
                  <a:lnTo>
                    <a:pt x="1843" y="949"/>
                  </a:lnTo>
                  <a:lnTo>
                    <a:pt x="1987" y="1079"/>
                  </a:lnTo>
                  <a:lnTo>
                    <a:pt x="2113" y="1219"/>
                  </a:lnTo>
                  <a:lnTo>
                    <a:pt x="2024" y="1390"/>
                  </a:lnTo>
                  <a:lnTo>
                    <a:pt x="1987" y="1600"/>
                  </a:lnTo>
                  <a:lnTo>
                    <a:pt x="2024" y="1764"/>
                  </a:lnTo>
                  <a:lnTo>
                    <a:pt x="2042" y="1938"/>
                  </a:lnTo>
                  <a:lnTo>
                    <a:pt x="1933" y="1993"/>
                  </a:lnTo>
                  <a:lnTo>
                    <a:pt x="1813" y="1969"/>
                  </a:lnTo>
                  <a:lnTo>
                    <a:pt x="1759" y="2048"/>
                  </a:lnTo>
                  <a:lnTo>
                    <a:pt x="1759" y="2121"/>
                  </a:lnTo>
                  <a:lnTo>
                    <a:pt x="1731" y="2203"/>
                  </a:lnTo>
                  <a:lnTo>
                    <a:pt x="1677" y="2158"/>
                  </a:lnTo>
                  <a:lnTo>
                    <a:pt x="1494" y="2185"/>
                  </a:lnTo>
                  <a:lnTo>
                    <a:pt x="1137" y="2203"/>
                  </a:lnTo>
                  <a:lnTo>
                    <a:pt x="854" y="2249"/>
                  </a:lnTo>
                  <a:lnTo>
                    <a:pt x="613" y="2269"/>
                  </a:lnTo>
                  <a:lnTo>
                    <a:pt x="506" y="2231"/>
                  </a:lnTo>
                  <a:lnTo>
                    <a:pt x="426" y="2156"/>
                  </a:lnTo>
                  <a:lnTo>
                    <a:pt x="464" y="2007"/>
                  </a:lnTo>
                  <a:lnTo>
                    <a:pt x="423" y="1877"/>
                  </a:lnTo>
                  <a:lnTo>
                    <a:pt x="402" y="1718"/>
                  </a:lnTo>
                  <a:lnTo>
                    <a:pt x="383" y="1610"/>
                  </a:lnTo>
                  <a:lnTo>
                    <a:pt x="416" y="1448"/>
                  </a:lnTo>
                  <a:lnTo>
                    <a:pt x="246" y="1148"/>
                  </a:lnTo>
                  <a:lnTo>
                    <a:pt x="173" y="857"/>
                  </a:lnTo>
                  <a:lnTo>
                    <a:pt x="72" y="500"/>
                  </a:lnTo>
                  <a:lnTo>
                    <a:pt x="0" y="369"/>
                  </a:lnTo>
                  <a:lnTo>
                    <a:pt x="26" y="225"/>
                  </a:lnTo>
                  <a:close/>
                </a:path>
              </a:pathLst>
            </a:custGeom>
            <a:solidFill>
              <a:srgbClr val="87729E"/>
            </a:solidFill>
            <a:ln w="6350" cmpd="sng">
              <a:solidFill>
                <a:schemeClr val="bg1"/>
              </a:solidFill>
              <a:prstDash val="solid"/>
              <a:round/>
              <a:headEnd/>
              <a:tailEnd/>
            </a:ln>
            <a:effectLst/>
          </p:spPr>
          <p:txBody>
            <a:bodyPr/>
            <a:lstStyle/>
            <a:p>
              <a:endParaRPr lang="zh-CN" altLang="en-US" kern="0"/>
            </a:p>
          </p:txBody>
        </p:sp>
        <p:sp>
          <p:nvSpPr>
            <p:cNvPr id="1086" name="Florida">
              <a:extLst>
                <a:ext uri="{FF2B5EF4-FFF2-40B4-BE49-F238E27FC236}">
                  <a16:creationId xmlns:a16="http://schemas.microsoft.com/office/drawing/2014/main" id="{63FAAB01-3B62-0701-5E36-4639949A4E6F}"/>
                </a:ext>
              </a:extLst>
            </p:cNvPr>
            <p:cNvSpPr>
              <a:spLocks/>
            </p:cNvSpPr>
            <p:nvPr/>
          </p:nvSpPr>
          <p:spPr bwMode="auto">
            <a:xfrm>
              <a:off x="6243721" y="4325719"/>
              <a:ext cx="1098906" cy="857553"/>
            </a:xfrm>
            <a:custGeom>
              <a:avLst/>
              <a:gdLst>
                <a:gd name="T0" fmla="*/ 33 w 3573"/>
                <a:gd name="T1" fmla="*/ 131 h 2793"/>
                <a:gd name="T2" fmla="*/ 62 w 3573"/>
                <a:gd name="T3" fmla="*/ 131 h 2793"/>
                <a:gd name="T4" fmla="*/ 118 w 3573"/>
                <a:gd name="T5" fmla="*/ 129 h 2793"/>
                <a:gd name="T6" fmla="*/ 175 w 3573"/>
                <a:gd name="T7" fmla="*/ 153 h 2793"/>
                <a:gd name="T8" fmla="*/ 221 w 3573"/>
                <a:gd name="T9" fmla="*/ 160 h 2793"/>
                <a:gd name="T10" fmla="*/ 257 w 3573"/>
                <a:gd name="T11" fmla="*/ 136 h 2793"/>
                <a:gd name="T12" fmla="*/ 301 w 3573"/>
                <a:gd name="T13" fmla="*/ 113 h 2793"/>
                <a:gd name="T14" fmla="*/ 339 w 3573"/>
                <a:gd name="T15" fmla="*/ 148 h 2793"/>
                <a:gd name="T16" fmla="*/ 380 w 3573"/>
                <a:gd name="T17" fmla="*/ 177 h 2793"/>
                <a:gd name="T18" fmla="*/ 414 w 3573"/>
                <a:gd name="T19" fmla="*/ 220 h 2793"/>
                <a:gd name="T20" fmla="*/ 419 w 3573"/>
                <a:gd name="T21" fmla="*/ 266 h 2793"/>
                <a:gd name="T22" fmla="*/ 426 w 3573"/>
                <a:gd name="T23" fmla="*/ 308 h 2793"/>
                <a:gd name="T24" fmla="*/ 448 w 3573"/>
                <a:gd name="T25" fmla="*/ 296 h 2793"/>
                <a:gd name="T26" fmla="*/ 448 w 3573"/>
                <a:gd name="T27" fmla="*/ 319 h 2793"/>
                <a:gd name="T28" fmla="*/ 461 w 3573"/>
                <a:gd name="T29" fmla="*/ 369 h 2793"/>
                <a:gd name="T30" fmla="*/ 500 w 3573"/>
                <a:gd name="T31" fmla="*/ 370 h 2793"/>
                <a:gd name="T32" fmla="*/ 537 w 3573"/>
                <a:gd name="T33" fmla="*/ 429 h 2793"/>
                <a:gd name="T34" fmla="*/ 551 w 3573"/>
                <a:gd name="T35" fmla="*/ 472 h 2793"/>
                <a:gd name="T36" fmla="*/ 596 w 3573"/>
                <a:gd name="T37" fmla="*/ 501 h 2793"/>
                <a:gd name="T38" fmla="*/ 602 w 3573"/>
                <a:gd name="T39" fmla="*/ 529 h 2793"/>
                <a:gd name="T40" fmla="*/ 638 w 3573"/>
                <a:gd name="T41" fmla="*/ 525 h 2793"/>
                <a:gd name="T42" fmla="*/ 659 w 3573"/>
                <a:gd name="T43" fmla="*/ 518 h 2793"/>
                <a:gd name="T44" fmla="*/ 662 w 3573"/>
                <a:gd name="T45" fmla="*/ 474 h 2793"/>
                <a:gd name="T46" fmla="*/ 677 w 3573"/>
                <a:gd name="T47" fmla="*/ 429 h 2793"/>
                <a:gd name="T48" fmla="*/ 670 w 3573"/>
                <a:gd name="T49" fmla="*/ 353 h 2793"/>
                <a:gd name="T50" fmla="*/ 591 w 3573"/>
                <a:gd name="T51" fmla="*/ 222 h 2793"/>
                <a:gd name="T52" fmla="*/ 591 w 3573"/>
                <a:gd name="T53" fmla="*/ 188 h 2793"/>
                <a:gd name="T54" fmla="*/ 613 w 3573"/>
                <a:gd name="T55" fmla="*/ 227 h 2793"/>
                <a:gd name="T56" fmla="*/ 596 w 3573"/>
                <a:gd name="T57" fmla="*/ 182 h 2793"/>
                <a:gd name="T58" fmla="*/ 551 w 3573"/>
                <a:gd name="T59" fmla="*/ 137 h 2793"/>
                <a:gd name="T60" fmla="*/ 528 w 3573"/>
                <a:gd name="T61" fmla="*/ 93 h 2793"/>
                <a:gd name="T62" fmla="*/ 513 w 3573"/>
                <a:gd name="T63" fmla="*/ 43 h 2793"/>
                <a:gd name="T64" fmla="*/ 492 w 3573"/>
                <a:gd name="T65" fmla="*/ 50 h 2793"/>
                <a:gd name="T66" fmla="*/ 483 w 3573"/>
                <a:gd name="T67" fmla="*/ 69 h 2793"/>
                <a:gd name="T68" fmla="*/ 494 w 3573"/>
                <a:gd name="T69" fmla="*/ 18 h 2793"/>
                <a:gd name="T70" fmla="*/ 474 w 3573"/>
                <a:gd name="T71" fmla="*/ 10 h 2793"/>
                <a:gd name="T72" fmla="*/ 441 w 3573"/>
                <a:gd name="T73" fmla="*/ 21 h 2793"/>
                <a:gd name="T74" fmla="*/ 435 w 3573"/>
                <a:gd name="T75" fmla="*/ 51 h 2793"/>
                <a:gd name="T76" fmla="*/ 388 w 3573"/>
                <a:gd name="T77" fmla="*/ 47 h 2793"/>
                <a:gd name="T78" fmla="*/ 271 w 3573"/>
                <a:gd name="T79" fmla="*/ 59 h 2793"/>
                <a:gd name="T80" fmla="*/ 204 w 3573"/>
                <a:gd name="T81" fmla="*/ 56 h 2793"/>
                <a:gd name="T82" fmla="*/ 124 w 3573"/>
                <a:gd name="T83" fmla="*/ 56 h 2793"/>
                <a:gd name="T84" fmla="*/ 37 w 3573"/>
                <a:gd name="T85" fmla="*/ 78 h 2793"/>
                <a:gd name="T86" fmla="*/ 0 w 3573"/>
                <a:gd name="T87" fmla="*/ 110 h 27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573" h="2793">
                  <a:moveTo>
                    <a:pt x="32" y="756"/>
                  </a:moveTo>
                  <a:lnTo>
                    <a:pt x="176" y="693"/>
                  </a:lnTo>
                  <a:lnTo>
                    <a:pt x="206" y="633"/>
                  </a:lnTo>
                  <a:lnTo>
                    <a:pt x="326" y="693"/>
                  </a:lnTo>
                  <a:lnTo>
                    <a:pt x="441" y="616"/>
                  </a:lnTo>
                  <a:lnTo>
                    <a:pt x="621" y="682"/>
                  </a:lnTo>
                  <a:lnTo>
                    <a:pt x="795" y="646"/>
                  </a:lnTo>
                  <a:lnTo>
                    <a:pt x="921" y="808"/>
                  </a:lnTo>
                  <a:lnTo>
                    <a:pt x="1016" y="873"/>
                  </a:lnTo>
                  <a:lnTo>
                    <a:pt x="1166" y="843"/>
                  </a:lnTo>
                  <a:lnTo>
                    <a:pt x="1269" y="820"/>
                  </a:lnTo>
                  <a:lnTo>
                    <a:pt x="1359" y="718"/>
                  </a:lnTo>
                  <a:lnTo>
                    <a:pt x="1443" y="628"/>
                  </a:lnTo>
                  <a:lnTo>
                    <a:pt x="1587" y="598"/>
                  </a:lnTo>
                  <a:lnTo>
                    <a:pt x="1676" y="663"/>
                  </a:lnTo>
                  <a:lnTo>
                    <a:pt x="1791" y="784"/>
                  </a:lnTo>
                  <a:lnTo>
                    <a:pt x="1827" y="873"/>
                  </a:lnTo>
                  <a:lnTo>
                    <a:pt x="2007" y="934"/>
                  </a:lnTo>
                  <a:lnTo>
                    <a:pt x="2127" y="994"/>
                  </a:lnTo>
                  <a:lnTo>
                    <a:pt x="2187" y="1162"/>
                  </a:lnTo>
                  <a:lnTo>
                    <a:pt x="2187" y="1263"/>
                  </a:lnTo>
                  <a:lnTo>
                    <a:pt x="2211" y="1402"/>
                  </a:lnTo>
                  <a:lnTo>
                    <a:pt x="2211" y="1516"/>
                  </a:lnTo>
                  <a:lnTo>
                    <a:pt x="2247" y="1624"/>
                  </a:lnTo>
                  <a:lnTo>
                    <a:pt x="2289" y="1582"/>
                  </a:lnTo>
                  <a:lnTo>
                    <a:pt x="2367" y="1563"/>
                  </a:lnTo>
                  <a:lnTo>
                    <a:pt x="2391" y="1636"/>
                  </a:lnTo>
                  <a:lnTo>
                    <a:pt x="2367" y="1683"/>
                  </a:lnTo>
                  <a:lnTo>
                    <a:pt x="2349" y="1786"/>
                  </a:lnTo>
                  <a:lnTo>
                    <a:pt x="2433" y="1948"/>
                  </a:lnTo>
                  <a:lnTo>
                    <a:pt x="2565" y="2050"/>
                  </a:lnTo>
                  <a:lnTo>
                    <a:pt x="2637" y="1953"/>
                  </a:lnTo>
                  <a:lnTo>
                    <a:pt x="2715" y="2152"/>
                  </a:lnTo>
                  <a:lnTo>
                    <a:pt x="2835" y="2266"/>
                  </a:lnTo>
                  <a:lnTo>
                    <a:pt x="2883" y="2404"/>
                  </a:lnTo>
                  <a:lnTo>
                    <a:pt x="2907" y="2493"/>
                  </a:lnTo>
                  <a:lnTo>
                    <a:pt x="3057" y="2493"/>
                  </a:lnTo>
                  <a:lnTo>
                    <a:pt x="3147" y="2643"/>
                  </a:lnTo>
                  <a:lnTo>
                    <a:pt x="3237" y="2703"/>
                  </a:lnTo>
                  <a:lnTo>
                    <a:pt x="3177" y="2793"/>
                  </a:lnTo>
                  <a:lnTo>
                    <a:pt x="3267" y="2793"/>
                  </a:lnTo>
                  <a:lnTo>
                    <a:pt x="3369" y="2770"/>
                  </a:lnTo>
                  <a:lnTo>
                    <a:pt x="3387" y="2703"/>
                  </a:lnTo>
                  <a:lnTo>
                    <a:pt x="3477" y="2733"/>
                  </a:lnTo>
                  <a:lnTo>
                    <a:pt x="3537" y="2583"/>
                  </a:lnTo>
                  <a:lnTo>
                    <a:pt x="3495" y="2500"/>
                  </a:lnTo>
                  <a:lnTo>
                    <a:pt x="3549" y="2428"/>
                  </a:lnTo>
                  <a:lnTo>
                    <a:pt x="3573" y="2266"/>
                  </a:lnTo>
                  <a:lnTo>
                    <a:pt x="3573" y="2086"/>
                  </a:lnTo>
                  <a:lnTo>
                    <a:pt x="3537" y="1863"/>
                  </a:lnTo>
                  <a:lnTo>
                    <a:pt x="3387" y="1503"/>
                  </a:lnTo>
                  <a:lnTo>
                    <a:pt x="3117" y="1173"/>
                  </a:lnTo>
                  <a:lnTo>
                    <a:pt x="3027" y="993"/>
                  </a:lnTo>
                  <a:lnTo>
                    <a:pt x="3117" y="993"/>
                  </a:lnTo>
                  <a:lnTo>
                    <a:pt x="3183" y="1096"/>
                  </a:lnTo>
                  <a:lnTo>
                    <a:pt x="3237" y="1198"/>
                  </a:lnTo>
                  <a:lnTo>
                    <a:pt x="3273" y="1198"/>
                  </a:lnTo>
                  <a:lnTo>
                    <a:pt x="3147" y="963"/>
                  </a:lnTo>
                  <a:lnTo>
                    <a:pt x="3021" y="832"/>
                  </a:lnTo>
                  <a:lnTo>
                    <a:pt x="2907" y="723"/>
                  </a:lnTo>
                  <a:lnTo>
                    <a:pt x="2865" y="604"/>
                  </a:lnTo>
                  <a:lnTo>
                    <a:pt x="2787" y="490"/>
                  </a:lnTo>
                  <a:lnTo>
                    <a:pt x="2733" y="370"/>
                  </a:lnTo>
                  <a:lnTo>
                    <a:pt x="2709" y="226"/>
                  </a:lnTo>
                  <a:lnTo>
                    <a:pt x="2637" y="183"/>
                  </a:lnTo>
                  <a:lnTo>
                    <a:pt x="2595" y="262"/>
                  </a:lnTo>
                  <a:lnTo>
                    <a:pt x="2643" y="448"/>
                  </a:lnTo>
                  <a:lnTo>
                    <a:pt x="2547" y="364"/>
                  </a:lnTo>
                  <a:lnTo>
                    <a:pt x="2547" y="213"/>
                  </a:lnTo>
                  <a:lnTo>
                    <a:pt x="2607" y="93"/>
                  </a:lnTo>
                  <a:lnTo>
                    <a:pt x="2609" y="0"/>
                  </a:lnTo>
                  <a:lnTo>
                    <a:pt x="2499" y="55"/>
                  </a:lnTo>
                  <a:lnTo>
                    <a:pt x="2379" y="31"/>
                  </a:lnTo>
                  <a:lnTo>
                    <a:pt x="2325" y="112"/>
                  </a:lnTo>
                  <a:lnTo>
                    <a:pt x="2325" y="184"/>
                  </a:lnTo>
                  <a:lnTo>
                    <a:pt x="2298" y="268"/>
                  </a:lnTo>
                  <a:lnTo>
                    <a:pt x="2246" y="220"/>
                  </a:lnTo>
                  <a:lnTo>
                    <a:pt x="2049" y="249"/>
                  </a:lnTo>
                  <a:lnTo>
                    <a:pt x="1703" y="265"/>
                  </a:lnTo>
                  <a:lnTo>
                    <a:pt x="1430" y="310"/>
                  </a:lnTo>
                  <a:lnTo>
                    <a:pt x="1185" y="333"/>
                  </a:lnTo>
                  <a:lnTo>
                    <a:pt x="1076" y="295"/>
                  </a:lnTo>
                  <a:lnTo>
                    <a:pt x="992" y="220"/>
                  </a:lnTo>
                  <a:lnTo>
                    <a:pt x="653" y="297"/>
                  </a:lnTo>
                  <a:lnTo>
                    <a:pt x="329" y="400"/>
                  </a:lnTo>
                  <a:lnTo>
                    <a:pt x="195" y="414"/>
                  </a:lnTo>
                  <a:lnTo>
                    <a:pt x="2" y="459"/>
                  </a:lnTo>
                  <a:lnTo>
                    <a:pt x="0" y="580"/>
                  </a:lnTo>
                  <a:lnTo>
                    <a:pt x="32" y="756"/>
                  </a:lnTo>
                  <a:close/>
                </a:path>
              </a:pathLst>
            </a:custGeom>
            <a:solidFill>
              <a:srgbClr val="CDC4D6"/>
            </a:solidFill>
            <a:ln w="6350" cmpd="sng">
              <a:solidFill>
                <a:schemeClr val="bg1"/>
              </a:solidFill>
              <a:prstDash val="solid"/>
              <a:round/>
              <a:headEnd/>
              <a:tailEnd/>
            </a:ln>
            <a:effectLst/>
          </p:spPr>
          <p:txBody>
            <a:bodyPr/>
            <a:lstStyle/>
            <a:p>
              <a:pPr fontAlgn="base">
                <a:spcBef>
                  <a:spcPct val="0"/>
                </a:spcBef>
                <a:spcAft>
                  <a:spcPct val="0"/>
                </a:spcAft>
              </a:pPr>
              <a:endParaRPr lang="zh-CN" altLang="en-US" b="1" kern="0">
                <a:solidFill>
                  <a:srgbClr val="000000"/>
                </a:solidFill>
                <a:latin typeface="Arial" charset="0"/>
              </a:endParaRPr>
            </a:p>
          </p:txBody>
        </p:sp>
        <p:sp>
          <p:nvSpPr>
            <p:cNvPr id="1087" name="Delaware">
              <a:extLst>
                <a:ext uri="{FF2B5EF4-FFF2-40B4-BE49-F238E27FC236}">
                  <a16:creationId xmlns:a16="http://schemas.microsoft.com/office/drawing/2014/main" id="{28F6BABE-EBD2-351D-E4EF-EC9F85F19B7F}"/>
                </a:ext>
              </a:extLst>
            </p:cNvPr>
            <p:cNvSpPr>
              <a:spLocks/>
            </p:cNvSpPr>
            <p:nvPr/>
          </p:nvSpPr>
          <p:spPr bwMode="auto">
            <a:xfrm>
              <a:off x="7410802" y="2745163"/>
              <a:ext cx="134725" cy="186425"/>
            </a:xfrm>
            <a:custGeom>
              <a:avLst/>
              <a:gdLst>
                <a:gd name="T0" fmla="*/ 64 w 438"/>
                <a:gd name="T1" fmla="*/ 107 h 605"/>
                <a:gd name="T2" fmla="*/ 78 w 438"/>
                <a:gd name="T3" fmla="*/ 105 h 605"/>
                <a:gd name="T4" fmla="*/ 83 w 438"/>
                <a:gd name="T5" fmla="*/ 79 h 605"/>
                <a:gd name="T6" fmla="*/ 66 w 438"/>
                <a:gd name="T7" fmla="*/ 62 h 605"/>
                <a:gd name="T8" fmla="*/ 49 w 438"/>
                <a:gd name="T9" fmla="*/ 49 h 605"/>
                <a:gd name="T10" fmla="*/ 33 w 438"/>
                <a:gd name="T11" fmla="*/ 31 h 605"/>
                <a:gd name="T12" fmla="*/ 22 w 438"/>
                <a:gd name="T13" fmla="*/ 0 h 605"/>
                <a:gd name="T14" fmla="*/ 0 w 438"/>
                <a:gd name="T15" fmla="*/ 2 h 605"/>
                <a:gd name="T16" fmla="*/ 7 w 438"/>
                <a:gd name="T17" fmla="*/ 19 h 605"/>
                <a:gd name="T18" fmla="*/ 15 w 438"/>
                <a:gd name="T19" fmla="*/ 33 h 605"/>
                <a:gd name="T20" fmla="*/ 19 w 438"/>
                <a:gd name="T21" fmla="*/ 52 h 605"/>
                <a:gd name="T22" fmla="*/ 26 w 438"/>
                <a:gd name="T23" fmla="*/ 63 h 605"/>
                <a:gd name="T24" fmla="*/ 31 w 438"/>
                <a:gd name="T25" fmla="*/ 82 h 605"/>
                <a:gd name="T26" fmla="*/ 40 w 438"/>
                <a:gd name="T27" fmla="*/ 104 h 605"/>
                <a:gd name="T28" fmla="*/ 45 w 438"/>
                <a:gd name="T29" fmla="*/ 115 h 605"/>
                <a:gd name="T30" fmla="*/ 64 w 438"/>
                <a:gd name="T31" fmla="*/ 107 h 6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8" h="605">
                  <a:moveTo>
                    <a:pt x="336" y="563"/>
                  </a:moveTo>
                  <a:lnTo>
                    <a:pt x="410" y="552"/>
                  </a:lnTo>
                  <a:lnTo>
                    <a:pt x="438" y="415"/>
                  </a:lnTo>
                  <a:lnTo>
                    <a:pt x="348" y="325"/>
                  </a:lnTo>
                  <a:lnTo>
                    <a:pt x="258" y="258"/>
                  </a:lnTo>
                  <a:lnTo>
                    <a:pt x="174" y="162"/>
                  </a:lnTo>
                  <a:lnTo>
                    <a:pt x="117" y="0"/>
                  </a:lnTo>
                  <a:lnTo>
                    <a:pt x="0" y="12"/>
                  </a:lnTo>
                  <a:lnTo>
                    <a:pt x="35" y="101"/>
                  </a:lnTo>
                  <a:lnTo>
                    <a:pt x="78" y="176"/>
                  </a:lnTo>
                  <a:lnTo>
                    <a:pt x="102" y="272"/>
                  </a:lnTo>
                  <a:lnTo>
                    <a:pt x="137" y="333"/>
                  </a:lnTo>
                  <a:lnTo>
                    <a:pt x="164" y="432"/>
                  </a:lnTo>
                  <a:lnTo>
                    <a:pt x="210" y="549"/>
                  </a:lnTo>
                  <a:lnTo>
                    <a:pt x="240" y="605"/>
                  </a:lnTo>
                  <a:lnTo>
                    <a:pt x="336" y="563"/>
                  </a:lnTo>
                  <a:close/>
                </a:path>
              </a:pathLst>
            </a:custGeom>
            <a:grp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88" name="Connecticut">
              <a:extLst>
                <a:ext uri="{FF2B5EF4-FFF2-40B4-BE49-F238E27FC236}">
                  <a16:creationId xmlns:a16="http://schemas.microsoft.com/office/drawing/2014/main" id="{33B87B5C-F0CC-70E5-6932-EABF2DFE4ACC}"/>
                </a:ext>
              </a:extLst>
            </p:cNvPr>
            <p:cNvSpPr>
              <a:spLocks/>
            </p:cNvSpPr>
            <p:nvPr/>
          </p:nvSpPr>
          <p:spPr bwMode="auto">
            <a:xfrm>
              <a:off x="7561759" y="2244248"/>
              <a:ext cx="215886" cy="192909"/>
            </a:xfrm>
            <a:custGeom>
              <a:avLst/>
              <a:gdLst>
                <a:gd name="T0" fmla="*/ 34 w 700"/>
                <a:gd name="T1" fmla="*/ 119 h 630"/>
                <a:gd name="T2" fmla="*/ 93 w 700"/>
                <a:gd name="T3" fmla="*/ 80 h 630"/>
                <a:gd name="T4" fmla="*/ 133 w 700"/>
                <a:gd name="T5" fmla="*/ 55 h 630"/>
                <a:gd name="T6" fmla="*/ 130 w 700"/>
                <a:gd name="T7" fmla="*/ 24 h 630"/>
                <a:gd name="T8" fmla="*/ 104 w 700"/>
                <a:gd name="T9" fmla="*/ 0 h 630"/>
                <a:gd name="T10" fmla="*/ 0 w 700"/>
                <a:gd name="T11" fmla="*/ 52 h 630"/>
                <a:gd name="T12" fmla="*/ 6 w 700"/>
                <a:gd name="T13" fmla="*/ 73 h 630"/>
                <a:gd name="T14" fmla="*/ 23 w 700"/>
                <a:gd name="T15" fmla="*/ 87 h 630"/>
                <a:gd name="T16" fmla="*/ 25 w 700"/>
                <a:gd name="T17" fmla="*/ 108 h 630"/>
                <a:gd name="T18" fmla="*/ 34 w 700"/>
                <a:gd name="T19" fmla="*/ 119 h 6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0" h="630">
                  <a:moveTo>
                    <a:pt x="181" y="630"/>
                  </a:moveTo>
                  <a:lnTo>
                    <a:pt x="490" y="421"/>
                  </a:lnTo>
                  <a:lnTo>
                    <a:pt x="700" y="293"/>
                  </a:lnTo>
                  <a:lnTo>
                    <a:pt x="682" y="128"/>
                  </a:lnTo>
                  <a:lnTo>
                    <a:pt x="545" y="0"/>
                  </a:lnTo>
                  <a:lnTo>
                    <a:pt x="0" y="276"/>
                  </a:lnTo>
                  <a:lnTo>
                    <a:pt x="31" y="388"/>
                  </a:lnTo>
                  <a:lnTo>
                    <a:pt x="120" y="463"/>
                  </a:lnTo>
                  <a:lnTo>
                    <a:pt x="130" y="570"/>
                  </a:lnTo>
                  <a:lnTo>
                    <a:pt x="181" y="630"/>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89" name="Colorado">
              <a:extLst>
                <a:ext uri="{FF2B5EF4-FFF2-40B4-BE49-F238E27FC236}">
                  <a16:creationId xmlns:a16="http://schemas.microsoft.com/office/drawing/2014/main" id="{4AE1529E-CCAB-EA87-5C3D-576F9A20AB84}"/>
                </a:ext>
              </a:extLst>
            </p:cNvPr>
            <p:cNvSpPr>
              <a:spLocks/>
            </p:cNvSpPr>
            <p:nvPr/>
          </p:nvSpPr>
          <p:spPr bwMode="auto">
            <a:xfrm>
              <a:off x="3425849" y="3027231"/>
              <a:ext cx="886267" cy="671128"/>
            </a:xfrm>
            <a:custGeom>
              <a:avLst/>
              <a:gdLst>
                <a:gd name="T0" fmla="*/ 43 w 2886"/>
                <a:gd name="T1" fmla="*/ 0 h 2181"/>
                <a:gd name="T2" fmla="*/ 21 w 2886"/>
                <a:gd name="T3" fmla="*/ 141 h 2181"/>
                <a:gd name="T4" fmla="*/ 0 w 2886"/>
                <a:gd name="T5" fmla="*/ 388 h 2181"/>
                <a:gd name="T6" fmla="*/ 215 w 2886"/>
                <a:gd name="T7" fmla="*/ 404 h 2181"/>
                <a:gd name="T8" fmla="*/ 386 w 2886"/>
                <a:gd name="T9" fmla="*/ 412 h 2181"/>
                <a:gd name="T10" fmla="*/ 536 w 2886"/>
                <a:gd name="T11" fmla="*/ 414 h 2181"/>
                <a:gd name="T12" fmla="*/ 535 w 2886"/>
                <a:gd name="T13" fmla="*/ 196 h 2181"/>
                <a:gd name="T14" fmla="*/ 546 w 2886"/>
                <a:gd name="T15" fmla="*/ 112 h 2181"/>
                <a:gd name="T16" fmla="*/ 543 w 2886"/>
                <a:gd name="T17" fmla="*/ 80 h 2181"/>
                <a:gd name="T18" fmla="*/ 540 w 2886"/>
                <a:gd name="T19" fmla="*/ 51 h 2181"/>
                <a:gd name="T20" fmla="*/ 543 w 2886"/>
                <a:gd name="T21" fmla="*/ 28 h 2181"/>
                <a:gd name="T22" fmla="*/ 519 w 2886"/>
                <a:gd name="T23" fmla="*/ 32 h 2181"/>
                <a:gd name="T24" fmla="*/ 396 w 2886"/>
                <a:gd name="T25" fmla="*/ 30 h 2181"/>
                <a:gd name="T26" fmla="*/ 72 w 2886"/>
                <a:gd name="T27" fmla="*/ 2 h 2181"/>
                <a:gd name="T28" fmla="*/ 43 w 2886"/>
                <a:gd name="T29" fmla="*/ 0 h 2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86" h="2181">
                  <a:moveTo>
                    <a:pt x="227" y="0"/>
                  </a:moveTo>
                  <a:lnTo>
                    <a:pt x="110" y="741"/>
                  </a:lnTo>
                  <a:lnTo>
                    <a:pt x="0" y="2044"/>
                  </a:lnTo>
                  <a:lnTo>
                    <a:pt x="1134" y="2128"/>
                  </a:lnTo>
                  <a:lnTo>
                    <a:pt x="2040" y="2170"/>
                  </a:lnTo>
                  <a:lnTo>
                    <a:pt x="2835" y="2181"/>
                  </a:lnTo>
                  <a:lnTo>
                    <a:pt x="2826" y="1035"/>
                  </a:lnTo>
                  <a:lnTo>
                    <a:pt x="2886" y="591"/>
                  </a:lnTo>
                  <a:lnTo>
                    <a:pt x="2868" y="423"/>
                  </a:lnTo>
                  <a:lnTo>
                    <a:pt x="2856" y="267"/>
                  </a:lnTo>
                  <a:lnTo>
                    <a:pt x="2868" y="147"/>
                  </a:lnTo>
                  <a:lnTo>
                    <a:pt x="2745" y="169"/>
                  </a:lnTo>
                  <a:lnTo>
                    <a:pt x="2093" y="157"/>
                  </a:lnTo>
                  <a:lnTo>
                    <a:pt x="380" y="12"/>
                  </a:lnTo>
                  <a:lnTo>
                    <a:pt x="227" y="0"/>
                  </a:lnTo>
                  <a:close/>
                </a:path>
              </a:pathLst>
            </a:custGeom>
            <a:solidFill>
              <a:srgbClr val="87729E"/>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90" name="California">
              <a:extLst>
                <a:ext uri="{FF2B5EF4-FFF2-40B4-BE49-F238E27FC236}">
                  <a16:creationId xmlns:a16="http://schemas.microsoft.com/office/drawing/2014/main" id="{4856D36F-180E-F996-95C3-CAB10F8FA313}"/>
                </a:ext>
              </a:extLst>
            </p:cNvPr>
            <p:cNvSpPr>
              <a:spLocks/>
            </p:cNvSpPr>
            <p:nvPr/>
          </p:nvSpPr>
          <p:spPr bwMode="auto">
            <a:xfrm>
              <a:off x="1650069" y="2503621"/>
              <a:ext cx="1074557" cy="1716727"/>
            </a:xfrm>
            <a:custGeom>
              <a:avLst/>
              <a:gdLst>
                <a:gd name="T0" fmla="*/ 42 w 3498"/>
                <a:gd name="T1" fmla="*/ 24 h 5586"/>
                <a:gd name="T2" fmla="*/ 38 w 3498"/>
                <a:gd name="T3" fmla="*/ 71 h 5586"/>
                <a:gd name="T4" fmla="*/ 0 w 3498"/>
                <a:gd name="T5" fmla="*/ 138 h 5586"/>
                <a:gd name="T6" fmla="*/ 23 w 3498"/>
                <a:gd name="T7" fmla="*/ 193 h 5586"/>
                <a:gd name="T8" fmla="*/ 25 w 3498"/>
                <a:gd name="T9" fmla="*/ 248 h 5586"/>
                <a:gd name="T10" fmla="*/ 28 w 3498"/>
                <a:gd name="T11" fmla="*/ 341 h 5586"/>
                <a:gd name="T12" fmla="*/ 47 w 3498"/>
                <a:gd name="T13" fmla="*/ 399 h 5586"/>
                <a:gd name="T14" fmla="*/ 64 w 3498"/>
                <a:gd name="T15" fmla="*/ 430 h 5586"/>
                <a:gd name="T16" fmla="*/ 91 w 3498"/>
                <a:gd name="T17" fmla="*/ 390 h 5586"/>
                <a:gd name="T18" fmla="*/ 92 w 3498"/>
                <a:gd name="T19" fmla="*/ 425 h 5586"/>
                <a:gd name="T20" fmla="*/ 72 w 3498"/>
                <a:gd name="T21" fmla="*/ 452 h 5586"/>
                <a:gd name="T22" fmla="*/ 61 w 3498"/>
                <a:gd name="T23" fmla="*/ 486 h 5586"/>
                <a:gd name="T24" fmla="*/ 111 w 3498"/>
                <a:gd name="T25" fmla="*/ 538 h 5586"/>
                <a:gd name="T26" fmla="*/ 90 w 3498"/>
                <a:gd name="T27" fmla="*/ 569 h 5586"/>
                <a:gd name="T28" fmla="*/ 124 w 3498"/>
                <a:gd name="T29" fmla="*/ 637 h 5586"/>
                <a:gd name="T30" fmla="*/ 152 w 3498"/>
                <a:gd name="T31" fmla="*/ 708 h 5586"/>
                <a:gd name="T32" fmla="*/ 156 w 3498"/>
                <a:gd name="T33" fmla="*/ 783 h 5586"/>
                <a:gd name="T34" fmla="*/ 235 w 3498"/>
                <a:gd name="T35" fmla="*/ 820 h 5586"/>
                <a:gd name="T36" fmla="*/ 288 w 3498"/>
                <a:gd name="T37" fmla="*/ 862 h 5586"/>
                <a:gd name="T38" fmla="*/ 322 w 3498"/>
                <a:gd name="T39" fmla="*/ 879 h 5586"/>
                <a:gd name="T40" fmla="*/ 351 w 3498"/>
                <a:gd name="T41" fmla="*/ 918 h 5586"/>
                <a:gd name="T42" fmla="*/ 385 w 3498"/>
                <a:gd name="T43" fmla="*/ 959 h 5586"/>
                <a:gd name="T44" fmla="*/ 395 w 3498"/>
                <a:gd name="T45" fmla="*/ 1023 h 5586"/>
                <a:gd name="T46" fmla="*/ 441 w 3498"/>
                <a:gd name="T47" fmla="*/ 1040 h 5586"/>
                <a:gd name="T48" fmla="*/ 503 w 3498"/>
                <a:gd name="T49" fmla="*/ 1049 h 5586"/>
                <a:gd name="T50" fmla="*/ 594 w 3498"/>
                <a:gd name="T51" fmla="*/ 1059 h 5586"/>
                <a:gd name="T52" fmla="*/ 612 w 3498"/>
                <a:gd name="T53" fmla="*/ 1027 h 5586"/>
                <a:gd name="T54" fmla="*/ 612 w 3498"/>
                <a:gd name="T55" fmla="*/ 983 h 5586"/>
                <a:gd name="T56" fmla="*/ 623 w 3498"/>
                <a:gd name="T57" fmla="*/ 953 h 5586"/>
                <a:gd name="T58" fmla="*/ 646 w 3498"/>
                <a:gd name="T59" fmla="*/ 919 h 5586"/>
                <a:gd name="T60" fmla="*/ 657 w 3498"/>
                <a:gd name="T61" fmla="*/ 919 h 5586"/>
                <a:gd name="T62" fmla="*/ 640 w 3498"/>
                <a:gd name="T63" fmla="*/ 867 h 5586"/>
                <a:gd name="T64" fmla="*/ 561 w 3498"/>
                <a:gd name="T65" fmla="*/ 737 h 5586"/>
                <a:gd name="T66" fmla="*/ 402 w 3498"/>
                <a:gd name="T67" fmla="*/ 513 h 5586"/>
                <a:gd name="T68" fmla="*/ 295 w 3498"/>
                <a:gd name="T69" fmla="*/ 367 h 5586"/>
                <a:gd name="T70" fmla="*/ 84 w 3498"/>
                <a:gd name="T71" fmla="*/ 9 h 5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98" h="5586">
                  <a:moveTo>
                    <a:pt x="284" y="0"/>
                  </a:moveTo>
                  <a:lnTo>
                    <a:pt x="222" y="126"/>
                  </a:lnTo>
                  <a:lnTo>
                    <a:pt x="292" y="225"/>
                  </a:lnTo>
                  <a:lnTo>
                    <a:pt x="202" y="375"/>
                  </a:lnTo>
                  <a:lnTo>
                    <a:pt x="202" y="555"/>
                  </a:lnTo>
                  <a:lnTo>
                    <a:pt x="0" y="726"/>
                  </a:lnTo>
                  <a:lnTo>
                    <a:pt x="36" y="906"/>
                  </a:lnTo>
                  <a:lnTo>
                    <a:pt x="120" y="1020"/>
                  </a:lnTo>
                  <a:lnTo>
                    <a:pt x="142" y="1125"/>
                  </a:lnTo>
                  <a:lnTo>
                    <a:pt x="132" y="1308"/>
                  </a:lnTo>
                  <a:lnTo>
                    <a:pt x="72" y="1560"/>
                  </a:lnTo>
                  <a:lnTo>
                    <a:pt x="150" y="1800"/>
                  </a:lnTo>
                  <a:lnTo>
                    <a:pt x="262" y="1965"/>
                  </a:lnTo>
                  <a:lnTo>
                    <a:pt x="246" y="2106"/>
                  </a:lnTo>
                  <a:lnTo>
                    <a:pt x="262" y="2265"/>
                  </a:lnTo>
                  <a:lnTo>
                    <a:pt x="336" y="2268"/>
                  </a:lnTo>
                  <a:lnTo>
                    <a:pt x="408" y="2166"/>
                  </a:lnTo>
                  <a:lnTo>
                    <a:pt x="480" y="2058"/>
                  </a:lnTo>
                  <a:lnTo>
                    <a:pt x="516" y="2118"/>
                  </a:lnTo>
                  <a:lnTo>
                    <a:pt x="486" y="2244"/>
                  </a:lnTo>
                  <a:lnTo>
                    <a:pt x="442" y="2385"/>
                  </a:lnTo>
                  <a:lnTo>
                    <a:pt x="382" y="2385"/>
                  </a:lnTo>
                  <a:lnTo>
                    <a:pt x="366" y="2466"/>
                  </a:lnTo>
                  <a:lnTo>
                    <a:pt x="322" y="2565"/>
                  </a:lnTo>
                  <a:lnTo>
                    <a:pt x="492" y="2742"/>
                  </a:lnTo>
                  <a:lnTo>
                    <a:pt x="588" y="2838"/>
                  </a:lnTo>
                  <a:lnTo>
                    <a:pt x="592" y="2926"/>
                  </a:lnTo>
                  <a:lnTo>
                    <a:pt x="474" y="3000"/>
                  </a:lnTo>
                  <a:lnTo>
                    <a:pt x="606" y="3180"/>
                  </a:lnTo>
                  <a:lnTo>
                    <a:pt x="654" y="3360"/>
                  </a:lnTo>
                  <a:lnTo>
                    <a:pt x="768" y="3564"/>
                  </a:lnTo>
                  <a:lnTo>
                    <a:pt x="802" y="3736"/>
                  </a:lnTo>
                  <a:lnTo>
                    <a:pt x="892" y="3856"/>
                  </a:lnTo>
                  <a:lnTo>
                    <a:pt x="822" y="4128"/>
                  </a:lnTo>
                  <a:lnTo>
                    <a:pt x="1042" y="4246"/>
                  </a:lnTo>
                  <a:lnTo>
                    <a:pt x="1242" y="4326"/>
                  </a:lnTo>
                  <a:lnTo>
                    <a:pt x="1372" y="4456"/>
                  </a:lnTo>
                  <a:lnTo>
                    <a:pt x="1522" y="4546"/>
                  </a:lnTo>
                  <a:lnTo>
                    <a:pt x="1612" y="4546"/>
                  </a:lnTo>
                  <a:lnTo>
                    <a:pt x="1702" y="4636"/>
                  </a:lnTo>
                  <a:lnTo>
                    <a:pt x="1702" y="4756"/>
                  </a:lnTo>
                  <a:lnTo>
                    <a:pt x="1854" y="4842"/>
                  </a:lnTo>
                  <a:lnTo>
                    <a:pt x="1962" y="4944"/>
                  </a:lnTo>
                  <a:lnTo>
                    <a:pt x="2033" y="5056"/>
                  </a:lnTo>
                  <a:lnTo>
                    <a:pt x="2063" y="5236"/>
                  </a:lnTo>
                  <a:lnTo>
                    <a:pt x="2088" y="5394"/>
                  </a:lnTo>
                  <a:lnTo>
                    <a:pt x="2123" y="5506"/>
                  </a:lnTo>
                  <a:lnTo>
                    <a:pt x="2328" y="5484"/>
                  </a:lnTo>
                  <a:lnTo>
                    <a:pt x="2466" y="5532"/>
                  </a:lnTo>
                  <a:lnTo>
                    <a:pt x="2658" y="5532"/>
                  </a:lnTo>
                  <a:lnTo>
                    <a:pt x="2856" y="5544"/>
                  </a:lnTo>
                  <a:lnTo>
                    <a:pt x="3138" y="5586"/>
                  </a:lnTo>
                  <a:lnTo>
                    <a:pt x="3233" y="5536"/>
                  </a:lnTo>
                  <a:lnTo>
                    <a:pt x="3233" y="5416"/>
                  </a:lnTo>
                  <a:lnTo>
                    <a:pt x="3192" y="5292"/>
                  </a:lnTo>
                  <a:lnTo>
                    <a:pt x="3234" y="5184"/>
                  </a:lnTo>
                  <a:lnTo>
                    <a:pt x="3323" y="5116"/>
                  </a:lnTo>
                  <a:lnTo>
                    <a:pt x="3293" y="5026"/>
                  </a:lnTo>
                  <a:lnTo>
                    <a:pt x="3348" y="4950"/>
                  </a:lnTo>
                  <a:lnTo>
                    <a:pt x="3413" y="4846"/>
                  </a:lnTo>
                  <a:lnTo>
                    <a:pt x="3473" y="4846"/>
                  </a:lnTo>
                  <a:lnTo>
                    <a:pt x="3498" y="4770"/>
                  </a:lnTo>
                  <a:lnTo>
                    <a:pt x="3384" y="4572"/>
                  </a:lnTo>
                  <a:lnTo>
                    <a:pt x="3353" y="4396"/>
                  </a:lnTo>
                  <a:lnTo>
                    <a:pt x="2963" y="3886"/>
                  </a:lnTo>
                  <a:lnTo>
                    <a:pt x="2453" y="3226"/>
                  </a:lnTo>
                  <a:lnTo>
                    <a:pt x="2124" y="2706"/>
                  </a:lnTo>
                  <a:lnTo>
                    <a:pt x="1702" y="2175"/>
                  </a:lnTo>
                  <a:lnTo>
                    <a:pt x="1560" y="1938"/>
                  </a:lnTo>
                  <a:lnTo>
                    <a:pt x="1822" y="474"/>
                  </a:lnTo>
                  <a:lnTo>
                    <a:pt x="444" y="45"/>
                  </a:lnTo>
                  <a:lnTo>
                    <a:pt x="284" y="0"/>
                  </a:lnTo>
                  <a:close/>
                </a:path>
              </a:pathLst>
            </a:custGeom>
            <a:solidFill>
              <a:srgbClr val="87729E"/>
            </a:solidFill>
            <a:ln w="6350" cmpd="sng">
              <a:solidFill>
                <a:schemeClr val="bg1"/>
              </a:solidFill>
              <a:prstDash val="solid"/>
              <a:round/>
              <a:headEnd/>
              <a:tailEnd/>
            </a:ln>
            <a:effectLst/>
          </p:spPr>
          <p:txBody>
            <a:bodyPr/>
            <a:lstStyle/>
            <a:p>
              <a:pPr fontAlgn="base">
                <a:spcBef>
                  <a:spcPct val="0"/>
                </a:spcBef>
                <a:spcAft>
                  <a:spcPct val="0"/>
                </a:spcAft>
              </a:pPr>
              <a:endParaRPr lang="zh-CN" altLang="en-US" b="1" kern="0">
                <a:solidFill>
                  <a:srgbClr val="000000"/>
                </a:solidFill>
                <a:latin typeface="Arial" charset="0"/>
              </a:endParaRPr>
            </a:p>
          </p:txBody>
        </p:sp>
        <p:sp>
          <p:nvSpPr>
            <p:cNvPr id="1091" name="Arkansas">
              <a:extLst>
                <a:ext uri="{FF2B5EF4-FFF2-40B4-BE49-F238E27FC236}">
                  <a16:creationId xmlns:a16="http://schemas.microsoft.com/office/drawing/2014/main" id="{B837B312-B3DE-E5FA-B714-F7D86116A58A}"/>
                </a:ext>
              </a:extLst>
            </p:cNvPr>
            <p:cNvSpPr>
              <a:spLocks/>
            </p:cNvSpPr>
            <p:nvPr/>
          </p:nvSpPr>
          <p:spPr bwMode="auto">
            <a:xfrm>
              <a:off x="5253570" y="3639999"/>
              <a:ext cx="613569" cy="619253"/>
            </a:xfrm>
            <a:custGeom>
              <a:avLst/>
              <a:gdLst>
                <a:gd name="T0" fmla="*/ 0 w 1990"/>
                <a:gd name="T1" fmla="*/ 45 h 2015"/>
                <a:gd name="T2" fmla="*/ 215 w 1990"/>
                <a:gd name="T3" fmla="*/ 18 h 2015"/>
                <a:gd name="T4" fmla="*/ 273 w 1990"/>
                <a:gd name="T5" fmla="*/ 12 h 2015"/>
                <a:gd name="T6" fmla="*/ 331 w 1990"/>
                <a:gd name="T7" fmla="*/ 0 h 2015"/>
                <a:gd name="T8" fmla="*/ 342 w 1990"/>
                <a:gd name="T9" fmla="*/ 12 h 2015"/>
                <a:gd name="T10" fmla="*/ 325 w 1990"/>
                <a:gd name="T11" fmla="*/ 34 h 2015"/>
                <a:gd name="T12" fmla="*/ 337 w 1990"/>
                <a:gd name="T13" fmla="*/ 46 h 2015"/>
                <a:gd name="T14" fmla="*/ 357 w 1990"/>
                <a:gd name="T15" fmla="*/ 54 h 2015"/>
                <a:gd name="T16" fmla="*/ 376 w 1990"/>
                <a:gd name="T17" fmla="*/ 45 h 2015"/>
                <a:gd name="T18" fmla="*/ 378 w 1990"/>
                <a:gd name="T19" fmla="*/ 63 h 2015"/>
                <a:gd name="T20" fmla="*/ 367 w 1990"/>
                <a:gd name="T21" fmla="*/ 77 h 2015"/>
                <a:gd name="T22" fmla="*/ 366 w 1990"/>
                <a:gd name="T23" fmla="*/ 94 h 2015"/>
                <a:gd name="T24" fmla="*/ 355 w 1990"/>
                <a:gd name="T25" fmla="*/ 106 h 2015"/>
                <a:gd name="T26" fmla="*/ 350 w 1990"/>
                <a:gd name="T27" fmla="*/ 143 h 2015"/>
                <a:gd name="T28" fmla="*/ 338 w 1990"/>
                <a:gd name="T29" fmla="*/ 163 h 2015"/>
                <a:gd name="T30" fmla="*/ 322 w 1990"/>
                <a:gd name="T31" fmla="*/ 209 h 2015"/>
                <a:gd name="T32" fmla="*/ 301 w 1990"/>
                <a:gd name="T33" fmla="*/ 238 h 2015"/>
                <a:gd name="T34" fmla="*/ 293 w 1990"/>
                <a:gd name="T35" fmla="*/ 274 h 2015"/>
                <a:gd name="T36" fmla="*/ 296 w 1990"/>
                <a:gd name="T37" fmla="*/ 329 h 2015"/>
                <a:gd name="T38" fmla="*/ 293 w 1990"/>
                <a:gd name="T39" fmla="*/ 359 h 2015"/>
                <a:gd name="T40" fmla="*/ 249 w 1990"/>
                <a:gd name="T41" fmla="*/ 365 h 2015"/>
                <a:gd name="T42" fmla="*/ 190 w 1990"/>
                <a:gd name="T43" fmla="*/ 365 h 2015"/>
                <a:gd name="T44" fmla="*/ 115 w 1990"/>
                <a:gd name="T45" fmla="*/ 368 h 2015"/>
                <a:gd name="T46" fmla="*/ 65 w 1990"/>
                <a:gd name="T47" fmla="*/ 382 h 2015"/>
                <a:gd name="T48" fmla="*/ 58 w 1990"/>
                <a:gd name="T49" fmla="*/ 363 h 2015"/>
                <a:gd name="T50" fmla="*/ 63 w 1990"/>
                <a:gd name="T51" fmla="*/ 344 h 2015"/>
                <a:gd name="T52" fmla="*/ 56 w 1990"/>
                <a:gd name="T53" fmla="*/ 322 h 2015"/>
                <a:gd name="T54" fmla="*/ 17 w 1990"/>
                <a:gd name="T55" fmla="*/ 322 h 2015"/>
                <a:gd name="T56" fmla="*/ 17 w 1990"/>
                <a:gd name="T57" fmla="*/ 168 h 2015"/>
                <a:gd name="T58" fmla="*/ 4 w 1990"/>
                <a:gd name="T59" fmla="*/ 110 h 2015"/>
                <a:gd name="T60" fmla="*/ 0 w 1990"/>
                <a:gd name="T61" fmla="*/ 71 h 2015"/>
                <a:gd name="T62" fmla="*/ 0 w 1990"/>
                <a:gd name="T63" fmla="*/ 45 h 20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90" h="2015">
                  <a:moveTo>
                    <a:pt x="2" y="240"/>
                  </a:moveTo>
                  <a:lnTo>
                    <a:pt x="1130" y="93"/>
                  </a:lnTo>
                  <a:lnTo>
                    <a:pt x="1435" y="62"/>
                  </a:lnTo>
                  <a:lnTo>
                    <a:pt x="1742" y="0"/>
                  </a:lnTo>
                  <a:lnTo>
                    <a:pt x="1798" y="61"/>
                  </a:lnTo>
                  <a:lnTo>
                    <a:pt x="1711" y="179"/>
                  </a:lnTo>
                  <a:lnTo>
                    <a:pt x="1775" y="243"/>
                  </a:lnTo>
                  <a:lnTo>
                    <a:pt x="1877" y="287"/>
                  </a:lnTo>
                  <a:lnTo>
                    <a:pt x="1979" y="240"/>
                  </a:lnTo>
                  <a:lnTo>
                    <a:pt x="1990" y="334"/>
                  </a:lnTo>
                  <a:lnTo>
                    <a:pt x="1934" y="406"/>
                  </a:lnTo>
                  <a:lnTo>
                    <a:pt x="1926" y="494"/>
                  </a:lnTo>
                  <a:lnTo>
                    <a:pt x="1870" y="558"/>
                  </a:lnTo>
                  <a:lnTo>
                    <a:pt x="1842" y="756"/>
                  </a:lnTo>
                  <a:lnTo>
                    <a:pt x="1782" y="862"/>
                  </a:lnTo>
                  <a:lnTo>
                    <a:pt x="1694" y="1102"/>
                  </a:lnTo>
                  <a:lnTo>
                    <a:pt x="1582" y="1254"/>
                  </a:lnTo>
                  <a:lnTo>
                    <a:pt x="1542" y="1446"/>
                  </a:lnTo>
                  <a:lnTo>
                    <a:pt x="1558" y="1734"/>
                  </a:lnTo>
                  <a:lnTo>
                    <a:pt x="1542" y="1894"/>
                  </a:lnTo>
                  <a:lnTo>
                    <a:pt x="1310" y="1926"/>
                  </a:lnTo>
                  <a:lnTo>
                    <a:pt x="1002" y="1926"/>
                  </a:lnTo>
                  <a:lnTo>
                    <a:pt x="607" y="1942"/>
                  </a:lnTo>
                  <a:lnTo>
                    <a:pt x="342" y="2015"/>
                  </a:lnTo>
                  <a:lnTo>
                    <a:pt x="303" y="1913"/>
                  </a:lnTo>
                  <a:lnTo>
                    <a:pt x="333" y="1814"/>
                  </a:lnTo>
                  <a:lnTo>
                    <a:pt x="297" y="1697"/>
                  </a:lnTo>
                  <a:lnTo>
                    <a:pt x="92" y="1701"/>
                  </a:lnTo>
                  <a:lnTo>
                    <a:pt x="92" y="888"/>
                  </a:lnTo>
                  <a:lnTo>
                    <a:pt x="21" y="578"/>
                  </a:lnTo>
                  <a:lnTo>
                    <a:pt x="0" y="377"/>
                  </a:lnTo>
                  <a:lnTo>
                    <a:pt x="2" y="240"/>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92" name="Arizona">
              <a:extLst>
                <a:ext uri="{FF2B5EF4-FFF2-40B4-BE49-F238E27FC236}">
                  <a16:creationId xmlns:a16="http://schemas.microsoft.com/office/drawing/2014/main" id="{4DD2AD73-A28C-3D6F-DBEB-71B2F6C020B3}"/>
                </a:ext>
              </a:extLst>
            </p:cNvPr>
            <p:cNvSpPr>
              <a:spLocks/>
            </p:cNvSpPr>
            <p:nvPr/>
          </p:nvSpPr>
          <p:spPr bwMode="auto">
            <a:xfrm>
              <a:off x="2614249" y="3563810"/>
              <a:ext cx="811599" cy="980755"/>
            </a:xfrm>
            <a:custGeom>
              <a:avLst/>
              <a:gdLst>
                <a:gd name="T0" fmla="*/ 116 w 2635"/>
                <a:gd name="T1" fmla="*/ 0 h 3189"/>
                <a:gd name="T2" fmla="*/ 500 w 2635"/>
                <a:gd name="T3" fmla="*/ 57 h 3189"/>
                <a:gd name="T4" fmla="*/ 458 w 2635"/>
                <a:gd name="T5" fmla="*/ 605 h 3189"/>
                <a:gd name="T6" fmla="*/ 396 w 2635"/>
                <a:gd name="T7" fmla="*/ 596 h 3189"/>
                <a:gd name="T8" fmla="*/ 334 w 2635"/>
                <a:gd name="T9" fmla="*/ 593 h 3189"/>
                <a:gd name="T10" fmla="*/ 289 w 2635"/>
                <a:gd name="T11" fmla="*/ 585 h 3189"/>
                <a:gd name="T12" fmla="*/ 105 w 2635"/>
                <a:gd name="T13" fmla="*/ 477 h 3189"/>
                <a:gd name="T14" fmla="*/ 20 w 2635"/>
                <a:gd name="T15" fmla="*/ 434 h 3189"/>
                <a:gd name="T16" fmla="*/ 3 w 2635"/>
                <a:gd name="T17" fmla="*/ 411 h 3189"/>
                <a:gd name="T18" fmla="*/ 0 w 2635"/>
                <a:gd name="T19" fmla="*/ 405 h 3189"/>
                <a:gd name="T20" fmla="*/ 18 w 2635"/>
                <a:gd name="T21" fmla="*/ 396 h 3189"/>
                <a:gd name="T22" fmla="*/ 18 w 2635"/>
                <a:gd name="T23" fmla="*/ 373 h 3189"/>
                <a:gd name="T24" fmla="*/ 10 w 2635"/>
                <a:gd name="T25" fmla="*/ 350 h 3189"/>
                <a:gd name="T26" fmla="*/ 18 w 2635"/>
                <a:gd name="T27" fmla="*/ 329 h 3189"/>
                <a:gd name="T28" fmla="*/ 35 w 2635"/>
                <a:gd name="T29" fmla="*/ 316 h 3189"/>
                <a:gd name="T30" fmla="*/ 30 w 2635"/>
                <a:gd name="T31" fmla="*/ 299 h 3189"/>
                <a:gd name="T32" fmla="*/ 39 w 2635"/>
                <a:gd name="T33" fmla="*/ 286 h 3189"/>
                <a:gd name="T34" fmla="*/ 52 w 2635"/>
                <a:gd name="T35" fmla="*/ 265 h 3189"/>
                <a:gd name="T36" fmla="*/ 64 w 2635"/>
                <a:gd name="T37" fmla="*/ 265 h 3189"/>
                <a:gd name="T38" fmla="*/ 68 w 2635"/>
                <a:gd name="T39" fmla="*/ 250 h 3189"/>
                <a:gd name="T40" fmla="*/ 47 w 2635"/>
                <a:gd name="T41" fmla="*/ 213 h 3189"/>
                <a:gd name="T42" fmla="*/ 41 w 2635"/>
                <a:gd name="T43" fmla="*/ 180 h 3189"/>
                <a:gd name="T44" fmla="*/ 34 w 2635"/>
                <a:gd name="T45" fmla="*/ 170 h 3189"/>
                <a:gd name="T46" fmla="*/ 47 w 2635"/>
                <a:gd name="T47" fmla="*/ 153 h 3189"/>
                <a:gd name="T48" fmla="*/ 49 w 2635"/>
                <a:gd name="T49" fmla="*/ 130 h 3189"/>
                <a:gd name="T50" fmla="*/ 42 w 2635"/>
                <a:gd name="T51" fmla="*/ 98 h 3189"/>
                <a:gd name="T52" fmla="*/ 43 w 2635"/>
                <a:gd name="T53" fmla="*/ 82 h 3189"/>
                <a:gd name="T54" fmla="*/ 58 w 2635"/>
                <a:gd name="T55" fmla="*/ 73 h 3189"/>
                <a:gd name="T56" fmla="*/ 78 w 2635"/>
                <a:gd name="T57" fmla="*/ 79 h 3189"/>
                <a:gd name="T58" fmla="*/ 105 w 2635"/>
                <a:gd name="T59" fmla="*/ 87 h 3189"/>
                <a:gd name="T60" fmla="*/ 100 w 2635"/>
                <a:gd name="T61" fmla="*/ 61 h 3189"/>
                <a:gd name="T62" fmla="*/ 110 w 2635"/>
                <a:gd name="T63" fmla="*/ 48 h 3189"/>
                <a:gd name="T64" fmla="*/ 110 w 2635"/>
                <a:gd name="T65" fmla="*/ 23 h 3189"/>
                <a:gd name="T66" fmla="*/ 114 w 2635"/>
                <a:gd name="T67" fmla="*/ 6 h 3189"/>
                <a:gd name="T68" fmla="*/ 116 w 2635"/>
                <a:gd name="T69" fmla="*/ 0 h 3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35" h="3189">
                  <a:moveTo>
                    <a:pt x="609" y="0"/>
                  </a:moveTo>
                  <a:lnTo>
                    <a:pt x="2635" y="300"/>
                  </a:lnTo>
                  <a:lnTo>
                    <a:pt x="2416" y="3189"/>
                  </a:lnTo>
                  <a:lnTo>
                    <a:pt x="2089" y="3144"/>
                  </a:lnTo>
                  <a:lnTo>
                    <a:pt x="1759" y="3126"/>
                  </a:lnTo>
                  <a:lnTo>
                    <a:pt x="1525" y="3084"/>
                  </a:lnTo>
                  <a:lnTo>
                    <a:pt x="553" y="2514"/>
                  </a:lnTo>
                  <a:lnTo>
                    <a:pt x="106" y="2289"/>
                  </a:lnTo>
                  <a:lnTo>
                    <a:pt x="16" y="2169"/>
                  </a:lnTo>
                  <a:lnTo>
                    <a:pt x="0" y="2135"/>
                  </a:lnTo>
                  <a:lnTo>
                    <a:pt x="96" y="2088"/>
                  </a:lnTo>
                  <a:lnTo>
                    <a:pt x="94" y="1964"/>
                  </a:lnTo>
                  <a:lnTo>
                    <a:pt x="54" y="1844"/>
                  </a:lnTo>
                  <a:lnTo>
                    <a:pt x="96" y="1736"/>
                  </a:lnTo>
                  <a:lnTo>
                    <a:pt x="187" y="1665"/>
                  </a:lnTo>
                  <a:lnTo>
                    <a:pt x="157" y="1575"/>
                  </a:lnTo>
                  <a:lnTo>
                    <a:pt x="205" y="1509"/>
                  </a:lnTo>
                  <a:lnTo>
                    <a:pt x="276" y="1397"/>
                  </a:lnTo>
                  <a:lnTo>
                    <a:pt x="337" y="1395"/>
                  </a:lnTo>
                  <a:lnTo>
                    <a:pt x="360" y="1319"/>
                  </a:lnTo>
                  <a:lnTo>
                    <a:pt x="249" y="1124"/>
                  </a:lnTo>
                  <a:lnTo>
                    <a:pt x="217" y="948"/>
                  </a:lnTo>
                  <a:lnTo>
                    <a:pt x="178" y="897"/>
                  </a:lnTo>
                  <a:lnTo>
                    <a:pt x="249" y="809"/>
                  </a:lnTo>
                  <a:lnTo>
                    <a:pt x="258" y="687"/>
                  </a:lnTo>
                  <a:lnTo>
                    <a:pt x="223" y="515"/>
                  </a:lnTo>
                  <a:lnTo>
                    <a:pt x="228" y="431"/>
                  </a:lnTo>
                  <a:lnTo>
                    <a:pt x="307" y="384"/>
                  </a:lnTo>
                  <a:lnTo>
                    <a:pt x="411" y="414"/>
                  </a:lnTo>
                  <a:lnTo>
                    <a:pt x="553" y="461"/>
                  </a:lnTo>
                  <a:lnTo>
                    <a:pt x="528" y="320"/>
                  </a:lnTo>
                  <a:lnTo>
                    <a:pt x="582" y="252"/>
                  </a:lnTo>
                  <a:lnTo>
                    <a:pt x="582" y="122"/>
                  </a:lnTo>
                  <a:lnTo>
                    <a:pt x="603" y="32"/>
                  </a:lnTo>
                  <a:lnTo>
                    <a:pt x="609" y="0"/>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93" name="Alaska">
              <a:extLst>
                <a:ext uri="{FF2B5EF4-FFF2-40B4-BE49-F238E27FC236}">
                  <a16:creationId xmlns:a16="http://schemas.microsoft.com/office/drawing/2014/main" id="{3446AB63-1044-4E11-614E-7CAE21F5AFE4}"/>
                </a:ext>
              </a:extLst>
            </p:cNvPr>
            <p:cNvSpPr>
              <a:spLocks/>
            </p:cNvSpPr>
            <p:nvPr/>
          </p:nvSpPr>
          <p:spPr bwMode="auto">
            <a:xfrm>
              <a:off x="691098" y="4112771"/>
              <a:ext cx="1176664" cy="1346033"/>
            </a:xfrm>
            <a:custGeom>
              <a:avLst/>
              <a:gdLst>
                <a:gd name="T0" fmla="*/ 2656 w 3826"/>
                <a:gd name="T1" fmla="*/ 2761 h 4380"/>
                <a:gd name="T2" fmla="*/ 2806 w 3826"/>
                <a:gd name="T3" fmla="*/ 2911 h 4380"/>
                <a:gd name="T4" fmla="*/ 2866 w 3826"/>
                <a:gd name="T5" fmla="*/ 3241 h 4380"/>
                <a:gd name="T6" fmla="*/ 3166 w 3826"/>
                <a:gd name="T7" fmla="*/ 3991 h 4380"/>
                <a:gd name="T8" fmla="*/ 3264 w 3826"/>
                <a:gd name="T9" fmla="*/ 4315 h 4380"/>
                <a:gd name="T10" fmla="*/ 3118 w 3826"/>
                <a:gd name="T11" fmla="*/ 4315 h 4380"/>
                <a:gd name="T12" fmla="*/ 3099 w 3826"/>
                <a:gd name="T13" fmla="*/ 4069 h 4380"/>
                <a:gd name="T14" fmla="*/ 2898 w 3826"/>
                <a:gd name="T15" fmla="*/ 3931 h 4380"/>
                <a:gd name="T16" fmla="*/ 2990 w 3826"/>
                <a:gd name="T17" fmla="*/ 4169 h 4380"/>
                <a:gd name="T18" fmla="*/ 2862 w 3826"/>
                <a:gd name="T19" fmla="*/ 4361 h 4380"/>
                <a:gd name="T20" fmla="*/ 2807 w 3826"/>
                <a:gd name="T21" fmla="*/ 3950 h 4380"/>
                <a:gd name="T22" fmla="*/ 2807 w 3826"/>
                <a:gd name="T23" fmla="*/ 3602 h 4380"/>
                <a:gd name="T24" fmla="*/ 2746 w 3826"/>
                <a:gd name="T25" fmla="*/ 3361 h 4380"/>
                <a:gd name="T26" fmla="*/ 2688 w 3826"/>
                <a:gd name="T27" fmla="*/ 3090 h 4380"/>
                <a:gd name="T28" fmla="*/ 2416 w 3826"/>
                <a:gd name="T29" fmla="*/ 2731 h 4380"/>
                <a:gd name="T30" fmla="*/ 2286 w 3826"/>
                <a:gd name="T31" fmla="*/ 2533 h 4380"/>
                <a:gd name="T32" fmla="*/ 2094 w 3826"/>
                <a:gd name="T33" fmla="*/ 2286 h 4380"/>
                <a:gd name="T34" fmla="*/ 1847 w 3826"/>
                <a:gd name="T35" fmla="*/ 2331 h 4380"/>
                <a:gd name="T36" fmla="*/ 1545 w 3826"/>
                <a:gd name="T37" fmla="*/ 2322 h 4380"/>
                <a:gd name="T38" fmla="*/ 1664 w 3826"/>
                <a:gd name="T39" fmla="*/ 2157 h 4380"/>
                <a:gd name="T40" fmla="*/ 1929 w 3826"/>
                <a:gd name="T41" fmla="*/ 2148 h 4380"/>
                <a:gd name="T42" fmla="*/ 1947 w 3826"/>
                <a:gd name="T43" fmla="*/ 2010 h 4380"/>
                <a:gd name="T44" fmla="*/ 1655 w 3826"/>
                <a:gd name="T45" fmla="*/ 2029 h 4380"/>
                <a:gd name="T46" fmla="*/ 1362 w 3826"/>
                <a:gd name="T47" fmla="*/ 2065 h 4380"/>
                <a:gd name="T48" fmla="*/ 1234 w 3826"/>
                <a:gd name="T49" fmla="*/ 2249 h 4380"/>
                <a:gd name="T50" fmla="*/ 946 w 3826"/>
                <a:gd name="T51" fmla="*/ 2221 h 4380"/>
                <a:gd name="T52" fmla="*/ 128 w 3826"/>
                <a:gd name="T53" fmla="*/ 1965 h 4380"/>
                <a:gd name="T54" fmla="*/ 9 w 3826"/>
                <a:gd name="T55" fmla="*/ 1764 h 4380"/>
                <a:gd name="T56" fmla="*/ 357 w 3826"/>
                <a:gd name="T57" fmla="*/ 1956 h 4380"/>
                <a:gd name="T58" fmla="*/ 649 w 3826"/>
                <a:gd name="T59" fmla="*/ 2047 h 4380"/>
                <a:gd name="T60" fmla="*/ 933 w 3826"/>
                <a:gd name="T61" fmla="*/ 2001 h 4380"/>
                <a:gd name="T62" fmla="*/ 987 w 3826"/>
                <a:gd name="T63" fmla="*/ 1846 h 4380"/>
                <a:gd name="T64" fmla="*/ 905 w 3826"/>
                <a:gd name="T65" fmla="*/ 1709 h 4380"/>
                <a:gd name="T66" fmla="*/ 750 w 3826"/>
                <a:gd name="T67" fmla="*/ 1608 h 4380"/>
                <a:gd name="T68" fmla="*/ 826 w 3826"/>
                <a:gd name="T69" fmla="*/ 1410 h 4380"/>
                <a:gd name="T70" fmla="*/ 759 w 3826"/>
                <a:gd name="T71" fmla="*/ 1233 h 4380"/>
                <a:gd name="T72" fmla="*/ 796 w 3826"/>
                <a:gd name="T73" fmla="*/ 1020 h 4380"/>
                <a:gd name="T74" fmla="*/ 1006 w 3826"/>
                <a:gd name="T75" fmla="*/ 776 h 4380"/>
                <a:gd name="T76" fmla="*/ 1306 w 3826"/>
                <a:gd name="T77" fmla="*/ 720 h 4380"/>
                <a:gd name="T78" fmla="*/ 1472 w 3826"/>
                <a:gd name="T79" fmla="*/ 895 h 4380"/>
                <a:gd name="T80" fmla="*/ 1673 w 3826"/>
                <a:gd name="T81" fmla="*/ 913 h 4380"/>
                <a:gd name="T82" fmla="*/ 1710 w 3826"/>
                <a:gd name="T83" fmla="*/ 758 h 4380"/>
                <a:gd name="T84" fmla="*/ 1518 w 3826"/>
                <a:gd name="T85" fmla="*/ 602 h 4380"/>
                <a:gd name="T86" fmla="*/ 1546 w 3826"/>
                <a:gd name="T87" fmla="*/ 270 h 4380"/>
                <a:gd name="T88" fmla="*/ 1755 w 3826"/>
                <a:gd name="T89" fmla="*/ 273 h 4380"/>
                <a:gd name="T90" fmla="*/ 1846 w 3826"/>
                <a:gd name="T91" fmla="*/ 480 h 4380"/>
                <a:gd name="T92" fmla="*/ 2130 w 3826"/>
                <a:gd name="T93" fmla="*/ 657 h 4380"/>
                <a:gd name="T94" fmla="*/ 2139 w 3826"/>
                <a:gd name="T95" fmla="*/ 511 h 4380"/>
                <a:gd name="T96" fmla="*/ 2116 w 3826"/>
                <a:gd name="T97" fmla="*/ 270 h 4380"/>
                <a:gd name="T98" fmla="*/ 2139 w 3826"/>
                <a:gd name="T99" fmla="*/ 81 h 4380"/>
                <a:gd name="T100" fmla="*/ 2386 w 3826"/>
                <a:gd name="T101" fmla="*/ 120 h 4380"/>
                <a:gd name="T102" fmla="*/ 2679 w 3826"/>
                <a:gd name="T103" fmla="*/ 63 h 4380"/>
                <a:gd name="T104" fmla="*/ 2872 w 3826"/>
                <a:gd name="T105" fmla="*/ 207 h 4380"/>
                <a:gd name="T106" fmla="*/ 3032 w 3826"/>
                <a:gd name="T107" fmla="*/ 231 h 4380"/>
                <a:gd name="T108" fmla="*/ 3184 w 3826"/>
                <a:gd name="T109" fmla="*/ 399 h 4380"/>
                <a:gd name="T110" fmla="*/ 3368 w 3826"/>
                <a:gd name="T111" fmla="*/ 551 h 4380"/>
                <a:gd name="T112" fmla="*/ 3474 w 3826"/>
                <a:gd name="T113" fmla="*/ 666 h 4380"/>
                <a:gd name="T114" fmla="*/ 3685 w 3826"/>
                <a:gd name="T115" fmla="*/ 950 h 4380"/>
                <a:gd name="T116" fmla="*/ 3826 w 3826"/>
                <a:gd name="T117" fmla="*/ 1170 h 4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26" h="4380">
                  <a:moveTo>
                    <a:pt x="3826" y="1170"/>
                  </a:moveTo>
                  <a:lnTo>
                    <a:pt x="2656" y="2760"/>
                  </a:lnTo>
                  <a:lnTo>
                    <a:pt x="2706" y="2861"/>
                  </a:lnTo>
                  <a:lnTo>
                    <a:pt x="2806" y="2910"/>
                  </a:lnTo>
                  <a:lnTo>
                    <a:pt x="2807" y="3135"/>
                  </a:lnTo>
                  <a:lnTo>
                    <a:pt x="2866" y="3240"/>
                  </a:lnTo>
                  <a:lnTo>
                    <a:pt x="3072" y="3217"/>
                  </a:lnTo>
                  <a:lnTo>
                    <a:pt x="3166" y="3990"/>
                  </a:lnTo>
                  <a:lnTo>
                    <a:pt x="3256" y="4140"/>
                  </a:lnTo>
                  <a:lnTo>
                    <a:pt x="3264" y="4314"/>
                  </a:lnTo>
                  <a:lnTo>
                    <a:pt x="3166" y="4380"/>
                  </a:lnTo>
                  <a:lnTo>
                    <a:pt x="3118" y="4314"/>
                  </a:lnTo>
                  <a:lnTo>
                    <a:pt x="3154" y="4223"/>
                  </a:lnTo>
                  <a:lnTo>
                    <a:pt x="3099" y="4068"/>
                  </a:lnTo>
                  <a:lnTo>
                    <a:pt x="3008" y="3885"/>
                  </a:lnTo>
                  <a:lnTo>
                    <a:pt x="2898" y="3930"/>
                  </a:lnTo>
                  <a:lnTo>
                    <a:pt x="2953" y="4004"/>
                  </a:lnTo>
                  <a:lnTo>
                    <a:pt x="2990" y="4168"/>
                  </a:lnTo>
                  <a:lnTo>
                    <a:pt x="2981" y="4269"/>
                  </a:lnTo>
                  <a:lnTo>
                    <a:pt x="2862" y="4360"/>
                  </a:lnTo>
                  <a:lnTo>
                    <a:pt x="2862" y="4058"/>
                  </a:lnTo>
                  <a:lnTo>
                    <a:pt x="2807" y="3949"/>
                  </a:lnTo>
                  <a:lnTo>
                    <a:pt x="2798" y="3802"/>
                  </a:lnTo>
                  <a:lnTo>
                    <a:pt x="2807" y="3601"/>
                  </a:lnTo>
                  <a:lnTo>
                    <a:pt x="2834" y="3428"/>
                  </a:lnTo>
                  <a:lnTo>
                    <a:pt x="2746" y="3360"/>
                  </a:lnTo>
                  <a:lnTo>
                    <a:pt x="2743" y="3199"/>
                  </a:lnTo>
                  <a:lnTo>
                    <a:pt x="2688" y="3089"/>
                  </a:lnTo>
                  <a:lnTo>
                    <a:pt x="2566" y="2880"/>
                  </a:lnTo>
                  <a:lnTo>
                    <a:pt x="2416" y="2730"/>
                  </a:lnTo>
                  <a:lnTo>
                    <a:pt x="2286" y="2623"/>
                  </a:lnTo>
                  <a:lnTo>
                    <a:pt x="2286" y="2532"/>
                  </a:lnTo>
                  <a:lnTo>
                    <a:pt x="2203" y="2431"/>
                  </a:lnTo>
                  <a:lnTo>
                    <a:pt x="2094" y="2285"/>
                  </a:lnTo>
                  <a:lnTo>
                    <a:pt x="1984" y="2394"/>
                  </a:lnTo>
                  <a:lnTo>
                    <a:pt x="1847" y="2330"/>
                  </a:lnTo>
                  <a:lnTo>
                    <a:pt x="1666" y="2340"/>
                  </a:lnTo>
                  <a:lnTo>
                    <a:pt x="1545" y="2321"/>
                  </a:lnTo>
                  <a:lnTo>
                    <a:pt x="1582" y="2248"/>
                  </a:lnTo>
                  <a:lnTo>
                    <a:pt x="1664" y="2157"/>
                  </a:lnTo>
                  <a:lnTo>
                    <a:pt x="1846" y="2070"/>
                  </a:lnTo>
                  <a:lnTo>
                    <a:pt x="1929" y="2148"/>
                  </a:lnTo>
                  <a:lnTo>
                    <a:pt x="2026" y="2070"/>
                  </a:lnTo>
                  <a:lnTo>
                    <a:pt x="1947" y="2010"/>
                  </a:lnTo>
                  <a:lnTo>
                    <a:pt x="1786" y="2010"/>
                  </a:lnTo>
                  <a:lnTo>
                    <a:pt x="1655" y="2029"/>
                  </a:lnTo>
                  <a:lnTo>
                    <a:pt x="1554" y="2093"/>
                  </a:lnTo>
                  <a:lnTo>
                    <a:pt x="1362" y="2065"/>
                  </a:lnTo>
                  <a:lnTo>
                    <a:pt x="1353" y="2175"/>
                  </a:lnTo>
                  <a:lnTo>
                    <a:pt x="1234" y="2248"/>
                  </a:lnTo>
                  <a:lnTo>
                    <a:pt x="1051" y="2212"/>
                  </a:lnTo>
                  <a:lnTo>
                    <a:pt x="946" y="2220"/>
                  </a:lnTo>
                  <a:lnTo>
                    <a:pt x="496" y="2160"/>
                  </a:lnTo>
                  <a:lnTo>
                    <a:pt x="128" y="1965"/>
                  </a:lnTo>
                  <a:lnTo>
                    <a:pt x="0" y="1882"/>
                  </a:lnTo>
                  <a:lnTo>
                    <a:pt x="9" y="1764"/>
                  </a:lnTo>
                  <a:lnTo>
                    <a:pt x="210" y="1919"/>
                  </a:lnTo>
                  <a:lnTo>
                    <a:pt x="357" y="1956"/>
                  </a:lnTo>
                  <a:lnTo>
                    <a:pt x="466" y="2040"/>
                  </a:lnTo>
                  <a:lnTo>
                    <a:pt x="649" y="2047"/>
                  </a:lnTo>
                  <a:lnTo>
                    <a:pt x="766" y="2010"/>
                  </a:lnTo>
                  <a:lnTo>
                    <a:pt x="933" y="2001"/>
                  </a:lnTo>
                  <a:lnTo>
                    <a:pt x="1036" y="1920"/>
                  </a:lnTo>
                  <a:lnTo>
                    <a:pt x="987" y="1846"/>
                  </a:lnTo>
                  <a:lnTo>
                    <a:pt x="887" y="1818"/>
                  </a:lnTo>
                  <a:lnTo>
                    <a:pt x="905" y="1709"/>
                  </a:lnTo>
                  <a:lnTo>
                    <a:pt x="896" y="1590"/>
                  </a:lnTo>
                  <a:lnTo>
                    <a:pt x="750" y="1608"/>
                  </a:lnTo>
                  <a:lnTo>
                    <a:pt x="676" y="1530"/>
                  </a:lnTo>
                  <a:lnTo>
                    <a:pt x="826" y="1410"/>
                  </a:lnTo>
                  <a:lnTo>
                    <a:pt x="878" y="1316"/>
                  </a:lnTo>
                  <a:lnTo>
                    <a:pt x="759" y="1233"/>
                  </a:lnTo>
                  <a:lnTo>
                    <a:pt x="736" y="1110"/>
                  </a:lnTo>
                  <a:lnTo>
                    <a:pt x="796" y="1020"/>
                  </a:lnTo>
                  <a:lnTo>
                    <a:pt x="887" y="904"/>
                  </a:lnTo>
                  <a:lnTo>
                    <a:pt x="1006" y="776"/>
                  </a:lnTo>
                  <a:lnTo>
                    <a:pt x="1189" y="794"/>
                  </a:lnTo>
                  <a:lnTo>
                    <a:pt x="1306" y="720"/>
                  </a:lnTo>
                  <a:lnTo>
                    <a:pt x="1335" y="849"/>
                  </a:lnTo>
                  <a:lnTo>
                    <a:pt x="1472" y="895"/>
                  </a:lnTo>
                  <a:lnTo>
                    <a:pt x="1546" y="930"/>
                  </a:lnTo>
                  <a:lnTo>
                    <a:pt x="1673" y="913"/>
                  </a:lnTo>
                  <a:lnTo>
                    <a:pt x="1756" y="810"/>
                  </a:lnTo>
                  <a:lnTo>
                    <a:pt x="1710" y="758"/>
                  </a:lnTo>
                  <a:lnTo>
                    <a:pt x="1600" y="685"/>
                  </a:lnTo>
                  <a:lnTo>
                    <a:pt x="1518" y="602"/>
                  </a:lnTo>
                  <a:lnTo>
                    <a:pt x="1456" y="480"/>
                  </a:lnTo>
                  <a:lnTo>
                    <a:pt x="1546" y="270"/>
                  </a:lnTo>
                  <a:lnTo>
                    <a:pt x="1637" y="246"/>
                  </a:lnTo>
                  <a:lnTo>
                    <a:pt x="1755" y="273"/>
                  </a:lnTo>
                  <a:lnTo>
                    <a:pt x="1966" y="360"/>
                  </a:lnTo>
                  <a:lnTo>
                    <a:pt x="1846" y="480"/>
                  </a:lnTo>
                  <a:lnTo>
                    <a:pt x="2026" y="630"/>
                  </a:lnTo>
                  <a:lnTo>
                    <a:pt x="2130" y="657"/>
                  </a:lnTo>
                  <a:lnTo>
                    <a:pt x="2206" y="600"/>
                  </a:lnTo>
                  <a:lnTo>
                    <a:pt x="2139" y="511"/>
                  </a:lnTo>
                  <a:lnTo>
                    <a:pt x="2075" y="429"/>
                  </a:lnTo>
                  <a:lnTo>
                    <a:pt x="2116" y="270"/>
                  </a:lnTo>
                  <a:lnTo>
                    <a:pt x="2167" y="182"/>
                  </a:lnTo>
                  <a:lnTo>
                    <a:pt x="2139" y="81"/>
                  </a:lnTo>
                  <a:lnTo>
                    <a:pt x="2296" y="0"/>
                  </a:lnTo>
                  <a:lnTo>
                    <a:pt x="2386" y="120"/>
                  </a:lnTo>
                  <a:lnTo>
                    <a:pt x="2552" y="127"/>
                  </a:lnTo>
                  <a:lnTo>
                    <a:pt x="2679" y="63"/>
                  </a:lnTo>
                  <a:lnTo>
                    <a:pt x="2843" y="127"/>
                  </a:lnTo>
                  <a:lnTo>
                    <a:pt x="2872" y="207"/>
                  </a:lnTo>
                  <a:lnTo>
                    <a:pt x="2971" y="145"/>
                  </a:lnTo>
                  <a:lnTo>
                    <a:pt x="3032" y="231"/>
                  </a:lnTo>
                  <a:lnTo>
                    <a:pt x="3136" y="210"/>
                  </a:lnTo>
                  <a:lnTo>
                    <a:pt x="3184" y="399"/>
                  </a:lnTo>
                  <a:lnTo>
                    <a:pt x="3286" y="420"/>
                  </a:lnTo>
                  <a:lnTo>
                    <a:pt x="3368" y="551"/>
                  </a:lnTo>
                  <a:lnTo>
                    <a:pt x="3346" y="648"/>
                  </a:lnTo>
                  <a:lnTo>
                    <a:pt x="3474" y="666"/>
                  </a:lnTo>
                  <a:lnTo>
                    <a:pt x="3493" y="813"/>
                  </a:lnTo>
                  <a:lnTo>
                    <a:pt x="3685" y="950"/>
                  </a:lnTo>
                  <a:lnTo>
                    <a:pt x="3785" y="1050"/>
                  </a:lnTo>
                  <a:lnTo>
                    <a:pt x="3826" y="1170"/>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sp>
          <p:nvSpPr>
            <p:cNvPr id="1094" name="Alabama">
              <a:extLst>
                <a:ext uri="{FF2B5EF4-FFF2-40B4-BE49-F238E27FC236}">
                  <a16:creationId xmlns:a16="http://schemas.microsoft.com/office/drawing/2014/main" id="{E15D853A-8412-49B4-6689-C0573DE04CD2}"/>
                </a:ext>
              </a:extLst>
            </p:cNvPr>
            <p:cNvSpPr>
              <a:spLocks/>
            </p:cNvSpPr>
            <p:nvPr/>
          </p:nvSpPr>
          <p:spPr bwMode="auto">
            <a:xfrm>
              <a:off x="6052184" y="3798866"/>
              <a:ext cx="508061" cy="789468"/>
            </a:xfrm>
            <a:custGeom>
              <a:avLst/>
              <a:gdLst>
                <a:gd name="T0" fmla="*/ 0 w 1649"/>
                <a:gd name="T1" fmla="*/ 44 h 2568"/>
                <a:gd name="T2" fmla="*/ 19 w 1649"/>
                <a:gd name="T3" fmla="*/ 96 h 2568"/>
                <a:gd name="T4" fmla="*/ 18 w 1649"/>
                <a:gd name="T5" fmla="*/ 141 h 2568"/>
                <a:gd name="T6" fmla="*/ 27 w 1649"/>
                <a:gd name="T7" fmla="*/ 212 h 2568"/>
                <a:gd name="T8" fmla="*/ 35 w 1649"/>
                <a:gd name="T9" fmla="*/ 326 h 2568"/>
                <a:gd name="T10" fmla="*/ 48 w 1649"/>
                <a:gd name="T11" fmla="*/ 432 h 2568"/>
                <a:gd name="T12" fmla="*/ 46 w 1649"/>
                <a:gd name="T13" fmla="*/ 471 h 2568"/>
                <a:gd name="T14" fmla="*/ 41 w 1649"/>
                <a:gd name="T15" fmla="*/ 482 h 2568"/>
                <a:gd name="T16" fmla="*/ 72 w 1649"/>
                <a:gd name="T17" fmla="*/ 469 h 2568"/>
                <a:gd name="T18" fmla="*/ 78 w 1649"/>
                <a:gd name="T19" fmla="*/ 446 h 2568"/>
                <a:gd name="T20" fmla="*/ 90 w 1649"/>
                <a:gd name="T21" fmla="*/ 461 h 2568"/>
                <a:gd name="T22" fmla="*/ 97 w 1649"/>
                <a:gd name="T23" fmla="*/ 478 h 2568"/>
                <a:gd name="T24" fmla="*/ 116 w 1649"/>
                <a:gd name="T25" fmla="*/ 487 h 2568"/>
                <a:gd name="T26" fmla="*/ 123 w 1649"/>
                <a:gd name="T27" fmla="*/ 469 h 2568"/>
                <a:gd name="T28" fmla="*/ 117 w 1649"/>
                <a:gd name="T29" fmla="*/ 435 h 2568"/>
                <a:gd name="T30" fmla="*/ 117 w 1649"/>
                <a:gd name="T31" fmla="*/ 412 h 2568"/>
                <a:gd name="T32" fmla="*/ 154 w 1649"/>
                <a:gd name="T33" fmla="*/ 404 h 2568"/>
                <a:gd name="T34" fmla="*/ 179 w 1649"/>
                <a:gd name="T35" fmla="*/ 401 h 2568"/>
                <a:gd name="T36" fmla="*/ 242 w 1649"/>
                <a:gd name="T37" fmla="*/ 381 h 2568"/>
                <a:gd name="T38" fmla="*/ 305 w 1649"/>
                <a:gd name="T39" fmla="*/ 366 h 2568"/>
                <a:gd name="T40" fmla="*/ 313 w 1649"/>
                <a:gd name="T41" fmla="*/ 338 h 2568"/>
                <a:gd name="T42" fmla="*/ 305 w 1649"/>
                <a:gd name="T43" fmla="*/ 314 h 2568"/>
                <a:gd name="T44" fmla="*/ 301 w 1649"/>
                <a:gd name="T45" fmla="*/ 281 h 2568"/>
                <a:gd name="T46" fmla="*/ 298 w 1649"/>
                <a:gd name="T47" fmla="*/ 262 h 2568"/>
                <a:gd name="T48" fmla="*/ 304 w 1649"/>
                <a:gd name="T49" fmla="*/ 232 h 2568"/>
                <a:gd name="T50" fmla="*/ 293 w 1649"/>
                <a:gd name="T51" fmla="*/ 212 h 2568"/>
                <a:gd name="T52" fmla="*/ 272 w 1649"/>
                <a:gd name="T53" fmla="*/ 176 h 2568"/>
                <a:gd name="T54" fmla="*/ 260 w 1649"/>
                <a:gd name="T55" fmla="*/ 127 h 2568"/>
                <a:gd name="T56" fmla="*/ 239 w 1649"/>
                <a:gd name="T57" fmla="*/ 52 h 2568"/>
                <a:gd name="T58" fmla="*/ 225 w 1649"/>
                <a:gd name="T59" fmla="*/ 27 h 2568"/>
                <a:gd name="T60" fmla="*/ 229 w 1649"/>
                <a:gd name="T61" fmla="*/ 0 h 2568"/>
                <a:gd name="T62" fmla="*/ 195 w 1649"/>
                <a:gd name="T63" fmla="*/ 1 h 2568"/>
                <a:gd name="T64" fmla="*/ 159 w 1649"/>
                <a:gd name="T65" fmla="*/ 13 h 2568"/>
                <a:gd name="T66" fmla="*/ 132 w 1649"/>
                <a:gd name="T67" fmla="*/ 17 h 2568"/>
                <a:gd name="T68" fmla="*/ 93 w 1649"/>
                <a:gd name="T69" fmla="*/ 28 h 2568"/>
                <a:gd name="T70" fmla="*/ 68 w 1649"/>
                <a:gd name="T71" fmla="*/ 33 h 2568"/>
                <a:gd name="T72" fmla="*/ 65 w 1649"/>
                <a:gd name="T73" fmla="*/ 20 h 2568"/>
                <a:gd name="T74" fmla="*/ 64 w 1649"/>
                <a:gd name="T75" fmla="*/ 20 h 2568"/>
                <a:gd name="T76" fmla="*/ 52 w 1649"/>
                <a:gd name="T77" fmla="*/ 17 h 2568"/>
                <a:gd name="T78" fmla="*/ 38 w 1649"/>
                <a:gd name="T79" fmla="*/ 27 h 2568"/>
                <a:gd name="T80" fmla="*/ 19 w 1649"/>
                <a:gd name="T81" fmla="*/ 22 h 2568"/>
                <a:gd name="T82" fmla="*/ 14 w 1649"/>
                <a:gd name="T83" fmla="*/ 34 h 2568"/>
                <a:gd name="T84" fmla="*/ 0 w 1649"/>
                <a:gd name="T85" fmla="*/ 44 h 25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49" h="2568">
                  <a:moveTo>
                    <a:pt x="0" y="234"/>
                  </a:moveTo>
                  <a:lnTo>
                    <a:pt x="99" y="506"/>
                  </a:lnTo>
                  <a:lnTo>
                    <a:pt x="95" y="741"/>
                  </a:lnTo>
                  <a:lnTo>
                    <a:pt x="141" y="1116"/>
                  </a:lnTo>
                  <a:lnTo>
                    <a:pt x="185" y="1721"/>
                  </a:lnTo>
                  <a:lnTo>
                    <a:pt x="255" y="2280"/>
                  </a:lnTo>
                  <a:lnTo>
                    <a:pt x="243" y="2483"/>
                  </a:lnTo>
                  <a:lnTo>
                    <a:pt x="216" y="2544"/>
                  </a:lnTo>
                  <a:lnTo>
                    <a:pt x="379" y="2472"/>
                  </a:lnTo>
                  <a:lnTo>
                    <a:pt x="409" y="2352"/>
                  </a:lnTo>
                  <a:lnTo>
                    <a:pt x="473" y="2432"/>
                  </a:lnTo>
                  <a:lnTo>
                    <a:pt x="513" y="2520"/>
                  </a:lnTo>
                  <a:lnTo>
                    <a:pt x="609" y="2568"/>
                  </a:lnTo>
                  <a:lnTo>
                    <a:pt x="649" y="2472"/>
                  </a:lnTo>
                  <a:lnTo>
                    <a:pt x="619" y="2292"/>
                  </a:lnTo>
                  <a:lnTo>
                    <a:pt x="619" y="2172"/>
                  </a:lnTo>
                  <a:lnTo>
                    <a:pt x="809" y="2128"/>
                  </a:lnTo>
                  <a:lnTo>
                    <a:pt x="945" y="2112"/>
                  </a:lnTo>
                  <a:lnTo>
                    <a:pt x="1273" y="2008"/>
                  </a:lnTo>
                  <a:lnTo>
                    <a:pt x="1609" y="1932"/>
                  </a:lnTo>
                  <a:lnTo>
                    <a:pt x="1649" y="1784"/>
                  </a:lnTo>
                  <a:lnTo>
                    <a:pt x="1609" y="1656"/>
                  </a:lnTo>
                  <a:lnTo>
                    <a:pt x="1585" y="1480"/>
                  </a:lnTo>
                  <a:lnTo>
                    <a:pt x="1569" y="1384"/>
                  </a:lnTo>
                  <a:lnTo>
                    <a:pt x="1601" y="1224"/>
                  </a:lnTo>
                  <a:lnTo>
                    <a:pt x="1545" y="1120"/>
                  </a:lnTo>
                  <a:lnTo>
                    <a:pt x="1433" y="928"/>
                  </a:lnTo>
                  <a:lnTo>
                    <a:pt x="1369" y="672"/>
                  </a:lnTo>
                  <a:lnTo>
                    <a:pt x="1257" y="272"/>
                  </a:lnTo>
                  <a:lnTo>
                    <a:pt x="1185" y="144"/>
                  </a:lnTo>
                  <a:lnTo>
                    <a:pt x="1209" y="0"/>
                  </a:lnTo>
                  <a:lnTo>
                    <a:pt x="1029" y="5"/>
                  </a:lnTo>
                  <a:lnTo>
                    <a:pt x="839" y="71"/>
                  </a:lnTo>
                  <a:lnTo>
                    <a:pt x="696" y="90"/>
                  </a:lnTo>
                  <a:lnTo>
                    <a:pt x="489" y="149"/>
                  </a:lnTo>
                  <a:lnTo>
                    <a:pt x="356" y="174"/>
                  </a:lnTo>
                  <a:lnTo>
                    <a:pt x="341" y="107"/>
                  </a:lnTo>
                  <a:lnTo>
                    <a:pt x="339" y="108"/>
                  </a:lnTo>
                  <a:lnTo>
                    <a:pt x="276" y="90"/>
                  </a:lnTo>
                  <a:lnTo>
                    <a:pt x="201" y="143"/>
                  </a:lnTo>
                  <a:lnTo>
                    <a:pt x="99" y="117"/>
                  </a:lnTo>
                  <a:lnTo>
                    <a:pt x="72" y="177"/>
                  </a:lnTo>
                  <a:lnTo>
                    <a:pt x="0" y="234"/>
                  </a:lnTo>
                  <a:close/>
                </a:path>
              </a:pathLst>
            </a:custGeom>
            <a:solidFill>
              <a:srgbClr val="CDC4D6"/>
            </a:solidFill>
            <a:ln w="6350" cmpd="sng">
              <a:solidFill>
                <a:schemeClr val="bg1"/>
              </a:solidFill>
              <a:prstDash val="solid"/>
              <a:round/>
              <a:headEnd/>
              <a:tailEnd/>
            </a:ln>
            <a:effectLst/>
          </p:spPr>
          <p:txBody>
            <a:bodyPr/>
            <a:lstStyle/>
            <a:p>
              <a:endParaRPr lang="zh-CN" altLang="en-US" kern="0">
                <a:solidFill>
                  <a:sysClr val="windowText" lastClr="000000"/>
                </a:solidFill>
              </a:endParaRPr>
            </a:p>
          </p:txBody>
        </p:sp>
      </p:grpSp>
      <p:grpSp>
        <p:nvGrpSpPr>
          <p:cNvPr id="1095" name="State Abbreviations">
            <a:extLst>
              <a:ext uri="{FF2B5EF4-FFF2-40B4-BE49-F238E27FC236}">
                <a16:creationId xmlns:a16="http://schemas.microsoft.com/office/drawing/2014/main" id="{7E5504F3-18D9-E623-7AE8-5E02F2F4AD8C}"/>
              </a:ext>
            </a:extLst>
          </p:cNvPr>
          <p:cNvGrpSpPr/>
          <p:nvPr/>
        </p:nvGrpSpPr>
        <p:grpSpPr>
          <a:xfrm>
            <a:off x="4804300" y="1572346"/>
            <a:ext cx="6795181" cy="3856487"/>
            <a:chOff x="1311242" y="1561331"/>
            <a:chExt cx="6795181" cy="3856487"/>
          </a:xfrm>
        </p:grpSpPr>
        <p:sp>
          <p:nvSpPr>
            <p:cNvPr id="1096" name="Wyoming">
              <a:extLst>
                <a:ext uri="{FF2B5EF4-FFF2-40B4-BE49-F238E27FC236}">
                  <a16:creationId xmlns:a16="http://schemas.microsoft.com/office/drawing/2014/main" id="{36D7E9C0-6761-6739-6DCA-C2214C84DBC1}"/>
                </a:ext>
              </a:extLst>
            </p:cNvPr>
            <p:cNvSpPr>
              <a:spLocks noChangeArrowheads="1"/>
            </p:cNvSpPr>
            <p:nvPr/>
          </p:nvSpPr>
          <p:spPr bwMode="auto">
            <a:xfrm>
              <a:off x="3539104" y="2579688"/>
              <a:ext cx="34970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Segoe UI" panose="020B0502040204020203" pitchFamily="34" charset="0"/>
                  <a:cs typeface="Segoe UI" panose="020B0502040204020203" pitchFamily="34" charset="0"/>
                </a:rPr>
                <a:t>WY</a:t>
              </a:r>
            </a:p>
          </p:txBody>
        </p:sp>
        <p:sp>
          <p:nvSpPr>
            <p:cNvPr id="1097" name="Wisconsin">
              <a:extLst>
                <a:ext uri="{FF2B5EF4-FFF2-40B4-BE49-F238E27FC236}">
                  <a16:creationId xmlns:a16="http://schemas.microsoft.com/office/drawing/2014/main" id="{47FB9590-AB61-DB53-CFF2-09B888EDB6C9}"/>
                </a:ext>
              </a:extLst>
            </p:cNvPr>
            <p:cNvSpPr>
              <a:spLocks noChangeArrowheads="1"/>
            </p:cNvSpPr>
            <p:nvPr/>
          </p:nvSpPr>
          <p:spPr bwMode="auto">
            <a:xfrm>
              <a:off x="5484686" y="2363788"/>
              <a:ext cx="32886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Verdana" pitchFamily="34" charset="0"/>
                </a:rPr>
                <a:t>WI</a:t>
              </a:r>
            </a:p>
          </p:txBody>
        </p:sp>
        <p:sp>
          <p:nvSpPr>
            <p:cNvPr id="1098" name="West Virginia">
              <a:extLst>
                <a:ext uri="{FF2B5EF4-FFF2-40B4-BE49-F238E27FC236}">
                  <a16:creationId xmlns:a16="http://schemas.microsoft.com/office/drawing/2014/main" id="{F54E14DF-3388-65DF-EF45-2F8EC6E83331}"/>
                </a:ext>
              </a:extLst>
            </p:cNvPr>
            <p:cNvSpPr>
              <a:spLocks noChangeArrowheads="1"/>
            </p:cNvSpPr>
            <p:nvPr/>
          </p:nvSpPr>
          <p:spPr bwMode="auto">
            <a:xfrm>
              <a:off x="6695688" y="2991447"/>
              <a:ext cx="35611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Verdana" pitchFamily="34" charset="0"/>
                </a:rPr>
                <a:t>WV</a:t>
              </a:r>
            </a:p>
          </p:txBody>
        </p:sp>
        <p:sp>
          <p:nvSpPr>
            <p:cNvPr id="1099" name="Washington">
              <a:extLst>
                <a:ext uri="{FF2B5EF4-FFF2-40B4-BE49-F238E27FC236}">
                  <a16:creationId xmlns:a16="http://schemas.microsoft.com/office/drawing/2014/main" id="{EAA75C3C-990F-4AF0-CB04-BF7E837342AD}"/>
                </a:ext>
              </a:extLst>
            </p:cNvPr>
            <p:cNvSpPr>
              <a:spLocks noChangeArrowheads="1"/>
            </p:cNvSpPr>
            <p:nvPr/>
          </p:nvSpPr>
          <p:spPr bwMode="auto">
            <a:xfrm>
              <a:off x="2244451" y="1735138"/>
              <a:ext cx="35932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WA</a:t>
              </a:r>
            </a:p>
          </p:txBody>
        </p:sp>
        <p:sp>
          <p:nvSpPr>
            <p:cNvPr id="1100" name="Virginia">
              <a:extLst>
                <a:ext uri="{FF2B5EF4-FFF2-40B4-BE49-F238E27FC236}">
                  <a16:creationId xmlns:a16="http://schemas.microsoft.com/office/drawing/2014/main" id="{EADB2FF1-2E4E-8460-6BF9-7BD6CE421A62}"/>
                </a:ext>
              </a:extLst>
            </p:cNvPr>
            <p:cNvSpPr>
              <a:spLocks noChangeArrowheads="1"/>
            </p:cNvSpPr>
            <p:nvPr/>
          </p:nvSpPr>
          <p:spPr bwMode="auto">
            <a:xfrm>
              <a:off x="7036747" y="3028704"/>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Segoe UI" panose="020B0502040204020203" pitchFamily="34" charset="0"/>
                  <a:cs typeface="Segoe UI" panose="020B0502040204020203" pitchFamily="34" charset="0"/>
                </a:rPr>
                <a:t>VA</a:t>
              </a:r>
            </a:p>
          </p:txBody>
        </p:sp>
        <p:sp>
          <p:nvSpPr>
            <p:cNvPr id="1101" name="Vermont">
              <a:extLst>
                <a:ext uri="{FF2B5EF4-FFF2-40B4-BE49-F238E27FC236}">
                  <a16:creationId xmlns:a16="http://schemas.microsoft.com/office/drawing/2014/main" id="{3BF86F1C-A1A3-D73C-5EEC-5E0C5E30E9BA}"/>
                </a:ext>
              </a:extLst>
            </p:cNvPr>
            <p:cNvSpPr>
              <a:spLocks noChangeArrowheads="1"/>
            </p:cNvSpPr>
            <p:nvPr/>
          </p:nvSpPr>
          <p:spPr bwMode="auto">
            <a:xfrm>
              <a:off x="7372826" y="183692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Segoe UI" panose="020B0502040204020203" pitchFamily="34" charset="0"/>
                  <a:cs typeface="Segoe UI" panose="020B0502040204020203" pitchFamily="34" charset="0"/>
                </a:rPr>
                <a:t>VT</a:t>
              </a:r>
            </a:p>
          </p:txBody>
        </p:sp>
        <p:sp>
          <p:nvSpPr>
            <p:cNvPr id="1102" name="Utah">
              <a:extLst>
                <a:ext uri="{FF2B5EF4-FFF2-40B4-BE49-F238E27FC236}">
                  <a16:creationId xmlns:a16="http://schemas.microsoft.com/office/drawing/2014/main" id="{F2564962-0B61-364E-CF18-0E8BFDAB5771}"/>
                </a:ext>
              </a:extLst>
            </p:cNvPr>
            <p:cNvSpPr>
              <a:spLocks noChangeArrowheads="1"/>
            </p:cNvSpPr>
            <p:nvPr/>
          </p:nvSpPr>
          <p:spPr bwMode="auto">
            <a:xfrm>
              <a:off x="3032839" y="3155950"/>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UT</a:t>
              </a:r>
            </a:p>
          </p:txBody>
        </p:sp>
        <p:sp>
          <p:nvSpPr>
            <p:cNvPr id="1103" name="Texas">
              <a:extLst>
                <a:ext uri="{FF2B5EF4-FFF2-40B4-BE49-F238E27FC236}">
                  <a16:creationId xmlns:a16="http://schemas.microsoft.com/office/drawing/2014/main" id="{DFA1FE7C-27D5-237D-172B-1825BD225A10}"/>
                </a:ext>
              </a:extLst>
            </p:cNvPr>
            <p:cNvSpPr>
              <a:spLocks noChangeArrowheads="1"/>
            </p:cNvSpPr>
            <p:nvPr/>
          </p:nvSpPr>
          <p:spPr bwMode="auto">
            <a:xfrm>
              <a:off x="4479938" y="4379913"/>
              <a:ext cx="30001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TX</a:t>
              </a:r>
            </a:p>
          </p:txBody>
        </p:sp>
        <p:sp>
          <p:nvSpPr>
            <p:cNvPr id="1104" name="Tennessee">
              <a:extLst>
                <a:ext uri="{FF2B5EF4-FFF2-40B4-BE49-F238E27FC236}">
                  <a16:creationId xmlns:a16="http://schemas.microsoft.com/office/drawing/2014/main" id="{450CCEF2-5D87-59BB-448F-DFCF9D000087}"/>
                </a:ext>
              </a:extLst>
            </p:cNvPr>
            <p:cNvSpPr>
              <a:spLocks noChangeArrowheads="1"/>
            </p:cNvSpPr>
            <p:nvPr/>
          </p:nvSpPr>
          <p:spPr bwMode="auto">
            <a:xfrm>
              <a:off x="6056209" y="3587750"/>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Verdana" pitchFamily="34" charset="0"/>
                </a:rPr>
                <a:t>TN</a:t>
              </a:r>
            </a:p>
          </p:txBody>
        </p:sp>
        <p:sp>
          <p:nvSpPr>
            <p:cNvPr id="1105" name="South Dakota">
              <a:extLst>
                <a:ext uri="{FF2B5EF4-FFF2-40B4-BE49-F238E27FC236}">
                  <a16:creationId xmlns:a16="http://schemas.microsoft.com/office/drawing/2014/main" id="{3F1C07BA-9AF7-E2BE-697D-4CE86FB4EDFB}"/>
                </a:ext>
              </a:extLst>
            </p:cNvPr>
            <p:cNvSpPr>
              <a:spLocks noChangeArrowheads="1"/>
            </p:cNvSpPr>
            <p:nvPr/>
          </p:nvSpPr>
          <p:spPr bwMode="auto">
            <a:xfrm>
              <a:off x="4352904" y="2490652"/>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SD</a:t>
              </a:r>
            </a:p>
          </p:txBody>
        </p:sp>
        <p:sp>
          <p:nvSpPr>
            <p:cNvPr id="1106" name="South Carolina">
              <a:extLst>
                <a:ext uri="{FF2B5EF4-FFF2-40B4-BE49-F238E27FC236}">
                  <a16:creationId xmlns:a16="http://schemas.microsoft.com/office/drawing/2014/main" id="{89430255-ABD8-E3F9-C805-B0F66B151699}"/>
                </a:ext>
              </a:extLst>
            </p:cNvPr>
            <p:cNvSpPr>
              <a:spLocks noChangeArrowheads="1"/>
            </p:cNvSpPr>
            <p:nvPr/>
          </p:nvSpPr>
          <p:spPr bwMode="auto">
            <a:xfrm>
              <a:off x="6840538" y="3659188"/>
              <a:ext cx="325438"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Verdana" pitchFamily="34" charset="0"/>
                </a:rPr>
                <a:t>SC</a:t>
              </a:r>
            </a:p>
          </p:txBody>
        </p:sp>
        <p:sp>
          <p:nvSpPr>
            <p:cNvPr id="1107" name="Rhode Island">
              <a:extLst>
                <a:ext uri="{FF2B5EF4-FFF2-40B4-BE49-F238E27FC236}">
                  <a16:creationId xmlns:a16="http://schemas.microsoft.com/office/drawing/2014/main" id="{6807D68B-488B-F652-E9F4-ADB9B3E8559A}"/>
                </a:ext>
              </a:extLst>
            </p:cNvPr>
            <p:cNvSpPr>
              <a:spLocks noChangeArrowheads="1"/>
            </p:cNvSpPr>
            <p:nvPr/>
          </p:nvSpPr>
          <p:spPr bwMode="auto">
            <a:xfrm>
              <a:off x="7833663" y="2301875"/>
              <a:ext cx="2727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RI</a:t>
              </a:r>
            </a:p>
          </p:txBody>
        </p:sp>
        <p:sp>
          <p:nvSpPr>
            <p:cNvPr id="1108" name="Pennsylvania">
              <a:extLst>
                <a:ext uri="{FF2B5EF4-FFF2-40B4-BE49-F238E27FC236}">
                  <a16:creationId xmlns:a16="http://schemas.microsoft.com/office/drawing/2014/main" id="{B2A560BF-44AC-B83D-F663-4BC81748A2AC}"/>
                </a:ext>
              </a:extLst>
            </p:cNvPr>
            <p:cNvSpPr>
              <a:spLocks noChangeArrowheads="1"/>
            </p:cNvSpPr>
            <p:nvPr/>
          </p:nvSpPr>
          <p:spPr bwMode="auto">
            <a:xfrm>
              <a:off x="6979914" y="2527085"/>
              <a:ext cx="31764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Segoe UI" panose="020B0502040204020203" pitchFamily="34" charset="0"/>
                  <a:cs typeface="Segoe UI" panose="020B0502040204020203" pitchFamily="34" charset="0"/>
                </a:rPr>
                <a:t>PA</a:t>
              </a:r>
            </a:p>
          </p:txBody>
        </p:sp>
        <p:sp>
          <p:nvSpPr>
            <p:cNvPr id="1109" name="Oregon">
              <a:extLst>
                <a:ext uri="{FF2B5EF4-FFF2-40B4-BE49-F238E27FC236}">
                  <a16:creationId xmlns:a16="http://schemas.microsoft.com/office/drawing/2014/main" id="{0BDE6A01-DF38-C90F-C125-D87F8511976B}"/>
                </a:ext>
              </a:extLst>
            </p:cNvPr>
            <p:cNvSpPr>
              <a:spLocks noChangeArrowheads="1"/>
            </p:cNvSpPr>
            <p:nvPr/>
          </p:nvSpPr>
          <p:spPr bwMode="auto">
            <a:xfrm>
              <a:off x="2096953" y="2219325"/>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OR</a:t>
              </a:r>
            </a:p>
          </p:txBody>
        </p:sp>
        <p:sp>
          <p:nvSpPr>
            <p:cNvPr id="1110" name="Oklahoma">
              <a:extLst>
                <a:ext uri="{FF2B5EF4-FFF2-40B4-BE49-F238E27FC236}">
                  <a16:creationId xmlns:a16="http://schemas.microsoft.com/office/drawing/2014/main" id="{4A794585-0054-CFCC-BA19-C717EC4A523D}"/>
                </a:ext>
              </a:extLst>
            </p:cNvPr>
            <p:cNvSpPr>
              <a:spLocks noChangeArrowheads="1"/>
            </p:cNvSpPr>
            <p:nvPr/>
          </p:nvSpPr>
          <p:spPr bwMode="auto">
            <a:xfrm>
              <a:off x="4759985" y="3803650"/>
              <a:ext cx="3304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Segoe UI" panose="020B0502040204020203" pitchFamily="34" charset="0"/>
                  <a:cs typeface="Segoe UI" panose="020B0502040204020203" pitchFamily="34" charset="0"/>
                </a:rPr>
                <a:t>OK</a:t>
              </a:r>
            </a:p>
          </p:txBody>
        </p:sp>
        <p:sp>
          <p:nvSpPr>
            <p:cNvPr id="1111" name="Ohio">
              <a:extLst>
                <a:ext uri="{FF2B5EF4-FFF2-40B4-BE49-F238E27FC236}">
                  <a16:creationId xmlns:a16="http://schemas.microsoft.com/office/drawing/2014/main" id="{36E24BF3-E866-C658-B290-5DD857890672}"/>
                </a:ext>
              </a:extLst>
            </p:cNvPr>
            <p:cNvSpPr>
              <a:spLocks noChangeArrowheads="1"/>
            </p:cNvSpPr>
            <p:nvPr/>
          </p:nvSpPr>
          <p:spPr bwMode="auto">
            <a:xfrm>
              <a:off x="6342668" y="2795588"/>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Verdana" pitchFamily="34" charset="0"/>
                </a:rPr>
                <a:t>OH</a:t>
              </a:r>
            </a:p>
          </p:txBody>
        </p:sp>
        <p:sp>
          <p:nvSpPr>
            <p:cNvPr id="1112" name="North Dakota">
              <a:extLst>
                <a:ext uri="{FF2B5EF4-FFF2-40B4-BE49-F238E27FC236}">
                  <a16:creationId xmlns:a16="http://schemas.microsoft.com/office/drawing/2014/main" id="{86640331-806A-F321-8040-6D2AC15FA11F}"/>
                </a:ext>
              </a:extLst>
            </p:cNvPr>
            <p:cNvSpPr>
              <a:spLocks noChangeArrowheads="1"/>
            </p:cNvSpPr>
            <p:nvPr/>
          </p:nvSpPr>
          <p:spPr bwMode="auto">
            <a:xfrm>
              <a:off x="4323407" y="2003425"/>
              <a:ext cx="33367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ND</a:t>
              </a:r>
            </a:p>
          </p:txBody>
        </p:sp>
        <p:sp>
          <p:nvSpPr>
            <p:cNvPr id="1113" name="North Carolina">
              <a:extLst>
                <a:ext uri="{FF2B5EF4-FFF2-40B4-BE49-F238E27FC236}">
                  <a16:creationId xmlns:a16="http://schemas.microsoft.com/office/drawing/2014/main" id="{E82F5FEB-CD1C-22A4-EE33-22E09A5ED48A}"/>
                </a:ext>
              </a:extLst>
            </p:cNvPr>
            <p:cNvSpPr>
              <a:spLocks noChangeArrowheads="1"/>
            </p:cNvSpPr>
            <p:nvPr/>
          </p:nvSpPr>
          <p:spPr bwMode="auto">
            <a:xfrm>
              <a:off x="6983413" y="3371850"/>
              <a:ext cx="3429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Verdana" pitchFamily="34" charset="0"/>
                </a:rPr>
                <a:t>NC</a:t>
              </a:r>
            </a:p>
          </p:txBody>
        </p:sp>
        <p:sp>
          <p:nvSpPr>
            <p:cNvPr id="1114" name="New York">
              <a:extLst>
                <a:ext uri="{FF2B5EF4-FFF2-40B4-BE49-F238E27FC236}">
                  <a16:creationId xmlns:a16="http://schemas.microsoft.com/office/drawing/2014/main" id="{C0A06037-1B6E-4C27-5906-1D3609371056}"/>
                </a:ext>
              </a:extLst>
            </p:cNvPr>
            <p:cNvSpPr>
              <a:spLocks noChangeArrowheads="1"/>
            </p:cNvSpPr>
            <p:nvPr/>
          </p:nvSpPr>
          <p:spPr bwMode="auto">
            <a:xfrm>
              <a:off x="7175373" y="2139822"/>
              <a:ext cx="324056"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NY</a:t>
              </a:r>
            </a:p>
          </p:txBody>
        </p:sp>
        <p:sp>
          <p:nvSpPr>
            <p:cNvPr id="1115" name="New Mexico">
              <a:extLst>
                <a:ext uri="{FF2B5EF4-FFF2-40B4-BE49-F238E27FC236}">
                  <a16:creationId xmlns:a16="http://schemas.microsoft.com/office/drawing/2014/main" id="{1248EC3B-88E4-048B-BC61-D8D95CFCCCC1}"/>
                </a:ext>
              </a:extLst>
            </p:cNvPr>
            <p:cNvSpPr>
              <a:spLocks noChangeArrowheads="1"/>
            </p:cNvSpPr>
            <p:nvPr/>
          </p:nvSpPr>
          <p:spPr bwMode="auto">
            <a:xfrm>
              <a:off x="3600450" y="3876675"/>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NM</a:t>
              </a:r>
            </a:p>
          </p:txBody>
        </p:sp>
        <p:sp>
          <p:nvSpPr>
            <p:cNvPr id="1116" name="New Jersey">
              <a:extLst>
                <a:ext uri="{FF2B5EF4-FFF2-40B4-BE49-F238E27FC236}">
                  <a16:creationId xmlns:a16="http://schemas.microsoft.com/office/drawing/2014/main" id="{FB58B824-5B73-555C-04CF-D277B1256FF5}"/>
                </a:ext>
              </a:extLst>
            </p:cNvPr>
            <p:cNvSpPr>
              <a:spLocks noChangeArrowheads="1"/>
            </p:cNvSpPr>
            <p:nvPr/>
          </p:nvSpPr>
          <p:spPr bwMode="auto">
            <a:xfrm>
              <a:off x="7384740" y="2530870"/>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NJ</a:t>
              </a:r>
            </a:p>
          </p:txBody>
        </p:sp>
        <p:sp>
          <p:nvSpPr>
            <p:cNvPr id="1117" name="New Hampshire">
              <a:extLst>
                <a:ext uri="{FF2B5EF4-FFF2-40B4-BE49-F238E27FC236}">
                  <a16:creationId xmlns:a16="http://schemas.microsoft.com/office/drawing/2014/main" id="{B19EB4DC-09F2-EADC-C4E4-2F2D108DE6A7}"/>
                </a:ext>
              </a:extLst>
            </p:cNvPr>
            <p:cNvSpPr>
              <a:spLocks noChangeArrowheads="1"/>
            </p:cNvSpPr>
            <p:nvPr/>
          </p:nvSpPr>
          <p:spPr bwMode="auto">
            <a:xfrm>
              <a:off x="7512652" y="1945961"/>
              <a:ext cx="33367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Segoe UI" panose="020B0502040204020203" pitchFamily="34" charset="0"/>
                  <a:cs typeface="Segoe UI" panose="020B0502040204020203" pitchFamily="34" charset="0"/>
                </a:rPr>
                <a:t>NH</a:t>
              </a:r>
            </a:p>
          </p:txBody>
        </p:sp>
        <p:sp>
          <p:nvSpPr>
            <p:cNvPr id="1118" name="Nevada">
              <a:extLst>
                <a:ext uri="{FF2B5EF4-FFF2-40B4-BE49-F238E27FC236}">
                  <a16:creationId xmlns:a16="http://schemas.microsoft.com/office/drawing/2014/main" id="{511777B7-10E5-E6D9-4F7F-7908E4B3346B}"/>
                </a:ext>
              </a:extLst>
            </p:cNvPr>
            <p:cNvSpPr>
              <a:spLocks noChangeArrowheads="1"/>
            </p:cNvSpPr>
            <p:nvPr/>
          </p:nvSpPr>
          <p:spPr bwMode="auto">
            <a:xfrm>
              <a:off x="2385901" y="3011488"/>
              <a:ext cx="32566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NV</a:t>
              </a:r>
            </a:p>
          </p:txBody>
        </p:sp>
        <p:sp>
          <p:nvSpPr>
            <p:cNvPr id="1119" name="Nebraska">
              <a:extLst>
                <a:ext uri="{FF2B5EF4-FFF2-40B4-BE49-F238E27FC236}">
                  <a16:creationId xmlns:a16="http://schemas.microsoft.com/office/drawing/2014/main" id="{3316CA2B-8FB3-EAF1-CFBB-D66B83037C65}"/>
                </a:ext>
              </a:extLst>
            </p:cNvPr>
            <p:cNvSpPr>
              <a:spLocks noChangeArrowheads="1"/>
            </p:cNvSpPr>
            <p:nvPr/>
          </p:nvSpPr>
          <p:spPr bwMode="auto">
            <a:xfrm>
              <a:off x="4400462" y="2867025"/>
              <a:ext cx="320851"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NE</a:t>
              </a:r>
            </a:p>
          </p:txBody>
        </p:sp>
        <p:sp>
          <p:nvSpPr>
            <p:cNvPr id="1120" name="Montana">
              <a:extLst>
                <a:ext uri="{FF2B5EF4-FFF2-40B4-BE49-F238E27FC236}">
                  <a16:creationId xmlns:a16="http://schemas.microsoft.com/office/drawing/2014/main" id="{7DC00D05-7A14-87B4-DA94-B4764A07E5B0}"/>
                </a:ext>
              </a:extLst>
            </p:cNvPr>
            <p:cNvSpPr>
              <a:spLocks noChangeArrowheads="1"/>
            </p:cNvSpPr>
            <p:nvPr/>
          </p:nvSpPr>
          <p:spPr bwMode="auto">
            <a:xfrm>
              <a:off x="3321710" y="2003425"/>
              <a:ext cx="33046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MT</a:t>
              </a:r>
            </a:p>
          </p:txBody>
        </p:sp>
        <p:sp>
          <p:nvSpPr>
            <p:cNvPr id="1121" name="Missouri">
              <a:extLst>
                <a:ext uri="{FF2B5EF4-FFF2-40B4-BE49-F238E27FC236}">
                  <a16:creationId xmlns:a16="http://schemas.microsoft.com/office/drawing/2014/main" id="{E3EAD993-F577-8B3E-1E53-0D5FAB7354CC}"/>
                </a:ext>
              </a:extLst>
            </p:cNvPr>
            <p:cNvSpPr>
              <a:spLocks noChangeArrowheads="1"/>
            </p:cNvSpPr>
            <p:nvPr/>
          </p:nvSpPr>
          <p:spPr bwMode="auto">
            <a:xfrm>
              <a:off x="5256213" y="3300413"/>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Segoe UI" panose="020B0502040204020203" pitchFamily="34" charset="0"/>
                  <a:cs typeface="Segoe UI" panose="020B0502040204020203" pitchFamily="34" charset="0"/>
                </a:rPr>
                <a:t>MO</a:t>
              </a:r>
            </a:p>
          </p:txBody>
        </p:sp>
        <p:sp>
          <p:nvSpPr>
            <p:cNvPr id="1122" name="Mississippi">
              <a:extLst>
                <a:ext uri="{FF2B5EF4-FFF2-40B4-BE49-F238E27FC236}">
                  <a16:creationId xmlns:a16="http://schemas.microsoft.com/office/drawing/2014/main" id="{F7187447-AC5D-945D-AB75-0B5D66B31289}"/>
                </a:ext>
              </a:extLst>
            </p:cNvPr>
            <p:cNvSpPr>
              <a:spLocks noChangeArrowheads="1"/>
            </p:cNvSpPr>
            <p:nvPr/>
          </p:nvSpPr>
          <p:spPr bwMode="auto">
            <a:xfrm>
              <a:off x="5759450" y="4092575"/>
              <a:ext cx="3524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Verdana" pitchFamily="34" charset="0"/>
                </a:rPr>
                <a:t>MS</a:t>
              </a:r>
            </a:p>
          </p:txBody>
        </p:sp>
        <p:sp>
          <p:nvSpPr>
            <p:cNvPr id="1123" name="Minnesota">
              <a:extLst>
                <a:ext uri="{FF2B5EF4-FFF2-40B4-BE49-F238E27FC236}">
                  <a16:creationId xmlns:a16="http://schemas.microsoft.com/office/drawing/2014/main" id="{B671107D-62AB-949A-5F89-7A289B37430B}"/>
                </a:ext>
              </a:extLst>
            </p:cNvPr>
            <p:cNvSpPr>
              <a:spLocks noChangeArrowheads="1"/>
            </p:cNvSpPr>
            <p:nvPr/>
          </p:nvSpPr>
          <p:spPr bwMode="auto">
            <a:xfrm>
              <a:off x="4914900" y="2147888"/>
              <a:ext cx="366713"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MN</a:t>
              </a:r>
            </a:p>
          </p:txBody>
        </p:sp>
        <p:sp>
          <p:nvSpPr>
            <p:cNvPr id="1124" name="Michigan">
              <a:extLst>
                <a:ext uri="{FF2B5EF4-FFF2-40B4-BE49-F238E27FC236}">
                  <a16:creationId xmlns:a16="http://schemas.microsoft.com/office/drawing/2014/main" id="{69A0800A-3CE8-B878-7372-9FDAFE135E38}"/>
                </a:ext>
              </a:extLst>
            </p:cNvPr>
            <p:cNvSpPr>
              <a:spLocks noChangeArrowheads="1"/>
            </p:cNvSpPr>
            <p:nvPr/>
          </p:nvSpPr>
          <p:spPr bwMode="auto">
            <a:xfrm>
              <a:off x="6078481" y="2425700"/>
              <a:ext cx="31443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Verdana" pitchFamily="34" charset="0"/>
                </a:rPr>
                <a:t>MI</a:t>
              </a:r>
            </a:p>
          </p:txBody>
        </p:sp>
        <p:sp>
          <p:nvSpPr>
            <p:cNvPr id="1125" name="Massachusetts">
              <a:extLst>
                <a:ext uri="{FF2B5EF4-FFF2-40B4-BE49-F238E27FC236}">
                  <a16:creationId xmlns:a16="http://schemas.microsoft.com/office/drawing/2014/main" id="{1C398307-A200-C9F3-888E-88A1B16B17AE}"/>
                </a:ext>
              </a:extLst>
            </p:cNvPr>
            <p:cNvSpPr>
              <a:spLocks noChangeArrowheads="1"/>
            </p:cNvSpPr>
            <p:nvPr/>
          </p:nvSpPr>
          <p:spPr bwMode="auto">
            <a:xfrm>
              <a:off x="7737286" y="1941513"/>
              <a:ext cx="34169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MA</a:t>
              </a:r>
            </a:p>
          </p:txBody>
        </p:sp>
        <p:sp>
          <p:nvSpPr>
            <p:cNvPr id="1126" name="Maryland">
              <a:extLst>
                <a:ext uri="{FF2B5EF4-FFF2-40B4-BE49-F238E27FC236}">
                  <a16:creationId xmlns:a16="http://schemas.microsoft.com/office/drawing/2014/main" id="{A0467440-EBE2-9776-0DFC-BEFD0B46C08B}"/>
                </a:ext>
              </a:extLst>
            </p:cNvPr>
            <p:cNvSpPr>
              <a:spLocks noChangeArrowheads="1"/>
            </p:cNvSpPr>
            <p:nvPr/>
          </p:nvSpPr>
          <p:spPr bwMode="auto">
            <a:xfrm>
              <a:off x="7679047" y="2873274"/>
              <a:ext cx="34810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MD</a:t>
              </a:r>
            </a:p>
          </p:txBody>
        </p:sp>
        <p:sp>
          <p:nvSpPr>
            <p:cNvPr id="1127" name="Maine">
              <a:extLst>
                <a:ext uri="{FF2B5EF4-FFF2-40B4-BE49-F238E27FC236}">
                  <a16:creationId xmlns:a16="http://schemas.microsoft.com/office/drawing/2014/main" id="{01CEAFDC-E17C-388C-32F6-E4704DC6B206}"/>
                </a:ext>
              </a:extLst>
            </p:cNvPr>
            <p:cNvSpPr>
              <a:spLocks noChangeArrowheads="1"/>
            </p:cNvSpPr>
            <p:nvPr/>
          </p:nvSpPr>
          <p:spPr bwMode="auto">
            <a:xfrm>
              <a:off x="7648085" y="1561331"/>
              <a:ext cx="33527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Segoe UI" panose="020B0502040204020203" pitchFamily="34" charset="0"/>
                  <a:cs typeface="Segoe UI" panose="020B0502040204020203" pitchFamily="34" charset="0"/>
                </a:rPr>
                <a:t>ME</a:t>
              </a:r>
            </a:p>
          </p:txBody>
        </p:sp>
        <p:sp>
          <p:nvSpPr>
            <p:cNvPr id="1128" name="Lousiana">
              <a:extLst>
                <a:ext uri="{FF2B5EF4-FFF2-40B4-BE49-F238E27FC236}">
                  <a16:creationId xmlns:a16="http://schemas.microsoft.com/office/drawing/2014/main" id="{6166801A-7D93-D30E-DB66-6365639EBEA6}"/>
                </a:ext>
              </a:extLst>
            </p:cNvPr>
            <p:cNvSpPr>
              <a:spLocks noChangeArrowheads="1"/>
            </p:cNvSpPr>
            <p:nvPr/>
          </p:nvSpPr>
          <p:spPr bwMode="auto">
            <a:xfrm>
              <a:off x="5400627" y="4379913"/>
              <a:ext cx="31283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Verdana" pitchFamily="34" charset="0"/>
                </a:rPr>
                <a:t>LA</a:t>
              </a:r>
            </a:p>
          </p:txBody>
        </p:sp>
        <p:sp>
          <p:nvSpPr>
            <p:cNvPr id="1129" name="Kentucky">
              <a:extLst>
                <a:ext uri="{FF2B5EF4-FFF2-40B4-BE49-F238E27FC236}">
                  <a16:creationId xmlns:a16="http://schemas.microsoft.com/office/drawing/2014/main" id="{7886053C-7647-BAF9-1B29-89536FAD2F78}"/>
                </a:ext>
              </a:extLst>
            </p:cNvPr>
            <p:cNvSpPr>
              <a:spLocks noChangeArrowheads="1"/>
            </p:cNvSpPr>
            <p:nvPr/>
          </p:nvSpPr>
          <p:spPr bwMode="auto">
            <a:xfrm>
              <a:off x="6287029" y="3234249"/>
              <a:ext cx="317645"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Verdana" pitchFamily="34" charset="0"/>
                </a:rPr>
                <a:t>KY</a:t>
              </a:r>
            </a:p>
          </p:txBody>
        </p:sp>
        <p:sp>
          <p:nvSpPr>
            <p:cNvPr id="1130" name="Kansas">
              <a:extLst>
                <a:ext uri="{FF2B5EF4-FFF2-40B4-BE49-F238E27FC236}">
                  <a16:creationId xmlns:a16="http://schemas.microsoft.com/office/drawing/2014/main" id="{00432488-5916-FCFF-B651-80DBAC3BBB46}"/>
                </a:ext>
              </a:extLst>
            </p:cNvPr>
            <p:cNvSpPr>
              <a:spLocks noChangeArrowheads="1"/>
            </p:cNvSpPr>
            <p:nvPr/>
          </p:nvSpPr>
          <p:spPr bwMode="auto">
            <a:xfrm>
              <a:off x="4547361" y="33004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Segoe UI" panose="020B0502040204020203" pitchFamily="34" charset="0"/>
                  <a:cs typeface="Segoe UI" panose="020B0502040204020203" pitchFamily="34" charset="0"/>
                </a:rPr>
                <a:t>KS</a:t>
              </a:r>
            </a:p>
          </p:txBody>
        </p:sp>
        <p:sp>
          <p:nvSpPr>
            <p:cNvPr id="1131" name="Iowa">
              <a:extLst>
                <a:ext uri="{FF2B5EF4-FFF2-40B4-BE49-F238E27FC236}">
                  <a16:creationId xmlns:a16="http://schemas.microsoft.com/office/drawing/2014/main" id="{8F45F0FE-1413-2AA0-18E3-F1BC9D13567A}"/>
                </a:ext>
              </a:extLst>
            </p:cNvPr>
            <p:cNvSpPr>
              <a:spLocks noChangeArrowheads="1"/>
            </p:cNvSpPr>
            <p:nvPr/>
          </p:nvSpPr>
          <p:spPr bwMode="auto">
            <a:xfrm>
              <a:off x="5132509" y="2743200"/>
              <a:ext cx="27756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chemeClr val="bg1"/>
                  </a:solidFill>
                  <a:latin typeface="Segoe UI" panose="020B0502040204020203" pitchFamily="34" charset="0"/>
                  <a:cs typeface="Segoe UI" panose="020B0502040204020203" pitchFamily="34" charset="0"/>
                </a:rPr>
                <a:t>IA</a:t>
              </a:r>
            </a:p>
          </p:txBody>
        </p:sp>
        <p:sp>
          <p:nvSpPr>
            <p:cNvPr id="1132" name="Indiana">
              <a:extLst>
                <a:ext uri="{FF2B5EF4-FFF2-40B4-BE49-F238E27FC236}">
                  <a16:creationId xmlns:a16="http://schemas.microsoft.com/office/drawing/2014/main" id="{D753C400-6A18-E8F3-AE3D-61B8BB4FEA2A}"/>
                </a:ext>
              </a:extLst>
            </p:cNvPr>
            <p:cNvSpPr>
              <a:spLocks noChangeArrowheads="1"/>
            </p:cNvSpPr>
            <p:nvPr/>
          </p:nvSpPr>
          <p:spPr bwMode="auto">
            <a:xfrm>
              <a:off x="6036490" y="292100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Segoe UI" panose="020B0502040204020203" pitchFamily="34" charset="0"/>
                  <a:cs typeface="Segoe UI" panose="020B0502040204020203" pitchFamily="34" charset="0"/>
                </a:rPr>
                <a:t>IN</a:t>
              </a:r>
            </a:p>
          </p:txBody>
        </p:sp>
        <p:sp>
          <p:nvSpPr>
            <p:cNvPr id="1133" name="Illinois">
              <a:extLst>
                <a:ext uri="{FF2B5EF4-FFF2-40B4-BE49-F238E27FC236}">
                  <a16:creationId xmlns:a16="http://schemas.microsoft.com/office/drawing/2014/main" id="{7B1FFC7C-FACA-4239-72B0-AB33789F0666}"/>
                </a:ext>
              </a:extLst>
            </p:cNvPr>
            <p:cNvSpPr>
              <a:spLocks noChangeArrowheads="1"/>
            </p:cNvSpPr>
            <p:nvPr/>
          </p:nvSpPr>
          <p:spPr bwMode="auto">
            <a:xfrm>
              <a:off x="5705636" y="2940050"/>
              <a:ext cx="26955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Segoe UI" panose="020B0502040204020203" pitchFamily="34" charset="0"/>
                  <a:cs typeface="Segoe UI" panose="020B0502040204020203" pitchFamily="34" charset="0"/>
                </a:rPr>
                <a:t>IL</a:t>
              </a:r>
            </a:p>
          </p:txBody>
        </p:sp>
        <p:sp>
          <p:nvSpPr>
            <p:cNvPr id="1134" name="Idaho">
              <a:extLst>
                <a:ext uri="{FF2B5EF4-FFF2-40B4-BE49-F238E27FC236}">
                  <a16:creationId xmlns:a16="http://schemas.microsoft.com/office/drawing/2014/main" id="{13BA6454-768F-6C88-888C-AE29DB429EDB}"/>
                </a:ext>
              </a:extLst>
            </p:cNvPr>
            <p:cNvSpPr>
              <a:spLocks noChangeArrowheads="1"/>
            </p:cNvSpPr>
            <p:nvPr/>
          </p:nvSpPr>
          <p:spPr bwMode="auto">
            <a:xfrm>
              <a:off x="2805164" y="2354263"/>
              <a:ext cx="29199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ID</a:t>
              </a:r>
            </a:p>
          </p:txBody>
        </p:sp>
        <p:sp>
          <p:nvSpPr>
            <p:cNvPr id="1135" name="Hawaii">
              <a:extLst>
                <a:ext uri="{FF2B5EF4-FFF2-40B4-BE49-F238E27FC236}">
                  <a16:creationId xmlns:a16="http://schemas.microsoft.com/office/drawing/2014/main" id="{C0937F56-6ACC-5173-2658-82A677F2F210}"/>
                </a:ext>
              </a:extLst>
            </p:cNvPr>
            <p:cNvSpPr>
              <a:spLocks noChangeArrowheads="1"/>
            </p:cNvSpPr>
            <p:nvPr/>
          </p:nvSpPr>
          <p:spPr bwMode="auto">
            <a:xfrm>
              <a:off x="2885237" y="5202409"/>
              <a:ext cx="29520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HI</a:t>
              </a:r>
            </a:p>
          </p:txBody>
        </p:sp>
        <p:sp>
          <p:nvSpPr>
            <p:cNvPr id="1136" name="Georgia">
              <a:extLst>
                <a:ext uri="{FF2B5EF4-FFF2-40B4-BE49-F238E27FC236}">
                  <a16:creationId xmlns:a16="http://schemas.microsoft.com/office/drawing/2014/main" id="{6519ED71-F405-C64C-2DDE-42C0B5B3BB31}"/>
                </a:ext>
              </a:extLst>
            </p:cNvPr>
            <p:cNvSpPr>
              <a:spLocks noChangeArrowheads="1"/>
            </p:cNvSpPr>
            <p:nvPr/>
          </p:nvSpPr>
          <p:spPr bwMode="auto">
            <a:xfrm>
              <a:off x="6480175" y="3948113"/>
              <a:ext cx="34607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Verdana" pitchFamily="34" charset="0"/>
                </a:rPr>
                <a:t>GA</a:t>
              </a:r>
            </a:p>
          </p:txBody>
        </p:sp>
        <p:sp>
          <p:nvSpPr>
            <p:cNvPr id="1137" name="Florida">
              <a:extLst>
                <a:ext uri="{FF2B5EF4-FFF2-40B4-BE49-F238E27FC236}">
                  <a16:creationId xmlns:a16="http://schemas.microsoft.com/office/drawing/2014/main" id="{B65272BE-3E85-44BE-A3FA-9EF4DB633C65}"/>
                </a:ext>
              </a:extLst>
            </p:cNvPr>
            <p:cNvSpPr>
              <a:spLocks noChangeArrowheads="1"/>
            </p:cNvSpPr>
            <p:nvPr/>
          </p:nvSpPr>
          <p:spPr bwMode="auto">
            <a:xfrm>
              <a:off x="6847687" y="4524375"/>
              <a:ext cx="301614"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Verdana" pitchFamily="34" charset="0"/>
                </a:rPr>
                <a:t>FL</a:t>
              </a:r>
            </a:p>
          </p:txBody>
        </p:sp>
        <p:sp>
          <p:nvSpPr>
            <p:cNvPr id="1138" name="Delaware">
              <a:extLst>
                <a:ext uri="{FF2B5EF4-FFF2-40B4-BE49-F238E27FC236}">
                  <a16:creationId xmlns:a16="http://schemas.microsoft.com/office/drawing/2014/main" id="{8A0394D8-63C9-A60A-EBE5-1C253F7B738E}"/>
                </a:ext>
              </a:extLst>
            </p:cNvPr>
            <p:cNvSpPr>
              <a:spLocks noChangeArrowheads="1"/>
            </p:cNvSpPr>
            <p:nvPr/>
          </p:nvSpPr>
          <p:spPr bwMode="auto">
            <a:xfrm>
              <a:off x="7545071" y="2763114"/>
              <a:ext cx="30802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DE</a:t>
              </a:r>
            </a:p>
          </p:txBody>
        </p:sp>
        <p:sp>
          <p:nvSpPr>
            <p:cNvPr id="1139" name="Connecticut">
              <a:extLst>
                <a:ext uri="{FF2B5EF4-FFF2-40B4-BE49-F238E27FC236}">
                  <a16:creationId xmlns:a16="http://schemas.microsoft.com/office/drawing/2014/main" id="{D0C2A56A-65E5-5203-A186-285A21EBF795}"/>
                </a:ext>
              </a:extLst>
            </p:cNvPr>
            <p:cNvSpPr>
              <a:spLocks noChangeArrowheads="1"/>
            </p:cNvSpPr>
            <p:nvPr/>
          </p:nvSpPr>
          <p:spPr bwMode="auto">
            <a:xfrm>
              <a:off x="7732194" y="2406946"/>
              <a:ext cx="303217"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CT</a:t>
              </a:r>
            </a:p>
          </p:txBody>
        </p:sp>
        <p:sp>
          <p:nvSpPr>
            <p:cNvPr id="1140" name="Colorado">
              <a:extLst>
                <a:ext uri="{FF2B5EF4-FFF2-40B4-BE49-F238E27FC236}">
                  <a16:creationId xmlns:a16="http://schemas.microsoft.com/office/drawing/2014/main" id="{84E392AD-D918-4014-D198-C4137F61C5AA}"/>
                </a:ext>
              </a:extLst>
            </p:cNvPr>
            <p:cNvSpPr>
              <a:spLocks noChangeArrowheads="1"/>
            </p:cNvSpPr>
            <p:nvPr/>
          </p:nvSpPr>
          <p:spPr bwMode="auto">
            <a:xfrm>
              <a:off x="3679707" y="3227388"/>
              <a:ext cx="327262"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CO</a:t>
              </a:r>
            </a:p>
          </p:txBody>
        </p:sp>
        <p:sp>
          <p:nvSpPr>
            <p:cNvPr id="1141" name="California">
              <a:extLst>
                <a:ext uri="{FF2B5EF4-FFF2-40B4-BE49-F238E27FC236}">
                  <a16:creationId xmlns:a16="http://schemas.microsoft.com/office/drawing/2014/main" id="{BB14EC5F-D529-CFA1-8210-566D7FE008BB}"/>
                </a:ext>
              </a:extLst>
            </p:cNvPr>
            <p:cNvSpPr>
              <a:spLocks noChangeArrowheads="1"/>
            </p:cNvSpPr>
            <p:nvPr/>
          </p:nvSpPr>
          <p:spPr bwMode="auto">
            <a:xfrm>
              <a:off x="1880567" y="3254225"/>
              <a:ext cx="320850"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CA</a:t>
              </a:r>
            </a:p>
          </p:txBody>
        </p:sp>
        <p:sp>
          <p:nvSpPr>
            <p:cNvPr id="1142" name="Arkansas">
              <a:extLst>
                <a:ext uri="{FF2B5EF4-FFF2-40B4-BE49-F238E27FC236}">
                  <a16:creationId xmlns:a16="http://schemas.microsoft.com/office/drawing/2014/main" id="{47F2D2C7-7BA6-E4AC-AEC0-7B9BE7039E7D}"/>
                </a:ext>
              </a:extLst>
            </p:cNvPr>
            <p:cNvSpPr>
              <a:spLocks noChangeArrowheads="1"/>
            </p:cNvSpPr>
            <p:nvPr/>
          </p:nvSpPr>
          <p:spPr bwMode="auto">
            <a:xfrm>
              <a:off x="5343483" y="3803650"/>
              <a:ext cx="311233"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AR</a:t>
              </a:r>
            </a:p>
          </p:txBody>
        </p:sp>
        <p:sp>
          <p:nvSpPr>
            <p:cNvPr id="1143" name="Arizona">
              <a:extLst>
                <a:ext uri="{FF2B5EF4-FFF2-40B4-BE49-F238E27FC236}">
                  <a16:creationId xmlns:a16="http://schemas.microsoft.com/office/drawing/2014/main" id="{BC36F797-D6D4-FA1C-0E6F-F123BB3EBF78}"/>
                </a:ext>
              </a:extLst>
            </p:cNvPr>
            <p:cNvSpPr>
              <a:spLocks noChangeArrowheads="1"/>
            </p:cNvSpPr>
            <p:nvPr/>
          </p:nvSpPr>
          <p:spPr bwMode="auto">
            <a:xfrm>
              <a:off x="2886789" y="3876675"/>
              <a:ext cx="31924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AZ</a:t>
              </a:r>
            </a:p>
          </p:txBody>
        </p:sp>
        <p:sp>
          <p:nvSpPr>
            <p:cNvPr id="1144" name="Alaska">
              <a:extLst>
                <a:ext uri="{FF2B5EF4-FFF2-40B4-BE49-F238E27FC236}">
                  <a16:creationId xmlns:a16="http://schemas.microsoft.com/office/drawing/2014/main" id="{1F27576D-E2F6-52C7-D90B-AB26017BBB48}"/>
                </a:ext>
              </a:extLst>
            </p:cNvPr>
            <p:cNvSpPr>
              <a:spLocks noChangeArrowheads="1"/>
            </p:cNvSpPr>
            <p:nvPr/>
          </p:nvSpPr>
          <p:spPr bwMode="auto">
            <a:xfrm>
              <a:off x="1311242" y="4379913"/>
              <a:ext cx="309629"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solidFill>
                    <a:srgbClr val="000000"/>
                  </a:solidFill>
                  <a:latin typeface="Segoe UI" panose="020B0502040204020203" pitchFamily="34" charset="0"/>
                  <a:cs typeface="Segoe UI" panose="020B0502040204020203" pitchFamily="34" charset="0"/>
                </a:rPr>
                <a:t>AK</a:t>
              </a:r>
            </a:p>
          </p:txBody>
        </p:sp>
        <p:sp>
          <p:nvSpPr>
            <p:cNvPr id="1145" name="Alabama">
              <a:extLst>
                <a:ext uri="{FF2B5EF4-FFF2-40B4-BE49-F238E27FC236}">
                  <a16:creationId xmlns:a16="http://schemas.microsoft.com/office/drawing/2014/main" id="{9CE8FF69-275C-3C70-D535-76A3DF5732FB}"/>
                </a:ext>
              </a:extLst>
            </p:cNvPr>
            <p:cNvSpPr>
              <a:spLocks noChangeArrowheads="1"/>
            </p:cNvSpPr>
            <p:nvPr/>
          </p:nvSpPr>
          <p:spPr bwMode="auto">
            <a:xfrm>
              <a:off x="6134915" y="4019550"/>
              <a:ext cx="298408" cy="215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lgn="ctr">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05" tIns="45703" rIns="91405" bIns="45703">
              <a:spAutoFit/>
            </a:bodyPr>
            <a:lstStyle/>
            <a:p>
              <a:pPr algn="ctr" defTabSz="4570413" fontAlgn="base">
                <a:spcBef>
                  <a:spcPct val="0"/>
                </a:spcBef>
                <a:spcAft>
                  <a:spcPct val="0"/>
                </a:spcAft>
              </a:pPr>
              <a:r>
                <a:rPr lang="en-US" altLang="zh-CN" sz="800" dirty="0">
                  <a:latin typeface="Segoe UI" panose="020B0502040204020203" pitchFamily="34" charset="0"/>
                  <a:cs typeface="Segoe UI" panose="020B0502040204020203" pitchFamily="34" charset="0"/>
                </a:rPr>
                <a:t>AL</a:t>
              </a:r>
            </a:p>
          </p:txBody>
        </p:sp>
        <p:cxnSp>
          <p:nvCxnSpPr>
            <p:cNvPr id="1146" name="Straight Connector 1145">
              <a:extLst>
                <a:ext uri="{FF2B5EF4-FFF2-40B4-BE49-F238E27FC236}">
                  <a16:creationId xmlns:a16="http://schemas.microsoft.com/office/drawing/2014/main" id="{3792A404-97BC-671E-204E-2ACE6A4AFA08}"/>
                </a:ext>
              </a:extLst>
            </p:cNvPr>
            <p:cNvCxnSpPr/>
            <p:nvPr/>
          </p:nvCxnSpPr>
          <p:spPr>
            <a:xfrm flipH="1">
              <a:off x="7832468" y="2097228"/>
              <a:ext cx="80513" cy="1013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7" name="Straight Connector 1146">
              <a:extLst>
                <a:ext uri="{FF2B5EF4-FFF2-40B4-BE49-F238E27FC236}">
                  <a16:creationId xmlns:a16="http://schemas.microsoft.com/office/drawing/2014/main" id="{02BA3A7D-E47F-7BEC-C4EB-E9A6D88B5009}"/>
                </a:ext>
              </a:extLst>
            </p:cNvPr>
            <p:cNvCxnSpPr>
              <a:cxnSpLocks/>
            </p:cNvCxnSpPr>
            <p:nvPr/>
          </p:nvCxnSpPr>
          <p:spPr>
            <a:xfrm flipH="1" flipV="1">
              <a:off x="7795844" y="2277310"/>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8" name="Straight Connector 1147">
              <a:extLst>
                <a:ext uri="{FF2B5EF4-FFF2-40B4-BE49-F238E27FC236}">
                  <a16:creationId xmlns:a16="http://schemas.microsoft.com/office/drawing/2014/main" id="{9CC9552D-DEF6-E392-AB13-07E18D25150E}"/>
                </a:ext>
              </a:extLst>
            </p:cNvPr>
            <p:cNvCxnSpPr>
              <a:cxnSpLocks/>
            </p:cNvCxnSpPr>
            <p:nvPr/>
          </p:nvCxnSpPr>
          <p:spPr>
            <a:xfrm flipH="1" flipV="1">
              <a:off x="7736219" y="2331983"/>
              <a:ext cx="106786" cy="1162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49" name="Straight Connector 1148">
              <a:extLst>
                <a:ext uri="{FF2B5EF4-FFF2-40B4-BE49-F238E27FC236}">
                  <a16:creationId xmlns:a16="http://schemas.microsoft.com/office/drawing/2014/main" id="{BA976B0C-BDB7-C013-8B96-BC81CB83D436}"/>
                </a:ext>
              </a:extLst>
            </p:cNvPr>
            <p:cNvCxnSpPr>
              <a:cxnSpLocks/>
            </p:cNvCxnSpPr>
            <p:nvPr/>
          </p:nvCxnSpPr>
          <p:spPr>
            <a:xfrm flipH="1" flipV="1">
              <a:off x="7485360" y="2853151"/>
              <a:ext cx="124715" cy="318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0" name="Straight Connector 1149">
              <a:extLst>
                <a:ext uri="{FF2B5EF4-FFF2-40B4-BE49-F238E27FC236}">
                  <a16:creationId xmlns:a16="http://schemas.microsoft.com/office/drawing/2014/main" id="{52C66A58-6B71-F8F3-DBF6-595353DA9FAA}"/>
                </a:ext>
              </a:extLst>
            </p:cNvPr>
            <p:cNvCxnSpPr>
              <a:cxnSpLocks/>
            </p:cNvCxnSpPr>
            <p:nvPr/>
          </p:nvCxnSpPr>
          <p:spPr>
            <a:xfrm flipH="1" flipV="1">
              <a:off x="7303670" y="2814282"/>
              <a:ext cx="464918" cy="17709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51" name="Group 1150">
            <a:extLst>
              <a:ext uri="{FF2B5EF4-FFF2-40B4-BE49-F238E27FC236}">
                <a16:creationId xmlns:a16="http://schemas.microsoft.com/office/drawing/2014/main" id="{39598E06-1998-545D-AC9A-29B918EE7CA2}"/>
              </a:ext>
            </a:extLst>
          </p:cNvPr>
          <p:cNvGrpSpPr/>
          <p:nvPr/>
        </p:nvGrpSpPr>
        <p:grpSpPr>
          <a:xfrm>
            <a:off x="5576623" y="5803155"/>
            <a:ext cx="4919692" cy="564081"/>
            <a:chOff x="5785178" y="5766579"/>
            <a:chExt cx="4919692" cy="564081"/>
          </a:xfrm>
        </p:grpSpPr>
        <p:sp>
          <p:nvSpPr>
            <p:cNvPr id="1152" name="Rectangle 1151">
              <a:extLst>
                <a:ext uri="{FF2B5EF4-FFF2-40B4-BE49-F238E27FC236}">
                  <a16:creationId xmlns:a16="http://schemas.microsoft.com/office/drawing/2014/main" id="{2ADF44A9-7AD8-59FA-C597-58FF6A8A0B71}"/>
                </a:ext>
              </a:extLst>
            </p:cNvPr>
            <p:cNvSpPr/>
            <p:nvPr/>
          </p:nvSpPr>
          <p:spPr>
            <a:xfrm>
              <a:off x="7015272" y="6256770"/>
              <a:ext cx="485368" cy="73890"/>
            </a:xfrm>
            <a:prstGeom prst="rect">
              <a:avLst/>
            </a:prstGeom>
            <a:solidFill>
              <a:srgbClr val="CDC4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153" name="Rectangle 1152">
              <a:extLst>
                <a:ext uri="{FF2B5EF4-FFF2-40B4-BE49-F238E27FC236}">
                  <a16:creationId xmlns:a16="http://schemas.microsoft.com/office/drawing/2014/main" id="{248295FC-A08F-6780-1FCE-A0A85699BC7E}"/>
                </a:ext>
              </a:extLst>
            </p:cNvPr>
            <p:cNvSpPr/>
            <p:nvPr/>
          </p:nvSpPr>
          <p:spPr>
            <a:xfrm>
              <a:off x="7777875" y="6256770"/>
              <a:ext cx="485368" cy="73890"/>
            </a:xfrm>
            <a:prstGeom prst="rect">
              <a:avLst/>
            </a:prstGeom>
            <a:solidFill>
              <a:srgbClr val="877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154" name="Rectangle 1153">
              <a:extLst>
                <a:ext uri="{FF2B5EF4-FFF2-40B4-BE49-F238E27FC236}">
                  <a16:creationId xmlns:a16="http://schemas.microsoft.com/office/drawing/2014/main" id="{747A56B8-BF25-38E8-A433-85D18F0EA224}"/>
                </a:ext>
              </a:extLst>
            </p:cNvPr>
            <p:cNvSpPr/>
            <p:nvPr/>
          </p:nvSpPr>
          <p:spPr>
            <a:xfrm>
              <a:off x="8540478" y="6256770"/>
              <a:ext cx="485368" cy="73890"/>
            </a:xfrm>
            <a:prstGeom prst="rect">
              <a:avLst/>
            </a:prstGeom>
            <a:solidFill>
              <a:srgbClr val="5F43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155" name="TextBox 1154">
              <a:extLst>
                <a:ext uri="{FF2B5EF4-FFF2-40B4-BE49-F238E27FC236}">
                  <a16:creationId xmlns:a16="http://schemas.microsoft.com/office/drawing/2014/main" id="{B668AD46-0F1C-5536-2B93-69F5029FC64D}"/>
                </a:ext>
              </a:extLst>
            </p:cNvPr>
            <p:cNvSpPr txBox="1"/>
            <p:nvPr/>
          </p:nvSpPr>
          <p:spPr>
            <a:xfrm>
              <a:off x="5785178" y="5766579"/>
              <a:ext cx="4919692"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Number of rural hospitals that stopped offering OB between 2011 and 2021.</a:t>
              </a:r>
            </a:p>
          </p:txBody>
        </p:sp>
        <p:sp>
          <p:nvSpPr>
            <p:cNvPr id="1156" name="TextBox 1155">
              <a:extLst>
                <a:ext uri="{FF2B5EF4-FFF2-40B4-BE49-F238E27FC236}">
                  <a16:creationId xmlns:a16="http://schemas.microsoft.com/office/drawing/2014/main" id="{836C87CD-F96D-0C0D-D46F-A5D3D174E9A9}"/>
                </a:ext>
              </a:extLst>
            </p:cNvPr>
            <p:cNvSpPr txBox="1"/>
            <p:nvPr/>
          </p:nvSpPr>
          <p:spPr>
            <a:xfrm>
              <a:off x="7120842" y="6013575"/>
              <a:ext cx="485368" cy="261610"/>
            </a:xfrm>
            <a:prstGeom prst="rect">
              <a:avLst/>
            </a:prstGeom>
            <a:noFill/>
          </p:spPr>
          <p:txBody>
            <a:bodyPr wrap="square" rtlCol="0">
              <a:spAutoFit/>
            </a:bodyPr>
            <a:lstStyle/>
            <a:p>
              <a:r>
                <a:rPr lang="en-US" sz="1100" dirty="0">
                  <a:solidFill>
                    <a:prstClr val="black"/>
                  </a:solidFill>
                  <a:latin typeface="Segoe UI"/>
                  <a:ea typeface="Verdana" panose="020B0604030504040204" pitchFamily="34" charset="0"/>
                  <a:cs typeface="Verdana" panose="020B0604030504040204" pitchFamily="34" charset="0"/>
                </a:rPr>
                <a:t>1-5</a:t>
              </a:r>
            </a:p>
          </p:txBody>
        </p:sp>
        <p:sp>
          <p:nvSpPr>
            <p:cNvPr id="1157" name="TextBox 1156">
              <a:extLst>
                <a:ext uri="{FF2B5EF4-FFF2-40B4-BE49-F238E27FC236}">
                  <a16:creationId xmlns:a16="http://schemas.microsoft.com/office/drawing/2014/main" id="{8C396DEB-DDEF-0A35-E194-9EB68F9E8852}"/>
                </a:ext>
              </a:extLst>
            </p:cNvPr>
            <p:cNvSpPr txBox="1"/>
            <p:nvPr/>
          </p:nvSpPr>
          <p:spPr>
            <a:xfrm>
              <a:off x="7729073" y="6008358"/>
              <a:ext cx="629772"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6-10</a:t>
              </a:r>
            </a:p>
          </p:txBody>
        </p:sp>
        <p:sp>
          <p:nvSpPr>
            <p:cNvPr id="1158" name="TextBox 1157">
              <a:extLst>
                <a:ext uri="{FF2B5EF4-FFF2-40B4-BE49-F238E27FC236}">
                  <a16:creationId xmlns:a16="http://schemas.microsoft.com/office/drawing/2014/main" id="{362A01EC-C676-22E3-C962-885CBE7BCA29}"/>
                </a:ext>
              </a:extLst>
            </p:cNvPr>
            <p:cNvSpPr txBox="1"/>
            <p:nvPr/>
          </p:nvSpPr>
          <p:spPr>
            <a:xfrm>
              <a:off x="8448943" y="6013575"/>
              <a:ext cx="678867"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11-15</a:t>
              </a:r>
            </a:p>
          </p:txBody>
        </p:sp>
        <p:sp>
          <p:nvSpPr>
            <p:cNvPr id="1159" name="TextBox 1158">
              <a:extLst>
                <a:ext uri="{FF2B5EF4-FFF2-40B4-BE49-F238E27FC236}">
                  <a16:creationId xmlns:a16="http://schemas.microsoft.com/office/drawing/2014/main" id="{311544F3-D8F6-CD56-140F-B39AE483754E}"/>
                </a:ext>
              </a:extLst>
            </p:cNvPr>
            <p:cNvSpPr txBox="1"/>
            <p:nvPr/>
          </p:nvSpPr>
          <p:spPr>
            <a:xfrm>
              <a:off x="9257070" y="6006301"/>
              <a:ext cx="566627"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16-20</a:t>
              </a:r>
            </a:p>
          </p:txBody>
        </p:sp>
        <p:sp>
          <p:nvSpPr>
            <p:cNvPr id="1162" name="Rectangle 1161">
              <a:extLst>
                <a:ext uri="{FF2B5EF4-FFF2-40B4-BE49-F238E27FC236}">
                  <a16:creationId xmlns:a16="http://schemas.microsoft.com/office/drawing/2014/main" id="{8E8E0D60-BFBB-96CE-E473-821B51B14FF0}"/>
                </a:ext>
              </a:extLst>
            </p:cNvPr>
            <p:cNvSpPr/>
            <p:nvPr/>
          </p:nvSpPr>
          <p:spPr>
            <a:xfrm>
              <a:off x="6300423" y="6255729"/>
              <a:ext cx="485368" cy="73890"/>
            </a:xfrm>
            <a:prstGeom prst="rect">
              <a:avLst/>
            </a:prstGeom>
            <a:solidFill>
              <a:srgbClr val="BFCAD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163" name="TextBox 1162">
              <a:extLst>
                <a:ext uri="{FF2B5EF4-FFF2-40B4-BE49-F238E27FC236}">
                  <a16:creationId xmlns:a16="http://schemas.microsoft.com/office/drawing/2014/main" id="{9B3D1902-768F-747C-8F1A-318A1F854845}"/>
                </a:ext>
              </a:extLst>
            </p:cNvPr>
            <p:cNvSpPr txBox="1"/>
            <p:nvPr/>
          </p:nvSpPr>
          <p:spPr>
            <a:xfrm>
              <a:off x="6342835" y="6010449"/>
              <a:ext cx="485368"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0</a:t>
              </a:r>
            </a:p>
          </p:txBody>
        </p:sp>
        <p:sp>
          <p:nvSpPr>
            <p:cNvPr id="1164" name="Rectangle 1163">
              <a:extLst>
                <a:ext uri="{FF2B5EF4-FFF2-40B4-BE49-F238E27FC236}">
                  <a16:creationId xmlns:a16="http://schemas.microsoft.com/office/drawing/2014/main" id="{E50A9C40-2DCD-9983-24A6-1335CE8BF7EF}"/>
                </a:ext>
              </a:extLst>
            </p:cNvPr>
            <p:cNvSpPr/>
            <p:nvPr/>
          </p:nvSpPr>
          <p:spPr>
            <a:xfrm>
              <a:off x="9278845" y="6256770"/>
              <a:ext cx="485368" cy="73890"/>
            </a:xfrm>
            <a:prstGeom prst="rect">
              <a:avLst/>
            </a:prstGeom>
            <a:solidFill>
              <a:srgbClr val="4732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165" name="Rectangle 1164">
              <a:extLst>
                <a:ext uri="{FF2B5EF4-FFF2-40B4-BE49-F238E27FC236}">
                  <a16:creationId xmlns:a16="http://schemas.microsoft.com/office/drawing/2014/main" id="{C94B2C58-97F8-4A98-B27E-EA71917D01C0}"/>
                </a:ext>
              </a:extLst>
            </p:cNvPr>
            <p:cNvSpPr/>
            <p:nvPr/>
          </p:nvSpPr>
          <p:spPr>
            <a:xfrm>
              <a:off x="10006247" y="6255729"/>
              <a:ext cx="485368" cy="73890"/>
            </a:xfrm>
            <a:prstGeom prst="rect">
              <a:avLst/>
            </a:prstGeom>
            <a:solidFill>
              <a:srgbClr val="3022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Segoe UI Light"/>
              </a:endParaRPr>
            </a:p>
          </p:txBody>
        </p:sp>
        <p:sp>
          <p:nvSpPr>
            <p:cNvPr id="1166" name="TextBox 1165">
              <a:extLst>
                <a:ext uri="{FF2B5EF4-FFF2-40B4-BE49-F238E27FC236}">
                  <a16:creationId xmlns:a16="http://schemas.microsoft.com/office/drawing/2014/main" id="{4FCC6C93-323A-1512-B11C-9F02BBC6223A}"/>
                </a:ext>
              </a:extLst>
            </p:cNvPr>
            <p:cNvSpPr txBox="1"/>
            <p:nvPr/>
          </p:nvSpPr>
          <p:spPr>
            <a:xfrm>
              <a:off x="9905572" y="6016061"/>
              <a:ext cx="678867" cy="261610"/>
            </a:xfrm>
            <a:prstGeom prst="rect">
              <a:avLst/>
            </a:prstGeom>
            <a:noFill/>
          </p:spPr>
          <p:txBody>
            <a:bodyPr wrap="square" rtlCol="0">
              <a:spAutoFit/>
            </a:bodyPr>
            <a:lstStyle/>
            <a:p>
              <a:pPr algn="ctr"/>
              <a:r>
                <a:rPr lang="en-US" sz="1100" dirty="0">
                  <a:solidFill>
                    <a:prstClr val="black"/>
                  </a:solidFill>
                  <a:latin typeface="Segoe UI"/>
                  <a:ea typeface="Verdana" panose="020B0604030504040204" pitchFamily="34" charset="0"/>
                  <a:cs typeface="Verdana" panose="020B0604030504040204" pitchFamily="34" charset="0"/>
                </a:rPr>
                <a:t>21+</a:t>
              </a:r>
            </a:p>
          </p:txBody>
        </p:sp>
      </p:grpSp>
      <p:sp>
        <p:nvSpPr>
          <p:cNvPr id="5" name="Title 3">
            <a:extLst>
              <a:ext uri="{FF2B5EF4-FFF2-40B4-BE49-F238E27FC236}">
                <a16:creationId xmlns:a16="http://schemas.microsoft.com/office/drawing/2014/main" id="{DE60CDCA-40B4-ECAF-D700-8708B532C2F3}"/>
              </a:ext>
            </a:extLst>
          </p:cNvPr>
          <p:cNvSpPr txBox="1">
            <a:spLocks/>
          </p:cNvSpPr>
          <p:nvPr/>
        </p:nvSpPr>
        <p:spPr>
          <a:xfrm>
            <a:off x="617062" y="31308"/>
            <a:ext cx="8946033" cy="1143000"/>
          </a:xfrm>
          <a:prstGeom prst="rect">
            <a:avLst/>
          </a:prstGeom>
        </p:spPr>
        <p:txBody>
          <a:bodyPr vert="horz" lIns="0" tIns="0" rIns="0" bIns="0" rtlCol="0" anchor="b" anchorCtr="0">
            <a:noAutofit/>
          </a:bodyPr>
          <a:lstStyle>
            <a:lvl1pPr marL="0" algn="l" defTabSz="914400" rtl="0" eaLnBrk="1" latinLnBrk="0" hangingPunct="1">
              <a:lnSpc>
                <a:spcPct val="108000"/>
              </a:lnSpc>
              <a:spcBef>
                <a:spcPct val="0"/>
              </a:spcBef>
              <a:buNone/>
              <a:defRPr lang="en-US" sz="3200" b="0" kern="1200" dirty="0">
                <a:solidFill>
                  <a:schemeClr val="accent1"/>
                </a:solidFill>
                <a:latin typeface="+mj-lt"/>
                <a:ea typeface="Verdana" panose="020B0604030504040204" pitchFamily="34" charset="0"/>
                <a:cs typeface="Verdana" panose="020B0604030504040204" pitchFamily="34" charset="0"/>
              </a:defRPr>
            </a:lvl1pPr>
          </a:lstStyle>
          <a:p>
            <a:r>
              <a:rPr lang="en-US" sz="3600" dirty="0">
                <a:solidFill>
                  <a:srgbClr val="3A4972"/>
                </a:solidFill>
                <a:latin typeface="Georgia" panose="02040502050405020303" pitchFamily="18" charset="0"/>
              </a:rPr>
              <a:t>Rural America’s Widening OB Deserts</a:t>
            </a:r>
          </a:p>
        </p:txBody>
      </p:sp>
      <p:sp>
        <p:nvSpPr>
          <p:cNvPr id="8" name="TextBox 7">
            <a:extLst>
              <a:ext uri="{FF2B5EF4-FFF2-40B4-BE49-F238E27FC236}">
                <a16:creationId xmlns:a16="http://schemas.microsoft.com/office/drawing/2014/main" id="{3494C9E5-3F01-55FB-9A01-DFC2CD2DAA76}"/>
              </a:ext>
            </a:extLst>
          </p:cNvPr>
          <p:cNvSpPr txBox="1"/>
          <p:nvPr/>
        </p:nvSpPr>
        <p:spPr>
          <a:xfrm>
            <a:off x="530583" y="2111610"/>
            <a:ext cx="3368861" cy="897233"/>
          </a:xfrm>
          <a:prstGeom prst="rect">
            <a:avLst/>
          </a:prstGeom>
          <a:noFill/>
        </p:spPr>
        <p:txBody>
          <a:bodyPr wrap="square" rtlCol="0">
            <a:spAutoFit/>
          </a:bodyPr>
          <a:lstStyle/>
          <a:p>
            <a:pPr>
              <a:lnSpc>
                <a:spcPct val="112000"/>
              </a:lnSpc>
              <a:buClr>
                <a:schemeClr val="accent1"/>
              </a:buClr>
              <a:buSzPct val="70000"/>
            </a:pPr>
            <a:r>
              <a:rPr lang="en-US" sz="1600" dirty="0">
                <a:solidFill>
                  <a:srgbClr val="00294C"/>
                </a:solidFill>
                <a:latin typeface="+mj-lt"/>
                <a:ea typeface="Verdana" panose="020B0604030504040204" pitchFamily="34" charset="0"/>
                <a:cs typeface="Segoe UI" panose="020B0502040204020203" pitchFamily="34" charset="0"/>
              </a:rPr>
              <a:t>States with highest number of rural OB closures are </a:t>
            </a:r>
            <a:r>
              <a:rPr lang="en-US" sz="1600" b="1" dirty="0">
                <a:solidFill>
                  <a:srgbClr val="00294C"/>
                </a:solidFill>
                <a:latin typeface="+mj-lt"/>
                <a:ea typeface="Verdana" panose="020B0604030504040204" pitchFamily="34" charset="0"/>
                <a:cs typeface="Segoe UI" panose="020B0502040204020203" pitchFamily="34" charset="0"/>
              </a:rPr>
              <a:t>MN (22), IA (20), TX (17), WI (16) and KS (14)</a:t>
            </a:r>
            <a:r>
              <a:rPr lang="en-US" sz="1600" dirty="0">
                <a:solidFill>
                  <a:srgbClr val="00294C"/>
                </a:solidFill>
                <a:latin typeface="+mj-lt"/>
                <a:ea typeface="Verdana" panose="020B0604030504040204" pitchFamily="34" charset="0"/>
                <a:cs typeface="Segoe UI" panose="020B0502040204020203" pitchFamily="34" charset="0"/>
              </a:rPr>
              <a:t>.</a:t>
            </a:r>
          </a:p>
        </p:txBody>
      </p:sp>
      <p:sp>
        <p:nvSpPr>
          <p:cNvPr id="10" name="TextBox 9">
            <a:extLst>
              <a:ext uri="{FF2B5EF4-FFF2-40B4-BE49-F238E27FC236}">
                <a16:creationId xmlns:a16="http://schemas.microsoft.com/office/drawing/2014/main" id="{392F08FE-D0D0-FA98-8D07-06EE37755EFB}"/>
              </a:ext>
            </a:extLst>
          </p:cNvPr>
          <p:cNvSpPr txBox="1"/>
          <p:nvPr/>
        </p:nvSpPr>
        <p:spPr>
          <a:xfrm>
            <a:off x="494551" y="3293430"/>
            <a:ext cx="3440923" cy="1173013"/>
          </a:xfrm>
          <a:prstGeom prst="rect">
            <a:avLst/>
          </a:prstGeom>
          <a:noFill/>
        </p:spPr>
        <p:txBody>
          <a:bodyPr wrap="square" rtlCol="0">
            <a:spAutoFit/>
          </a:bodyPr>
          <a:lstStyle/>
          <a:p>
            <a:pPr algn="l">
              <a:lnSpc>
                <a:spcPct val="112000"/>
              </a:lnSpc>
              <a:buClr>
                <a:schemeClr val="accent1"/>
              </a:buClr>
              <a:buSzPct val="70000"/>
            </a:pPr>
            <a:r>
              <a:rPr lang="en-US" sz="1600" b="1" dirty="0">
                <a:solidFill>
                  <a:srgbClr val="00294C"/>
                </a:solidFill>
                <a:latin typeface="+mj-lt"/>
                <a:ea typeface="Verdana" panose="020B0604030504040204" pitchFamily="34" charset="0"/>
                <a:cs typeface="Segoe UI" panose="020B0502040204020203" pitchFamily="34" charset="0"/>
              </a:rPr>
              <a:t>UT</a:t>
            </a:r>
            <a:r>
              <a:rPr lang="en-US" sz="1600" dirty="0">
                <a:solidFill>
                  <a:srgbClr val="00294C"/>
                </a:solidFill>
                <a:latin typeface="+mj-lt"/>
                <a:ea typeface="Verdana" panose="020B0604030504040204" pitchFamily="34" charset="0"/>
                <a:cs typeface="Segoe UI" panose="020B0502040204020203" pitchFamily="34" charset="0"/>
              </a:rPr>
              <a:t> and </a:t>
            </a:r>
            <a:r>
              <a:rPr lang="en-US" sz="1600" b="1" dirty="0">
                <a:solidFill>
                  <a:srgbClr val="00294C"/>
                </a:solidFill>
                <a:latin typeface="+mj-lt"/>
                <a:ea typeface="Verdana" panose="020B0604030504040204" pitchFamily="34" charset="0"/>
                <a:cs typeface="Segoe UI" panose="020B0502040204020203" pitchFamily="34" charset="0"/>
              </a:rPr>
              <a:t>WY</a:t>
            </a:r>
            <a:r>
              <a:rPr lang="en-US" sz="1600" dirty="0">
                <a:solidFill>
                  <a:srgbClr val="00294C"/>
                </a:solidFill>
                <a:latin typeface="+mj-lt"/>
                <a:ea typeface="Verdana" panose="020B0604030504040204" pitchFamily="34" charset="0"/>
                <a:cs typeface="Segoe UI" panose="020B0502040204020203" pitchFamily="34" charset="0"/>
              </a:rPr>
              <a:t>, states with 20 and 16 rural hospitals offering OB respectively </a:t>
            </a:r>
            <a:r>
              <a:rPr lang="en-US" sz="1600" b="1" dirty="0">
                <a:solidFill>
                  <a:srgbClr val="00294C"/>
                </a:solidFill>
                <a:latin typeface="+mj-lt"/>
                <a:ea typeface="Verdana" panose="020B0604030504040204" pitchFamily="34" charset="0"/>
                <a:cs typeface="Segoe UI" panose="020B0502040204020203" pitchFamily="34" charset="0"/>
              </a:rPr>
              <a:t>have not seen any losses</a:t>
            </a:r>
            <a:r>
              <a:rPr lang="en-US" sz="1600" dirty="0">
                <a:solidFill>
                  <a:srgbClr val="00294C"/>
                </a:solidFill>
                <a:latin typeface="+mj-lt"/>
                <a:ea typeface="Verdana" panose="020B0604030504040204" pitchFamily="34" charset="0"/>
                <a:cs typeface="Segoe UI" panose="020B0502040204020203" pitchFamily="34" charset="0"/>
              </a:rPr>
              <a:t> during the review period.</a:t>
            </a:r>
          </a:p>
        </p:txBody>
      </p:sp>
      <p:cxnSp>
        <p:nvCxnSpPr>
          <p:cNvPr id="11" name="Straight Connector 10">
            <a:extLst>
              <a:ext uri="{FF2B5EF4-FFF2-40B4-BE49-F238E27FC236}">
                <a16:creationId xmlns:a16="http://schemas.microsoft.com/office/drawing/2014/main" id="{021C6970-DDAD-C674-8590-3E5ED25C27F0}"/>
              </a:ext>
            </a:extLst>
          </p:cNvPr>
          <p:cNvCxnSpPr/>
          <p:nvPr/>
        </p:nvCxnSpPr>
        <p:spPr>
          <a:xfrm>
            <a:off x="842285" y="3118733"/>
            <a:ext cx="2605548" cy="0"/>
          </a:xfrm>
          <a:prstGeom prst="line">
            <a:avLst/>
          </a:prstGeom>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8876735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DD8D229-F90F-4BBE-B9A8-FABBE644C30F}"/>
              </a:ext>
            </a:extLst>
          </p:cNvPr>
          <p:cNvSpPr>
            <a:spLocks noGrp="1"/>
          </p:cNvSpPr>
          <p:nvPr>
            <p:ph type="title"/>
          </p:nvPr>
        </p:nvSpPr>
        <p:spPr>
          <a:xfrm>
            <a:off x="838200" y="18255"/>
            <a:ext cx="10515600" cy="1325563"/>
          </a:xfrm>
        </p:spPr>
        <p:txBody>
          <a:bodyPr/>
          <a:lstStyle/>
          <a:p>
            <a:r>
              <a:rPr lang="en-US" altLang="en-US" b="1" dirty="0">
                <a:solidFill>
                  <a:srgbClr val="3A4972"/>
                </a:solidFill>
                <a:ea typeface="MS PGothic" pitchFamily="34" charset="-128"/>
              </a:rPr>
              <a:t>“Rural hospitals and the rural economy rise and fall together”</a:t>
            </a:r>
            <a:endParaRPr lang="en-US" dirty="0">
              <a:solidFill>
                <a:srgbClr val="3A4972"/>
              </a:solidFill>
            </a:endParaRPr>
          </a:p>
        </p:txBody>
      </p:sp>
      <p:sp>
        <p:nvSpPr>
          <p:cNvPr id="5" name="Rounded Rectangle 7">
            <a:extLst>
              <a:ext uri="{FF2B5EF4-FFF2-40B4-BE49-F238E27FC236}">
                <a16:creationId xmlns:a16="http://schemas.microsoft.com/office/drawing/2014/main" id="{285C8322-2937-44CC-879C-0D3B710B7EB3}"/>
              </a:ext>
            </a:extLst>
          </p:cNvPr>
          <p:cNvSpPr>
            <a:spLocks noGrp="1"/>
          </p:cNvSpPr>
          <p:nvPr>
            <p:ph sz="half" idx="1"/>
          </p:nvPr>
        </p:nvSpPr>
        <p:spPr bwMode="auto">
          <a:xfrm>
            <a:off x="838200" y="1825625"/>
            <a:ext cx="3868554" cy="4351338"/>
          </a:xfrm>
          <a:prstGeom prst="roundRect">
            <a:avLst/>
          </a:prstGeom>
          <a:solidFill>
            <a:schemeClr val="accent1"/>
          </a:solidFill>
          <a:ln w="9525" cap="flat" cmpd="sng" algn="ctr">
            <a:noFill/>
            <a:prstDash val="solid"/>
            <a:round/>
            <a:headEnd type="none" w="med" len="med"/>
            <a:tailEnd type="none" w="med" len="med"/>
          </a:ln>
          <a:effectLst/>
          <a:scene3d>
            <a:camera prst="orthographicFront"/>
            <a:lightRig rig="threePt" dir="t"/>
          </a:scene3d>
          <a:sp3d>
            <a:bevelT w="152400" h="50800" prst="softRound"/>
          </a:sp3d>
        </p:spPr>
        <p:txBody>
          <a:bodyPr vert="horz" wrap="square" lIns="91440" tIns="45720" rIns="91440" bIns="45720" numCol="1" rtlCol="0" anchor="t" anchorCtr="0" compatLnSpc="1">
            <a:prstTxWarp prst="textNoShape">
              <a:avLst/>
            </a:prstTxWarp>
            <a:normAutofit fontScale="77500" lnSpcReduction="20000"/>
          </a:bodyPr>
          <a:lstStyle/>
          <a:p>
            <a:pPr marL="0" indent="0" eaLnBrk="0" hangingPunct="0">
              <a:buNone/>
            </a:pPr>
            <a:endParaRPr lang="en-US" altLang="en-US" dirty="0">
              <a:solidFill>
                <a:prstClr val="white"/>
              </a:solidFill>
            </a:endParaRPr>
          </a:p>
          <a:p>
            <a:pPr marL="0" indent="0" eaLnBrk="0" hangingPunct="0">
              <a:buNone/>
            </a:pPr>
            <a:endParaRPr lang="en-US" altLang="en-US" dirty="0">
              <a:solidFill>
                <a:prstClr val="white"/>
              </a:solidFill>
            </a:endParaRPr>
          </a:p>
          <a:p>
            <a:pPr marL="0" indent="0" eaLnBrk="0" hangingPunct="0">
              <a:buNone/>
            </a:pPr>
            <a:r>
              <a:rPr lang="en-US" altLang="en-US" sz="3100" dirty="0">
                <a:solidFill>
                  <a:prstClr val="white"/>
                </a:solidFill>
              </a:rPr>
              <a:t>“Three years after a rural hospital community closes, it costs about $1000 in per capita income.” </a:t>
            </a:r>
          </a:p>
          <a:p>
            <a:pPr eaLnBrk="0" hangingPunct="0"/>
            <a:endParaRPr lang="en-US" altLang="en-US" sz="2000" dirty="0">
              <a:solidFill>
                <a:prstClr val="white"/>
              </a:solidFill>
            </a:endParaRPr>
          </a:p>
          <a:p>
            <a:pPr eaLnBrk="0" hangingPunct="0"/>
            <a:r>
              <a:rPr lang="en-US" altLang="en-US" sz="2000" dirty="0">
                <a:solidFill>
                  <a:prstClr val="white"/>
                </a:solidFill>
              </a:rPr>
              <a:t>Mark Holmes, professor,  University of North Carolina</a:t>
            </a:r>
          </a:p>
        </p:txBody>
      </p:sp>
      <p:sp>
        <p:nvSpPr>
          <p:cNvPr id="7" name="Content Placeholder 6">
            <a:extLst>
              <a:ext uri="{FF2B5EF4-FFF2-40B4-BE49-F238E27FC236}">
                <a16:creationId xmlns:a16="http://schemas.microsoft.com/office/drawing/2014/main" id="{C53B6817-4C2C-4A28-9D72-A7E5C23F2391}"/>
              </a:ext>
            </a:extLst>
          </p:cNvPr>
          <p:cNvSpPr>
            <a:spLocks noGrp="1"/>
          </p:cNvSpPr>
          <p:nvPr>
            <p:ph sz="half" idx="2"/>
          </p:nvPr>
        </p:nvSpPr>
        <p:spPr>
          <a:xfrm>
            <a:off x="5111015" y="1825625"/>
            <a:ext cx="6242785" cy="4351338"/>
          </a:xfrm>
        </p:spPr>
        <p:txBody>
          <a:bodyPr>
            <a:normAutofit fontScale="77500" lnSpcReduction="20000"/>
          </a:bodyPr>
          <a:lstStyle/>
          <a:p>
            <a:pPr marL="319088" indent="-319088" eaLnBrk="1" hangingPunct="1">
              <a:lnSpc>
                <a:spcPct val="90000"/>
              </a:lnSpc>
              <a:buFontTx/>
              <a:buChar char="•"/>
              <a:defRPr/>
            </a:pPr>
            <a:r>
              <a:rPr lang="en-US" altLang="ko-KR" dirty="0">
                <a:solidFill>
                  <a:srgbClr val="10253F"/>
                </a:solidFill>
                <a:ea typeface="MS PGothic" pitchFamily="34" charset="-128"/>
              </a:rPr>
              <a:t>On average, 14% of total employment in </a:t>
            </a:r>
            <a:r>
              <a:rPr lang="en-US" altLang="ko-KR" i="1" dirty="0">
                <a:solidFill>
                  <a:srgbClr val="10253F"/>
                </a:solidFill>
                <a:ea typeface="MS PGothic" pitchFamily="34" charset="-128"/>
              </a:rPr>
              <a:t>rural areas is attributed to the health sector. Natl. Center for Rural Health </a:t>
            </a:r>
            <a:r>
              <a:rPr lang="en-US" altLang="ko-KR" dirty="0">
                <a:solidFill>
                  <a:srgbClr val="10253F"/>
                </a:solidFill>
                <a:ea typeface="MS PGothic" pitchFamily="34" charset="-128"/>
              </a:rPr>
              <a:t>Works. (RHW)</a:t>
            </a:r>
          </a:p>
          <a:p>
            <a:pPr marL="319088" indent="-319088" eaLnBrk="1" hangingPunct="1">
              <a:lnSpc>
                <a:spcPct val="90000"/>
              </a:lnSpc>
              <a:buFontTx/>
              <a:buChar char="•"/>
              <a:defRPr/>
            </a:pPr>
            <a:endParaRPr lang="en-US" altLang="ko-KR" dirty="0">
              <a:solidFill>
                <a:srgbClr val="10253F"/>
              </a:solidFill>
              <a:ea typeface="MS PGothic" pitchFamily="34" charset="-128"/>
            </a:endParaRPr>
          </a:p>
          <a:p>
            <a:pPr marL="319088" indent="-319088" eaLnBrk="1" hangingPunct="1">
              <a:lnSpc>
                <a:spcPct val="90000"/>
              </a:lnSpc>
              <a:buFontTx/>
              <a:buChar char="•"/>
              <a:defRPr/>
            </a:pPr>
            <a:r>
              <a:rPr lang="en-US" altLang="ko-KR" dirty="0">
                <a:solidFill>
                  <a:srgbClr val="10253F"/>
                </a:solidFill>
                <a:ea typeface="MS PGothic" pitchFamily="34" charset="-128"/>
              </a:rPr>
              <a:t>The average CAH creates 107 jobs and generates $4.8 million in payroll annually. (RHW)</a:t>
            </a:r>
          </a:p>
          <a:p>
            <a:pPr marL="319088" indent="-319088" eaLnBrk="1" hangingPunct="1">
              <a:lnSpc>
                <a:spcPct val="90000"/>
              </a:lnSpc>
              <a:buFontTx/>
              <a:buChar char="•"/>
              <a:defRPr/>
            </a:pPr>
            <a:endParaRPr lang="en-US" altLang="ko-KR" dirty="0">
              <a:solidFill>
                <a:srgbClr val="10253F"/>
              </a:solidFill>
              <a:ea typeface="MS PGothic" pitchFamily="34" charset="-128"/>
            </a:endParaRPr>
          </a:p>
          <a:p>
            <a:pPr marL="319088" indent="-319088" eaLnBrk="1" hangingPunct="1">
              <a:lnSpc>
                <a:spcPct val="90000"/>
              </a:lnSpc>
              <a:buFontTx/>
              <a:buChar char="•"/>
              <a:defRPr/>
            </a:pPr>
            <a:r>
              <a:rPr lang="en-US" altLang="ko-KR" dirty="0">
                <a:solidFill>
                  <a:srgbClr val="10253F"/>
                </a:solidFill>
                <a:ea typeface="MS PGothic" pitchFamily="34" charset="-128"/>
              </a:rPr>
              <a:t>Health care often represent up to 20 percent of a rural community's employment and income. (RHW)</a:t>
            </a:r>
          </a:p>
          <a:p>
            <a:pPr marL="319088" indent="-319088" eaLnBrk="1" hangingPunct="1">
              <a:lnSpc>
                <a:spcPct val="90000"/>
              </a:lnSpc>
              <a:buFontTx/>
              <a:buChar char="•"/>
              <a:defRPr/>
            </a:pPr>
            <a:endParaRPr lang="en-US" altLang="ko-KR" dirty="0">
              <a:solidFill>
                <a:srgbClr val="10253F"/>
              </a:solidFill>
              <a:ea typeface="MS PGothic" pitchFamily="34" charset="-128"/>
            </a:endParaRPr>
          </a:p>
          <a:p>
            <a:pPr marL="319088" indent="-319088" eaLnBrk="1" hangingPunct="1">
              <a:lnSpc>
                <a:spcPct val="90000"/>
              </a:lnSpc>
              <a:buFontTx/>
              <a:buChar char="•"/>
              <a:defRPr/>
            </a:pPr>
            <a:r>
              <a:rPr lang="en-US" altLang="ko-KR" dirty="0">
                <a:solidFill>
                  <a:srgbClr val="10253F"/>
                </a:solidFill>
                <a:ea typeface="MS PGothic" pitchFamily="34" charset="-128"/>
              </a:rPr>
              <a:t>Medical deserts form in rural communities where hospitals close.</a:t>
            </a:r>
            <a:endParaRPr lang="en-US" dirty="0">
              <a:solidFill>
                <a:srgbClr val="10253F"/>
              </a:solidFill>
            </a:endParaRPr>
          </a:p>
          <a:p>
            <a:endParaRPr lang="en-US" dirty="0"/>
          </a:p>
        </p:txBody>
      </p:sp>
    </p:spTree>
    <p:extLst>
      <p:ext uri="{BB962C8B-B14F-4D97-AF65-F5344CB8AC3E}">
        <p14:creationId xmlns:p14="http://schemas.microsoft.com/office/powerpoint/2010/main" val="22139211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A90604F-6BFB-44BC-AA86-0EED26145F7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5" name="Object 4" hidden="1">
                        <a:extLst>
                          <a:ext uri="{FF2B5EF4-FFF2-40B4-BE49-F238E27FC236}">
                            <a16:creationId xmlns:a16="http://schemas.microsoft.com/office/drawing/2014/main" id="{BA90604F-6BFB-44BC-AA86-0EED26145F73}"/>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FD51D3-34B3-4212-B2DC-C34516FE5772}"/>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Segoe UI" panose="020B0502040204020203" pitchFamily="34" charset="0"/>
              <a:ea typeface="Verdana" panose="020B0604030504040204" pitchFamily="34" charset="0"/>
              <a:cs typeface="Poppins SemiBold" panose="00000700000000000000" pitchFamily="50" charset="0"/>
              <a:sym typeface="Segoe UI" panose="020B0502040204020203" pitchFamily="34" charset="0"/>
            </a:endParaRPr>
          </a:p>
        </p:txBody>
      </p:sp>
      <p:sp>
        <p:nvSpPr>
          <p:cNvPr id="4" name="Title 3">
            <a:extLst>
              <a:ext uri="{FF2B5EF4-FFF2-40B4-BE49-F238E27FC236}">
                <a16:creationId xmlns:a16="http://schemas.microsoft.com/office/drawing/2014/main" id="{E0DCF4D0-3447-4110-AEDC-9568EF2305A7}"/>
              </a:ext>
            </a:extLst>
          </p:cNvPr>
          <p:cNvSpPr>
            <a:spLocks noGrp="1"/>
          </p:cNvSpPr>
          <p:nvPr>
            <p:ph type="title"/>
          </p:nvPr>
        </p:nvSpPr>
        <p:spPr/>
        <p:txBody>
          <a:bodyPr vert="horz"/>
          <a:lstStyle/>
          <a:p>
            <a:r>
              <a:rPr lang="en-US" sz="3600" dirty="0">
                <a:latin typeface="Georgia" panose="02040502050405020303" pitchFamily="18" charset="0"/>
              </a:rPr>
              <a:t>Weakening Community Health Status</a:t>
            </a:r>
          </a:p>
        </p:txBody>
      </p:sp>
      <p:grpSp>
        <p:nvGrpSpPr>
          <p:cNvPr id="19" name="Group 18">
            <a:extLst>
              <a:ext uri="{FF2B5EF4-FFF2-40B4-BE49-F238E27FC236}">
                <a16:creationId xmlns:a16="http://schemas.microsoft.com/office/drawing/2014/main" id="{0D621E51-069C-4B19-81E6-FC9D0554AD37}"/>
              </a:ext>
            </a:extLst>
          </p:cNvPr>
          <p:cNvGrpSpPr/>
          <p:nvPr/>
        </p:nvGrpSpPr>
        <p:grpSpPr>
          <a:xfrm>
            <a:off x="6924981" y="3070970"/>
            <a:ext cx="3685781" cy="489199"/>
            <a:chOff x="8791620" y="3233949"/>
            <a:chExt cx="3685781" cy="489199"/>
          </a:xfrm>
        </p:grpSpPr>
        <p:sp>
          <p:nvSpPr>
            <p:cNvPr id="101" name="Rectangle: Rounded Corners 100">
              <a:extLst>
                <a:ext uri="{FF2B5EF4-FFF2-40B4-BE49-F238E27FC236}">
                  <a16:creationId xmlns:a16="http://schemas.microsoft.com/office/drawing/2014/main" id="{020A9BDF-EBA8-4F1C-AB0E-35D33B0B392D}"/>
                </a:ext>
              </a:extLst>
            </p:cNvPr>
            <p:cNvSpPr/>
            <p:nvPr/>
          </p:nvSpPr>
          <p:spPr>
            <a:xfrm rot="5400000">
              <a:off x="10506089" y="1645776"/>
              <a:ext cx="256843" cy="3685781"/>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118" name="Rectangle: Rounded Corners 117">
              <a:extLst>
                <a:ext uri="{FF2B5EF4-FFF2-40B4-BE49-F238E27FC236}">
                  <a16:creationId xmlns:a16="http://schemas.microsoft.com/office/drawing/2014/main" id="{841CE5A0-C803-4D47-B4D4-C6FFACF4B756}"/>
                </a:ext>
              </a:extLst>
            </p:cNvPr>
            <p:cNvSpPr/>
            <p:nvPr/>
          </p:nvSpPr>
          <p:spPr>
            <a:xfrm rot="5400000" flipH="1">
              <a:off x="10002635" y="2297286"/>
              <a:ext cx="45719" cy="238801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5" name="Group 114">
              <a:extLst>
                <a:ext uri="{FF2B5EF4-FFF2-40B4-BE49-F238E27FC236}">
                  <a16:creationId xmlns:a16="http://schemas.microsoft.com/office/drawing/2014/main" id="{98A54812-AD64-4C5B-91CD-1E3D7B01FD51}"/>
                </a:ext>
              </a:extLst>
            </p:cNvPr>
            <p:cNvGrpSpPr/>
            <p:nvPr/>
          </p:nvGrpSpPr>
          <p:grpSpPr>
            <a:xfrm rot="5400000">
              <a:off x="10044544" y="3233949"/>
              <a:ext cx="468964" cy="468964"/>
              <a:chOff x="3701512" y="2854270"/>
              <a:chExt cx="495943" cy="495943"/>
            </a:xfrm>
          </p:grpSpPr>
          <p:sp>
            <p:nvSpPr>
              <p:cNvPr id="116" name="Oval 115">
                <a:extLst>
                  <a:ext uri="{FF2B5EF4-FFF2-40B4-BE49-F238E27FC236}">
                    <a16:creationId xmlns:a16="http://schemas.microsoft.com/office/drawing/2014/main" id="{AD9E1E45-8022-4E98-AF01-7957E5D644DF}"/>
                  </a:ext>
                </a:extLst>
              </p:cNvPr>
              <p:cNvSpPr/>
              <p:nvPr/>
            </p:nvSpPr>
            <p:spPr>
              <a:xfrm>
                <a:off x="3701512" y="2854270"/>
                <a:ext cx="495943" cy="495943"/>
              </a:xfrm>
              <a:prstGeom prst="ellipse">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117" name="TextBox 116">
                <a:extLst>
                  <a:ext uri="{FF2B5EF4-FFF2-40B4-BE49-F238E27FC236}">
                    <a16:creationId xmlns:a16="http://schemas.microsoft.com/office/drawing/2014/main" id="{090ADAA2-DD22-4E18-9857-8ED2A3C68B32}"/>
                  </a:ext>
                </a:extLst>
              </p:cNvPr>
              <p:cNvSpPr txBox="1"/>
              <p:nvPr/>
            </p:nvSpPr>
            <p:spPr>
              <a:xfrm rot="16200000">
                <a:off x="3729279" y="2917578"/>
                <a:ext cx="467532" cy="369332"/>
              </a:xfrm>
              <a:prstGeom prst="rect">
                <a:avLst/>
              </a:prstGeom>
              <a:noFill/>
            </p:spPr>
            <p:txBody>
              <a:bodyPr wrap="square" rtlCol="0">
                <a:spAutoFit/>
              </a:bodyPr>
              <a:lstStyle/>
              <a:p>
                <a:pPr algn="l"/>
                <a:r>
                  <a:rPr lang="en-US" sz="1600" b="1" dirty="0">
                    <a:solidFill>
                      <a:schemeClr val="bg1"/>
                    </a:solidFill>
                    <a:latin typeface="Segoe UI" panose="020B0502040204020203" pitchFamily="34" charset="0"/>
                    <a:ea typeface="Verdana" panose="020B0604030504040204" pitchFamily="34" charset="0"/>
                    <a:cs typeface="Segoe UI" panose="020B0502040204020203" pitchFamily="34" charset="0"/>
                  </a:rPr>
                  <a:t>40</a:t>
                </a:r>
              </a:p>
            </p:txBody>
          </p:sp>
        </p:grpSp>
        <p:grpSp>
          <p:nvGrpSpPr>
            <p:cNvPr id="109" name="Group 108">
              <a:extLst>
                <a:ext uri="{FF2B5EF4-FFF2-40B4-BE49-F238E27FC236}">
                  <a16:creationId xmlns:a16="http://schemas.microsoft.com/office/drawing/2014/main" id="{478403B4-C033-4768-B902-63BB854B91B8}"/>
                </a:ext>
              </a:extLst>
            </p:cNvPr>
            <p:cNvGrpSpPr/>
            <p:nvPr/>
          </p:nvGrpSpPr>
          <p:grpSpPr>
            <a:xfrm rot="5400000">
              <a:off x="10895723" y="3254184"/>
              <a:ext cx="468964" cy="468964"/>
              <a:chOff x="6175426" y="4254282"/>
              <a:chExt cx="495943" cy="495943"/>
            </a:xfrm>
          </p:grpSpPr>
          <p:sp>
            <p:nvSpPr>
              <p:cNvPr id="110" name="Oval 109">
                <a:extLst>
                  <a:ext uri="{FF2B5EF4-FFF2-40B4-BE49-F238E27FC236}">
                    <a16:creationId xmlns:a16="http://schemas.microsoft.com/office/drawing/2014/main" id="{A3E9A28E-2937-4C49-8E8E-252F5E483AF4}"/>
                  </a:ext>
                </a:extLst>
              </p:cNvPr>
              <p:cNvSpPr/>
              <p:nvPr/>
            </p:nvSpPr>
            <p:spPr>
              <a:xfrm>
                <a:off x="6175426" y="4254282"/>
                <a:ext cx="495943" cy="495943"/>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111" name="TextBox 110">
                <a:extLst>
                  <a:ext uri="{FF2B5EF4-FFF2-40B4-BE49-F238E27FC236}">
                    <a16:creationId xmlns:a16="http://schemas.microsoft.com/office/drawing/2014/main" id="{684028E0-7906-451B-BB45-2B67FABAB71F}"/>
                  </a:ext>
                </a:extLst>
              </p:cNvPr>
              <p:cNvSpPr txBox="1"/>
              <p:nvPr/>
            </p:nvSpPr>
            <p:spPr>
              <a:xfrm rot="16200000">
                <a:off x="6207073" y="4306075"/>
                <a:ext cx="467534" cy="369332"/>
              </a:xfrm>
              <a:prstGeom prst="rect">
                <a:avLst/>
              </a:prstGeom>
              <a:noFill/>
            </p:spPr>
            <p:txBody>
              <a:bodyPr wrap="square" rtlCol="0">
                <a:spAutoFit/>
              </a:bodyPr>
              <a:lstStyle/>
              <a:p>
                <a:pPr algn="l"/>
                <a:r>
                  <a:rPr lang="en-US" sz="1600" b="1" dirty="0">
                    <a:solidFill>
                      <a:schemeClr val="bg1"/>
                    </a:solidFill>
                    <a:latin typeface="Segoe UI" panose="020B0502040204020203" pitchFamily="34" charset="0"/>
                    <a:ea typeface="Verdana" panose="020B0604030504040204" pitchFamily="34" charset="0"/>
                    <a:cs typeface="Segoe UI" panose="020B0502040204020203" pitchFamily="34" charset="0"/>
                  </a:rPr>
                  <a:t>61</a:t>
                </a:r>
              </a:p>
            </p:txBody>
          </p:sp>
        </p:grpSp>
      </p:grpSp>
      <p:sp>
        <p:nvSpPr>
          <p:cNvPr id="121" name="Rectangle: Rounded Corners 120">
            <a:extLst>
              <a:ext uri="{FF2B5EF4-FFF2-40B4-BE49-F238E27FC236}">
                <a16:creationId xmlns:a16="http://schemas.microsoft.com/office/drawing/2014/main" id="{C3E46E19-D4CE-4594-9A8E-19B2C421468F}"/>
              </a:ext>
            </a:extLst>
          </p:cNvPr>
          <p:cNvSpPr/>
          <p:nvPr/>
        </p:nvSpPr>
        <p:spPr>
          <a:xfrm rot="5400000">
            <a:off x="8629619" y="2347603"/>
            <a:ext cx="256843" cy="3685781"/>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122" name="Rectangle: Rounded Corners 121">
            <a:extLst>
              <a:ext uri="{FF2B5EF4-FFF2-40B4-BE49-F238E27FC236}">
                <a16:creationId xmlns:a16="http://schemas.microsoft.com/office/drawing/2014/main" id="{6BBEAAD9-14A6-4341-85B6-22F825B1118D}"/>
              </a:ext>
            </a:extLst>
          </p:cNvPr>
          <p:cNvSpPr/>
          <p:nvPr/>
        </p:nvSpPr>
        <p:spPr>
          <a:xfrm rot="5400000" flipH="1">
            <a:off x="8099114" y="3010560"/>
            <a:ext cx="45719" cy="238801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Rectangle: Rounded Corners 122">
            <a:extLst>
              <a:ext uri="{FF2B5EF4-FFF2-40B4-BE49-F238E27FC236}">
                <a16:creationId xmlns:a16="http://schemas.microsoft.com/office/drawing/2014/main" id="{37DEDAF2-8026-457E-8A17-11AFB999F58C}"/>
              </a:ext>
            </a:extLst>
          </p:cNvPr>
          <p:cNvSpPr/>
          <p:nvPr/>
        </p:nvSpPr>
        <p:spPr>
          <a:xfrm rot="5400000">
            <a:off x="8629619" y="3283395"/>
            <a:ext cx="256843" cy="3685781"/>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124" name="Rectangle: Rounded Corners 123">
            <a:extLst>
              <a:ext uri="{FF2B5EF4-FFF2-40B4-BE49-F238E27FC236}">
                <a16:creationId xmlns:a16="http://schemas.microsoft.com/office/drawing/2014/main" id="{47FB1BEE-DC89-4844-9521-797349AD8B28}"/>
              </a:ext>
            </a:extLst>
          </p:cNvPr>
          <p:cNvSpPr/>
          <p:nvPr/>
        </p:nvSpPr>
        <p:spPr>
          <a:xfrm rot="5400000" flipH="1">
            <a:off x="8088727" y="3942707"/>
            <a:ext cx="45719" cy="238801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Group 17">
            <a:extLst>
              <a:ext uri="{FF2B5EF4-FFF2-40B4-BE49-F238E27FC236}">
                <a16:creationId xmlns:a16="http://schemas.microsoft.com/office/drawing/2014/main" id="{E54C4630-3D17-45D3-A5D7-EA7F9B254548}"/>
              </a:ext>
            </a:extLst>
          </p:cNvPr>
          <p:cNvGrpSpPr/>
          <p:nvPr/>
        </p:nvGrpSpPr>
        <p:grpSpPr>
          <a:xfrm>
            <a:off x="6918138" y="2258180"/>
            <a:ext cx="4736330" cy="476405"/>
            <a:chOff x="8791620" y="2379576"/>
            <a:chExt cx="4736330" cy="476405"/>
          </a:xfrm>
        </p:grpSpPr>
        <p:sp>
          <p:nvSpPr>
            <p:cNvPr id="54" name="TextBox 53">
              <a:extLst>
                <a:ext uri="{FF2B5EF4-FFF2-40B4-BE49-F238E27FC236}">
                  <a16:creationId xmlns:a16="http://schemas.microsoft.com/office/drawing/2014/main" id="{4B37C81B-D849-475A-88D8-09BEF9128185}"/>
                </a:ext>
              </a:extLst>
            </p:cNvPr>
            <p:cNvSpPr txBox="1"/>
            <p:nvPr/>
          </p:nvSpPr>
          <p:spPr>
            <a:xfrm>
              <a:off x="12424503" y="2490693"/>
              <a:ext cx="1103447" cy="261610"/>
            </a:xfrm>
            <a:prstGeom prst="rect">
              <a:avLst/>
            </a:prstGeom>
            <a:noFill/>
          </p:spPr>
          <p:txBody>
            <a:bodyPr wrap="square" rtlCol="0">
              <a:spAutoFit/>
            </a:bodyPr>
            <a:lstStyle/>
            <a:p>
              <a:pPr algn="ctr"/>
              <a:r>
                <a:rPr lang="en-US" sz="1050" b="1" dirty="0">
                  <a:latin typeface="Segoe UI Light" panose="020B0502040204020203" pitchFamily="34" charset="0"/>
                  <a:ea typeface="Verdana" panose="020B0604030504040204" pitchFamily="34" charset="0"/>
                  <a:cs typeface="Segoe UI Light" panose="020B0502040204020203" pitchFamily="34" charset="0"/>
                </a:rPr>
                <a:t>Adults Over 65</a:t>
              </a:r>
            </a:p>
          </p:txBody>
        </p:sp>
        <p:sp>
          <p:nvSpPr>
            <p:cNvPr id="119" name="Rectangle: Rounded Corners 118">
              <a:extLst>
                <a:ext uri="{FF2B5EF4-FFF2-40B4-BE49-F238E27FC236}">
                  <a16:creationId xmlns:a16="http://schemas.microsoft.com/office/drawing/2014/main" id="{48639335-FB87-4CEF-A1F3-AF51758CD2BD}"/>
                </a:ext>
              </a:extLst>
            </p:cNvPr>
            <p:cNvSpPr/>
            <p:nvPr/>
          </p:nvSpPr>
          <p:spPr>
            <a:xfrm rot="5400000">
              <a:off x="10506089" y="786395"/>
              <a:ext cx="256843" cy="3685781"/>
            </a:xfrm>
            <a:prstGeom prst="roundRect">
              <a:avLst/>
            </a:prstGeom>
            <a:solidFill>
              <a:schemeClr val="accent4">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120" name="Rectangle: Rounded Corners 119">
              <a:extLst>
                <a:ext uri="{FF2B5EF4-FFF2-40B4-BE49-F238E27FC236}">
                  <a16:creationId xmlns:a16="http://schemas.microsoft.com/office/drawing/2014/main" id="{6F4A1E19-BE21-4A9F-9368-2762CB976A49}"/>
                </a:ext>
              </a:extLst>
            </p:cNvPr>
            <p:cNvSpPr/>
            <p:nvPr/>
          </p:nvSpPr>
          <p:spPr>
            <a:xfrm rot="5400000" flipH="1">
              <a:off x="10012160" y="1437905"/>
              <a:ext cx="45719" cy="238801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4" name="Group 63">
              <a:extLst>
                <a:ext uri="{FF2B5EF4-FFF2-40B4-BE49-F238E27FC236}">
                  <a16:creationId xmlns:a16="http://schemas.microsoft.com/office/drawing/2014/main" id="{1838BD6E-A932-4C81-A546-0974A786BFBD}"/>
                </a:ext>
              </a:extLst>
            </p:cNvPr>
            <p:cNvGrpSpPr/>
            <p:nvPr/>
          </p:nvGrpSpPr>
          <p:grpSpPr>
            <a:xfrm>
              <a:off x="11010787" y="2379576"/>
              <a:ext cx="468963" cy="468964"/>
              <a:chOff x="1211451" y="2721244"/>
              <a:chExt cx="495943" cy="495943"/>
            </a:xfrm>
          </p:grpSpPr>
          <p:sp>
            <p:nvSpPr>
              <p:cNvPr id="65" name="Oval 64">
                <a:extLst>
                  <a:ext uri="{FF2B5EF4-FFF2-40B4-BE49-F238E27FC236}">
                    <a16:creationId xmlns:a16="http://schemas.microsoft.com/office/drawing/2014/main" id="{F978729D-508E-41F0-8B94-AB45E9E67F17}"/>
                  </a:ext>
                </a:extLst>
              </p:cNvPr>
              <p:cNvSpPr/>
              <p:nvPr/>
            </p:nvSpPr>
            <p:spPr>
              <a:xfrm>
                <a:off x="1211451" y="2721244"/>
                <a:ext cx="495943" cy="495943"/>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66" name="TextBox 65">
                <a:extLst>
                  <a:ext uri="{FF2B5EF4-FFF2-40B4-BE49-F238E27FC236}">
                    <a16:creationId xmlns:a16="http://schemas.microsoft.com/office/drawing/2014/main" id="{B23E199E-C106-4427-950D-21142B179C82}"/>
                  </a:ext>
                </a:extLst>
              </p:cNvPr>
              <p:cNvSpPr txBox="1"/>
              <p:nvPr/>
            </p:nvSpPr>
            <p:spPr>
              <a:xfrm>
                <a:off x="1230177" y="2779404"/>
                <a:ext cx="467533" cy="369332"/>
              </a:xfrm>
              <a:prstGeom prst="rect">
                <a:avLst/>
              </a:prstGeom>
              <a:noFill/>
            </p:spPr>
            <p:txBody>
              <a:bodyPr wrap="square" rtlCol="0">
                <a:spAutoFit/>
              </a:bodyPr>
              <a:lstStyle/>
              <a:p>
                <a:pPr algn="l"/>
                <a:r>
                  <a:rPr lang="en-US" sz="1600" b="1" dirty="0">
                    <a:solidFill>
                      <a:schemeClr val="bg1"/>
                    </a:solidFill>
                    <a:latin typeface="Segoe UI" panose="020B0502040204020203" pitchFamily="34" charset="0"/>
                    <a:ea typeface="Verdana" panose="020B0604030504040204" pitchFamily="34" charset="0"/>
                    <a:cs typeface="Segoe UI" panose="020B0502040204020203" pitchFamily="34" charset="0"/>
                  </a:rPr>
                  <a:t>69</a:t>
                </a:r>
              </a:p>
            </p:txBody>
          </p:sp>
        </p:grpSp>
        <p:grpSp>
          <p:nvGrpSpPr>
            <p:cNvPr id="86" name="Group 85">
              <a:extLst>
                <a:ext uri="{FF2B5EF4-FFF2-40B4-BE49-F238E27FC236}">
                  <a16:creationId xmlns:a16="http://schemas.microsoft.com/office/drawing/2014/main" id="{979E2CA6-7E25-468B-AF4C-26EC7B377A6E}"/>
                </a:ext>
              </a:extLst>
            </p:cNvPr>
            <p:cNvGrpSpPr/>
            <p:nvPr/>
          </p:nvGrpSpPr>
          <p:grpSpPr>
            <a:xfrm>
              <a:off x="9686260" y="2387017"/>
              <a:ext cx="468963" cy="468964"/>
              <a:chOff x="3701512" y="2854270"/>
              <a:chExt cx="495943" cy="495943"/>
            </a:xfrm>
          </p:grpSpPr>
          <p:sp>
            <p:nvSpPr>
              <p:cNvPr id="87" name="Oval 86">
                <a:extLst>
                  <a:ext uri="{FF2B5EF4-FFF2-40B4-BE49-F238E27FC236}">
                    <a16:creationId xmlns:a16="http://schemas.microsoft.com/office/drawing/2014/main" id="{289CDB1E-78FC-4756-A68A-5D547CAB05B7}"/>
                  </a:ext>
                </a:extLst>
              </p:cNvPr>
              <p:cNvSpPr/>
              <p:nvPr/>
            </p:nvSpPr>
            <p:spPr>
              <a:xfrm>
                <a:off x="3701512" y="2854270"/>
                <a:ext cx="495943" cy="495943"/>
              </a:xfrm>
              <a:prstGeom prst="ellipse">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88" name="TextBox 87">
                <a:extLst>
                  <a:ext uri="{FF2B5EF4-FFF2-40B4-BE49-F238E27FC236}">
                    <a16:creationId xmlns:a16="http://schemas.microsoft.com/office/drawing/2014/main" id="{C25D902C-E0F0-4097-88A5-7A6E0A9AC4FA}"/>
                  </a:ext>
                </a:extLst>
              </p:cNvPr>
              <p:cNvSpPr txBox="1"/>
              <p:nvPr/>
            </p:nvSpPr>
            <p:spPr>
              <a:xfrm>
                <a:off x="3729279" y="2917575"/>
                <a:ext cx="467533" cy="369332"/>
              </a:xfrm>
              <a:prstGeom prst="rect">
                <a:avLst/>
              </a:prstGeom>
              <a:noFill/>
            </p:spPr>
            <p:txBody>
              <a:bodyPr wrap="square" rtlCol="0">
                <a:spAutoFit/>
              </a:bodyPr>
              <a:lstStyle/>
              <a:p>
                <a:pPr algn="l"/>
                <a:r>
                  <a:rPr lang="en-US" sz="1600" b="1" dirty="0">
                    <a:solidFill>
                      <a:schemeClr val="bg1"/>
                    </a:solidFill>
                    <a:latin typeface="Segoe UI" panose="020B0502040204020203" pitchFamily="34" charset="0"/>
                    <a:ea typeface="Verdana" panose="020B0604030504040204" pitchFamily="34" charset="0"/>
                    <a:cs typeface="Segoe UI" panose="020B0502040204020203" pitchFamily="34" charset="0"/>
                  </a:rPr>
                  <a:t>33</a:t>
                </a:r>
              </a:p>
            </p:txBody>
          </p:sp>
        </p:grpSp>
      </p:grpSp>
      <p:grpSp>
        <p:nvGrpSpPr>
          <p:cNvPr id="92" name="Group 91">
            <a:extLst>
              <a:ext uri="{FF2B5EF4-FFF2-40B4-BE49-F238E27FC236}">
                <a16:creationId xmlns:a16="http://schemas.microsoft.com/office/drawing/2014/main" id="{8237AB75-3A39-4F44-B786-121A0FE1E792}"/>
              </a:ext>
            </a:extLst>
          </p:cNvPr>
          <p:cNvGrpSpPr/>
          <p:nvPr/>
        </p:nvGrpSpPr>
        <p:grpSpPr>
          <a:xfrm>
            <a:off x="9043571" y="3970021"/>
            <a:ext cx="468964" cy="468964"/>
            <a:chOff x="3701512" y="2854270"/>
            <a:chExt cx="495943" cy="495943"/>
          </a:xfrm>
        </p:grpSpPr>
        <p:sp>
          <p:nvSpPr>
            <p:cNvPr id="93" name="Oval 92">
              <a:extLst>
                <a:ext uri="{FF2B5EF4-FFF2-40B4-BE49-F238E27FC236}">
                  <a16:creationId xmlns:a16="http://schemas.microsoft.com/office/drawing/2014/main" id="{9AECC973-B475-4123-A27C-1A387E2E31DD}"/>
                </a:ext>
              </a:extLst>
            </p:cNvPr>
            <p:cNvSpPr/>
            <p:nvPr/>
          </p:nvSpPr>
          <p:spPr>
            <a:xfrm>
              <a:off x="3701512" y="2854270"/>
              <a:ext cx="495943" cy="495943"/>
            </a:xfrm>
            <a:prstGeom prst="ellipse">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C8FB9262-D4B7-4628-99B0-A5A68C0FE75B}"/>
                </a:ext>
              </a:extLst>
            </p:cNvPr>
            <p:cNvSpPr txBox="1"/>
            <p:nvPr/>
          </p:nvSpPr>
          <p:spPr>
            <a:xfrm>
              <a:off x="3729279" y="2917575"/>
              <a:ext cx="467533" cy="369332"/>
            </a:xfrm>
            <a:prstGeom prst="rect">
              <a:avLst/>
            </a:prstGeom>
            <a:noFill/>
          </p:spPr>
          <p:txBody>
            <a:bodyPr wrap="square" rtlCol="0">
              <a:spAutoFit/>
            </a:bodyPr>
            <a:lstStyle/>
            <a:p>
              <a:pPr algn="l"/>
              <a:r>
                <a:rPr lang="en-US" sz="1600" b="1" dirty="0">
                  <a:solidFill>
                    <a:schemeClr val="bg1"/>
                  </a:solidFill>
                  <a:latin typeface="Segoe UI" panose="020B0502040204020203" pitchFamily="34" charset="0"/>
                  <a:ea typeface="Verdana" panose="020B0604030504040204" pitchFamily="34" charset="0"/>
                  <a:cs typeface="Segoe UI" panose="020B0502040204020203" pitchFamily="34" charset="0"/>
                </a:rPr>
                <a:t>63</a:t>
              </a:r>
            </a:p>
          </p:txBody>
        </p:sp>
      </p:grpSp>
      <p:grpSp>
        <p:nvGrpSpPr>
          <p:cNvPr id="79" name="Group 78">
            <a:extLst>
              <a:ext uri="{FF2B5EF4-FFF2-40B4-BE49-F238E27FC236}">
                <a16:creationId xmlns:a16="http://schemas.microsoft.com/office/drawing/2014/main" id="{7D2104EA-5B64-4612-A309-8604C8EC7F6D}"/>
              </a:ext>
            </a:extLst>
          </p:cNvPr>
          <p:cNvGrpSpPr/>
          <p:nvPr/>
        </p:nvGrpSpPr>
        <p:grpSpPr>
          <a:xfrm>
            <a:off x="7836046" y="3995258"/>
            <a:ext cx="473238" cy="468964"/>
            <a:chOff x="4946544" y="4254283"/>
            <a:chExt cx="500463" cy="495943"/>
          </a:xfrm>
        </p:grpSpPr>
        <p:sp>
          <p:nvSpPr>
            <p:cNvPr id="80" name="Oval 79">
              <a:extLst>
                <a:ext uri="{FF2B5EF4-FFF2-40B4-BE49-F238E27FC236}">
                  <a16:creationId xmlns:a16="http://schemas.microsoft.com/office/drawing/2014/main" id="{75DED3CE-1238-4C0F-BF69-C6A7998333B7}"/>
                </a:ext>
              </a:extLst>
            </p:cNvPr>
            <p:cNvSpPr/>
            <p:nvPr/>
          </p:nvSpPr>
          <p:spPr>
            <a:xfrm>
              <a:off x="4946544" y="4254283"/>
              <a:ext cx="495943" cy="495943"/>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81" name="TextBox 80">
              <a:extLst>
                <a:ext uri="{FF2B5EF4-FFF2-40B4-BE49-F238E27FC236}">
                  <a16:creationId xmlns:a16="http://schemas.microsoft.com/office/drawing/2014/main" id="{108A55C6-64CD-4A98-A3D2-9A497B3912E1}"/>
                </a:ext>
              </a:extLst>
            </p:cNvPr>
            <p:cNvSpPr txBox="1"/>
            <p:nvPr/>
          </p:nvSpPr>
          <p:spPr>
            <a:xfrm>
              <a:off x="4979474" y="4317587"/>
              <a:ext cx="467533" cy="369332"/>
            </a:xfrm>
            <a:prstGeom prst="rect">
              <a:avLst/>
            </a:prstGeom>
            <a:noFill/>
          </p:spPr>
          <p:txBody>
            <a:bodyPr wrap="square" rtlCol="0">
              <a:spAutoFit/>
            </a:bodyPr>
            <a:lstStyle/>
            <a:p>
              <a:pPr algn="l"/>
              <a:r>
                <a:rPr lang="en-US" sz="1600" b="1" dirty="0">
                  <a:solidFill>
                    <a:schemeClr val="bg1"/>
                  </a:solidFill>
                  <a:latin typeface="Segoe UI" panose="020B0502040204020203" pitchFamily="34" charset="0"/>
                  <a:ea typeface="Verdana" panose="020B0604030504040204" pitchFamily="34" charset="0"/>
                  <a:cs typeface="Segoe UI" panose="020B0502040204020203" pitchFamily="34" charset="0"/>
                </a:rPr>
                <a:t>33</a:t>
              </a:r>
            </a:p>
          </p:txBody>
        </p:sp>
      </p:grpSp>
      <p:grpSp>
        <p:nvGrpSpPr>
          <p:cNvPr id="83" name="Group 82">
            <a:extLst>
              <a:ext uri="{FF2B5EF4-FFF2-40B4-BE49-F238E27FC236}">
                <a16:creationId xmlns:a16="http://schemas.microsoft.com/office/drawing/2014/main" id="{E8D5E782-9C11-4BC6-9999-4961C7FBE3DA}"/>
              </a:ext>
            </a:extLst>
          </p:cNvPr>
          <p:cNvGrpSpPr/>
          <p:nvPr/>
        </p:nvGrpSpPr>
        <p:grpSpPr>
          <a:xfrm>
            <a:off x="7784349" y="4891803"/>
            <a:ext cx="472025" cy="468964"/>
            <a:chOff x="6175426" y="4254282"/>
            <a:chExt cx="499180" cy="495943"/>
          </a:xfrm>
        </p:grpSpPr>
        <p:sp>
          <p:nvSpPr>
            <p:cNvPr id="84" name="Oval 83">
              <a:extLst>
                <a:ext uri="{FF2B5EF4-FFF2-40B4-BE49-F238E27FC236}">
                  <a16:creationId xmlns:a16="http://schemas.microsoft.com/office/drawing/2014/main" id="{3A33F45B-1998-4FF4-BA1F-C9C5F3B1D026}"/>
                </a:ext>
              </a:extLst>
            </p:cNvPr>
            <p:cNvSpPr/>
            <p:nvPr/>
          </p:nvSpPr>
          <p:spPr>
            <a:xfrm>
              <a:off x="6175426" y="4254282"/>
              <a:ext cx="495943" cy="495943"/>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85" name="TextBox 84">
              <a:extLst>
                <a:ext uri="{FF2B5EF4-FFF2-40B4-BE49-F238E27FC236}">
                  <a16:creationId xmlns:a16="http://schemas.microsoft.com/office/drawing/2014/main" id="{8DB4879A-B3D0-483D-AA06-574ED8412E4C}"/>
                </a:ext>
              </a:extLst>
            </p:cNvPr>
            <p:cNvSpPr txBox="1"/>
            <p:nvPr/>
          </p:nvSpPr>
          <p:spPr>
            <a:xfrm>
              <a:off x="6207073" y="4317587"/>
              <a:ext cx="467533" cy="369332"/>
            </a:xfrm>
            <a:prstGeom prst="rect">
              <a:avLst/>
            </a:prstGeom>
            <a:noFill/>
          </p:spPr>
          <p:txBody>
            <a:bodyPr wrap="square" rtlCol="0">
              <a:spAutoFit/>
            </a:bodyPr>
            <a:lstStyle/>
            <a:p>
              <a:pPr algn="l"/>
              <a:r>
                <a:rPr lang="en-US" sz="1600" b="1" dirty="0">
                  <a:solidFill>
                    <a:schemeClr val="bg1"/>
                  </a:solidFill>
                  <a:latin typeface="Segoe UI" panose="020B0502040204020203" pitchFamily="34" charset="0"/>
                  <a:ea typeface="Verdana" panose="020B0604030504040204" pitchFamily="34" charset="0"/>
                  <a:cs typeface="Segoe UI" panose="020B0502040204020203" pitchFamily="34" charset="0"/>
                </a:rPr>
                <a:t>32</a:t>
              </a:r>
            </a:p>
          </p:txBody>
        </p:sp>
      </p:grpSp>
      <p:grpSp>
        <p:nvGrpSpPr>
          <p:cNvPr id="95" name="Group 94">
            <a:extLst>
              <a:ext uri="{FF2B5EF4-FFF2-40B4-BE49-F238E27FC236}">
                <a16:creationId xmlns:a16="http://schemas.microsoft.com/office/drawing/2014/main" id="{82BF6756-3264-4F23-8D16-DFF88BABC3F2}"/>
              </a:ext>
            </a:extLst>
          </p:cNvPr>
          <p:cNvGrpSpPr/>
          <p:nvPr/>
        </p:nvGrpSpPr>
        <p:grpSpPr>
          <a:xfrm>
            <a:off x="8956627" y="4881591"/>
            <a:ext cx="468964" cy="468964"/>
            <a:chOff x="3701512" y="2854270"/>
            <a:chExt cx="495943" cy="495943"/>
          </a:xfrm>
        </p:grpSpPr>
        <p:sp>
          <p:nvSpPr>
            <p:cNvPr id="96" name="Oval 95">
              <a:extLst>
                <a:ext uri="{FF2B5EF4-FFF2-40B4-BE49-F238E27FC236}">
                  <a16:creationId xmlns:a16="http://schemas.microsoft.com/office/drawing/2014/main" id="{427F1768-3132-4974-940A-125DC20E2FEE}"/>
                </a:ext>
              </a:extLst>
            </p:cNvPr>
            <p:cNvSpPr/>
            <p:nvPr/>
          </p:nvSpPr>
          <p:spPr>
            <a:xfrm>
              <a:off x="3701512" y="2854270"/>
              <a:ext cx="495943" cy="495943"/>
            </a:xfrm>
            <a:prstGeom prst="ellipse">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97" name="TextBox 96">
              <a:extLst>
                <a:ext uri="{FF2B5EF4-FFF2-40B4-BE49-F238E27FC236}">
                  <a16:creationId xmlns:a16="http://schemas.microsoft.com/office/drawing/2014/main" id="{F4D7A569-AE22-42EE-8E60-53ED587218EC}"/>
                </a:ext>
              </a:extLst>
            </p:cNvPr>
            <p:cNvSpPr txBox="1"/>
            <p:nvPr/>
          </p:nvSpPr>
          <p:spPr>
            <a:xfrm>
              <a:off x="3729279" y="2917575"/>
              <a:ext cx="467533" cy="369332"/>
            </a:xfrm>
            <a:prstGeom prst="rect">
              <a:avLst/>
            </a:prstGeom>
            <a:noFill/>
          </p:spPr>
          <p:txBody>
            <a:bodyPr wrap="square" rtlCol="0">
              <a:spAutoFit/>
            </a:bodyPr>
            <a:lstStyle/>
            <a:p>
              <a:pPr algn="l"/>
              <a:r>
                <a:rPr lang="en-US" sz="1600" b="1" dirty="0">
                  <a:solidFill>
                    <a:schemeClr val="bg1"/>
                  </a:solidFill>
                  <a:latin typeface="Segoe UI" panose="020B0502040204020203" pitchFamily="34" charset="0"/>
                  <a:ea typeface="Verdana" panose="020B0604030504040204" pitchFamily="34" charset="0"/>
                  <a:cs typeface="Segoe UI" panose="020B0502040204020203" pitchFamily="34" charset="0"/>
                </a:rPr>
                <a:t>62</a:t>
              </a:r>
            </a:p>
          </p:txBody>
        </p:sp>
      </p:grpSp>
      <p:sp>
        <p:nvSpPr>
          <p:cNvPr id="125" name="TextBox 124">
            <a:extLst>
              <a:ext uri="{FF2B5EF4-FFF2-40B4-BE49-F238E27FC236}">
                <a16:creationId xmlns:a16="http://schemas.microsoft.com/office/drawing/2014/main" id="{3182AA8A-7FBB-4C63-9A53-54C7C9C6ADCC}"/>
              </a:ext>
            </a:extLst>
          </p:cNvPr>
          <p:cNvSpPr txBox="1"/>
          <p:nvPr/>
        </p:nvSpPr>
        <p:spPr>
          <a:xfrm>
            <a:off x="10494979" y="3184982"/>
            <a:ext cx="1286551" cy="261610"/>
          </a:xfrm>
          <a:prstGeom prst="rect">
            <a:avLst/>
          </a:prstGeom>
          <a:noFill/>
        </p:spPr>
        <p:txBody>
          <a:bodyPr wrap="square" rtlCol="0">
            <a:spAutoFit/>
          </a:bodyPr>
          <a:lstStyle/>
          <a:p>
            <a:pPr algn="ctr"/>
            <a:r>
              <a:rPr lang="en-US" sz="1050" b="1" dirty="0">
                <a:latin typeface="Segoe UI Light" panose="020B0502040204020203" pitchFamily="34" charset="0"/>
                <a:ea typeface="Verdana" panose="020B0604030504040204" pitchFamily="34" charset="0"/>
                <a:cs typeface="Segoe UI Light" panose="020B0502040204020203" pitchFamily="34" charset="0"/>
              </a:rPr>
              <a:t>Premature Death</a:t>
            </a:r>
          </a:p>
        </p:txBody>
      </p:sp>
      <p:cxnSp>
        <p:nvCxnSpPr>
          <p:cNvPr id="21" name="Straight Connector 20">
            <a:extLst>
              <a:ext uri="{FF2B5EF4-FFF2-40B4-BE49-F238E27FC236}">
                <a16:creationId xmlns:a16="http://schemas.microsoft.com/office/drawing/2014/main" id="{AAC0BF80-6589-4C95-8DF8-05A39D246EDC}"/>
              </a:ext>
            </a:extLst>
          </p:cNvPr>
          <p:cNvCxnSpPr>
            <a:cxnSpLocks/>
          </p:cNvCxnSpPr>
          <p:nvPr/>
        </p:nvCxnSpPr>
        <p:spPr>
          <a:xfrm flipH="1">
            <a:off x="6918138" y="2379468"/>
            <a:ext cx="6843" cy="2892446"/>
          </a:xfrm>
          <a:prstGeom prst="line">
            <a:avLst/>
          </a:prstGeom>
        </p:spPr>
        <p:style>
          <a:lnRef idx="1">
            <a:schemeClr val="accent4"/>
          </a:lnRef>
          <a:fillRef idx="0">
            <a:schemeClr val="accent4"/>
          </a:fillRef>
          <a:effectRef idx="0">
            <a:schemeClr val="accent4"/>
          </a:effectRef>
          <a:fontRef idx="minor">
            <a:schemeClr val="tx1"/>
          </a:fontRef>
        </p:style>
      </p:cxnSp>
      <p:sp>
        <p:nvSpPr>
          <p:cNvPr id="126" name="TextBox 125">
            <a:extLst>
              <a:ext uri="{FF2B5EF4-FFF2-40B4-BE49-F238E27FC236}">
                <a16:creationId xmlns:a16="http://schemas.microsoft.com/office/drawing/2014/main" id="{0A297E87-F785-4812-B158-3987170FFD2D}"/>
              </a:ext>
            </a:extLst>
          </p:cNvPr>
          <p:cNvSpPr txBox="1"/>
          <p:nvPr/>
        </p:nvSpPr>
        <p:spPr>
          <a:xfrm>
            <a:off x="10487994" y="4988888"/>
            <a:ext cx="1512432" cy="261610"/>
          </a:xfrm>
          <a:prstGeom prst="rect">
            <a:avLst/>
          </a:prstGeom>
          <a:noFill/>
        </p:spPr>
        <p:txBody>
          <a:bodyPr wrap="square" rtlCol="0">
            <a:spAutoFit/>
          </a:bodyPr>
          <a:lstStyle/>
          <a:p>
            <a:pPr algn="ctr"/>
            <a:r>
              <a:rPr lang="en-US" sz="1050" b="1" dirty="0">
                <a:latin typeface="Segoe UI Light" panose="020B0502040204020203" pitchFamily="34" charset="0"/>
                <a:ea typeface="Verdana" panose="020B0604030504040204" pitchFamily="34" charset="0"/>
                <a:cs typeface="Segoe UI Light" panose="020B0502040204020203" pitchFamily="34" charset="0"/>
              </a:rPr>
              <a:t>Access/Mental Health</a:t>
            </a:r>
          </a:p>
        </p:txBody>
      </p:sp>
      <p:sp>
        <p:nvSpPr>
          <p:cNvPr id="127" name="TextBox 126">
            <a:extLst>
              <a:ext uri="{FF2B5EF4-FFF2-40B4-BE49-F238E27FC236}">
                <a16:creationId xmlns:a16="http://schemas.microsoft.com/office/drawing/2014/main" id="{423A6E23-80A6-4799-A455-2D75825575EE}"/>
              </a:ext>
            </a:extLst>
          </p:cNvPr>
          <p:cNvSpPr txBox="1"/>
          <p:nvPr/>
        </p:nvSpPr>
        <p:spPr>
          <a:xfrm>
            <a:off x="10532894" y="4067627"/>
            <a:ext cx="1395568" cy="261610"/>
          </a:xfrm>
          <a:prstGeom prst="rect">
            <a:avLst/>
          </a:prstGeom>
          <a:noFill/>
        </p:spPr>
        <p:txBody>
          <a:bodyPr wrap="square" rtlCol="0">
            <a:spAutoFit/>
          </a:bodyPr>
          <a:lstStyle/>
          <a:p>
            <a:pPr algn="ctr"/>
            <a:r>
              <a:rPr lang="en-US" sz="1050" b="1" dirty="0">
                <a:latin typeface="Segoe UI Light" panose="020B0502040204020203" pitchFamily="34" charset="0"/>
                <a:ea typeface="Verdana" panose="020B0604030504040204" pitchFamily="34" charset="0"/>
                <a:cs typeface="Segoe UI Light" panose="020B0502040204020203" pitchFamily="34" charset="0"/>
              </a:rPr>
              <a:t>Access/Primary Care</a:t>
            </a:r>
          </a:p>
        </p:txBody>
      </p:sp>
      <p:grpSp>
        <p:nvGrpSpPr>
          <p:cNvPr id="23" name="Group 22">
            <a:extLst>
              <a:ext uri="{FF2B5EF4-FFF2-40B4-BE49-F238E27FC236}">
                <a16:creationId xmlns:a16="http://schemas.microsoft.com/office/drawing/2014/main" id="{52F83954-3714-4E29-A9E7-EB3D8FD620E1}"/>
              </a:ext>
            </a:extLst>
          </p:cNvPr>
          <p:cNvGrpSpPr/>
          <p:nvPr/>
        </p:nvGrpSpPr>
        <p:grpSpPr>
          <a:xfrm>
            <a:off x="7784273" y="6187167"/>
            <a:ext cx="2397220" cy="243802"/>
            <a:chOff x="6734400" y="5821706"/>
            <a:chExt cx="3348026" cy="340501"/>
          </a:xfrm>
        </p:grpSpPr>
        <p:sp>
          <p:nvSpPr>
            <p:cNvPr id="130" name="Oval 129">
              <a:extLst>
                <a:ext uri="{FF2B5EF4-FFF2-40B4-BE49-F238E27FC236}">
                  <a16:creationId xmlns:a16="http://schemas.microsoft.com/office/drawing/2014/main" id="{1FD308A6-33F2-4EA9-864C-E966707F76FB}"/>
                </a:ext>
              </a:extLst>
            </p:cNvPr>
            <p:cNvSpPr/>
            <p:nvPr/>
          </p:nvSpPr>
          <p:spPr>
            <a:xfrm>
              <a:off x="6734400" y="5846448"/>
              <a:ext cx="313170" cy="313170"/>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133" name="TextBox 132">
              <a:extLst>
                <a:ext uri="{FF2B5EF4-FFF2-40B4-BE49-F238E27FC236}">
                  <a16:creationId xmlns:a16="http://schemas.microsoft.com/office/drawing/2014/main" id="{881C0316-5A34-4A22-B3A6-860C3F2D4E1A}"/>
                </a:ext>
              </a:extLst>
            </p:cNvPr>
            <p:cNvSpPr txBox="1"/>
            <p:nvPr/>
          </p:nvSpPr>
          <p:spPr>
            <a:xfrm>
              <a:off x="7065743" y="5823653"/>
              <a:ext cx="1054981" cy="338554"/>
            </a:xfrm>
            <a:prstGeom prst="rect">
              <a:avLst/>
            </a:prstGeom>
            <a:noFill/>
          </p:spPr>
          <p:txBody>
            <a:bodyPr wrap="square" rtlCol="0">
              <a:spAutoFit/>
            </a:bodyPr>
            <a:lstStyle/>
            <a:p>
              <a:r>
                <a:rPr lang="en-US" sz="1600" dirty="0">
                  <a:latin typeface="Segoe UI" panose="020B0502040204020203" pitchFamily="34" charset="0"/>
                  <a:ea typeface="Verdana" panose="020B0604030504040204" pitchFamily="34" charset="0"/>
                  <a:cs typeface="Segoe UI" panose="020B0502040204020203" pitchFamily="34" charset="0"/>
                </a:rPr>
                <a:t>Rural</a:t>
              </a:r>
            </a:p>
          </p:txBody>
        </p:sp>
        <p:sp>
          <p:nvSpPr>
            <p:cNvPr id="134" name="TextBox 133">
              <a:extLst>
                <a:ext uri="{FF2B5EF4-FFF2-40B4-BE49-F238E27FC236}">
                  <a16:creationId xmlns:a16="http://schemas.microsoft.com/office/drawing/2014/main" id="{8800A4CD-4062-4F18-9EC2-A6A99099995E}"/>
                </a:ext>
              </a:extLst>
            </p:cNvPr>
            <p:cNvSpPr txBox="1"/>
            <p:nvPr/>
          </p:nvSpPr>
          <p:spPr>
            <a:xfrm>
              <a:off x="9027445" y="5821706"/>
              <a:ext cx="1054981" cy="338554"/>
            </a:xfrm>
            <a:prstGeom prst="rect">
              <a:avLst/>
            </a:prstGeom>
            <a:noFill/>
          </p:spPr>
          <p:txBody>
            <a:bodyPr wrap="square" rtlCol="0">
              <a:spAutoFit/>
            </a:bodyPr>
            <a:lstStyle/>
            <a:p>
              <a:r>
                <a:rPr lang="en-US" sz="1600" dirty="0">
                  <a:latin typeface="Segoe UI" panose="020B0502040204020203" pitchFamily="34" charset="0"/>
                  <a:ea typeface="Verdana" panose="020B0604030504040204" pitchFamily="34" charset="0"/>
                  <a:cs typeface="Segoe UI" panose="020B0502040204020203" pitchFamily="34" charset="0"/>
                </a:rPr>
                <a:t>Urban</a:t>
              </a:r>
            </a:p>
          </p:txBody>
        </p:sp>
        <p:sp>
          <p:nvSpPr>
            <p:cNvPr id="135" name="Oval 134">
              <a:extLst>
                <a:ext uri="{FF2B5EF4-FFF2-40B4-BE49-F238E27FC236}">
                  <a16:creationId xmlns:a16="http://schemas.microsoft.com/office/drawing/2014/main" id="{16B99312-ADF9-455B-9A25-FF259F7375BF}"/>
                </a:ext>
              </a:extLst>
            </p:cNvPr>
            <p:cNvSpPr/>
            <p:nvPr/>
          </p:nvSpPr>
          <p:spPr>
            <a:xfrm>
              <a:off x="8706443" y="5846448"/>
              <a:ext cx="313170" cy="313170"/>
            </a:xfrm>
            <a:prstGeom prst="ellipse">
              <a:avLst/>
            </a:prstGeom>
            <a:solidFill>
              <a:schemeClr val="accent3"/>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grpSp>
      <p:sp>
        <p:nvSpPr>
          <p:cNvPr id="2" name="TextBox 1">
            <a:extLst>
              <a:ext uri="{FF2B5EF4-FFF2-40B4-BE49-F238E27FC236}">
                <a16:creationId xmlns:a16="http://schemas.microsoft.com/office/drawing/2014/main" id="{4A98BE9B-BCFE-CF6C-0652-29C5BCB75BC2}"/>
              </a:ext>
            </a:extLst>
          </p:cNvPr>
          <p:cNvSpPr txBox="1"/>
          <p:nvPr/>
        </p:nvSpPr>
        <p:spPr>
          <a:xfrm>
            <a:off x="604762" y="2393416"/>
            <a:ext cx="5639057" cy="2246769"/>
          </a:xfrm>
          <a:prstGeom prst="rect">
            <a:avLst/>
          </a:prstGeom>
          <a:noFill/>
        </p:spPr>
        <p:txBody>
          <a:bodyPr wrap="square" rtlCol="0">
            <a:spAutoFit/>
          </a:bodyPr>
          <a:lstStyle/>
          <a:p>
            <a:r>
              <a:rPr lang="en-US" sz="2800" dirty="0">
                <a:latin typeface="+mj-lt"/>
                <a:ea typeface="Lato" panose="020F0502020204030203" pitchFamily="34" charset="0"/>
                <a:cs typeface="Segoe UI Light" panose="020B0502040204020203" pitchFamily="34" charset="0"/>
              </a:rPr>
              <a:t>Our rural communities are increasingly </a:t>
            </a:r>
            <a:r>
              <a:rPr lang="en-US" sz="2800" b="1" dirty="0">
                <a:solidFill>
                  <a:schemeClr val="accent6"/>
                </a:solidFill>
                <a:latin typeface="+mj-lt"/>
                <a:ea typeface="Lato" panose="020F0502020204030203" pitchFamily="34" charset="0"/>
                <a:cs typeface="Segoe UI Light" panose="020B0502040204020203" pitchFamily="34" charset="0"/>
              </a:rPr>
              <a:t>older</a:t>
            </a:r>
            <a:r>
              <a:rPr lang="en-US" sz="2800" dirty="0">
                <a:latin typeface="+mj-lt"/>
                <a:ea typeface="Lato" panose="020F0502020204030203" pitchFamily="34" charset="0"/>
                <a:cs typeface="Segoe UI Light" panose="020B0502040204020203" pitchFamily="34" charset="0"/>
              </a:rPr>
              <a:t>, </a:t>
            </a:r>
            <a:r>
              <a:rPr lang="en-US" sz="2800" b="1" dirty="0">
                <a:solidFill>
                  <a:schemeClr val="accent6"/>
                </a:solidFill>
                <a:latin typeface="+mj-lt"/>
                <a:ea typeface="Lato" panose="020F0502020204030203" pitchFamily="34" charset="0"/>
                <a:cs typeface="Segoe UI Light" panose="020B0502040204020203" pitchFamily="34" charset="0"/>
              </a:rPr>
              <a:t>less affluent</a:t>
            </a:r>
            <a:r>
              <a:rPr lang="en-US" sz="2800" dirty="0">
                <a:latin typeface="+mj-lt"/>
                <a:ea typeface="Lato" panose="020F0502020204030203" pitchFamily="34" charset="0"/>
                <a:cs typeface="Segoe UI Light" panose="020B0502040204020203" pitchFamily="34" charset="0"/>
              </a:rPr>
              <a:t>, </a:t>
            </a:r>
            <a:r>
              <a:rPr lang="en-US" sz="2800" b="1" dirty="0">
                <a:solidFill>
                  <a:schemeClr val="accent6"/>
                </a:solidFill>
                <a:latin typeface="+mj-lt"/>
                <a:ea typeface="Lato" panose="020F0502020204030203" pitchFamily="34" charset="0"/>
                <a:cs typeface="Segoe UI Light" panose="020B0502040204020203" pitchFamily="34" charset="0"/>
              </a:rPr>
              <a:t>less healthy</a:t>
            </a:r>
            <a:r>
              <a:rPr lang="en-US" sz="2800" dirty="0">
                <a:latin typeface="+mj-lt"/>
                <a:ea typeface="Lato" panose="020F0502020204030203" pitchFamily="34" charset="0"/>
                <a:cs typeface="Segoe UI Light" panose="020B0502040204020203" pitchFamily="34" charset="0"/>
              </a:rPr>
              <a:t>, have </a:t>
            </a:r>
            <a:r>
              <a:rPr lang="en-US" sz="2800" b="1" dirty="0">
                <a:solidFill>
                  <a:schemeClr val="accent6"/>
                </a:solidFill>
                <a:latin typeface="+mj-lt"/>
                <a:ea typeface="Lato" panose="020F0502020204030203" pitchFamily="34" charset="0"/>
                <a:cs typeface="Segoe UI Light" panose="020B0502040204020203" pitchFamily="34" charset="0"/>
              </a:rPr>
              <a:t>less access </a:t>
            </a:r>
            <a:r>
              <a:rPr lang="en-US" sz="2800" dirty="0">
                <a:latin typeface="+mj-lt"/>
                <a:ea typeface="Lato" panose="020F0502020204030203" pitchFamily="34" charset="0"/>
                <a:cs typeface="Segoe UI Light" panose="020B0502040204020203" pitchFamily="34" charset="0"/>
              </a:rPr>
              <a:t>to care and </a:t>
            </a:r>
            <a:r>
              <a:rPr lang="en-US" sz="2800" b="1" dirty="0">
                <a:solidFill>
                  <a:schemeClr val="accent6"/>
                </a:solidFill>
                <a:latin typeface="+mj-lt"/>
                <a:ea typeface="Lato" panose="020F0502020204030203" pitchFamily="34" charset="0"/>
                <a:cs typeface="Segoe UI Light" panose="020B0502040204020203" pitchFamily="34" charset="0"/>
              </a:rPr>
              <a:t>suffer worse outcomes </a:t>
            </a:r>
            <a:r>
              <a:rPr lang="en-US" sz="2800" dirty="0">
                <a:latin typeface="+mj-lt"/>
                <a:ea typeface="Lato" panose="020F0502020204030203" pitchFamily="34" charset="0"/>
                <a:cs typeface="Segoe UI Light" panose="020B0502040204020203" pitchFamily="34" charset="0"/>
              </a:rPr>
              <a:t>than their more urban peers.</a:t>
            </a:r>
          </a:p>
        </p:txBody>
      </p:sp>
      <p:grpSp>
        <p:nvGrpSpPr>
          <p:cNvPr id="10" name="Group 9">
            <a:extLst>
              <a:ext uri="{FF2B5EF4-FFF2-40B4-BE49-F238E27FC236}">
                <a16:creationId xmlns:a16="http://schemas.microsoft.com/office/drawing/2014/main" id="{722CBD9D-D6A0-DB9E-91B9-83D99EA1FDC1}"/>
              </a:ext>
            </a:extLst>
          </p:cNvPr>
          <p:cNvGrpSpPr/>
          <p:nvPr/>
        </p:nvGrpSpPr>
        <p:grpSpPr>
          <a:xfrm>
            <a:off x="5829477" y="1779138"/>
            <a:ext cx="7084617" cy="4178169"/>
            <a:chOff x="3938949" y="2303516"/>
            <a:chExt cx="4210968" cy="2415898"/>
          </a:xfrm>
        </p:grpSpPr>
        <p:sp>
          <p:nvSpPr>
            <p:cNvPr id="11" name="Shape 6">
              <a:extLst>
                <a:ext uri="{FF2B5EF4-FFF2-40B4-BE49-F238E27FC236}">
                  <a16:creationId xmlns:a16="http://schemas.microsoft.com/office/drawing/2014/main" id="{C165BA30-AD50-BA68-B4ED-FD2F0116B773}"/>
                </a:ext>
              </a:extLst>
            </p:cNvPr>
            <p:cNvSpPr/>
            <p:nvPr/>
          </p:nvSpPr>
          <p:spPr>
            <a:xfrm>
              <a:off x="4357133" y="2334880"/>
              <a:ext cx="3375972" cy="2288727"/>
            </a:xfrm>
            <a:custGeom>
              <a:avLst/>
              <a:gdLst/>
              <a:ahLst/>
              <a:cxnLst>
                <a:cxn ang="0">
                  <a:pos x="wd2" y="hd2"/>
                </a:cxn>
                <a:cxn ang="5400000">
                  <a:pos x="wd2" y="hd2"/>
                </a:cxn>
                <a:cxn ang="10800000">
                  <a:pos x="wd2" y="hd2"/>
                </a:cxn>
                <a:cxn ang="16200000">
                  <a:pos x="wd2" y="hd2"/>
                </a:cxn>
              </a:cxnLst>
              <a:rect l="0" t="0" r="r" b="b"/>
              <a:pathLst>
                <a:path w="21600" h="21600" extrusionOk="0">
                  <a:moveTo>
                    <a:pt x="20703" y="1320"/>
                  </a:moveTo>
                  <a:lnTo>
                    <a:pt x="20703" y="19605"/>
                  </a:lnTo>
                  <a:lnTo>
                    <a:pt x="895" y="19605"/>
                  </a:lnTo>
                  <a:lnTo>
                    <a:pt x="895" y="1320"/>
                  </a:lnTo>
                  <a:lnTo>
                    <a:pt x="20703" y="1320"/>
                  </a:lnTo>
                  <a:cubicBezTo>
                    <a:pt x="20703" y="1320"/>
                    <a:pt x="20703" y="1320"/>
                    <a:pt x="20703" y="1320"/>
                  </a:cubicBezTo>
                  <a:close/>
                  <a:moveTo>
                    <a:pt x="20983" y="0"/>
                  </a:moveTo>
                  <a:lnTo>
                    <a:pt x="617" y="0"/>
                  </a:lnTo>
                  <a:cubicBezTo>
                    <a:pt x="277" y="0"/>
                    <a:pt x="0" y="408"/>
                    <a:pt x="0" y="910"/>
                  </a:cubicBezTo>
                  <a:lnTo>
                    <a:pt x="0" y="21021"/>
                  </a:lnTo>
                  <a:lnTo>
                    <a:pt x="0" y="21156"/>
                  </a:lnTo>
                  <a:lnTo>
                    <a:pt x="0" y="21186"/>
                  </a:lnTo>
                  <a:cubicBezTo>
                    <a:pt x="0" y="21415"/>
                    <a:pt x="126" y="21600"/>
                    <a:pt x="281" y="21600"/>
                  </a:cubicBezTo>
                  <a:lnTo>
                    <a:pt x="21319" y="21600"/>
                  </a:lnTo>
                  <a:cubicBezTo>
                    <a:pt x="21474" y="21600"/>
                    <a:pt x="21600" y="21415"/>
                    <a:pt x="21600" y="21186"/>
                  </a:cubicBezTo>
                  <a:lnTo>
                    <a:pt x="21600" y="21156"/>
                  </a:lnTo>
                  <a:lnTo>
                    <a:pt x="21600" y="21021"/>
                  </a:lnTo>
                  <a:lnTo>
                    <a:pt x="21600" y="910"/>
                  </a:lnTo>
                  <a:cubicBezTo>
                    <a:pt x="21600" y="408"/>
                    <a:pt x="21323" y="0"/>
                    <a:pt x="20983" y="0"/>
                  </a:cubicBezTo>
                  <a:close/>
                </a:path>
              </a:pathLst>
            </a:custGeom>
            <a:gradFill>
              <a:gsLst>
                <a:gs pos="0">
                  <a:srgbClr val="E8E7E8"/>
                </a:gs>
                <a:gs pos="95000">
                  <a:srgbClr val="AFB2B4"/>
                </a:gs>
              </a:gsLst>
              <a:lin ang="2043523"/>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12" name="Shape 7">
              <a:extLst>
                <a:ext uri="{FF2B5EF4-FFF2-40B4-BE49-F238E27FC236}">
                  <a16:creationId xmlns:a16="http://schemas.microsoft.com/office/drawing/2014/main" id="{6EA0A47A-2313-1A70-0FCC-198705E80408}"/>
                </a:ext>
              </a:extLst>
            </p:cNvPr>
            <p:cNvSpPr/>
            <p:nvPr/>
          </p:nvSpPr>
          <p:spPr>
            <a:xfrm>
              <a:off x="7719331" y="4576339"/>
              <a:ext cx="28020" cy="530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10800" y="11510"/>
                  </a:lnTo>
                  <a:lnTo>
                    <a:pt x="21600" y="0"/>
                  </a:lnTo>
                  <a:cubicBezTo>
                    <a:pt x="21600" y="0"/>
                    <a:pt x="21600" y="21600"/>
                    <a:pt x="21600" y="21600"/>
                  </a:cubicBezTo>
                  <a:close/>
                </a:path>
              </a:pathLst>
            </a:custGeom>
            <a:solidFill>
              <a:srgbClr val="A8A9AC"/>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13" name="Shape 8">
              <a:extLst>
                <a:ext uri="{FF2B5EF4-FFF2-40B4-BE49-F238E27FC236}">
                  <a16:creationId xmlns:a16="http://schemas.microsoft.com/office/drawing/2014/main" id="{3E43DD18-963A-A7DD-84E5-E55A0A05B61A}"/>
                </a:ext>
              </a:extLst>
            </p:cNvPr>
            <p:cNvSpPr/>
            <p:nvPr/>
          </p:nvSpPr>
          <p:spPr>
            <a:xfrm>
              <a:off x="4342496" y="4576339"/>
              <a:ext cx="28021" cy="530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11832" y="12996"/>
                  </a:lnTo>
                  <a:cubicBezTo>
                    <a:pt x="11832" y="12996"/>
                    <a:pt x="21600" y="21600"/>
                    <a:pt x="21600" y="21600"/>
                  </a:cubicBezTo>
                  <a:close/>
                </a:path>
              </a:pathLst>
            </a:custGeom>
            <a:solidFill>
              <a:srgbClr val="A8A9AC"/>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14" name="Shape 9">
              <a:extLst>
                <a:ext uri="{FF2B5EF4-FFF2-40B4-BE49-F238E27FC236}">
                  <a16:creationId xmlns:a16="http://schemas.microsoft.com/office/drawing/2014/main" id="{146CDF0C-63C7-7AF6-96C1-38454639B8EA}"/>
                </a:ext>
              </a:extLst>
            </p:cNvPr>
            <p:cNvSpPr/>
            <p:nvPr/>
          </p:nvSpPr>
          <p:spPr>
            <a:xfrm>
              <a:off x="4325769" y="2303516"/>
              <a:ext cx="3437365" cy="2409831"/>
            </a:xfrm>
            <a:custGeom>
              <a:avLst/>
              <a:gdLst/>
              <a:ahLst/>
              <a:cxnLst>
                <a:cxn ang="0">
                  <a:pos x="wd2" y="hd2"/>
                </a:cxn>
                <a:cxn ang="5400000">
                  <a:pos x="wd2" y="hd2"/>
                </a:cxn>
                <a:cxn ang="10800000">
                  <a:pos x="wd2" y="hd2"/>
                </a:cxn>
                <a:cxn ang="16200000">
                  <a:pos x="wd2" y="hd2"/>
                </a:cxn>
              </a:cxnLst>
              <a:rect l="0" t="0" r="r" b="b"/>
              <a:pathLst>
                <a:path w="21600" h="21600" extrusionOk="0">
                  <a:moveTo>
                    <a:pt x="20801" y="0"/>
                  </a:moveTo>
                  <a:lnTo>
                    <a:pt x="799" y="0"/>
                  </a:lnTo>
                  <a:cubicBezTo>
                    <a:pt x="358" y="0"/>
                    <a:pt x="0" y="510"/>
                    <a:pt x="0" y="1140"/>
                  </a:cubicBezTo>
                  <a:lnTo>
                    <a:pt x="0" y="20460"/>
                  </a:lnTo>
                  <a:cubicBezTo>
                    <a:pt x="0" y="21090"/>
                    <a:pt x="358" y="21600"/>
                    <a:pt x="799" y="21600"/>
                  </a:cubicBezTo>
                  <a:lnTo>
                    <a:pt x="20801" y="21600"/>
                  </a:lnTo>
                  <a:cubicBezTo>
                    <a:pt x="21242" y="21600"/>
                    <a:pt x="21600" y="21090"/>
                    <a:pt x="21600" y="20460"/>
                  </a:cubicBezTo>
                  <a:lnTo>
                    <a:pt x="21600" y="1140"/>
                  </a:lnTo>
                  <a:cubicBezTo>
                    <a:pt x="21600" y="510"/>
                    <a:pt x="21242" y="0"/>
                    <a:pt x="20801" y="0"/>
                  </a:cubicBezTo>
                  <a:cubicBezTo>
                    <a:pt x="20801" y="0"/>
                    <a:pt x="20801" y="0"/>
                    <a:pt x="20801" y="0"/>
                  </a:cubicBezTo>
                  <a:close/>
                  <a:moveTo>
                    <a:pt x="20801" y="138"/>
                  </a:moveTo>
                  <a:cubicBezTo>
                    <a:pt x="21188" y="138"/>
                    <a:pt x="21504" y="587"/>
                    <a:pt x="21504" y="1140"/>
                  </a:cubicBezTo>
                  <a:lnTo>
                    <a:pt x="21504" y="20460"/>
                  </a:lnTo>
                  <a:cubicBezTo>
                    <a:pt x="21504" y="21013"/>
                    <a:pt x="21188" y="21462"/>
                    <a:pt x="20801" y="21462"/>
                  </a:cubicBezTo>
                  <a:lnTo>
                    <a:pt x="799" y="21462"/>
                  </a:lnTo>
                  <a:cubicBezTo>
                    <a:pt x="412" y="21462"/>
                    <a:pt x="96" y="21013"/>
                    <a:pt x="96" y="20460"/>
                  </a:cubicBezTo>
                  <a:lnTo>
                    <a:pt x="96" y="1140"/>
                  </a:lnTo>
                  <a:cubicBezTo>
                    <a:pt x="96" y="587"/>
                    <a:pt x="412" y="138"/>
                    <a:pt x="799" y="138"/>
                  </a:cubicBezTo>
                  <a:lnTo>
                    <a:pt x="20801" y="138"/>
                  </a:lnTo>
                </a:path>
              </a:pathLst>
            </a:custGeom>
            <a:gradFill>
              <a:gsLst>
                <a:gs pos="100000">
                  <a:srgbClr val="C7C8CB"/>
                </a:gs>
                <a:gs pos="0">
                  <a:srgbClr val="E9EBF2"/>
                </a:gs>
              </a:gsLst>
              <a:lin ang="3283355"/>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15" name="Shape 10">
              <a:extLst>
                <a:ext uri="{FF2B5EF4-FFF2-40B4-BE49-F238E27FC236}">
                  <a16:creationId xmlns:a16="http://schemas.microsoft.com/office/drawing/2014/main" id="{08B506C8-A8FE-2062-98F5-94CB674DE8E2}"/>
                </a:ext>
              </a:extLst>
            </p:cNvPr>
            <p:cNvSpPr/>
            <p:nvPr/>
          </p:nvSpPr>
          <p:spPr>
            <a:xfrm>
              <a:off x="4336224" y="2313971"/>
              <a:ext cx="3415439" cy="2387903"/>
            </a:xfrm>
            <a:custGeom>
              <a:avLst/>
              <a:gdLst/>
              <a:ahLst/>
              <a:cxnLst>
                <a:cxn ang="0">
                  <a:pos x="wd2" y="hd2"/>
                </a:cxn>
                <a:cxn ang="5400000">
                  <a:pos x="wd2" y="hd2"/>
                </a:cxn>
                <a:cxn ang="10800000">
                  <a:pos x="wd2" y="hd2"/>
                </a:cxn>
                <a:cxn ang="16200000">
                  <a:pos x="wd2" y="hd2"/>
                </a:cxn>
              </a:cxnLst>
              <a:rect l="0" t="0" r="r" b="b"/>
              <a:pathLst>
                <a:path w="21600" h="21600" extrusionOk="0">
                  <a:moveTo>
                    <a:pt x="20865" y="0"/>
                  </a:moveTo>
                  <a:lnTo>
                    <a:pt x="735" y="0"/>
                  </a:lnTo>
                  <a:cubicBezTo>
                    <a:pt x="330" y="0"/>
                    <a:pt x="0" y="472"/>
                    <a:pt x="0" y="1051"/>
                  </a:cubicBezTo>
                  <a:lnTo>
                    <a:pt x="0" y="20549"/>
                  </a:lnTo>
                  <a:cubicBezTo>
                    <a:pt x="0" y="21128"/>
                    <a:pt x="330" y="21600"/>
                    <a:pt x="735" y="21600"/>
                  </a:cubicBezTo>
                  <a:lnTo>
                    <a:pt x="20865" y="21600"/>
                  </a:lnTo>
                  <a:cubicBezTo>
                    <a:pt x="21270" y="21600"/>
                    <a:pt x="21600" y="21128"/>
                    <a:pt x="21600" y="20549"/>
                  </a:cubicBezTo>
                  <a:lnTo>
                    <a:pt x="21600" y="1051"/>
                  </a:lnTo>
                  <a:cubicBezTo>
                    <a:pt x="21600" y="472"/>
                    <a:pt x="21270" y="0"/>
                    <a:pt x="20865" y="0"/>
                  </a:cubicBezTo>
                  <a:cubicBezTo>
                    <a:pt x="20865" y="0"/>
                    <a:pt x="20865" y="0"/>
                    <a:pt x="20865" y="0"/>
                  </a:cubicBezTo>
                  <a:close/>
                  <a:moveTo>
                    <a:pt x="20865" y="40"/>
                  </a:moveTo>
                  <a:cubicBezTo>
                    <a:pt x="21255" y="40"/>
                    <a:pt x="21572" y="493"/>
                    <a:pt x="21572" y="1051"/>
                  </a:cubicBezTo>
                  <a:lnTo>
                    <a:pt x="21572" y="20549"/>
                  </a:lnTo>
                  <a:cubicBezTo>
                    <a:pt x="21572" y="21107"/>
                    <a:pt x="21255" y="21560"/>
                    <a:pt x="20865" y="21560"/>
                  </a:cubicBezTo>
                  <a:lnTo>
                    <a:pt x="735" y="21560"/>
                  </a:lnTo>
                  <a:cubicBezTo>
                    <a:pt x="345" y="21560"/>
                    <a:pt x="28" y="21107"/>
                    <a:pt x="28" y="20549"/>
                  </a:cubicBezTo>
                  <a:lnTo>
                    <a:pt x="28" y="1051"/>
                  </a:lnTo>
                  <a:cubicBezTo>
                    <a:pt x="28" y="493"/>
                    <a:pt x="345" y="40"/>
                    <a:pt x="735" y="40"/>
                  </a:cubicBezTo>
                  <a:lnTo>
                    <a:pt x="20865" y="40"/>
                  </a:lnTo>
                </a:path>
              </a:pathLst>
            </a:custGeom>
            <a:solidFill>
              <a:srgbClr val="FFFFFF">
                <a:alpha val="25000"/>
              </a:srgbClr>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16" name="Shape 11">
              <a:extLst>
                <a:ext uri="{FF2B5EF4-FFF2-40B4-BE49-F238E27FC236}">
                  <a16:creationId xmlns:a16="http://schemas.microsoft.com/office/drawing/2014/main" id="{0606DDF2-813D-DBE7-503E-5A1EBE12C7CC}"/>
                </a:ext>
              </a:extLst>
            </p:cNvPr>
            <p:cNvSpPr/>
            <p:nvPr/>
          </p:nvSpPr>
          <p:spPr>
            <a:xfrm>
              <a:off x="4357133" y="2334880"/>
              <a:ext cx="3375972" cy="2288729"/>
            </a:xfrm>
            <a:custGeom>
              <a:avLst/>
              <a:gdLst/>
              <a:ahLst/>
              <a:cxnLst>
                <a:cxn ang="0">
                  <a:pos x="wd2" y="hd2"/>
                </a:cxn>
                <a:cxn ang="5400000">
                  <a:pos x="wd2" y="hd2"/>
                </a:cxn>
                <a:cxn ang="10800000">
                  <a:pos x="wd2" y="hd2"/>
                </a:cxn>
                <a:cxn ang="16200000">
                  <a:pos x="wd2" y="hd2"/>
                </a:cxn>
              </a:cxnLst>
              <a:rect l="0" t="0" r="r" b="b"/>
              <a:pathLst>
                <a:path w="21600" h="21600" extrusionOk="0">
                  <a:moveTo>
                    <a:pt x="20983" y="0"/>
                  </a:moveTo>
                  <a:lnTo>
                    <a:pt x="617" y="0"/>
                  </a:lnTo>
                  <a:cubicBezTo>
                    <a:pt x="277" y="0"/>
                    <a:pt x="0" y="408"/>
                    <a:pt x="0" y="910"/>
                  </a:cubicBezTo>
                  <a:lnTo>
                    <a:pt x="0" y="21021"/>
                  </a:lnTo>
                  <a:lnTo>
                    <a:pt x="0" y="21156"/>
                  </a:lnTo>
                  <a:lnTo>
                    <a:pt x="0" y="21186"/>
                  </a:lnTo>
                  <a:cubicBezTo>
                    <a:pt x="0" y="21415"/>
                    <a:pt x="126" y="21600"/>
                    <a:pt x="281" y="21600"/>
                  </a:cubicBezTo>
                  <a:lnTo>
                    <a:pt x="21319" y="21600"/>
                  </a:lnTo>
                  <a:cubicBezTo>
                    <a:pt x="21474" y="21600"/>
                    <a:pt x="21600" y="21415"/>
                    <a:pt x="21600" y="21186"/>
                  </a:cubicBezTo>
                  <a:lnTo>
                    <a:pt x="21600" y="21156"/>
                  </a:lnTo>
                  <a:lnTo>
                    <a:pt x="21600" y="21021"/>
                  </a:lnTo>
                  <a:lnTo>
                    <a:pt x="21600" y="910"/>
                  </a:lnTo>
                  <a:cubicBezTo>
                    <a:pt x="21600" y="408"/>
                    <a:pt x="21323" y="0"/>
                    <a:pt x="20983" y="0"/>
                  </a:cubicBezTo>
                  <a:cubicBezTo>
                    <a:pt x="20983" y="0"/>
                    <a:pt x="20983" y="0"/>
                    <a:pt x="20983" y="0"/>
                  </a:cubicBezTo>
                  <a:close/>
                  <a:moveTo>
                    <a:pt x="20983" y="41"/>
                  </a:moveTo>
                  <a:cubicBezTo>
                    <a:pt x="21308" y="41"/>
                    <a:pt x="21572" y="431"/>
                    <a:pt x="21572" y="910"/>
                  </a:cubicBezTo>
                  <a:lnTo>
                    <a:pt x="21572" y="21021"/>
                  </a:lnTo>
                  <a:lnTo>
                    <a:pt x="21572" y="21156"/>
                  </a:lnTo>
                  <a:lnTo>
                    <a:pt x="21572" y="21186"/>
                  </a:lnTo>
                  <a:cubicBezTo>
                    <a:pt x="21572" y="21392"/>
                    <a:pt x="21459" y="21559"/>
                    <a:pt x="21319" y="21559"/>
                  </a:cubicBezTo>
                  <a:lnTo>
                    <a:pt x="281" y="21559"/>
                  </a:lnTo>
                  <a:cubicBezTo>
                    <a:pt x="141" y="21559"/>
                    <a:pt x="28" y="21392"/>
                    <a:pt x="28" y="21186"/>
                  </a:cubicBezTo>
                  <a:lnTo>
                    <a:pt x="28" y="21156"/>
                  </a:lnTo>
                  <a:lnTo>
                    <a:pt x="28" y="21021"/>
                  </a:lnTo>
                  <a:lnTo>
                    <a:pt x="28" y="910"/>
                  </a:lnTo>
                  <a:cubicBezTo>
                    <a:pt x="28" y="431"/>
                    <a:pt x="292" y="41"/>
                    <a:pt x="617" y="41"/>
                  </a:cubicBezTo>
                  <a:lnTo>
                    <a:pt x="20983" y="41"/>
                  </a:lnTo>
                </a:path>
              </a:pathLst>
            </a:custGeom>
            <a:solidFill>
              <a:srgbClr val="FFFFFF">
                <a:alpha val="50000"/>
              </a:srgbClr>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17" name="Shape 12">
              <a:extLst>
                <a:ext uri="{FF2B5EF4-FFF2-40B4-BE49-F238E27FC236}">
                  <a16:creationId xmlns:a16="http://schemas.microsoft.com/office/drawing/2014/main" id="{0752C9AF-3E45-FCC2-74FA-70F16055CD28}"/>
                </a:ext>
              </a:extLst>
            </p:cNvPr>
            <p:cNvSpPr/>
            <p:nvPr/>
          </p:nvSpPr>
          <p:spPr>
            <a:xfrm>
              <a:off x="4342496" y="2320243"/>
              <a:ext cx="3406669" cy="2319426"/>
            </a:xfrm>
            <a:custGeom>
              <a:avLst/>
              <a:gdLst/>
              <a:ahLst/>
              <a:cxnLst>
                <a:cxn ang="0">
                  <a:pos x="wd2" y="hd2"/>
                </a:cxn>
                <a:cxn ang="5400000">
                  <a:pos x="wd2" y="hd2"/>
                </a:cxn>
                <a:cxn ang="10800000">
                  <a:pos x="wd2" y="hd2"/>
                </a:cxn>
                <a:cxn ang="16200000">
                  <a:pos x="wd2" y="hd2"/>
                </a:cxn>
              </a:cxnLst>
              <a:rect l="0" t="0" r="r" b="b"/>
              <a:pathLst>
                <a:path w="21600" h="21600" extrusionOk="0">
                  <a:moveTo>
                    <a:pt x="20891" y="0"/>
                  </a:moveTo>
                  <a:lnTo>
                    <a:pt x="709" y="0"/>
                  </a:lnTo>
                  <a:cubicBezTo>
                    <a:pt x="318" y="0"/>
                    <a:pt x="0" y="467"/>
                    <a:pt x="0" y="1041"/>
                  </a:cubicBezTo>
                  <a:lnTo>
                    <a:pt x="0" y="20885"/>
                  </a:lnTo>
                  <a:lnTo>
                    <a:pt x="0" y="21019"/>
                  </a:lnTo>
                  <a:lnTo>
                    <a:pt x="0" y="21049"/>
                  </a:lnTo>
                  <a:cubicBezTo>
                    <a:pt x="0" y="21353"/>
                    <a:pt x="168" y="21600"/>
                    <a:pt x="375" y="21600"/>
                  </a:cubicBezTo>
                  <a:lnTo>
                    <a:pt x="21225" y="21600"/>
                  </a:lnTo>
                  <a:cubicBezTo>
                    <a:pt x="21432" y="21600"/>
                    <a:pt x="21600" y="21353"/>
                    <a:pt x="21600" y="21049"/>
                  </a:cubicBezTo>
                  <a:lnTo>
                    <a:pt x="21600" y="21019"/>
                  </a:lnTo>
                  <a:lnTo>
                    <a:pt x="21600" y="20885"/>
                  </a:lnTo>
                  <a:lnTo>
                    <a:pt x="21600" y="1041"/>
                  </a:lnTo>
                  <a:cubicBezTo>
                    <a:pt x="21600" y="467"/>
                    <a:pt x="21282" y="0"/>
                    <a:pt x="20891" y="0"/>
                  </a:cubicBezTo>
                  <a:cubicBezTo>
                    <a:pt x="20891" y="0"/>
                    <a:pt x="20891" y="0"/>
                    <a:pt x="20891" y="0"/>
                  </a:cubicBezTo>
                  <a:close/>
                  <a:moveTo>
                    <a:pt x="20891" y="143"/>
                  </a:moveTo>
                  <a:cubicBezTo>
                    <a:pt x="21228" y="143"/>
                    <a:pt x="21503" y="546"/>
                    <a:pt x="21503" y="1041"/>
                  </a:cubicBezTo>
                  <a:lnTo>
                    <a:pt x="21503" y="20885"/>
                  </a:lnTo>
                  <a:lnTo>
                    <a:pt x="21503" y="21019"/>
                  </a:lnTo>
                  <a:lnTo>
                    <a:pt x="21503" y="21049"/>
                  </a:lnTo>
                  <a:cubicBezTo>
                    <a:pt x="21503" y="21274"/>
                    <a:pt x="21378" y="21457"/>
                    <a:pt x="21225" y="21457"/>
                  </a:cubicBezTo>
                  <a:lnTo>
                    <a:pt x="375" y="21457"/>
                  </a:lnTo>
                  <a:cubicBezTo>
                    <a:pt x="222" y="21457"/>
                    <a:pt x="97" y="21274"/>
                    <a:pt x="97" y="21049"/>
                  </a:cubicBezTo>
                  <a:lnTo>
                    <a:pt x="97" y="21019"/>
                  </a:lnTo>
                  <a:lnTo>
                    <a:pt x="97" y="20885"/>
                  </a:lnTo>
                  <a:lnTo>
                    <a:pt x="97" y="1041"/>
                  </a:lnTo>
                  <a:cubicBezTo>
                    <a:pt x="97" y="546"/>
                    <a:pt x="372" y="143"/>
                    <a:pt x="709" y="143"/>
                  </a:cubicBezTo>
                  <a:lnTo>
                    <a:pt x="20891" y="143"/>
                  </a:lnTo>
                </a:path>
              </a:pathLst>
            </a:custGeom>
            <a:gradFill>
              <a:gsLst>
                <a:gs pos="0">
                  <a:srgbClr val="47484B"/>
                </a:gs>
                <a:gs pos="100000">
                  <a:srgbClr val="47484B"/>
                </a:gs>
              </a:gsLst>
              <a:lin ang="5400000"/>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20" name="Shape 13">
              <a:extLst>
                <a:ext uri="{FF2B5EF4-FFF2-40B4-BE49-F238E27FC236}">
                  <a16:creationId xmlns:a16="http://schemas.microsoft.com/office/drawing/2014/main" id="{7AD1F9BA-0DE4-A66B-95FC-9DCC560E49F1}"/>
                </a:ext>
              </a:extLst>
            </p:cNvPr>
            <p:cNvSpPr/>
            <p:nvPr/>
          </p:nvSpPr>
          <p:spPr>
            <a:xfrm>
              <a:off x="7633603" y="2324425"/>
              <a:ext cx="111220" cy="111222"/>
            </a:xfrm>
            <a:custGeom>
              <a:avLst/>
              <a:gdLst/>
              <a:ahLst/>
              <a:cxnLst>
                <a:cxn ang="0">
                  <a:pos x="wd2" y="hd2"/>
                </a:cxn>
                <a:cxn ang="5400000">
                  <a:pos x="wd2" y="hd2"/>
                </a:cxn>
                <a:cxn ang="10800000">
                  <a:pos x="wd2" y="hd2"/>
                </a:cxn>
                <a:cxn ang="16200000">
                  <a:pos x="wd2" y="hd2"/>
                </a:cxn>
              </a:cxnLst>
              <a:rect l="0" t="0" r="r" b="b"/>
              <a:pathLst>
                <a:path w="21600" h="21600" extrusionOk="0">
                  <a:moveTo>
                    <a:pt x="1510" y="0"/>
                  </a:moveTo>
                  <a:lnTo>
                    <a:pt x="0" y="0"/>
                  </a:lnTo>
                  <a:cubicBezTo>
                    <a:pt x="11911" y="0"/>
                    <a:pt x="21600" y="9690"/>
                    <a:pt x="21600" y="21600"/>
                  </a:cubicBezTo>
                  <a:lnTo>
                    <a:pt x="21600" y="20090"/>
                  </a:lnTo>
                  <a:cubicBezTo>
                    <a:pt x="21600" y="9013"/>
                    <a:pt x="12588" y="0"/>
                    <a:pt x="1510" y="0"/>
                  </a:cubicBezTo>
                  <a:close/>
                </a:path>
              </a:pathLst>
            </a:custGeom>
            <a:gradFill>
              <a:gsLst>
                <a:gs pos="0">
                  <a:srgbClr val="BFBFC0">
                    <a:alpha val="0"/>
                  </a:srgbClr>
                </a:gs>
                <a:gs pos="100000">
                  <a:srgbClr val="BFBFC0">
                    <a:alpha val="0"/>
                  </a:srgbClr>
                </a:gs>
              </a:gsLst>
              <a:lin ang="2700000"/>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22" name="Shape 14">
              <a:extLst>
                <a:ext uri="{FF2B5EF4-FFF2-40B4-BE49-F238E27FC236}">
                  <a16:creationId xmlns:a16="http://schemas.microsoft.com/office/drawing/2014/main" id="{DA6429BD-17A6-0D64-5315-F51839BD402D}"/>
                </a:ext>
              </a:extLst>
            </p:cNvPr>
            <p:cNvSpPr/>
            <p:nvPr/>
          </p:nvSpPr>
          <p:spPr>
            <a:xfrm>
              <a:off x="4346678" y="2324425"/>
              <a:ext cx="111220" cy="111222"/>
            </a:xfrm>
            <a:custGeom>
              <a:avLst/>
              <a:gdLst/>
              <a:ahLst/>
              <a:cxnLst>
                <a:cxn ang="0">
                  <a:pos x="wd2" y="hd2"/>
                </a:cxn>
                <a:cxn ang="5400000">
                  <a:pos x="wd2" y="hd2"/>
                </a:cxn>
                <a:cxn ang="10800000">
                  <a:pos x="wd2" y="hd2"/>
                </a:cxn>
                <a:cxn ang="16200000">
                  <a:pos x="wd2" y="hd2"/>
                </a:cxn>
              </a:cxnLst>
              <a:rect l="0" t="0" r="r" b="b"/>
              <a:pathLst>
                <a:path w="21600" h="21600" extrusionOk="0">
                  <a:moveTo>
                    <a:pt x="20090" y="0"/>
                  </a:moveTo>
                  <a:lnTo>
                    <a:pt x="21600" y="0"/>
                  </a:lnTo>
                  <a:cubicBezTo>
                    <a:pt x="9689" y="0"/>
                    <a:pt x="0" y="9690"/>
                    <a:pt x="0" y="21600"/>
                  </a:cubicBezTo>
                  <a:lnTo>
                    <a:pt x="0" y="20090"/>
                  </a:lnTo>
                  <a:cubicBezTo>
                    <a:pt x="0" y="9013"/>
                    <a:pt x="9012" y="0"/>
                    <a:pt x="20090" y="0"/>
                  </a:cubicBezTo>
                  <a:close/>
                </a:path>
              </a:pathLst>
            </a:custGeom>
            <a:gradFill>
              <a:gsLst>
                <a:gs pos="0">
                  <a:srgbClr val="BFBFC0">
                    <a:alpha val="0"/>
                  </a:srgbClr>
                </a:gs>
                <a:gs pos="100000">
                  <a:srgbClr val="BFBFC0">
                    <a:alpha val="0"/>
                  </a:srgbClr>
                </a:gs>
              </a:gsLst>
              <a:lin ang="2700000"/>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24" name="Shape 15">
              <a:extLst>
                <a:ext uri="{FF2B5EF4-FFF2-40B4-BE49-F238E27FC236}">
                  <a16:creationId xmlns:a16="http://schemas.microsoft.com/office/drawing/2014/main" id="{043DDC41-1337-0504-5C7F-BF23BC1E77C2}"/>
                </a:ext>
              </a:extLst>
            </p:cNvPr>
            <p:cNvSpPr/>
            <p:nvPr/>
          </p:nvSpPr>
          <p:spPr>
            <a:xfrm>
              <a:off x="4495133" y="2472880"/>
              <a:ext cx="3099624" cy="1941886"/>
            </a:xfrm>
            <a:custGeom>
              <a:avLst/>
              <a:gdLst/>
              <a:ahLst/>
              <a:cxnLst>
                <a:cxn ang="0">
                  <a:pos x="wd2" y="hd2"/>
                </a:cxn>
                <a:cxn ang="5400000">
                  <a:pos x="wd2" y="hd2"/>
                </a:cxn>
                <a:cxn ang="10800000">
                  <a:pos x="wd2" y="hd2"/>
                </a:cxn>
                <a:cxn ang="16200000">
                  <a:pos x="wd2" y="hd2"/>
                </a:cxn>
              </a:cxnLst>
              <a:rect l="0" t="0" r="r" b="b"/>
              <a:pathLst>
                <a:path w="21600" h="21600" extrusionOk="0">
                  <a:moveTo>
                    <a:pt x="21569" y="0"/>
                  </a:moveTo>
                  <a:lnTo>
                    <a:pt x="31" y="0"/>
                  </a:lnTo>
                  <a:cubicBezTo>
                    <a:pt x="14" y="0"/>
                    <a:pt x="0" y="22"/>
                    <a:pt x="0" y="49"/>
                  </a:cubicBezTo>
                  <a:lnTo>
                    <a:pt x="0" y="21551"/>
                  </a:lnTo>
                  <a:cubicBezTo>
                    <a:pt x="0" y="21578"/>
                    <a:pt x="14" y="21600"/>
                    <a:pt x="31" y="21600"/>
                  </a:cubicBezTo>
                  <a:lnTo>
                    <a:pt x="21569" y="21600"/>
                  </a:lnTo>
                  <a:cubicBezTo>
                    <a:pt x="21586" y="21600"/>
                    <a:pt x="21600" y="21578"/>
                    <a:pt x="21600" y="21551"/>
                  </a:cubicBezTo>
                  <a:lnTo>
                    <a:pt x="21600" y="49"/>
                  </a:lnTo>
                  <a:cubicBezTo>
                    <a:pt x="21600" y="22"/>
                    <a:pt x="21586" y="0"/>
                    <a:pt x="21569" y="0"/>
                  </a:cubicBezTo>
                  <a:cubicBezTo>
                    <a:pt x="21569" y="0"/>
                    <a:pt x="21569" y="0"/>
                    <a:pt x="21569" y="0"/>
                  </a:cubicBezTo>
                  <a:close/>
                  <a:moveTo>
                    <a:pt x="21569" y="49"/>
                  </a:moveTo>
                  <a:lnTo>
                    <a:pt x="21569" y="49"/>
                  </a:lnTo>
                  <a:lnTo>
                    <a:pt x="21569" y="21551"/>
                  </a:lnTo>
                  <a:lnTo>
                    <a:pt x="31" y="21551"/>
                  </a:lnTo>
                  <a:lnTo>
                    <a:pt x="31" y="49"/>
                  </a:lnTo>
                  <a:lnTo>
                    <a:pt x="21569" y="49"/>
                  </a:lnTo>
                </a:path>
              </a:pathLst>
            </a:custGeom>
            <a:solidFill>
              <a:srgbClr val="7D8083"/>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25" name="Shape 16">
              <a:extLst>
                <a:ext uri="{FF2B5EF4-FFF2-40B4-BE49-F238E27FC236}">
                  <a16:creationId xmlns:a16="http://schemas.microsoft.com/office/drawing/2014/main" id="{98F63DC4-8C61-7E0F-45F0-BFFAA405A8AB}"/>
                </a:ext>
              </a:extLst>
            </p:cNvPr>
            <p:cNvSpPr/>
            <p:nvPr/>
          </p:nvSpPr>
          <p:spPr>
            <a:xfrm>
              <a:off x="4486770" y="2464516"/>
              <a:ext cx="3114972" cy="1957237"/>
            </a:xfrm>
            <a:custGeom>
              <a:avLst/>
              <a:gdLst/>
              <a:ahLst/>
              <a:cxnLst>
                <a:cxn ang="0">
                  <a:pos x="wd2" y="hd2"/>
                </a:cxn>
                <a:cxn ang="5400000">
                  <a:pos x="wd2" y="hd2"/>
                </a:cxn>
                <a:cxn ang="10800000">
                  <a:pos x="wd2" y="hd2"/>
                </a:cxn>
                <a:cxn ang="16200000">
                  <a:pos x="wd2" y="hd2"/>
                </a:cxn>
              </a:cxnLst>
              <a:rect l="0" t="0" r="r" b="b"/>
              <a:pathLst>
                <a:path w="21600" h="21600" extrusionOk="0">
                  <a:moveTo>
                    <a:pt x="21585" y="21467"/>
                  </a:moveTo>
                  <a:cubicBezTo>
                    <a:pt x="21585" y="21527"/>
                    <a:pt x="21554" y="21576"/>
                    <a:pt x="21516" y="21576"/>
                  </a:cubicBezTo>
                  <a:lnTo>
                    <a:pt x="84" y="21576"/>
                  </a:lnTo>
                  <a:cubicBezTo>
                    <a:pt x="46" y="21576"/>
                    <a:pt x="15" y="21527"/>
                    <a:pt x="15" y="21467"/>
                  </a:cubicBezTo>
                  <a:lnTo>
                    <a:pt x="15" y="133"/>
                  </a:lnTo>
                  <a:cubicBezTo>
                    <a:pt x="15" y="73"/>
                    <a:pt x="46" y="24"/>
                    <a:pt x="84" y="24"/>
                  </a:cubicBezTo>
                  <a:lnTo>
                    <a:pt x="21516" y="24"/>
                  </a:lnTo>
                  <a:cubicBezTo>
                    <a:pt x="21554" y="24"/>
                    <a:pt x="21585" y="73"/>
                    <a:pt x="21585" y="133"/>
                  </a:cubicBezTo>
                  <a:cubicBezTo>
                    <a:pt x="21585" y="133"/>
                    <a:pt x="21585" y="21467"/>
                    <a:pt x="21585" y="21467"/>
                  </a:cubicBezTo>
                  <a:close/>
                  <a:moveTo>
                    <a:pt x="21600" y="133"/>
                  </a:moveTo>
                  <a:cubicBezTo>
                    <a:pt x="21600" y="60"/>
                    <a:pt x="21562" y="0"/>
                    <a:pt x="21516" y="0"/>
                  </a:cubicBezTo>
                  <a:lnTo>
                    <a:pt x="84" y="0"/>
                  </a:lnTo>
                  <a:cubicBezTo>
                    <a:pt x="38" y="0"/>
                    <a:pt x="0" y="60"/>
                    <a:pt x="0" y="133"/>
                  </a:cubicBezTo>
                  <a:lnTo>
                    <a:pt x="0" y="21467"/>
                  </a:lnTo>
                  <a:cubicBezTo>
                    <a:pt x="0" y="21540"/>
                    <a:pt x="38" y="21600"/>
                    <a:pt x="84" y="21600"/>
                  </a:cubicBezTo>
                  <a:lnTo>
                    <a:pt x="21516" y="21600"/>
                  </a:lnTo>
                  <a:cubicBezTo>
                    <a:pt x="21562" y="21600"/>
                    <a:pt x="21600" y="21540"/>
                    <a:pt x="21600" y="21467"/>
                  </a:cubicBezTo>
                  <a:cubicBezTo>
                    <a:pt x="21600" y="21467"/>
                    <a:pt x="21600" y="133"/>
                    <a:pt x="21600" y="133"/>
                  </a:cubicBezTo>
                  <a:close/>
                </a:path>
              </a:pathLst>
            </a:custGeom>
            <a:solidFill>
              <a:srgbClr val="FFFFFF">
                <a:alpha val="50000"/>
              </a:srgbClr>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26" name="Shape 17">
              <a:extLst>
                <a:ext uri="{FF2B5EF4-FFF2-40B4-BE49-F238E27FC236}">
                  <a16:creationId xmlns:a16="http://schemas.microsoft.com/office/drawing/2014/main" id="{1D304F5C-5656-0570-066A-690F8ED84760}"/>
                </a:ext>
              </a:extLst>
            </p:cNvPr>
            <p:cNvSpPr/>
            <p:nvPr/>
          </p:nvSpPr>
          <p:spPr>
            <a:xfrm>
              <a:off x="6023595" y="2387153"/>
              <a:ext cx="42637" cy="42637"/>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12953" y="-961"/>
                    <a:pt x="6723" y="-961"/>
                    <a:pt x="2882" y="2882"/>
                  </a:cubicBezTo>
                  <a:cubicBezTo>
                    <a:pt x="-961" y="6723"/>
                    <a:pt x="-961" y="12953"/>
                    <a:pt x="2882" y="16797"/>
                  </a:cubicBezTo>
                  <a:cubicBezTo>
                    <a:pt x="6723" y="20639"/>
                    <a:pt x="12953" y="20638"/>
                    <a:pt x="16796" y="16797"/>
                  </a:cubicBezTo>
                  <a:cubicBezTo>
                    <a:pt x="20637" y="12953"/>
                    <a:pt x="20639" y="6723"/>
                    <a:pt x="16796" y="2882"/>
                  </a:cubicBezTo>
                  <a:close/>
                </a:path>
              </a:pathLst>
            </a:custGeom>
            <a:gradFill>
              <a:gsLst>
                <a:gs pos="27000">
                  <a:srgbClr val="696969"/>
                </a:gs>
                <a:gs pos="73000">
                  <a:srgbClr val="0C0C0C"/>
                </a:gs>
              </a:gsLst>
              <a:lin ang="3260679"/>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27" name="Shape 18">
              <a:extLst>
                <a:ext uri="{FF2B5EF4-FFF2-40B4-BE49-F238E27FC236}">
                  <a16:creationId xmlns:a16="http://schemas.microsoft.com/office/drawing/2014/main" id="{4EF05557-7225-C70D-306A-0FACAADE6190}"/>
                </a:ext>
              </a:extLst>
            </p:cNvPr>
            <p:cNvSpPr/>
            <p:nvPr/>
          </p:nvSpPr>
          <p:spPr>
            <a:xfrm>
              <a:off x="3945222" y="4639067"/>
              <a:ext cx="4201748" cy="80347"/>
            </a:xfrm>
            <a:custGeom>
              <a:avLst/>
              <a:gdLst/>
              <a:ahLst/>
              <a:cxnLst>
                <a:cxn ang="0">
                  <a:pos x="wd2" y="hd2"/>
                </a:cxn>
                <a:cxn ang="5400000">
                  <a:pos x="wd2" y="hd2"/>
                </a:cxn>
                <a:cxn ang="10800000">
                  <a:pos x="wd2" y="hd2"/>
                </a:cxn>
                <a:cxn ang="16200000">
                  <a:pos x="wd2" y="hd2"/>
                </a:cxn>
              </a:cxnLst>
              <a:rect l="0" t="0" r="r" b="b"/>
              <a:pathLst>
                <a:path w="21600" h="21600" extrusionOk="0">
                  <a:moveTo>
                    <a:pt x="3570" y="21600"/>
                  </a:moveTo>
                  <a:lnTo>
                    <a:pt x="18030" y="21600"/>
                  </a:lnTo>
                  <a:cubicBezTo>
                    <a:pt x="19340" y="21600"/>
                    <a:pt x="21259" y="12547"/>
                    <a:pt x="21600" y="0"/>
                  </a:cubicBezTo>
                  <a:lnTo>
                    <a:pt x="0" y="0"/>
                  </a:lnTo>
                  <a:cubicBezTo>
                    <a:pt x="341" y="12547"/>
                    <a:pt x="2260" y="21600"/>
                    <a:pt x="3570" y="21600"/>
                  </a:cubicBezTo>
                  <a:close/>
                </a:path>
              </a:pathLst>
            </a:custGeom>
            <a:gradFill>
              <a:gsLst>
                <a:gs pos="0">
                  <a:srgbClr val="A1A2A7">
                    <a:alpha val="0"/>
                  </a:srgbClr>
                </a:gs>
                <a:gs pos="100000">
                  <a:srgbClr val="767778">
                    <a:alpha val="0"/>
                  </a:srgbClr>
                </a:gs>
              </a:gsLst>
              <a:lin ang="5400000"/>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28" name="Shape 19">
              <a:extLst>
                <a:ext uri="{FF2B5EF4-FFF2-40B4-BE49-F238E27FC236}">
                  <a16:creationId xmlns:a16="http://schemas.microsoft.com/office/drawing/2014/main" id="{1B9149BA-8413-5B95-D998-6580253A333A}"/>
                </a:ext>
              </a:extLst>
            </p:cNvPr>
            <p:cNvSpPr/>
            <p:nvPr/>
          </p:nvSpPr>
          <p:spPr>
            <a:xfrm>
              <a:off x="3945222" y="4639067"/>
              <a:ext cx="4201748" cy="80347"/>
            </a:xfrm>
            <a:custGeom>
              <a:avLst/>
              <a:gdLst/>
              <a:ahLst/>
              <a:cxnLst>
                <a:cxn ang="0">
                  <a:pos x="wd2" y="hd2"/>
                </a:cxn>
                <a:cxn ang="5400000">
                  <a:pos x="wd2" y="hd2"/>
                </a:cxn>
                <a:cxn ang="10800000">
                  <a:pos x="wd2" y="hd2"/>
                </a:cxn>
                <a:cxn ang="16200000">
                  <a:pos x="wd2" y="hd2"/>
                </a:cxn>
              </a:cxnLst>
              <a:rect l="0" t="0" r="r" b="b"/>
              <a:pathLst>
                <a:path w="21600" h="21600" extrusionOk="0">
                  <a:moveTo>
                    <a:pt x="3570" y="21600"/>
                  </a:moveTo>
                  <a:lnTo>
                    <a:pt x="18030" y="21600"/>
                  </a:lnTo>
                  <a:cubicBezTo>
                    <a:pt x="19340" y="21600"/>
                    <a:pt x="21259" y="12547"/>
                    <a:pt x="21600" y="0"/>
                  </a:cubicBezTo>
                  <a:lnTo>
                    <a:pt x="0" y="0"/>
                  </a:lnTo>
                  <a:cubicBezTo>
                    <a:pt x="341" y="12547"/>
                    <a:pt x="2260" y="21600"/>
                    <a:pt x="3570" y="21600"/>
                  </a:cubicBezTo>
                  <a:close/>
                </a:path>
              </a:pathLst>
            </a:custGeom>
            <a:gradFill>
              <a:gsLst>
                <a:gs pos="100000">
                  <a:srgbClr val="78797E"/>
                </a:gs>
                <a:gs pos="0">
                  <a:srgbClr val="BEC1C3"/>
                </a:gs>
              </a:gsLst>
              <a:lin ang="5400000" scaled="0"/>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29" name="Shape 20">
              <a:extLst>
                <a:ext uri="{FF2B5EF4-FFF2-40B4-BE49-F238E27FC236}">
                  <a16:creationId xmlns:a16="http://schemas.microsoft.com/office/drawing/2014/main" id="{5660FDC3-4638-2785-23E9-F5BD2F6CB553}"/>
                </a:ext>
              </a:extLst>
            </p:cNvPr>
            <p:cNvSpPr/>
            <p:nvPr/>
          </p:nvSpPr>
          <p:spPr>
            <a:xfrm>
              <a:off x="3938949" y="4628612"/>
              <a:ext cx="4210968" cy="1064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11121"/>
                  </a:lnTo>
                  <a:cubicBezTo>
                    <a:pt x="8" y="14649"/>
                    <a:pt x="19" y="18142"/>
                    <a:pt x="31" y="21600"/>
                  </a:cubicBezTo>
                  <a:lnTo>
                    <a:pt x="21584" y="21600"/>
                  </a:lnTo>
                  <a:cubicBezTo>
                    <a:pt x="21590" y="19983"/>
                    <a:pt x="21595" y="18350"/>
                    <a:pt x="21600" y="16717"/>
                  </a:cubicBezTo>
                  <a:cubicBezTo>
                    <a:pt x="21600" y="16717"/>
                    <a:pt x="21600" y="0"/>
                    <a:pt x="21600" y="0"/>
                  </a:cubicBezTo>
                  <a:close/>
                </a:path>
              </a:pathLst>
            </a:custGeom>
            <a:gradFill>
              <a:gsLst>
                <a:gs pos="0">
                  <a:srgbClr val="64696E"/>
                </a:gs>
                <a:gs pos="46000">
                  <a:srgbClr val="96989B"/>
                </a:gs>
                <a:gs pos="86000">
                  <a:srgbClr val="BEC1C3"/>
                </a:gs>
                <a:gs pos="98000">
                  <a:srgbClr val="E9EBF2"/>
                </a:gs>
                <a:gs pos="1000">
                  <a:srgbClr val="E9EBF2"/>
                </a:gs>
                <a:gs pos="10000">
                  <a:srgbClr val="BEC1C3"/>
                </a:gs>
                <a:gs pos="100000">
                  <a:srgbClr val="78797E"/>
                </a:gs>
              </a:gsLst>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30" name="Shape 21">
              <a:extLst>
                <a:ext uri="{FF2B5EF4-FFF2-40B4-BE49-F238E27FC236}">
                  <a16:creationId xmlns:a16="http://schemas.microsoft.com/office/drawing/2014/main" id="{9487733C-1D50-D646-8673-79BF1A260C67}"/>
                </a:ext>
              </a:extLst>
            </p:cNvPr>
            <p:cNvSpPr/>
            <p:nvPr/>
          </p:nvSpPr>
          <p:spPr>
            <a:xfrm>
              <a:off x="3945222" y="4639067"/>
              <a:ext cx="4201748" cy="2437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2607" y="0"/>
                  </a:lnTo>
                  <a:lnTo>
                    <a:pt x="8865" y="0"/>
                  </a:lnTo>
                  <a:lnTo>
                    <a:pt x="0" y="0"/>
                  </a:lnTo>
                  <a:cubicBezTo>
                    <a:pt x="41" y="4919"/>
                    <a:pt x="104" y="9674"/>
                    <a:pt x="185" y="14237"/>
                  </a:cubicBezTo>
                  <a:lnTo>
                    <a:pt x="8866" y="14237"/>
                  </a:lnTo>
                  <a:cubicBezTo>
                    <a:pt x="8936" y="20966"/>
                    <a:pt x="9087" y="21600"/>
                    <a:pt x="9185" y="21600"/>
                  </a:cubicBezTo>
                  <a:lnTo>
                    <a:pt x="10373" y="21600"/>
                  </a:lnTo>
                  <a:lnTo>
                    <a:pt x="10516" y="21600"/>
                  </a:lnTo>
                  <a:lnTo>
                    <a:pt x="12287" y="21600"/>
                  </a:lnTo>
                  <a:cubicBezTo>
                    <a:pt x="12384" y="21600"/>
                    <a:pt x="12535" y="20966"/>
                    <a:pt x="12605" y="14237"/>
                  </a:cubicBezTo>
                  <a:lnTo>
                    <a:pt x="21415" y="14237"/>
                  </a:lnTo>
                  <a:cubicBezTo>
                    <a:pt x="21496" y="9674"/>
                    <a:pt x="21559" y="4919"/>
                    <a:pt x="21600" y="0"/>
                  </a:cubicBezTo>
                  <a:close/>
                </a:path>
              </a:pathLst>
            </a:custGeom>
            <a:gradFill>
              <a:gsLst>
                <a:gs pos="0">
                  <a:srgbClr val="BEC1C3"/>
                </a:gs>
                <a:gs pos="100000">
                  <a:srgbClr val="BEC1C3"/>
                </a:gs>
              </a:gsLst>
              <a:lin ang="0" scaled="0"/>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31" name="Shape 22">
              <a:extLst>
                <a:ext uri="{FF2B5EF4-FFF2-40B4-BE49-F238E27FC236}">
                  <a16:creationId xmlns:a16="http://schemas.microsoft.com/office/drawing/2014/main" id="{FED43AF6-1F32-4660-6D74-891CA00FB8A0}"/>
                </a:ext>
              </a:extLst>
            </p:cNvPr>
            <p:cNvSpPr/>
            <p:nvPr/>
          </p:nvSpPr>
          <p:spPr>
            <a:xfrm>
              <a:off x="5682775" y="4628612"/>
              <a:ext cx="701653" cy="2243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0616"/>
                  </a:lnTo>
                  <a:cubicBezTo>
                    <a:pt x="371" y="20916"/>
                    <a:pt x="876" y="21600"/>
                    <a:pt x="1513" y="21600"/>
                  </a:cubicBezTo>
                  <a:cubicBezTo>
                    <a:pt x="2014" y="21600"/>
                    <a:pt x="6673" y="21600"/>
                    <a:pt x="8626" y="21600"/>
                  </a:cubicBezTo>
                  <a:cubicBezTo>
                    <a:pt x="9152" y="21600"/>
                    <a:pt x="9482" y="21600"/>
                    <a:pt x="9482" y="21600"/>
                  </a:cubicBezTo>
                  <a:cubicBezTo>
                    <a:pt x="12053" y="21600"/>
                    <a:pt x="19560" y="21600"/>
                    <a:pt x="20087" y="21600"/>
                  </a:cubicBezTo>
                  <a:cubicBezTo>
                    <a:pt x="20724" y="21600"/>
                    <a:pt x="21229" y="20916"/>
                    <a:pt x="21600" y="10616"/>
                  </a:cubicBezTo>
                  <a:lnTo>
                    <a:pt x="21600" y="0"/>
                  </a:lnTo>
                  <a:cubicBezTo>
                    <a:pt x="21600" y="0"/>
                    <a:pt x="0" y="0"/>
                    <a:pt x="0" y="0"/>
                  </a:cubicBezTo>
                  <a:close/>
                </a:path>
              </a:pathLst>
            </a:custGeom>
            <a:gradFill>
              <a:gsLst>
                <a:gs pos="84000">
                  <a:srgbClr val="EDEEEF"/>
                </a:gs>
                <a:gs pos="10000">
                  <a:srgbClr val="EDEEEF"/>
                </a:gs>
                <a:gs pos="0">
                  <a:srgbClr val="8B8D90"/>
                </a:gs>
                <a:gs pos="96000">
                  <a:srgbClr val="8B8D90"/>
                </a:gs>
              </a:gsLst>
              <a:lin ang="38616"/>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32" name="Shape 23">
              <a:extLst>
                <a:ext uri="{FF2B5EF4-FFF2-40B4-BE49-F238E27FC236}">
                  <a16:creationId xmlns:a16="http://schemas.microsoft.com/office/drawing/2014/main" id="{F26D9F9A-F3EA-BCC3-F64C-FBC450999CFC}"/>
                </a:ext>
              </a:extLst>
            </p:cNvPr>
            <p:cNvSpPr/>
            <p:nvPr/>
          </p:nvSpPr>
          <p:spPr>
            <a:xfrm>
              <a:off x="5676503" y="4645339"/>
              <a:ext cx="716479" cy="15031"/>
            </a:xfrm>
            <a:custGeom>
              <a:avLst/>
              <a:gdLst/>
              <a:ahLst/>
              <a:cxnLst>
                <a:cxn ang="0">
                  <a:pos x="wd2" y="hd2"/>
                </a:cxn>
                <a:cxn ang="5400000">
                  <a:pos x="wd2" y="hd2"/>
                </a:cxn>
                <a:cxn ang="10800000">
                  <a:pos x="wd2" y="hd2"/>
                </a:cxn>
                <a:cxn ang="16200000">
                  <a:pos x="wd2" y="hd2"/>
                </a:cxn>
              </a:cxnLst>
              <a:rect l="0" t="0" r="r" b="b"/>
              <a:pathLst>
                <a:path w="21600" h="21600" extrusionOk="0">
                  <a:moveTo>
                    <a:pt x="21396" y="0"/>
                  </a:moveTo>
                  <a:cubicBezTo>
                    <a:pt x="21010" y="14111"/>
                    <a:pt x="20506" y="15298"/>
                    <a:pt x="19895" y="15298"/>
                  </a:cubicBezTo>
                  <a:lnTo>
                    <a:pt x="9509" y="15298"/>
                  </a:lnTo>
                  <a:lnTo>
                    <a:pt x="8671" y="15298"/>
                  </a:lnTo>
                  <a:lnTo>
                    <a:pt x="1705" y="15298"/>
                  </a:lnTo>
                  <a:cubicBezTo>
                    <a:pt x="1094" y="15298"/>
                    <a:pt x="590" y="14111"/>
                    <a:pt x="204" y="0"/>
                  </a:cubicBezTo>
                  <a:lnTo>
                    <a:pt x="0" y="0"/>
                  </a:lnTo>
                  <a:lnTo>
                    <a:pt x="3" y="142"/>
                  </a:lnTo>
                  <a:lnTo>
                    <a:pt x="48" y="2025"/>
                  </a:lnTo>
                  <a:cubicBezTo>
                    <a:pt x="477" y="20160"/>
                    <a:pt x="1028" y="21600"/>
                    <a:pt x="1705" y="21600"/>
                  </a:cubicBezTo>
                  <a:lnTo>
                    <a:pt x="8671" y="21600"/>
                  </a:lnTo>
                  <a:lnTo>
                    <a:pt x="9509" y="21600"/>
                  </a:lnTo>
                  <a:lnTo>
                    <a:pt x="19895" y="21600"/>
                  </a:lnTo>
                  <a:cubicBezTo>
                    <a:pt x="20572" y="21600"/>
                    <a:pt x="21124" y="20160"/>
                    <a:pt x="21552" y="2031"/>
                  </a:cubicBezTo>
                  <a:lnTo>
                    <a:pt x="21597" y="142"/>
                  </a:lnTo>
                  <a:lnTo>
                    <a:pt x="21600" y="0"/>
                  </a:lnTo>
                  <a:cubicBezTo>
                    <a:pt x="21600" y="0"/>
                    <a:pt x="21396" y="0"/>
                    <a:pt x="21396" y="0"/>
                  </a:cubicBezTo>
                  <a:close/>
                </a:path>
              </a:pathLst>
            </a:custGeom>
            <a:gradFill>
              <a:gsLst>
                <a:gs pos="0">
                  <a:srgbClr val="A4A6A9"/>
                </a:gs>
                <a:gs pos="100000">
                  <a:srgbClr val="A4A6A9"/>
                </a:gs>
              </a:gsLst>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33" name="Shape 24">
              <a:extLst>
                <a:ext uri="{FF2B5EF4-FFF2-40B4-BE49-F238E27FC236}">
                  <a16:creationId xmlns:a16="http://schemas.microsoft.com/office/drawing/2014/main" id="{2E95872B-427C-C87A-4266-8BD852190E6D}"/>
                </a:ext>
              </a:extLst>
            </p:cNvPr>
            <p:cNvSpPr/>
            <p:nvPr/>
          </p:nvSpPr>
          <p:spPr>
            <a:xfrm>
              <a:off x="5323137" y="4676703"/>
              <a:ext cx="39533" cy="8771"/>
            </a:xfrm>
            <a:custGeom>
              <a:avLst/>
              <a:gdLst/>
              <a:ahLst/>
              <a:cxnLst>
                <a:cxn ang="0">
                  <a:pos x="wd2" y="hd2"/>
                </a:cxn>
                <a:cxn ang="5400000">
                  <a:pos x="wd2" y="hd2"/>
                </a:cxn>
                <a:cxn ang="10800000">
                  <a:pos x="wd2" y="hd2"/>
                </a:cxn>
                <a:cxn ang="16200000">
                  <a:pos x="wd2" y="hd2"/>
                </a:cxn>
              </a:cxnLst>
              <a:rect l="0" t="0" r="r" b="b"/>
              <a:pathLst>
                <a:path w="21317" h="21600" extrusionOk="0">
                  <a:moveTo>
                    <a:pt x="21299" y="10800"/>
                  </a:moveTo>
                  <a:cubicBezTo>
                    <a:pt x="21458" y="16769"/>
                    <a:pt x="20525" y="21600"/>
                    <a:pt x="19220" y="21600"/>
                  </a:cubicBezTo>
                  <a:lnTo>
                    <a:pt x="2668" y="21600"/>
                  </a:lnTo>
                  <a:cubicBezTo>
                    <a:pt x="1364" y="21600"/>
                    <a:pt x="177" y="16769"/>
                    <a:pt x="17" y="10800"/>
                  </a:cubicBezTo>
                  <a:lnTo>
                    <a:pt x="17" y="10800"/>
                  </a:lnTo>
                  <a:cubicBezTo>
                    <a:pt x="-142" y="4831"/>
                    <a:pt x="791" y="0"/>
                    <a:pt x="2096" y="0"/>
                  </a:cubicBezTo>
                  <a:lnTo>
                    <a:pt x="18648" y="0"/>
                  </a:lnTo>
                  <a:cubicBezTo>
                    <a:pt x="19952" y="0"/>
                    <a:pt x="21139" y="4831"/>
                    <a:pt x="21299" y="10800"/>
                  </a:cubicBezTo>
                  <a:cubicBezTo>
                    <a:pt x="21299" y="10800"/>
                    <a:pt x="21299" y="10800"/>
                    <a:pt x="21299" y="10800"/>
                  </a:cubicBezTo>
                  <a:close/>
                </a:path>
              </a:pathLst>
            </a:custGeom>
            <a:gradFill>
              <a:gsLst>
                <a:gs pos="24000">
                  <a:srgbClr val="5F6265"/>
                </a:gs>
                <a:gs pos="78000">
                  <a:srgbClr val="757677"/>
                </a:gs>
              </a:gsLst>
              <a:lin ang="5400000"/>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34" name="Shape 25">
              <a:extLst>
                <a:ext uri="{FF2B5EF4-FFF2-40B4-BE49-F238E27FC236}">
                  <a16:creationId xmlns:a16="http://schemas.microsoft.com/office/drawing/2014/main" id="{5B908F68-7052-3E8A-6FF1-BD4C9AE15A8A}"/>
                </a:ext>
              </a:extLst>
            </p:cNvPr>
            <p:cNvSpPr/>
            <p:nvPr/>
          </p:nvSpPr>
          <p:spPr>
            <a:xfrm>
              <a:off x="6705235" y="4676703"/>
              <a:ext cx="39533" cy="8771"/>
            </a:xfrm>
            <a:custGeom>
              <a:avLst/>
              <a:gdLst/>
              <a:ahLst/>
              <a:cxnLst>
                <a:cxn ang="0">
                  <a:pos x="wd2" y="hd2"/>
                </a:cxn>
                <a:cxn ang="5400000">
                  <a:pos x="wd2" y="hd2"/>
                </a:cxn>
                <a:cxn ang="10800000">
                  <a:pos x="wd2" y="hd2"/>
                </a:cxn>
                <a:cxn ang="16200000">
                  <a:pos x="wd2" y="hd2"/>
                </a:cxn>
              </a:cxnLst>
              <a:rect l="0" t="0" r="r" b="b"/>
              <a:pathLst>
                <a:path w="21317" h="21600" extrusionOk="0">
                  <a:moveTo>
                    <a:pt x="17" y="10800"/>
                  </a:moveTo>
                  <a:cubicBezTo>
                    <a:pt x="-142" y="16769"/>
                    <a:pt x="791" y="21600"/>
                    <a:pt x="2096" y="21600"/>
                  </a:cubicBezTo>
                  <a:lnTo>
                    <a:pt x="18648" y="21600"/>
                  </a:lnTo>
                  <a:cubicBezTo>
                    <a:pt x="19952" y="21600"/>
                    <a:pt x="21139" y="16769"/>
                    <a:pt x="21299" y="10800"/>
                  </a:cubicBezTo>
                  <a:lnTo>
                    <a:pt x="21299" y="10800"/>
                  </a:lnTo>
                  <a:cubicBezTo>
                    <a:pt x="21458" y="4831"/>
                    <a:pt x="20525" y="0"/>
                    <a:pt x="19220" y="0"/>
                  </a:cubicBezTo>
                  <a:lnTo>
                    <a:pt x="2668" y="0"/>
                  </a:lnTo>
                  <a:cubicBezTo>
                    <a:pt x="1364" y="0"/>
                    <a:pt x="177" y="4831"/>
                    <a:pt x="17" y="10800"/>
                  </a:cubicBezTo>
                  <a:cubicBezTo>
                    <a:pt x="17" y="10800"/>
                    <a:pt x="17" y="10800"/>
                    <a:pt x="17" y="10800"/>
                  </a:cubicBezTo>
                  <a:close/>
                </a:path>
              </a:pathLst>
            </a:custGeom>
            <a:gradFill>
              <a:gsLst>
                <a:gs pos="18000">
                  <a:srgbClr val="5F6265"/>
                </a:gs>
                <a:gs pos="72000">
                  <a:srgbClr val="747576"/>
                </a:gs>
              </a:gsLst>
              <a:lin ang="5400000"/>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35" name="Shape 26">
              <a:extLst>
                <a:ext uri="{FF2B5EF4-FFF2-40B4-BE49-F238E27FC236}">
                  <a16:creationId xmlns:a16="http://schemas.microsoft.com/office/drawing/2014/main" id="{039578C2-6D03-3C1B-06A6-46175D36C490}"/>
                </a:ext>
              </a:extLst>
            </p:cNvPr>
            <p:cNvSpPr/>
            <p:nvPr/>
          </p:nvSpPr>
          <p:spPr>
            <a:xfrm>
              <a:off x="3955676" y="4639067"/>
              <a:ext cx="4180772" cy="15601"/>
            </a:xfrm>
            <a:custGeom>
              <a:avLst/>
              <a:gdLst/>
              <a:ahLst/>
              <a:cxnLst>
                <a:cxn ang="0">
                  <a:pos x="wd2" y="hd2"/>
                </a:cxn>
                <a:cxn ang="5400000">
                  <a:pos x="wd2" y="hd2"/>
                </a:cxn>
                <a:cxn ang="10800000">
                  <a:pos x="wd2" y="hd2"/>
                </a:cxn>
                <a:cxn ang="16200000">
                  <a:pos x="wd2" y="hd2"/>
                </a:cxn>
              </a:cxnLst>
              <a:rect l="0" t="0" r="r" b="b"/>
              <a:pathLst>
                <a:path w="21600" h="21600" extrusionOk="0">
                  <a:moveTo>
                    <a:pt x="8852" y="6072"/>
                  </a:moveTo>
                  <a:lnTo>
                    <a:pt x="8913" y="6072"/>
                  </a:lnTo>
                  <a:cubicBezTo>
                    <a:pt x="8980" y="20426"/>
                    <a:pt x="9067" y="21600"/>
                    <a:pt x="9174" y="21600"/>
                  </a:cubicBezTo>
                  <a:lnTo>
                    <a:pt x="10368" y="21600"/>
                  </a:lnTo>
                  <a:lnTo>
                    <a:pt x="10512" y="21600"/>
                  </a:lnTo>
                  <a:lnTo>
                    <a:pt x="12291" y="21600"/>
                  </a:lnTo>
                  <a:cubicBezTo>
                    <a:pt x="12398" y="21600"/>
                    <a:pt x="12486" y="20426"/>
                    <a:pt x="12552" y="6072"/>
                  </a:cubicBezTo>
                  <a:lnTo>
                    <a:pt x="12613" y="6072"/>
                  </a:lnTo>
                  <a:lnTo>
                    <a:pt x="21556" y="6072"/>
                  </a:lnTo>
                  <a:cubicBezTo>
                    <a:pt x="21571" y="4797"/>
                    <a:pt x="21587" y="2882"/>
                    <a:pt x="21600" y="0"/>
                  </a:cubicBezTo>
                  <a:lnTo>
                    <a:pt x="12613" y="0"/>
                  </a:lnTo>
                  <a:lnTo>
                    <a:pt x="12544" y="0"/>
                  </a:lnTo>
                  <a:cubicBezTo>
                    <a:pt x="12482" y="14527"/>
                    <a:pt x="12398" y="15528"/>
                    <a:pt x="12291" y="15528"/>
                  </a:cubicBezTo>
                  <a:cubicBezTo>
                    <a:pt x="12203" y="15528"/>
                    <a:pt x="10943" y="15528"/>
                    <a:pt x="10512" y="15528"/>
                  </a:cubicBezTo>
                  <a:cubicBezTo>
                    <a:pt x="10512" y="15528"/>
                    <a:pt x="10456" y="15528"/>
                    <a:pt x="10368" y="15528"/>
                  </a:cubicBezTo>
                  <a:cubicBezTo>
                    <a:pt x="10040" y="15528"/>
                    <a:pt x="9258" y="15528"/>
                    <a:pt x="9174" y="15528"/>
                  </a:cubicBezTo>
                  <a:cubicBezTo>
                    <a:pt x="9068" y="15528"/>
                    <a:pt x="8984" y="14527"/>
                    <a:pt x="8922" y="0"/>
                  </a:cubicBezTo>
                  <a:lnTo>
                    <a:pt x="8852" y="0"/>
                  </a:lnTo>
                  <a:lnTo>
                    <a:pt x="0" y="0"/>
                  </a:lnTo>
                  <a:cubicBezTo>
                    <a:pt x="0" y="0"/>
                    <a:pt x="16" y="3190"/>
                    <a:pt x="35" y="6072"/>
                  </a:cubicBezTo>
                  <a:cubicBezTo>
                    <a:pt x="35" y="6072"/>
                    <a:pt x="8852" y="6072"/>
                    <a:pt x="8852" y="6072"/>
                  </a:cubicBezTo>
                  <a:close/>
                </a:path>
              </a:pathLst>
            </a:custGeom>
            <a:gradFill>
              <a:gsLst>
                <a:gs pos="6000">
                  <a:srgbClr val="EFF5F1"/>
                </a:gs>
                <a:gs pos="100000">
                  <a:srgbClr val="E9EBF2"/>
                </a:gs>
              </a:gsLst>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36" name="Shape 27">
              <a:extLst>
                <a:ext uri="{FF2B5EF4-FFF2-40B4-BE49-F238E27FC236}">
                  <a16:creationId xmlns:a16="http://schemas.microsoft.com/office/drawing/2014/main" id="{7EF04C3E-AEF6-FD5A-AD45-6C8F8CA525CA}"/>
                </a:ext>
              </a:extLst>
            </p:cNvPr>
            <p:cNvSpPr/>
            <p:nvPr/>
          </p:nvSpPr>
          <p:spPr>
            <a:xfrm>
              <a:off x="6027777" y="2391334"/>
              <a:ext cx="33595" cy="33587"/>
            </a:xfrm>
            <a:custGeom>
              <a:avLst/>
              <a:gdLst/>
              <a:ahLst/>
              <a:cxnLst>
                <a:cxn ang="0">
                  <a:pos x="wd2" y="hd2"/>
                </a:cxn>
                <a:cxn ang="5400000">
                  <a:pos x="wd2" y="hd2"/>
                </a:cxn>
                <a:cxn ang="10800000">
                  <a:pos x="wd2" y="hd2"/>
                </a:cxn>
                <a:cxn ang="16200000">
                  <a:pos x="wd2" y="hd2"/>
                </a:cxn>
              </a:cxnLst>
              <a:rect l="0" t="0" r="r" b="b"/>
              <a:pathLst>
                <a:path w="21600" h="21600" extrusionOk="0">
                  <a:moveTo>
                    <a:pt x="21600" y="10803"/>
                  </a:moveTo>
                  <a:cubicBezTo>
                    <a:pt x="21600" y="16765"/>
                    <a:pt x="16776" y="21600"/>
                    <a:pt x="10800" y="21600"/>
                  </a:cubicBezTo>
                  <a:cubicBezTo>
                    <a:pt x="4839" y="21600"/>
                    <a:pt x="0" y="16765"/>
                    <a:pt x="0" y="10803"/>
                  </a:cubicBezTo>
                  <a:cubicBezTo>
                    <a:pt x="0" y="4835"/>
                    <a:pt x="4839" y="0"/>
                    <a:pt x="10800" y="0"/>
                  </a:cubicBezTo>
                  <a:cubicBezTo>
                    <a:pt x="16776" y="0"/>
                    <a:pt x="21600" y="4835"/>
                    <a:pt x="21600" y="10803"/>
                  </a:cubicBezTo>
                  <a:close/>
                </a:path>
              </a:pathLst>
            </a:custGeom>
            <a:gradFill>
              <a:gsLst>
                <a:gs pos="32000">
                  <a:srgbClr val="494949"/>
                </a:gs>
                <a:gs pos="69000">
                  <a:srgbClr val="050505"/>
                </a:gs>
              </a:gsLst>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37" name="Shape 28">
              <a:extLst>
                <a:ext uri="{FF2B5EF4-FFF2-40B4-BE49-F238E27FC236}">
                  <a16:creationId xmlns:a16="http://schemas.microsoft.com/office/drawing/2014/main" id="{B48EDA56-56E4-0FF5-4DBF-566AA8EDF8B5}"/>
                </a:ext>
              </a:extLst>
            </p:cNvPr>
            <p:cNvSpPr/>
            <p:nvPr/>
          </p:nvSpPr>
          <p:spPr>
            <a:xfrm>
              <a:off x="6040323" y="2403880"/>
              <a:ext cx="8260" cy="8257"/>
            </a:xfrm>
            <a:custGeom>
              <a:avLst/>
              <a:gdLst/>
              <a:ahLst/>
              <a:cxnLst>
                <a:cxn ang="0">
                  <a:pos x="wd2" y="hd2"/>
                </a:cxn>
                <a:cxn ang="5400000">
                  <a:pos x="wd2" y="hd2"/>
                </a:cxn>
                <a:cxn ang="10800000">
                  <a:pos x="wd2" y="hd2"/>
                </a:cxn>
                <a:cxn ang="16200000">
                  <a:pos x="wd2" y="hd2"/>
                </a:cxn>
              </a:cxnLst>
              <a:rect l="0" t="0" r="r" b="b"/>
              <a:pathLst>
                <a:path w="21600" h="21600" extrusionOk="0">
                  <a:moveTo>
                    <a:pt x="21600" y="10803"/>
                  </a:moveTo>
                  <a:cubicBezTo>
                    <a:pt x="21600" y="16765"/>
                    <a:pt x="16776" y="21600"/>
                    <a:pt x="10800" y="21600"/>
                  </a:cubicBezTo>
                  <a:cubicBezTo>
                    <a:pt x="4840" y="21600"/>
                    <a:pt x="0" y="16765"/>
                    <a:pt x="0" y="10803"/>
                  </a:cubicBezTo>
                  <a:cubicBezTo>
                    <a:pt x="0" y="4835"/>
                    <a:pt x="4840" y="0"/>
                    <a:pt x="10800" y="0"/>
                  </a:cubicBezTo>
                  <a:cubicBezTo>
                    <a:pt x="16776" y="0"/>
                    <a:pt x="21600" y="4835"/>
                    <a:pt x="21600" y="10803"/>
                  </a:cubicBezTo>
                  <a:close/>
                </a:path>
              </a:pathLst>
            </a:custGeom>
            <a:solidFill>
              <a:srgbClr val="557DB1"/>
            </a:soli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sp>
          <p:nvSpPr>
            <p:cNvPr id="38" name="Shape 29">
              <a:extLst>
                <a:ext uri="{FF2B5EF4-FFF2-40B4-BE49-F238E27FC236}">
                  <a16:creationId xmlns:a16="http://schemas.microsoft.com/office/drawing/2014/main" id="{49CBB41B-AC02-D6B1-9924-17C2584D79B0}"/>
                </a:ext>
              </a:extLst>
            </p:cNvPr>
            <p:cNvSpPr/>
            <p:nvPr/>
          </p:nvSpPr>
          <p:spPr>
            <a:xfrm>
              <a:off x="5864685" y="2343243"/>
              <a:ext cx="1858721" cy="2271187"/>
            </a:xfrm>
            <a:custGeom>
              <a:avLst/>
              <a:gdLst/>
              <a:ahLst/>
              <a:cxnLst>
                <a:cxn ang="0">
                  <a:pos x="wd2" y="hd2"/>
                </a:cxn>
                <a:cxn ang="5400000">
                  <a:pos x="wd2" y="hd2"/>
                </a:cxn>
                <a:cxn ang="10800000">
                  <a:pos x="wd2" y="hd2"/>
                </a:cxn>
                <a:cxn ang="16200000">
                  <a:pos x="wd2" y="hd2"/>
                </a:cxn>
              </a:cxnLst>
              <a:rect l="0" t="0" r="r" b="b"/>
              <a:pathLst>
                <a:path w="21600" h="21600" extrusionOk="0">
                  <a:moveTo>
                    <a:pt x="21600" y="21266"/>
                  </a:moveTo>
                  <a:lnTo>
                    <a:pt x="21600" y="21236"/>
                  </a:lnTo>
                  <a:lnTo>
                    <a:pt x="21600" y="21100"/>
                  </a:lnTo>
                  <a:lnTo>
                    <a:pt x="21600" y="834"/>
                  </a:lnTo>
                  <a:cubicBezTo>
                    <a:pt x="21600" y="374"/>
                    <a:pt x="21143" y="0"/>
                    <a:pt x="20581" y="0"/>
                  </a:cubicBezTo>
                  <a:lnTo>
                    <a:pt x="14299" y="0"/>
                  </a:lnTo>
                  <a:lnTo>
                    <a:pt x="0" y="21600"/>
                  </a:lnTo>
                  <a:lnTo>
                    <a:pt x="21192" y="21600"/>
                  </a:lnTo>
                  <a:cubicBezTo>
                    <a:pt x="21417" y="21600"/>
                    <a:pt x="21600" y="21450"/>
                    <a:pt x="21600" y="21266"/>
                  </a:cubicBezTo>
                  <a:close/>
                </a:path>
              </a:pathLst>
            </a:custGeom>
            <a:gradFill>
              <a:gsLst>
                <a:gs pos="0">
                  <a:srgbClr val="FFFFFF">
                    <a:alpha val="60000"/>
                  </a:srgbClr>
                </a:gs>
                <a:gs pos="100000">
                  <a:srgbClr val="FFFFFF">
                    <a:alpha val="10000"/>
                  </a:srgbClr>
                </a:gs>
              </a:gsLst>
              <a:lin ang="5400000"/>
            </a:gradFill>
            <a:ln w="12700">
              <a:miter lim="400000"/>
            </a:ln>
          </p:spPr>
          <p:txBody>
            <a:bodyPr lIns="0" tIns="0" rIns="0" bIns="0" anchor="ctr"/>
            <a:lstStyle/>
            <a:p>
              <a:pPr lvl="0">
                <a:defRPr sz="3000">
                  <a:solidFill>
                    <a:srgbClr val="FFFFFF"/>
                  </a:solidFill>
                  <a:effectLst>
                    <a:outerShdw blurRad="38100" dist="12700" dir="5400000" rotWithShape="0">
                      <a:srgbClr val="000000">
                        <a:alpha val="50000"/>
                      </a:srgbClr>
                    </a:outerShdw>
                  </a:effectLst>
                </a:defRPr>
              </a:pPr>
              <a:endParaRPr sz="3000" dirty="0"/>
            </a:p>
          </p:txBody>
        </p:sp>
      </p:grpSp>
      <p:sp>
        <p:nvSpPr>
          <p:cNvPr id="53" name="TextBox 52">
            <a:extLst>
              <a:ext uri="{FF2B5EF4-FFF2-40B4-BE49-F238E27FC236}">
                <a16:creationId xmlns:a16="http://schemas.microsoft.com/office/drawing/2014/main" id="{F0BE7410-C212-4CCB-9EFF-46CA54CD9F93}"/>
              </a:ext>
            </a:extLst>
          </p:cNvPr>
          <p:cNvSpPr txBox="1"/>
          <p:nvPr/>
        </p:nvSpPr>
        <p:spPr>
          <a:xfrm>
            <a:off x="8034533" y="5439755"/>
            <a:ext cx="2741259" cy="276999"/>
          </a:xfrm>
          <a:prstGeom prst="rect">
            <a:avLst/>
          </a:prstGeom>
          <a:noFill/>
        </p:spPr>
        <p:txBody>
          <a:bodyPr wrap="square" rtlCol="0">
            <a:spAutoFit/>
          </a:bodyPr>
          <a:lstStyle/>
          <a:p>
            <a:pPr algn="ctr"/>
            <a:r>
              <a:rPr lang="en-US" sz="1200" b="1" dirty="0">
                <a:solidFill>
                  <a:schemeClr val="bg1"/>
                </a:solidFill>
                <a:latin typeface="Segoe UI" panose="020B0502040204020203" pitchFamily="34" charset="0"/>
                <a:ea typeface="Verdana" panose="020B0604030504040204" pitchFamily="34" charset="0"/>
                <a:cs typeface="Segoe UI" panose="020B0502040204020203" pitchFamily="34" charset="0"/>
              </a:rPr>
              <a:t>Percentile Rankings</a:t>
            </a:r>
          </a:p>
        </p:txBody>
      </p:sp>
    </p:spTree>
    <p:extLst>
      <p:ext uri="{BB962C8B-B14F-4D97-AF65-F5344CB8AC3E}">
        <p14:creationId xmlns:p14="http://schemas.microsoft.com/office/powerpoint/2010/main" val="25868268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3200021-F2E2-B3C1-8EAA-0D14C3FC01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800"/>
            <a:ext cx="12191999" cy="6854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44777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09960005-3021-412C-8E4F-438C41667BE3}"/>
              </a:ext>
            </a:extLst>
          </p:cNvPr>
          <p:cNvSpPr>
            <a:spLocks noGrp="1"/>
          </p:cNvSpPr>
          <p:nvPr>
            <p:ph type="title"/>
          </p:nvPr>
        </p:nvSpPr>
        <p:spPr>
          <a:xfrm>
            <a:off x="839788" y="358766"/>
            <a:ext cx="3932237" cy="1121711"/>
          </a:xfrm>
        </p:spPr>
        <p:txBody>
          <a:bodyPr/>
          <a:lstStyle/>
          <a:p>
            <a:r>
              <a:rPr lang="en-US" b="1" dirty="0"/>
              <a:t>Why rural?</a:t>
            </a:r>
          </a:p>
        </p:txBody>
      </p:sp>
      <p:pic>
        <p:nvPicPr>
          <p:cNvPr id="7" name="Picture 6">
            <a:extLst>
              <a:ext uri="{FF2B5EF4-FFF2-40B4-BE49-F238E27FC236}">
                <a16:creationId xmlns:a16="http://schemas.microsoft.com/office/drawing/2014/main" id="{341A66B1-BCA3-41CA-85C4-284AD09763D5}"/>
              </a:ext>
            </a:extLst>
          </p:cNvPr>
          <p:cNvPicPr>
            <a:picLocks noChangeAspect="1"/>
          </p:cNvPicPr>
          <p:nvPr/>
        </p:nvPicPr>
        <p:blipFill>
          <a:blip r:embed="rId2"/>
          <a:stretch>
            <a:fillRect/>
          </a:stretch>
        </p:blipFill>
        <p:spPr>
          <a:xfrm>
            <a:off x="839788" y="2057400"/>
            <a:ext cx="3932237" cy="3803650"/>
          </a:xfrm>
          <a:prstGeom prst="rect">
            <a:avLst/>
          </a:prstGeom>
        </p:spPr>
      </p:pic>
      <p:sp>
        <p:nvSpPr>
          <p:cNvPr id="14" name="Text Placeholder 3">
            <a:extLst>
              <a:ext uri="{FF2B5EF4-FFF2-40B4-BE49-F238E27FC236}">
                <a16:creationId xmlns:a16="http://schemas.microsoft.com/office/drawing/2014/main" id="{F0FC1F0A-673D-4084-9538-C5E5580B2A67}"/>
              </a:ext>
            </a:extLst>
          </p:cNvPr>
          <p:cNvSpPr>
            <a:spLocks noGrp="1"/>
          </p:cNvSpPr>
          <p:nvPr>
            <p:ph type="body" sz="half" idx="2"/>
          </p:nvPr>
        </p:nvSpPr>
        <p:spPr>
          <a:xfrm>
            <a:off x="833435" y="2046688"/>
            <a:ext cx="3935414" cy="3811588"/>
          </a:xfrm>
        </p:spPr>
        <p:txBody>
          <a:bodyPr/>
          <a:lstStyle/>
          <a:p>
            <a:endParaRPr lang="en-US" dirty="0"/>
          </a:p>
        </p:txBody>
      </p:sp>
      <p:graphicFrame>
        <p:nvGraphicFramePr>
          <p:cNvPr id="8" name="Content Placeholder 5">
            <a:extLst>
              <a:ext uri="{FF2B5EF4-FFF2-40B4-BE49-F238E27FC236}">
                <a16:creationId xmlns:a16="http://schemas.microsoft.com/office/drawing/2014/main" id="{51D62060-B423-4D04-96C3-F7E0F5E28D6D}"/>
              </a:ext>
            </a:extLst>
          </p:cNvPr>
          <p:cNvGraphicFramePr>
            <a:graphicFrameLocks noGrp="1"/>
          </p:cNvGraphicFramePr>
          <p:nvPr>
            <p:ph idx="1"/>
          </p:nvPr>
        </p:nvGraphicFramePr>
        <p:xfrm>
          <a:off x="5183188" y="987425"/>
          <a:ext cx="6172200" cy="48736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264909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08731-408F-401D-BA9C-77C9D9A83F29}"/>
              </a:ext>
            </a:extLst>
          </p:cNvPr>
          <p:cNvSpPr>
            <a:spLocks noGrp="1"/>
          </p:cNvSpPr>
          <p:nvPr>
            <p:ph type="ctrTitle" idx="4294967295"/>
          </p:nvPr>
        </p:nvSpPr>
        <p:spPr>
          <a:xfrm>
            <a:off x="981075" y="1887400"/>
            <a:ext cx="10229850" cy="2395537"/>
          </a:xfrm>
        </p:spPr>
        <p:txBody>
          <a:bodyPr>
            <a:normAutofit/>
          </a:bodyPr>
          <a:lstStyle/>
          <a:p>
            <a:r>
              <a:rPr lang="en-US" sz="6000" b="1" dirty="0">
                <a:latin typeface="Open Sans" panose="020B0606030504020204" pitchFamily="34" charset="0"/>
                <a:ea typeface="Open Sans" panose="020B0606030504020204" pitchFamily="34" charset="0"/>
                <a:cs typeface="Open Sans" panose="020B0606030504020204" pitchFamily="34" charset="0"/>
              </a:rPr>
              <a:t>Legislative Review</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459049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337FA-15EC-EC01-CB3C-5FF2DD58BA14}"/>
            </a:ext>
          </a:extLst>
        </p:cNvPr>
        <p:cNvGrpSpPr/>
        <p:nvPr/>
      </p:nvGrpSpPr>
      <p:grpSpPr>
        <a:xfrm>
          <a:off x="0" y="0"/>
          <a:ext cx="0" cy="0"/>
          <a:chOff x="0" y="0"/>
          <a:chExt cx="0" cy="0"/>
        </a:xfrm>
      </p:grpSpPr>
      <p:pic>
        <p:nvPicPr>
          <p:cNvPr id="10" name="Picture 9">
            <a:extLst>
              <a:ext uri="{FF2B5EF4-FFF2-40B4-BE49-F238E27FC236}">
                <a16:creationId xmlns:a16="http://schemas.microsoft.com/office/drawing/2014/main" id="{2FD3C233-D541-838B-8A0F-0025EAFE10FC}"/>
              </a:ext>
            </a:extLst>
          </p:cNvPr>
          <p:cNvPicPr>
            <a:picLocks noChangeAspect="1"/>
          </p:cNvPicPr>
          <p:nvPr/>
        </p:nvPicPr>
        <p:blipFill>
          <a:blip r:embed="rId3"/>
          <a:stretch>
            <a:fillRect/>
          </a:stretch>
        </p:blipFill>
        <p:spPr>
          <a:xfrm>
            <a:off x="519941" y="1221344"/>
            <a:ext cx="4939955" cy="2207656"/>
          </a:xfrm>
          <a:prstGeom prst="rect">
            <a:avLst/>
          </a:prstGeom>
        </p:spPr>
      </p:pic>
      <p:pic>
        <p:nvPicPr>
          <p:cNvPr id="12" name="Picture 11">
            <a:extLst>
              <a:ext uri="{FF2B5EF4-FFF2-40B4-BE49-F238E27FC236}">
                <a16:creationId xmlns:a16="http://schemas.microsoft.com/office/drawing/2014/main" id="{11DEBD90-10EB-E7A6-2C7A-5E346A1060F3}"/>
              </a:ext>
            </a:extLst>
          </p:cNvPr>
          <p:cNvPicPr>
            <a:picLocks noChangeAspect="1"/>
          </p:cNvPicPr>
          <p:nvPr/>
        </p:nvPicPr>
        <p:blipFill>
          <a:blip r:embed="rId4"/>
          <a:stretch>
            <a:fillRect/>
          </a:stretch>
        </p:blipFill>
        <p:spPr>
          <a:xfrm>
            <a:off x="5496870" y="1221344"/>
            <a:ext cx="2470472" cy="2207656"/>
          </a:xfrm>
          <a:prstGeom prst="rect">
            <a:avLst/>
          </a:prstGeom>
        </p:spPr>
      </p:pic>
      <p:pic>
        <p:nvPicPr>
          <p:cNvPr id="14" name="Picture 13">
            <a:extLst>
              <a:ext uri="{FF2B5EF4-FFF2-40B4-BE49-F238E27FC236}">
                <a16:creationId xmlns:a16="http://schemas.microsoft.com/office/drawing/2014/main" id="{BE65B157-46D2-9210-7AF0-4D62BDB54D74}"/>
              </a:ext>
            </a:extLst>
          </p:cNvPr>
          <p:cNvPicPr>
            <a:picLocks noChangeAspect="1"/>
          </p:cNvPicPr>
          <p:nvPr/>
        </p:nvPicPr>
        <p:blipFill>
          <a:blip r:embed="rId5"/>
          <a:stretch>
            <a:fillRect/>
          </a:stretch>
        </p:blipFill>
        <p:spPr>
          <a:xfrm>
            <a:off x="519941" y="3632338"/>
            <a:ext cx="5174769" cy="2291451"/>
          </a:xfrm>
          <a:prstGeom prst="rect">
            <a:avLst/>
          </a:prstGeom>
        </p:spPr>
      </p:pic>
      <p:pic>
        <p:nvPicPr>
          <p:cNvPr id="16" name="Picture 15">
            <a:extLst>
              <a:ext uri="{FF2B5EF4-FFF2-40B4-BE49-F238E27FC236}">
                <a16:creationId xmlns:a16="http://schemas.microsoft.com/office/drawing/2014/main" id="{EB822AB8-E6A8-08D4-60FA-5223F007C66B}"/>
              </a:ext>
            </a:extLst>
          </p:cNvPr>
          <p:cNvPicPr>
            <a:picLocks noChangeAspect="1"/>
          </p:cNvPicPr>
          <p:nvPr/>
        </p:nvPicPr>
        <p:blipFill>
          <a:blip r:embed="rId6"/>
          <a:stretch>
            <a:fillRect/>
          </a:stretch>
        </p:blipFill>
        <p:spPr>
          <a:xfrm>
            <a:off x="5825807" y="3663324"/>
            <a:ext cx="4987967" cy="2249371"/>
          </a:xfrm>
          <a:prstGeom prst="rect">
            <a:avLst/>
          </a:prstGeom>
        </p:spPr>
      </p:pic>
      <p:sp>
        <p:nvSpPr>
          <p:cNvPr id="20" name="TextBox 19">
            <a:extLst>
              <a:ext uri="{FF2B5EF4-FFF2-40B4-BE49-F238E27FC236}">
                <a16:creationId xmlns:a16="http://schemas.microsoft.com/office/drawing/2014/main" id="{F1ADEC7F-6540-87DA-1615-E0D4BC4DFF00}"/>
              </a:ext>
            </a:extLst>
          </p:cNvPr>
          <p:cNvSpPr txBox="1"/>
          <p:nvPr/>
        </p:nvSpPr>
        <p:spPr>
          <a:xfrm>
            <a:off x="8004316" y="901148"/>
            <a:ext cx="4068413" cy="2529923"/>
          </a:xfrm>
          <a:prstGeom prst="rect">
            <a:avLst/>
          </a:prstGeom>
          <a:noFill/>
        </p:spPr>
        <p:txBody>
          <a:bodyPr wrap="square" rtlCol="0">
            <a:spAutoFit/>
          </a:bodyPr>
          <a:lstStyle/>
          <a:p>
            <a:pPr>
              <a:lnSpc>
                <a:spcPct val="90000"/>
              </a:lnSpc>
              <a:spcBef>
                <a:spcPct val="0"/>
              </a:spcBef>
            </a:pPr>
            <a:r>
              <a:rPr lang="en-US" sz="4400" b="1" dirty="0">
                <a:solidFill>
                  <a:srgbClr val="3A4972"/>
                </a:solidFill>
                <a:latin typeface="+mj-lt"/>
                <a:ea typeface="+mj-ea"/>
                <a:cs typeface="+mj-cs"/>
              </a:rPr>
              <a:t>Remaining Congressional  Work Days in 118</a:t>
            </a:r>
            <a:r>
              <a:rPr lang="en-US" sz="4400" b="1" baseline="30000" dirty="0">
                <a:solidFill>
                  <a:srgbClr val="3A4972"/>
                </a:solidFill>
                <a:latin typeface="+mj-lt"/>
                <a:ea typeface="+mj-ea"/>
                <a:cs typeface="+mj-cs"/>
              </a:rPr>
              <a:t>th</a:t>
            </a:r>
            <a:r>
              <a:rPr lang="en-US" sz="4400" b="1" dirty="0">
                <a:solidFill>
                  <a:srgbClr val="3A4972"/>
                </a:solidFill>
                <a:latin typeface="+mj-lt"/>
                <a:ea typeface="+mj-ea"/>
                <a:cs typeface="+mj-cs"/>
              </a:rPr>
              <a:t> </a:t>
            </a:r>
          </a:p>
        </p:txBody>
      </p:sp>
    </p:spTree>
    <p:extLst>
      <p:ext uri="{BB962C8B-B14F-4D97-AF65-F5344CB8AC3E}">
        <p14:creationId xmlns:p14="http://schemas.microsoft.com/office/powerpoint/2010/main" val="33999800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337FA-15EC-EC01-CB3C-5FF2DD58BA1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98FE31F-7CD8-86A9-C09E-CAE58C6D2883}"/>
              </a:ext>
            </a:extLst>
          </p:cNvPr>
          <p:cNvSpPr>
            <a:spLocks noGrp="1"/>
          </p:cNvSpPr>
          <p:nvPr>
            <p:ph type="title"/>
          </p:nvPr>
        </p:nvSpPr>
        <p:spPr>
          <a:xfrm>
            <a:off x="1091580" y="365124"/>
            <a:ext cx="10515600" cy="1325563"/>
          </a:xfrm>
        </p:spPr>
        <p:txBody>
          <a:bodyPr/>
          <a:lstStyle/>
          <a:p>
            <a:pPr algn="ctr"/>
            <a:r>
              <a:rPr lang="en-US" dirty="0"/>
              <a:t>Lame Duck Congressional Session</a:t>
            </a:r>
          </a:p>
        </p:txBody>
      </p:sp>
      <p:sp>
        <p:nvSpPr>
          <p:cNvPr id="6" name="Text Placeholder 5">
            <a:extLst>
              <a:ext uri="{FF2B5EF4-FFF2-40B4-BE49-F238E27FC236}">
                <a16:creationId xmlns:a16="http://schemas.microsoft.com/office/drawing/2014/main" id="{E4331957-5A5A-5A46-B756-B89F755F09F1}"/>
              </a:ext>
            </a:extLst>
          </p:cNvPr>
          <p:cNvSpPr>
            <a:spLocks noGrp="1"/>
          </p:cNvSpPr>
          <p:nvPr>
            <p:ph type="body" idx="1"/>
          </p:nvPr>
        </p:nvSpPr>
        <p:spPr>
          <a:xfrm>
            <a:off x="839788" y="1546053"/>
            <a:ext cx="5157787" cy="571707"/>
          </a:xfrm>
        </p:spPr>
        <p:txBody>
          <a:bodyPr>
            <a:normAutofit/>
          </a:bodyPr>
          <a:lstStyle/>
          <a:p>
            <a:pPr algn="ctr"/>
            <a:r>
              <a:rPr lang="en-US" sz="3200" dirty="0"/>
              <a:t>“Must Dos”</a:t>
            </a:r>
          </a:p>
        </p:txBody>
      </p:sp>
      <p:sp>
        <p:nvSpPr>
          <p:cNvPr id="7" name="Content Placeholder 6">
            <a:extLst>
              <a:ext uri="{FF2B5EF4-FFF2-40B4-BE49-F238E27FC236}">
                <a16:creationId xmlns:a16="http://schemas.microsoft.com/office/drawing/2014/main" id="{404664AD-834E-EEE2-C56B-DA6E6EF0FAE4}"/>
              </a:ext>
            </a:extLst>
          </p:cNvPr>
          <p:cNvSpPr>
            <a:spLocks noGrp="1"/>
          </p:cNvSpPr>
          <p:nvPr>
            <p:ph sz="half" idx="2"/>
          </p:nvPr>
        </p:nvSpPr>
        <p:spPr>
          <a:xfrm>
            <a:off x="839788" y="2239617"/>
            <a:ext cx="5157787" cy="3950046"/>
          </a:xfrm>
        </p:spPr>
        <p:txBody>
          <a:bodyPr>
            <a:normAutofit/>
          </a:bodyPr>
          <a:lstStyle/>
          <a:p>
            <a:r>
              <a:rPr lang="en-US" dirty="0"/>
              <a:t>PHE Telehealth Extensions</a:t>
            </a:r>
          </a:p>
          <a:p>
            <a:r>
              <a:rPr lang="en-US" dirty="0"/>
              <a:t>Rural Medicare extenders: MDH, LVH, Ambulance, </a:t>
            </a:r>
          </a:p>
          <a:p>
            <a:r>
              <a:rPr lang="en-US" dirty="0"/>
              <a:t>Safety Program extenders: NHSC, CHC, THCGME </a:t>
            </a:r>
          </a:p>
          <a:p>
            <a:r>
              <a:rPr lang="en-US" dirty="0"/>
              <a:t>Eliminate/postpone: DSH/physician cuts, site neutrality payments</a:t>
            </a:r>
          </a:p>
        </p:txBody>
      </p:sp>
      <p:sp>
        <p:nvSpPr>
          <p:cNvPr id="8" name="Text Placeholder 7">
            <a:extLst>
              <a:ext uri="{FF2B5EF4-FFF2-40B4-BE49-F238E27FC236}">
                <a16:creationId xmlns:a16="http://schemas.microsoft.com/office/drawing/2014/main" id="{659D1608-B6A4-0DCD-595F-FD6C747C6083}"/>
              </a:ext>
            </a:extLst>
          </p:cNvPr>
          <p:cNvSpPr>
            <a:spLocks noGrp="1"/>
          </p:cNvSpPr>
          <p:nvPr>
            <p:ph type="body" sz="quarter" idx="3"/>
          </p:nvPr>
        </p:nvSpPr>
        <p:spPr>
          <a:xfrm>
            <a:off x="6169024" y="1526174"/>
            <a:ext cx="5183188" cy="571707"/>
          </a:xfrm>
        </p:spPr>
        <p:txBody>
          <a:bodyPr>
            <a:normAutofit/>
          </a:bodyPr>
          <a:lstStyle/>
          <a:p>
            <a:pPr algn="ctr"/>
            <a:r>
              <a:rPr lang="en-US" sz="3200" dirty="0"/>
              <a:t>“Wanna Dos”</a:t>
            </a:r>
          </a:p>
        </p:txBody>
      </p:sp>
      <p:sp>
        <p:nvSpPr>
          <p:cNvPr id="9" name="Content Placeholder 8">
            <a:extLst>
              <a:ext uri="{FF2B5EF4-FFF2-40B4-BE49-F238E27FC236}">
                <a16:creationId xmlns:a16="http://schemas.microsoft.com/office/drawing/2014/main" id="{3CEFA973-ABD3-C4F4-CB08-075E62C0E708}"/>
              </a:ext>
            </a:extLst>
          </p:cNvPr>
          <p:cNvSpPr>
            <a:spLocks noGrp="1"/>
          </p:cNvSpPr>
          <p:nvPr>
            <p:ph sz="quarter" idx="4"/>
          </p:nvPr>
        </p:nvSpPr>
        <p:spPr>
          <a:xfrm>
            <a:off x="6172200" y="2239617"/>
            <a:ext cx="5183188" cy="3950046"/>
          </a:xfrm>
        </p:spPr>
        <p:txBody>
          <a:bodyPr>
            <a:normAutofit/>
          </a:bodyPr>
          <a:lstStyle/>
          <a:p>
            <a:r>
              <a:rPr lang="en-US" dirty="0"/>
              <a:t>340B SUSTAIN Act </a:t>
            </a:r>
          </a:p>
          <a:p>
            <a:r>
              <a:rPr lang="en-US" dirty="0"/>
              <a:t>Key program authorizations: Flex, RRPD, RCORP, CDC</a:t>
            </a:r>
          </a:p>
          <a:p>
            <a:r>
              <a:rPr lang="en-US" dirty="0"/>
              <a:t>RHC Burden Reduction Act  </a:t>
            </a:r>
          </a:p>
          <a:p>
            <a:r>
              <a:rPr lang="en-US" dirty="0"/>
              <a:t>Rural Emergency Hospital 2.0</a:t>
            </a:r>
          </a:p>
          <a:p>
            <a:r>
              <a:rPr lang="en-US" dirty="0"/>
              <a:t>Rural Obstetric Access  </a:t>
            </a:r>
          </a:p>
          <a:p>
            <a:endParaRPr lang="en-US" dirty="0"/>
          </a:p>
        </p:txBody>
      </p:sp>
      <p:pic>
        <p:nvPicPr>
          <p:cNvPr id="15" name="Picture 14">
            <a:extLst>
              <a:ext uri="{FF2B5EF4-FFF2-40B4-BE49-F238E27FC236}">
                <a16:creationId xmlns:a16="http://schemas.microsoft.com/office/drawing/2014/main" id="{75CAE8A2-76A2-CE1C-1BB1-BB5B0B3FE713}"/>
              </a:ext>
            </a:extLst>
          </p:cNvPr>
          <p:cNvPicPr>
            <a:picLocks noChangeAspect="1"/>
          </p:cNvPicPr>
          <p:nvPr/>
        </p:nvPicPr>
        <p:blipFill>
          <a:blip r:embed="rId3"/>
          <a:stretch>
            <a:fillRect/>
          </a:stretch>
        </p:blipFill>
        <p:spPr>
          <a:xfrm>
            <a:off x="163581" y="158907"/>
            <a:ext cx="1598958" cy="1737998"/>
          </a:xfrm>
          <a:prstGeom prst="rect">
            <a:avLst/>
          </a:prstGeom>
        </p:spPr>
      </p:pic>
      <p:pic>
        <p:nvPicPr>
          <p:cNvPr id="17" name="Picture 16">
            <a:extLst>
              <a:ext uri="{FF2B5EF4-FFF2-40B4-BE49-F238E27FC236}">
                <a16:creationId xmlns:a16="http://schemas.microsoft.com/office/drawing/2014/main" id="{FCDA039A-4B3D-9E0A-BC61-FE27054938C2}"/>
              </a:ext>
            </a:extLst>
          </p:cNvPr>
          <p:cNvPicPr>
            <a:picLocks noChangeAspect="1"/>
          </p:cNvPicPr>
          <p:nvPr/>
        </p:nvPicPr>
        <p:blipFill>
          <a:blip r:embed="rId4"/>
          <a:stretch>
            <a:fillRect/>
          </a:stretch>
        </p:blipFill>
        <p:spPr>
          <a:xfrm>
            <a:off x="10280172" y="4760120"/>
            <a:ext cx="1597290" cy="1737511"/>
          </a:xfrm>
          <a:prstGeom prst="rect">
            <a:avLst/>
          </a:prstGeom>
        </p:spPr>
      </p:pic>
    </p:spTree>
    <p:extLst>
      <p:ext uri="{BB962C8B-B14F-4D97-AF65-F5344CB8AC3E}">
        <p14:creationId xmlns:p14="http://schemas.microsoft.com/office/powerpoint/2010/main" val="29031095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CBD10-5DF1-A4F0-A832-6FFC95BBD05E}"/>
              </a:ext>
            </a:extLst>
          </p:cNvPr>
          <p:cNvSpPr>
            <a:spLocks noGrp="1"/>
          </p:cNvSpPr>
          <p:nvPr>
            <p:ph type="title"/>
          </p:nvPr>
        </p:nvSpPr>
        <p:spPr/>
        <p:txBody>
          <a:bodyPr/>
          <a:lstStyle/>
          <a:p>
            <a:pPr algn="ctr"/>
            <a:r>
              <a:rPr lang="en-US" sz="4000" b="1">
                <a:ea typeface="+mj-lt"/>
                <a:cs typeface="+mj-lt"/>
              </a:rPr>
              <a:t>FY 2025 Appropriations</a:t>
            </a:r>
            <a:r>
              <a:rPr lang="en-US" sz="4000">
                <a:ea typeface="+mj-lt"/>
                <a:cs typeface="+mj-lt"/>
              </a:rPr>
              <a:t> </a:t>
            </a:r>
            <a:r>
              <a:rPr lang="en-US" sz="4000" b="1">
                <a:ea typeface="+mj-lt"/>
                <a:cs typeface="+mj-lt"/>
              </a:rPr>
              <a:t>Update</a:t>
            </a:r>
            <a:endParaRPr lang="en-US" sz="4000">
              <a:cs typeface="Arial"/>
            </a:endParaRPr>
          </a:p>
        </p:txBody>
      </p:sp>
      <p:pic>
        <p:nvPicPr>
          <p:cNvPr id="7" name="Content Placeholder 6" descr="A sun shining through the sun on a white building&#10;&#10;Description automatically generated">
            <a:extLst>
              <a:ext uri="{FF2B5EF4-FFF2-40B4-BE49-F238E27FC236}">
                <a16:creationId xmlns:a16="http://schemas.microsoft.com/office/drawing/2014/main" id="{04C3ED27-8397-A492-4C07-367CCEE34D65}"/>
              </a:ext>
            </a:extLst>
          </p:cNvPr>
          <p:cNvPicPr>
            <a:picLocks noGrp="1" noChangeAspect="1"/>
          </p:cNvPicPr>
          <p:nvPr>
            <p:ph idx="1"/>
          </p:nvPr>
        </p:nvPicPr>
        <p:blipFill>
          <a:blip r:embed="rId3"/>
          <a:stretch>
            <a:fillRect/>
          </a:stretch>
        </p:blipFill>
        <p:spPr>
          <a:xfrm>
            <a:off x="836747" y="1929042"/>
            <a:ext cx="3105150" cy="3886200"/>
          </a:xfrm>
        </p:spPr>
      </p:pic>
      <p:sp>
        <p:nvSpPr>
          <p:cNvPr id="4" name="TextBox 3">
            <a:extLst>
              <a:ext uri="{FF2B5EF4-FFF2-40B4-BE49-F238E27FC236}">
                <a16:creationId xmlns:a16="http://schemas.microsoft.com/office/drawing/2014/main" id="{ED8E6510-F413-17E0-505D-D92D6112E4FD}"/>
              </a:ext>
            </a:extLst>
          </p:cNvPr>
          <p:cNvSpPr txBox="1"/>
          <p:nvPr/>
        </p:nvSpPr>
        <p:spPr>
          <a:xfrm>
            <a:off x="4318334" y="1719416"/>
            <a:ext cx="7678048" cy="677108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3A4972"/>
                </a:solidFill>
                <a:effectLst/>
                <a:uLnTx/>
                <a:uFillTx/>
                <a:latin typeface="Arial" panose="020B0604020202020204"/>
                <a:ea typeface="+mn-ea"/>
                <a:cs typeface="Arial"/>
              </a:rPr>
              <a:t>House Appropriations Committee Chairman Tom Cole (R-OK) releases proposed FY2025 Topline Numbers: </a:t>
            </a:r>
            <a:br>
              <a:rPr kumimoji="0" lang="en-US" sz="2200" b="1" i="0" u="none" strike="noStrike" kern="1200" cap="none" spc="0" normalizeH="0" baseline="0" noProof="0">
                <a:ln>
                  <a:noFill/>
                </a:ln>
                <a:solidFill>
                  <a:srgbClr val="3A4972"/>
                </a:solidFill>
                <a:effectLst/>
                <a:uLnTx/>
                <a:uFillTx/>
                <a:latin typeface="Arial" panose="020B0604020202020204"/>
                <a:ea typeface="+mn-ea"/>
                <a:cs typeface="Arial"/>
              </a:rPr>
            </a:br>
            <a:endParaRPr kumimoji="0" lang="en-US" sz="2200" b="1" i="0" u="none" strike="noStrike" kern="1200" cap="none" spc="0" normalizeH="0" baseline="0" noProof="0">
              <a:ln>
                <a:noFill/>
              </a:ln>
              <a:solidFill>
                <a:srgbClr val="3A4972"/>
              </a:solidFill>
              <a:effectLst/>
              <a:uLnTx/>
              <a:uFillTx/>
              <a:latin typeface="Arial" panose="020B0604020202020204"/>
              <a:ea typeface="+mn-ea"/>
              <a:cs typeface="Arial"/>
            </a:endParaRP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200" b="1" i="0" u="none" strike="noStrike" kern="1200" cap="none" spc="0" normalizeH="0" baseline="0" noProof="0">
                <a:ln>
                  <a:noFill/>
                </a:ln>
                <a:solidFill>
                  <a:srgbClr val="3A4972"/>
                </a:solidFill>
                <a:effectLst/>
                <a:uLnTx/>
                <a:uFillTx/>
                <a:latin typeface="Arial" panose="020B0604020202020204"/>
                <a:ea typeface="+mn-ea"/>
                <a:cs typeface="Arial"/>
              </a:rPr>
              <a:t>Non-defense programs may be cut effectively by 6%, but cuts are not evenly distributed.</a:t>
            </a:r>
            <a:br>
              <a:rPr kumimoji="0" lang="en-US" sz="2200" b="1" i="0" u="none" strike="noStrike" kern="1200" cap="none" spc="0" normalizeH="0" baseline="0" noProof="0">
                <a:ln>
                  <a:noFill/>
                </a:ln>
                <a:solidFill>
                  <a:srgbClr val="3A4972"/>
                </a:solidFill>
                <a:effectLst/>
                <a:uLnTx/>
                <a:uFillTx/>
                <a:latin typeface="Arial" panose="020B0604020202020204"/>
                <a:ea typeface="+mn-ea"/>
                <a:cs typeface="Arial"/>
              </a:rPr>
            </a:br>
            <a:endParaRPr kumimoji="0" lang="en-US" sz="2200" b="1" i="0" u="none" strike="noStrike" kern="1200" cap="none" spc="0" normalizeH="0" baseline="0" noProof="0">
              <a:ln>
                <a:noFill/>
              </a:ln>
              <a:solidFill>
                <a:srgbClr val="3A4972"/>
              </a:solidFill>
              <a:effectLst/>
              <a:uLnTx/>
              <a:uFillTx/>
              <a:latin typeface="Arial" panose="020B0604020202020204"/>
              <a:ea typeface="+mn-ea"/>
              <a:cs typeface="Arial"/>
            </a:endParaRPr>
          </a:p>
          <a:p>
            <a:pPr marL="342900" marR="0" lvl="0" indent="-342900" algn="l" defTabSz="914400" rtl="0" eaLnBrk="1" fontAlgn="auto" latinLnBrk="0" hangingPunct="1">
              <a:lnSpc>
                <a:spcPct val="100000"/>
              </a:lnSpc>
              <a:spcBef>
                <a:spcPts val="0"/>
              </a:spcBef>
              <a:spcAft>
                <a:spcPts val="0"/>
              </a:spcAft>
              <a:buClrTx/>
              <a:buSzTx/>
              <a:buFont typeface="Arial"/>
              <a:buChar char="•"/>
              <a:tabLst/>
              <a:defRPr/>
            </a:pPr>
            <a:r>
              <a:rPr kumimoji="0" lang="en-US" sz="2200" b="1" i="0" u="none" strike="noStrike" kern="1200" cap="none" spc="0" normalizeH="0" baseline="0" noProof="0">
                <a:ln>
                  <a:noFill/>
                </a:ln>
                <a:solidFill>
                  <a:srgbClr val="3A4972"/>
                </a:solidFill>
                <a:effectLst/>
                <a:uLnTx/>
                <a:uFillTx/>
                <a:latin typeface="Arial" panose="020B0604020202020204"/>
                <a:ea typeface="+mn-lt"/>
                <a:cs typeface="Arial" panose="020B0604020202020204"/>
              </a:rPr>
              <a:t>Labor-Health and Human Services- Education (LHHS) Subcommittee may be cut by up to 10-11%. </a:t>
            </a:r>
          </a:p>
          <a:p>
            <a:pPr marL="800100" marR="0" lvl="1" indent="-342900" algn="l" defTabSz="914400" rtl="0" eaLnBrk="1" fontAlgn="auto" latinLnBrk="0" hangingPunct="1">
              <a:lnSpc>
                <a:spcPct val="100000"/>
              </a:lnSpc>
              <a:spcBef>
                <a:spcPts val="0"/>
              </a:spcBef>
              <a:spcAft>
                <a:spcPts val="0"/>
              </a:spcAft>
              <a:buClrTx/>
              <a:buSzTx/>
              <a:buFont typeface="Courier New"/>
              <a:buChar char="o"/>
              <a:tabLst/>
              <a:defRPr/>
            </a:pPr>
            <a:r>
              <a:rPr kumimoji="0" lang="en-US" sz="2200" b="1" i="0" u="none" strike="noStrike" kern="1200" cap="none" spc="0" normalizeH="0" baseline="0" noProof="0">
                <a:ln>
                  <a:noFill/>
                </a:ln>
                <a:solidFill>
                  <a:srgbClr val="3A4972"/>
                </a:solidFill>
                <a:effectLst/>
                <a:uLnTx/>
                <a:uFillTx/>
                <a:latin typeface="Arial" panose="020B0604020202020204"/>
                <a:ea typeface="+mn-lt"/>
                <a:cs typeface="Arial" panose="020B0604020202020204"/>
              </a:rPr>
              <a:t>FY2025 LHHS allocation is set at $184,564,000,000.</a:t>
            </a:r>
          </a:p>
          <a:p>
            <a:pPr marL="800100" marR="0" lvl="1" indent="-342900" algn="l" defTabSz="914400" rtl="0" eaLnBrk="1" fontAlgn="auto" latinLnBrk="0" hangingPunct="1">
              <a:lnSpc>
                <a:spcPct val="100000"/>
              </a:lnSpc>
              <a:spcBef>
                <a:spcPts val="0"/>
              </a:spcBef>
              <a:spcAft>
                <a:spcPts val="0"/>
              </a:spcAft>
              <a:buClrTx/>
              <a:buSzTx/>
              <a:buFont typeface="Courier New"/>
              <a:buChar char="o"/>
              <a:tabLst/>
              <a:defRPr/>
            </a:pPr>
            <a:r>
              <a:rPr kumimoji="0" lang="en-US" sz="2200" b="1" i="0" u="none" strike="noStrike" kern="1200" cap="none" spc="0" normalizeH="0" baseline="0" noProof="0">
                <a:ln>
                  <a:noFill/>
                </a:ln>
                <a:solidFill>
                  <a:srgbClr val="3A4972"/>
                </a:solidFill>
                <a:effectLst/>
                <a:uLnTx/>
                <a:uFillTx/>
                <a:latin typeface="Arial" panose="020B0604020202020204"/>
                <a:ea typeface="+mn-lt"/>
                <a:cs typeface="Arial" panose="020B0604020202020204"/>
              </a:rPr>
              <a:t>FY2024 total budget authority was 195,231,000,000, with total outlays at 260,863,000,000.</a:t>
            </a:r>
            <a:br>
              <a:rPr kumimoji="0" lang="en-US" sz="2200" b="1" i="0" u="none" strike="noStrike" kern="1200" cap="none" spc="0" normalizeH="0" baseline="0" noProof="0">
                <a:ln>
                  <a:noFill/>
                </a:ln>
                <a:solidFill>
                  <a:srgbClr val="3A4972"/>
                </a:solidFill>
                <a:effectLst/>
                <a:uLnTx/>
                <a:uFillTx/>
                <a:latin typeface="Arial" panose="020B0604020202020204"/>
                <a:ea typeface="+mn-lt"/>
                <a:cs typeface="Arial" panose="020B0604020202020204"/>
              </a:rPr>
            </a:br>
            <a:endParaRPr kumimoji="0" lang="en-US" sz="2400" b="1" i="0" u="none" strike="noStrike" kern="1200" cap="none" spc="0" normalizeH="0" baseline="0" noProof="0">
              <a:ln>
                <a:noFill/>
              </a:ln>
              <a:solidFill>
                <a:srgbClr val="3A4972"/>
              </a:solidFill>
              <a:effectLst/>
              <a:uLnTx/>
              <a:uFillTx/>
              <a:latin typeface="Arial" panose="020B0604020202020204"/>
              <a:ea typeface="+mn-lt"/>
              <a:cs typeface="Arial" panose="020B0604020202020204"/>
            </a:endParaRPr>
          </a:p>
          <a:p>
            <a:pPr marL="800100" marR="0" lvl="1" indent="-342900" algn="l" defTabSz="914400" rtl="0" eaLnBrk="1" fontAlgn="auto" latinLnBrk="0" hangingPunct="1">
              <a:lnSpc>
                <a:spcPct val="100000"/>
              </a:lnSpc>
              <a:spcBef>
                <a:spcPts val="0"/>
              </a:spcBef>
              <a:spcAft>
                <a:spcPts val="0"/>
              </a:spcAft>
              <a:buClrTx/>
              <a:buSzTx/>
              <a:buFont typeface="Courier New"/>
              <a:buChar char="o"/>
              <a:tabLst/>
              <a:defRPr/>
            </a:pPr>
            <a:endParaRPr kumimoji="0" lang="en-US" sz="2000" b="0" i="0" u="none" strike="noStrike" kern="1200" cap="none" spc="0" normalizeH="0" baseline="0" noProof="0">
              <a:ln>
                <a:noFill/>
              </a:ln>
              <a:solidFill>
                <a:srgbClr val="3A4972"/>
              </a:solidFill>
              <a:effectLst/>
              <a:uLnTx/>
              <a:uFillTx/>
              <a:latin typeface="Arial" panose="020B0604020202020204"/>
              <a:ea typeface="+mn-ea"/>
              <a:cs typeface="Arial"/>
            </a:endParaRPr>
          </a:p>
          <a:p>
            <a:pPr marL="800100" marR="0" lvl="1" indent="-342900" algn="l" defTabSz="914400" rtl="0" eaLnBrk="1" fontAlgn="auto" latinLnBrk="0" hangingPunct="1">
              <a:lnSpc>
                <a:spcPct val="100000"/>
              </a:lnSpc>
              <a:spcBef>
                <a:spcPts val="0"/>
              </a:spcBef>
              <a:spcAft>
                <a:spcPts val="0"/>
              </a:spcAft>
              <a:buClrTx/>
              <a:buSzTx/>
              <a:buFont typeface="Courier New"/>
              <a:buChar char="o"/>
              <a:tabLst/>
              <a:defRPr/>
            </a:pPr>
            <a:endParaRPr kumimoji="0" lang="en-US" sz="2000" b="0" i="0" u="none" strike="noStrike" kern="1200" cap="none" spc="0" normalizeH="0" baseline="0" noProof="0">
              <a:ln>
                <a:noFill/>
              </a:ln>
              <a:solidFill>
                <a:srgbClr val="3A4972"/>
              </a:solidFill>
              <a:effectLst/>
              <a:uLnTx/>
              <a:uFillTx/>
              <a:latin typeface="Arial" panose="020B0604020202020204"/>
              <a:ea typeface="+mn-ea"/>
              <a:cs typeface="Arial"/>
            </a:endParaRPr>
          </a:p>
          <a:p>
            <a:pPr marL="800100" marR="0" lvl="1" indent="-342900" algn="l" defTabSz="914400" rtl="0" eaLnBrk="1" fontAlgn="auto" latinLnBrk="0" hangingPunct="1">
              <a:lnSpc>
                <a:spcPct val="100000"/>
              </a:lnSpc>
              <a:spcBef>
                <a:spcPts val="0"/>
              </a:spcBef>
              <a:spcAft>
                <a:spcPts val="0"/>
              </a:spcAft>
              <a:buClrTx/>
              <a:buSzTx/>
              <a:buFont typeface="Courier New"/>
              <a:buChar char="o"/>
              <a:tabLst/>
              <a:defRPr/>
            </a:pPr>
            <a:endParaRPr kumimoji="0" lang="en-US" sz="2000" b="0" i="0" u="none" strike="noStrike" kern="1200" cap="none" spc="0" normalizeH="0" baseline="0" noProof="0">
              <a:ln>
                <a:noFill/>
              </a:ln>
              <a:solidFill>
                <a:srgbClr val="3A4972"/>
              </a:solidFill>
              <a:effectLst/>
              <a:uLnTx/>
              <a:uFillTx/>
              <a:latin typeface="Arial" panose="020B0604020202020204"/>
              <a:ea typeface="+mn-ea"/>
              <a:cs typeface="Arial"/>
            </a:endParaRPr>
          </a:p>
          <a:p>
            <a:pPr marL="800100" marR="0" lvl="1" indent="-342900" algn="l" defTabSz="914400" rtl="0" eaLnBrk="1" fontAlgn="auto" latinLnBrk="0" hangingPunct="1">
              <a:lnSpc>
                <a:spcPct val="100000"/>
              </a:lnSpc>
              <a:spcBef>
                <a:spcPts val="0"/>
              </a:spcBef>
              <a:spcAft>
                <a:spcPts val="0"/>
              </a:spcAft>
              <a:buClrTx/>
              <a:buSzTx/>
              <a:buFont typeface="Courier New"/>
              <a:buChar char="o"/>
              <a:tabLst/>
              <a:defRPr/>
            </a:pPr>
            <a:endParaRPr kumimoji="0" lang="en-US" sz="2000" b="0" i="0" u="none" strike="noStrike" kern="1200" cap="none" spc="0" normalizeH="0" baseline="0" noProof="0">
              <a:ln>
                <a:noFill/>
              </a:ln>
              <a:solidFill>
                <a:srgbClr val="3A4972"/>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A4972"/>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2400" b="1" i="0" u="none" strike="noStrike" kern="1200" cap="none" spc="0" normalizeH="0" baseline="0" noProof="0">
              <a:ln>
                <a:noFill/>
              </a:ln>
              <a:solidFill>
                <a:srgbClr val="3A4972"/>
              </a:solidFill>
              <a:effectLst/>
              <a:uLnTx/>
              <a:uFillTx/>
              <a:latin typeface="Arial" panose="020B0604020202020204"/>
              <a:ea typeface="+mn-ea"/>
              <a:cs typeface="Arial"/>
            </a:endParaRPr>
          </a:p>
        </p:txBody>
      </p:sp>
    </p:spTree>
    <p:extLst>
      <p:ext uri="{BB962C8B-B14F-4D97-AF65-F5344CB8AC3E}">
        <p14:creationId xmlns:p14="http://schemas.microsoft.com/office/powerpoint/2010/main" val="29881699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1165E-45A3-FE84-CF02-698278EA05F2}"/>
              </a:ext>
            </a:extLst>
          </p:cNvPr>
          <p:cNvSpPr>
            <a:spLocks noGrp="1"/>
          </p:cNvSpPr>
          <p:nvPr>
            <p:ph type="title"/>
          </p:nvPr>
        </p:nvSpPr>
        <p:spPr>
          <a:xfrm>
            <a:off x="838200" y="90305"/>
            <a:ext cx="10515600" cy="1325563"/>
          </a:xfrm>
        </p:spPr>
        <p:txBody>
          <a:bodyPr>
            <a:normAutofit/>
          </a:bodyPr>
          <a:lstStyle/>
          <a:p>
            <a:pPr algn="ctr"/>
            <a:r>
              <a:rPr lang="en-US" sz="4000" b="1">
                <a:latin typeface="Open Sans"/>
                <a:ea typeface="Open Sans"/>
                <a:cs typeface="Arial"/>
              </a:rPr>
              <a:t>FY25 NRHA Appropriations Priorities</a:t>
            </a:r>
            <a:endParaRPr lang="en-US" sz="4000">
              <a:latin typeface="Open Sans"/>
              <a:ea typeface="Open Sans"/>
              <a:cs typeface="Arial"/>
            </a:endParaRPr>
          </a:p>
        </p:txBody>
      </p:sp>
      <p:sp>
        <p:nvSpPr>
          <p:cNvPr id="3" name="Content Placeholder 2">
            <a:extLst>
              <a:ext uri="{FF2B5EF4-FFF2-40B4-BE49-F238E27FC236}">
                <a16:creationId xmlns:a16="http://schemas.microsoft.com/office/drawing/2014/main" id="{7A40240A-A763-B614-0FBF-501438F547A4}"/>
              </a:ext>
            </a:extLst>
          </p:cNvPr>
          <p:cNvSpPr>
            <a:spLocks noGrp="1"/>
          </p:cNvSpPr>
          <p:nvPr>
            <p:ph idx="1"/>
          </p:nvPr>
        </p:nvSpPr>
        <p:spPr/>
        <p:txBody>
          <a:bodyPr vert="horz" lIns="91440" tIns="45720" rIns="91440" bIns="45720" rtlCol="0" anchor="t">
            <a:noAutofit/>
          </a:bodyPr>
          <a:lstStyle/>
          <a:p>
            <a:pPr>
              <a:spcAft>
                <a:spcPts val="1200"/>
              </a:spcAft>
            </a:pPr>
            <a:endParaRPr lang="en-US" sz="2000">
              <a:cs typeface="Arial"/>
            </a:endParaRPr>
          </a:p>
          <a:p>
            <a:pPr>
              <a:spcAft>
                <a:spcPts val="1200"/>
              </a:spcAft>
            </a:pPr>
            <a:endParaRPr lang="en-US"/>
          </a:p>
        </p:txBody>
      </p:sp>
      <p:sp>
        <p:nvSpPr>
          <p:cNvPr id="4" name="TextBox 3">
            <a:extLst>
              <a:ext uri="{FF2B5EF4-FFF2-40B4-BE49-F238E27FC236}">
                <a16:creationId xmlns:a16="http://schemas.microsoft.com/office/drawing/2014/main" id="{D2F0EE2D-EAFC-6310-FDF2-876A3266DF86}"/>
              </a:ext>
            </a:extLst>
          </p:cNvPr>
          <p:cNvSpPr txBox="1"/>
          <p:nvPr/>
        </p:nvSpPr>
        <p:spPr>
          <a:xfrm>
            <a:off x="4318334" y="1417492"/>
            <a:ext cx="7678048" cy="58785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3A4972"/>
                </a:solidFill>
                <a:effectLst/>
                <a:uLnTx/>
                <a:uFillTx/>
                <a:latin typeface="Arial" panose="020B0604020202020204"/>
                <a:ea typeface="+mn-lt"/>
                <a:cs typeface="Arial" panose="020B0604020202020204"/>
              </a:rPr>
              <a:t>2025 appropriation priorities areas include:</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3A4972"/>
                </a:solidFill>
                <a:effectLst/>
                <a:uLnTx/>
                <a:uFillTx/>
                <a:latin typeface="Arial" panose="020B0604020202020204"/>
                <a:ea typeface="+mn-lt"/>
                <a:cs typeface="Arial" panose="020B0604020202020204"/>
              </a:rPr>
              <a:t>Cybersecurity readiness through the Small Hospital Improvement (SHIP) Program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3A4972"/>
                </a:solidFill>
                <a:effectLst/>
                <a:uLnTx/>
                <a:uFillTx/>
                <a:latin typeface="Arial" panose="020B0604020202020204"/>
                <a:ea typeface="+mn-lt"/>
                <a:cs typeface="Arial" panose="020B0604020202020204"/>
              </a:rPr>
              <a:t>Rural Hospital Stabilization Program</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3A4972"/>
                </a:solidFill>
                <a:effectLst/>
                <a:uLnTx/>
                <a:uFillTx/>
                <a:latin typeface="Arial" panose="020B0604020202020204"/>
                <a:ea typeface="+mn-lt"/>
                <a:cs typeface="Arial" panose="020B0604020202020204"/>
              </a:rPr>
              <a:t>Rural Residency Planning and Development (RRPD)</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3A4972"/>
                </a:solidFill>
                <a:effectLst/>
                <a:uLnTx/>
                <a:uFillTx/>
                <a:latin typeface="Arial" panose="020B0604020202020204"/>
                <a:ea typeface="+mn-lt"/>
                <a:cs typeface="Arial" panose="020B0604020202020204"/>
              </a:rPr>
              <a:t>Rural Maternal Obstetric Management Strategies (RMOM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a:ln>
                  <a:noFill/>
                </a:ln>
                <a:solidFill>
                  <a:srgbClr val="3A4972"/>
                </a:solidFill>
                <a:effectLst/>
                <a:uLnTx/>
                <a:uFillTx/>
                <a:latin typeface="Arial" panose="020B0604020202020204"/>
                <a:ea typeface="+mn-lt"/>
                <a:cs typeface="Arial" panose="020B0604020202020204"/>
              </a:rPr>
              <a:t>Rural Communities Opioid Response Program (RCORP)</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3A4972"/>
              </a:solidFill>
              <a:effectLst/>
              <a:uLnTx/>
              <a:uFillTx/>
              <a:latin typeface="Arial" panose="020B0604020202020204"/>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3A4972"/>
                </a:solidFill>
                <a:effectLst/>
                <a:uLnTx/>
                <a:uFillTx/>
                <a:latin typeface="Arial" panose="020B0604020202020204"/>
                <a:ea typeface="+mn-lt"/>
                <a:cs typeface="Arial" panose="020B0604020202020204"/>
              </a:rPr>
              <a:t>Mark up for LHHS bill is June 27</a:t>
            </a:r>
            <a:r>
              <a:rPr kumimoji="0" lang="en-US" sz="2400" b="1" i="0" u="none" strike="noStrike" kern="1200" cap="none" spc="0" normalizeH="0" baseline="30000" noProof="0">
                <a:ln>
                  <a:noFill/>
                </a:ln>
                <a:solidFill>
                  <a:srgbClr val="3A4972"/>
                </a:solidFill>
                <a:effectLst/>
                <a:uLnTx/>
                <a:uFillTx/>
                <a:latin typeface="Arial" panose="020B0604020202020204"/>
                <a:ea typeface="+mn-lt"/>
                <a:cs typeface="Arial" panose="020B0604020202020204"/>
              </a:rPr>
              <a:t>th</a:t>
            </a:r>
            <a:r>
              <a:rPr kumimoji="0" lang="en-US" sz="2400" b="1" i="0" u="none" strike="noStrike" kern="1200" cap="none" spc="0" normalizeH="0" baseline="0" noProof="0">
                <a:ln>
                  <a:noFill/>
                </a:ln>
                <a:solidFill>
                  <a:srgbClr val="3A4972"/>
                </a:solidFill>
                <a:effectLst/>
                <a:uLnTx/>
                <a:uFillTx/>
                <a:latin typeface="Arial" panose="020B0604020202020204"/>
                <a:ea typeface="+mn-lt"/>
                <a:cs typeface="Arial" panose="020B0604020202020204"/>
              </a:rPr>
              <a:t> and July 10</a:t>
            </a:r>
            <a:r>
              <a:rPr kumimoji="0" lang="en-US" sz="2400" b="1" i="0" u="none" strike="noStrike" kern="1200" cap="none" spc="0" normalizeH="0" baseline="30000" noProof="0">
                <a:ln>
                  <a:noFill/>
                </a:ln>
                <a:solidFill>
                  <a:srgbClr val="3A4972"/>
                </a:solidFill>
                <a:effectLst/>
                <a:uLnTx/>
                <a:uFillTx/>
                <a:latin typeface="Arial" panose="020B0604020202020204"/>
                <a:ea typeface="+mn-lt"/>
                <a:cs typeface="Arial" panose="020B0604020202020204"/>
              </a:rPr>
              <a:t>th</a:t>
            </a:r>
            <a:r>
              <a:rPr kumimoji="0" lang="en-US" sz="2400" b="1" i="0" u="none" strike="noStrike" kern="1200" cap="none" spc="0" normalizeH="0" baseline="0" noProof="0">
                <a:ln>
                  <a:noFill/>
                </a:ln>
                <a:solidFill>
                  <a:srgbClr val="3A4972"/>
                </a:solidFill>
                <a:effectLst/>
                <a:uLnTx/>
                <a:uFillTx/>
                <a:latin typeface="Arial" panose="020B0604020202020204"/>
                <a:ea typeface="+mn-lt"/>
                <a:cs typeface="Arial" panose="020B0604020202020204"/>
              </a:rPr>
              <a:t> for full committee. </a:t>
            </a:r>
          </a:p>
          <a:p>
            <a:pPr marL="800100" marR="0" lvl="1" indent="-342900" algn="l" defTabSz="914400" rtl="0" eaLnBrk="1" fontAlgn="auto" latinLnBrk="0" hangingPunct="1">
              <a:lnSpc>
                <a:spcPct val="100000"/>
              </a:lnSpc>
              <a:spcBef>
                <a:spcPts val="0"/>
              </a:spcBef>
              <a:spcAft>
                <a:spcPts val="0"/>
              </a:spcAft>
              <a:buClrTx/>
              <a:buSzTx/>
              <a:buFont typeface="Courier New"/>
              <a:buChar char="o"/>
              <a:tabLst/>
              <a:defRPr/>
            </a:pPr>
            <a:endParaRPr kumimoji="0" lang="en-US" sz="2000" b="1" i="0" u="none" strike="noStrike" kern="1200" cap="none" spc="0" normalizeH="0" baseline="0" noProof="0">
              <a:ln>
                <a:noFill/>
              </a:ln>
              <a:solidFill>
                <a:srgbClr val="3A4972"/>
              </a:solidFill>
              <a:effectLst/>
              <a:uLnTx/>
              <a:uFillTx/>
              <a:latin typeface="Arial" panose="020B0604020202020204"/>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A4972"/>
              </a:solidFill>
              <a:effectLst/>
              <a:uLnTx/>
              <a:uFillTx/>
              <a:latin typeface="Arial" panose="020B0604020202020204"/>
              <a:ea typeface="+mn-lt"/>
              <a:cs typeface="Arial" panose="020B0604020202020204"/>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2400" b="1" i="0" u="none" strike="noStrike" kern="1200" cap="none" spc="0" normalizeH="0" baseline="0" noProof="0">
              <a:ln>
                <a:noFill/>
              </a:ln>
              <a:solidFill>
                <a:srgbClr val="3A4972"/>
              </a:solidFill>
              <a:effectLst/>
              <a:uLnTx/>
              <a:uFillTx/>
              <a:latin typeface="Arial" panose="020B0604020202020204"/>
              <a:ea typeface="+mn-ea"/>
              <a:cs typeface="Arial"/>
            </a:endParaRPr>
          </a:p>
        </p:txBody>
      </p:sp>
      <p:pic>
        <p:nvPicPr>
          <p:cNvPr id="5" name="Picture 4" descr="National Rural Health Association">
            <a:extLst>
              <a:ext uri="{FF2B5EF4-FFF2-40B4-BE49-F238E27FC236}">
                <a16:creationId xmlns:a16="http://schemas.microsoft.com/office/drawing/2014/main" id="{682832A6-DE53-F1AA-B0D3-B5ACD4DCDEBD}"/>
              </a:ext>
            </a:extLst>
          </p:cNvPr>
          <p:cNvPicPr>
            <a:picLocks noChangeAspect="1"/>
          </p:cNvPicPr>
          <p:nvPr/>
        </p:nvPicPr>
        <p:blipFill>
          <a:blip r:embed="rId3"/>
          <a:stretch>
            <a:fillRect/>
          </a:stretch>
        </p:blipFill>
        <p:spPr>
          <a:xfrm>
            <a:off x="617027" y="1592128"/>
            <a:ext cx="3518760" cy="3673743"/>
          </a:xfrm>
          <a:prstGeom prst="rect">
            <a:avLst/>
          </a:prstGeom>
        </p:spPr>
      </p:pic>
    </p:spTree>
    <p:extLst>
      <p:ext uri="{BB962C8B-B14F-4D97-AF65-F5344CB8AC3E}">
        <p14:creationId xmlns:p14="http://schemas.microsoft.com/office/powerpoint/2010/main" val="15348201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6C35C-6F40-1C10-996D-31E3F3DD9C50}"/>
              </a:ext>
            </a:extLst>
          </p:cNvPr>
          <p:cNvSpPr>
            <a:spLocks noGrp="1"/>
          </p:cNvSpPr>
          <p:nvPr>
            <p:ph type="title"/>
          </p:nvPr>
        </p:nvSpPr>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Senate Finance Rural Health Hearing</a:t>
            </a:r>
          </a:p>
        </p:txBody>
      </p:sp>
      <p:sp>
        <p:nvSpPr>
          <p:cNvPr id="3" name="Content Placeholder 2">
            <a:extLst>
              <a:ext uri="{FF2B5EF4-FFF2-40B4-BE49-F238E27FC236}">
                <a16:creationId xmlns:a16="http://schemas.microsoft.com/office/drawing/2014/main" id="{D22CCD10-D473-D67C-6BC5-A3A981BFCD9D}"/>
              </a:ext>
            </a:extLst>
          </p:cNvPr>
          <p:cNvSpPr>
            <a:spLocks noGrp="1"/>
          </p:cNvSpPr>
          <p:nvPr>
            <p:ph idx="1"/>
          </p:nvPr>
        </p:nvSpPr>
        <p:spPr/>
        <p:txBody>
          <a:bodyPr vert="horz" lIns="91440" tIns="45720" rIns="91440" bIns="45720" rtlCol="0" anchor="t">
            <a:normAutofit/>
          </a:bodyPr>
          <a:lstStyle/>
          <a:p>
            <a:r>
              <a:rPr lang="en-US">
                <a:solidFill>
                  <a:schemeClr val="tx1"/>
                </a:solidFill>
                <a:cs typeface="Arial"/>
              </a:rPr>
              <a:t>On May 16, the Senate Finance Committee held a hearing, “Rural Health Care: Supporting Lives and Improving Communities”</a:t>
            </a:r>
          </a:p>
          <a:p>
            <a:r>
              <a:rPr lang="en-US">
                <a:solidFill>
                  <a:schemeClr val="tx1"/>
                </a:solidFill>
                <a:cs typeface="Arial"/>
              </a:rPr>
              <a:t>Senators focused questions on:</a:t>
            </a:r>
          </a:p>
          <a:p>
            <a:pPr lvl="1"/>
            <a:r>
              <a:rPr lang="en-US">
                <a:solidFill>
                  <a:schemeClr val="tx1"/>
                </a:solidFill>
                <a:cs typeface="Arial"/>
              </a:rPr>
              <a:t>Hospital closures</a:t>
            </a:r>
          </a:p>
          <a:p>
            <a:pPr lvl="1"/>
            <a:r>
              <a:rPr lang="en-US">
                <a:solidFill>
                  <a:schemeClr val="tx1"/>
                </a:solidFill>
                <a:cs typeface="Arial"/>
              </a:rPr>
              <a:t>Obstetric deserts</a:t>
            </a:r>
          </a:p>
          <a:p>
            <a:pPr lvl="1"/>
            <a:r>
              <a:rPr lang="en-US">
                <a:solidFill>
                  <a:schemeClr val="tx1"/>
                </a:solidFill>
                <a:cs typeface="Arial"/>
              </a:rPr>
              <a:t>Medicare Extenders: MDH/LVH, telehealth</a:t>
            </a:r>
          </a:p>
          <a:p>
            <a:pPr lvl="1"/>
            <a:r>
              <a:rPr lang="en-US">
                <a:solidFill>
                  <a:schemeClr val="tx1"/>
                </a:solidFill>
                <a:cs typeface="Arial"/>
              </a:rPr>
              <a:t>GME and workforce innovations</a:t>
            </a:r>
          </a:p>
          <a:p>
            <a:pPr lvl="1"/>
            <a:r>
              <a:rPr lang="en-US">
                <a:solidFill>
                  <a:schemeClr val="tx1"/>
                </a:solidFill>
                <a:cs typeface="Arial"/>
              </a:rPr>
              <a:t>Medicare Advantage</a:t>
            </a:r>
          </a:p>
          <a:p>
            <a:pPr lvl="1"/>
            <a:r>
              <a:rPr lang="en-US">
                <a:solidFill>
                  <a:schemeClr val="tx1"/>
                </a:solidFill>
                <a:cs typeface="Arial"/>
              </a:rPr>
              <a:t>SNF minimum staffing rule</a:t>
            </a:r>
          </a:p>
          <a:p>
            <a:endParaRPr lang="en-US">
              <a:solidFill>
                <a:srgbClr val="000000"/>
              </a:solidFill>
              <a:cs typeface="Arial"/>
            </a:endParaRPr>
          </a:p>
          <a:p>
            <a:endParaRPr lang="en-US">
              <a:cs typeface="Arial"/>
            </a:endParaRPr>
          </a:p>
        </p:txBody>
      </p:sp>
    </p:spTree>
    <p:extLst>
      <p:ext uri="{BB962C8B-B14F-4D97-AF65-F5344CB8AC3E}">
        <p14:creationId xmlns:p14="http://schemas.microsoft.com/office/powerpoint/2010/main" val="23252959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337FA-15EC-EC01-CB3C-5FF2DD58BA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41C9462-4B5B-130D-F4D6-B18B4D3845C7}"/>
              </a:ext>
            </a:extLst>
          </p:cNvPr>
          <p:cNvSpPr>
            <a:spLocks noGrp="1"/>
          </p:cNvSpPr>
          <p:nvPr>
            <p:ph type="title"/>
          </p:nvPr>
        </p:nvSpPr>
        <p:spPr/>
        <p:txBody>
          <a:bodyPr/>
          <a:lstStyle/>
          <a:p>
            <a:r>
              <a:rPr lang="en-US" dirty="0"/>
              <a:t>In the Hopper… </a:t>
            </a:r>
          </a:p>
        </p:txBody>
      </p:sp>
      <p:sp>
        <p:nvSpPr>
          <p:cNvPr id="3" name="Content Placeholder 2">
            <a:extLst>
              <a:ext uri="{FF2B5EF4-FFF2-40B4-BE49-F238E27FC236}">
                <a16:creationId xmlns:a16="http://schemas.microsoft.com/office/drawing/2014/main" id="{66248853-FEDB-F382-F7F7-17F4E52D4E52}"/>
              </a:ext>
            </a:extLst>
          </p:cNvPr>
          <p:cNvSpPr>
            <a:spLocks noGrp="1"/>
          </p:cNvSpPr>
          <p:nvPr>
            <p:ph sz="half" idx="1"/>
          </p:nvPr>
        </p:nvSpPr>
        <p:spPr/>
        <p:txBody>
          <a:bodyPr/>
          <a:lstStyle/>
          <a:p>
            <a:r>
              <a:rPr lang="en-US" dirty="0"/>
              <a:t>House Ways and Means Committee passage of rural health package: </a:t>
            </a:r>
          </a:p>
          <a:p>
            <a:pPr lvl="1"/>
            <a:r>
              <a:rPr lang="en-US" dirty="0"/>
              <a:t>Telehealth </a:t>
            </a:r>
          </a:p>
          <a:p>
            <a:pPr lvl="1"/>
            <a:r>
              <a:rPr lang="en-US" dirty="0"/>
              <a:t>Medicare Extenders </a:t>
            </a:r>
          </a:p>
          <a:p>
            <a:pPr lvl="1"/>
            <a:r>
              <a:rPr lang="en-US" dirty="0"/>
              <a:t>Rural Emergency Hospitals </a:t>
            </a:r>
          </a:p>
          <a:p>
            <a:pPr lvl="1"/>
            <a:r>
              <a:rPr lang="en-US" dirty="0"/>
              <a:t>GME </a:t>
            </a:r>
          </a:p>
          <a:p>
            <a:pPr lvl="1"/>
            <a:r>
              <a:rPr lang="en-US" dirty="0"/>
              <a:t>CAH Ambulance payment </a:t>
            </a:r>
          </a:p>
          <a:p>
            <a:pPr lvl="1"/>
            <a:r>
              <a:rPr lang="en-US" dirty="0"/>
              <a:t>Rural Hospital Stabilization </a:t>
            </a:r>
          </a:p>
        </p:txBody>
      </p:sp>
      <p:sp>
        <p:nvSpPr>
          <p:cNvPr id="4" name="Content Placeholder 3">
            <a:extLst>
              <a:ext uri="{FF2B5EF4-FFF2-40B4-BE49-F238E27FC236}">
                <a16:creationId xmlns:a16="http://schemas.microsoft.com/office/drawing/2014/main" id="{CE5432D2-837C-7896-D20A-0C1726B13CE9}"/>
              </a:ext>
            </a:extLst>
          </p:cNvPr>
          <p:cNvSpPr>
            <a:spLocks noGrp="1"/>
          </p:cNvSpPr>
          <p:nvPr>
            <p:ph sz="half" idx="2"/>
          </p:nvPr>
        </p:nvSpPr>
        <p:spPr/>
        <p:txBody>
          <a:bodyPr/>
          <a:lstStyle/>
          <a:p>
            <a:r>
              <a:rPr lang="en-US" dirty="0"/>
              <a:t>Senate Finance Committee Hearing on Rural Health Care: </a:t>
            </a:r>
          </a:p>
          <a:p>
            <a:pPr lvl="1"/>
            <a:r>
              <a:rPr lang="en-US" dirty="0"/>
              <a:t>Hospitals</a:t>
            </a:r>
          </a:p>
          <a:p>
            <a:pPr lvl="1"/>
            <a:r>
              <a:rPr lang="en-US" dirty="0"/>
              <a:t>Workforce, esp. GME </a:t>
            </a:r>
          </a:p>
          <a:p>
            <a:pPr lvl="1"/>
            <a:r>
              <a:rPr lang="en-US" dirty="0"/>
              <a:t>Telehealth </a:t>
            </a:r>
          </a:p>
          <a:p>
            <a:pPr lvl="1"/>
            <a:r>
              <a:rPr lang="en-US" dirty="0"/>
              <a:t>Disparities, esp. maternal care  </a:t>
            </a:r>
          </a:p>
        </p:txBody>
      </p:sp>
    </p:spTree>
    <p:extLst>
      <p:ext uri="{BB962C8B-B14F-4D97-AF65-F5344CB8AC3E}">
        <p14:creationId xmlns:p14="http://schemas.microsoft.com/office/powerpoint/2010/main" val="37375265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127C1-39A6-7DBA-2663-303AC939E69E}"/>
              </a:ext>
            </a:extLst>
          </p:cNvPr>
          <p:cNvSpPr>
            <a:spLocks noGrp="1"/>
          </p:cNvSpPr>
          <p:nvPr>
            <p:ph type="title"/>
          </p:nvPr>
        </p:nvSpPr>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2024 Farm Bill</a:t>
            </a:r>
          </a:p>
        </p:txBody>
      </p:sp>
      <p:sp>
        <p:nvSpPr>
          <p:cNvPr id="3" name="Content Placeholder 2">
            <a:extLst>
              <a:ext uri="{FF2B5EF4-FFF2-40B4-BE49-F238E27FC236}">
                <a16:creationId xmlns:a16="http://schemas.microsoft.com/office/drawing/2014/main" id="{8555FD19-503F-97D4-57D1-A2964736CD03}"/>
              </a:ext>
            </a:extLst>
          </p:cNvPr>
          <p:cNvSpPr>
            <a:spLocks noGrp="1"/>
          </p:cNvSpPr>
          <p:nvPr>
            <p:ph idx="1"/>
          </p:nvPr>
        </p:nvSpPr>
        <p:spPr>
          <a:xfrm>
            <a:off x="838200" y="1690688"/>
            <a:ext cx="10515600" cy="4486275"/>
          </a:xfrm>
        </p:spPr>
        <p:txBody>
          <a:bodyPr>
            <a:normAutofit fontScale="92500" lnSpcReduction="10000"/>
          </a:bodyPr>
          <a:lstStyle/>
          <a:p>
            <a:r>
              <a:rPr lang="en-US" dirty="0"/>
              <a:t>House Agriculture majority introduced bill, the </a:t>
            </a:r>
            <a:r>
              <a:rPr lang="en-US" b="1" dirty="0">
                <a:hlinkClick r:id="rId2"/>
              </a:rPr>
              <a:t>Farm, Food, and National Security Act</a:t>
            </a:r>
            <a:r>
              <a:rPr lang="en-US" dirty="0"/>
              <a:t>.</a:t>
            </a:r>
          </a:p>
          <a:p>
            <a:r>
              <a:rPr lang="en-US" dirty="0"/>
              <a:t>NRHA </a:t>
            </a:r>
            <a:r>
              <a:rPr lang="en-US" b="1" dirty="0">
                <a:hlinkClick r:id="rId3"/>
              </a:rPr>
              <a:t>summary</a:t>
            </a:r>
            <a:endParaRPr lang="en-US" b="1" dirty="0"/>
          </a:p>
          <a:p>
            <a:r>
              <a:rPr lang="en-US" dirty="0"/>
              <a:t>Markup held May 23, 2024</a:t>
            </a:r>
          </a:p>
          <a:p>
            <a:r>
              <a:rPr lang="en-US" dirty="0"/>
              <a:t>Passed out of Committee by 33-21 vote </a:t>
            </a:r>
          </a:p>
          <a:p>
            <a:r>
              <a:rPr lang="en-US" dirty="0"/>
              <a:t>Includes:</a:t>
            </a:r>
          </a:p>
          <a:p>
            <a:pPr lvl="1"/>
            <a:r>
              <a:rPr lang="en-US" dirty="0"/>
              <a:t>Rural Hospital Technical Assistance Program Act</a:t>
            </a:r>
          </a:p>
          <a:p>
            <a:pPr lvl="1"/>
            <a:r>
              <a:rPr lang="en-US" dirty="0"/>
              <a:t>Rural Healthcare Facilities Stabilization Act</a:t>
            </a:r>
          </a:p>
          <a:p>
            <a:pPr lvl="1"/>
            <a:r>
              <a:rPr lang="en-US" dirty="0"/>
              <a:t>Expanding Childcare in Rural America Act</a:t>
            </a:r>
          </a:p>
          <a:p>
            <a:pPr lvl="1"/>
            <a:r>
              <a:rPr lang="en-US" dirty="0"/>
              <a:t>Combines </a:t>
            </a:r>
            <a:r>
              <a:rPr lang="en-US" dirty="0" err="1"/>
              <a:t>ReConnect</a:t>
            </a:r>
            <a:r>
              <a:rPr lang="en-US" dirty="0"/>
              <a:t> Program and Rural Broadband Program into one </a:t>
            </a:r>
          </a:p>
          <a:p>
            <a:pPr lvl="1"/>
            <a:r>
              <a:rPr lang="en-US" dirty="0"/>
              <a:t>Reauthorizes Farm and Ranch Stress Assistance Network</a:t>
            </a:r>
          </a:p>
        </p:txBody>
      </p:sp>
    </p:spTree>
    <p:extLst>
      <p:ext uri="{BB962C8B-B14F-4D97-AF65-F5344CB8AC3E}">
        <p14:creationId xmlns:p14="http://schemas.microsoft.com/office/powerpoint/2010/main" val="39961129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127C1-39A6-7DBA-2663-303AC939E69E}"/>
              </a:ext>
            </a:extLst>
          </p:cNvPr>
          <p:cNvSpPr>
            <a:spLocks noGrp="1"/>
          </p:cNvSpPr>
          <p:nvPr>
            <p:ph type="title"/>
          </p:nvPr>
        </p:nvSpPr>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2024 Farm Bill</a:t>
            </a:r>
          </a:p>
        </p:txBody>
      </p:sp>
      <p:sp>
        <p:nvSpPr>
          <p:cNvPr id="3" name="Content Placeholder 2">
            <a:extLst>
              <a:ext uri="{FF2B5EF4-FFF2-40B4-BE49-F238E27FC236}">
                <a16:creationId xmlns:a16="http://schemas.microsoft.com/office/drawing/2014/main" id="{8555FD19-503F-97D4-57D1-A2964736CD03}"/>
              </a:ext>
            </a:extLst>
          </p:cNvPr>
          <p:cNvSpPr>
            <a:spLocks noGrp="1"/>
          </p:cNvSpPr>
          <p:nvPr>
            <p:ph idx="1"/>
          </p:nvPr>
        </p:nvSpPr>
        <p:spPr>
          <a:xfrm>
            <a:off x="446567" y="1690688"/>
            <a:ext cx="11429999" cy="4699479"/>
          </a:xfrm>
        </p:spPr>
        <p:txBody>
          <a:bodyPr>
            <a:normAutofit fontScale="92500" lnSpcReduction="20000"/>
          </a:bodyPr>
          <a:lstStyle/>
          <a:p>
            <a:r>
              <a:rPr lang="en-US"/>
              <a:t>Senate Agriculture majority </a:t>
            </a:r>
            <a:r>
              <a:rPr lang="en-US" b="1">
                <a:hlinkClick r:id="rId2"/>
              </a:rPr>
              <a:t>outline</a:t>
            </a:r>
            <a:r>
              <a:rPr lang="en-US"/>
              <a:t> of Rural Prosperity and Food Security Act released. No bill text or markup scheduled</a:t>
            </a:r>
          </a:p>
          <a:p>
            <a:r>
              <a:rPr lang="en-US"/>
              <a:t>NRHA </a:t>
            </a:r>
            <a:r>
              <a:rPr lang="en-US" b="1">
                <a:hlinkClick r:id="rId3"/>
              </a:rPr>
              <a:t>summary</a:t>
            </a:r>
            <a:endParaRPr lang="en-US" b="1"/>
          </a:p>
          <a:p>
            <a:r>
              <a:rPr lang="en-US"/>
              <a:t>Major differences between current House and Senate versions will need to be reconciled</a:t>
            </a:r>
          </a:p>
          <a:p>
            <a:r>
              <a:rPr lang="en-US"/>
              <a:t>Includes:	</a:t>
            </a:r>
          </a:p>
          <a:p>
            <a:pPr lvl="1"/>
            <a:r>
              <a:rPr lang="en-US"/>
              <a:t>$50 million in mandatory funding for RD title, $200 million mandatory funding for Community Facilities program</a:t>
            </a:r>
          </a:p>
          <a:p>
            <a:pPr lvl="1"/>
            <a:r>
              <a:rPr lang="en-US"/>
              <a:t>Rural Partnership Program Grants for public and private partnerships. Rural healthcare facilities would be eligible grantees</a:t>
            </a:r>
          </a:p>
          <a:p>
            <a:pPr lvl="1"/>
            <a:r>
              <a:rPr lang="en-US"/>
              <a:t>Reauthorizes </a:t>
            </a:r>
            <a:r>
              <a:rPr lang="en-US" err="1"/>
              <a:t>ReConnect</a:t>
            </a:r>
            <a:r>
              <a:rPr lang="en-US"/>
              <a:t>, Community Connect Grant, Distance Learning and Telemedicine Programs</a:t>
            </a:r>
          </a:p>
          <a:p>
            <a:pPr lvl="1"/>
            <a:r>
              <a:rPr lang="en-US"/>
              <a:t>Expanding Childcare in Rural America Act</a:t>
            </a:r>
          </a:p>
          <a:p>
            <a:pPr lvl="1"/>
            <a:r>
              <a:rPr lang="en-US"/>
              <a:t>Reauthorizes Farm and Ranch Stress Assistance Network at $15 million/year</a:t>
            </a:r>
          </a:p>
          <a:p>
            <a:pPr lvl="1"/>
            <a:endParaRPr lang="en-US"/>
          </a:p>
          <a:p>
            <a:pPr lvl="1"/>
            <a:endParaRPr lang="en-US"/>
          </a:p>
        </p:txBody>
      </p:sp>
    </p:spTree>
    <p:extLst>
      <p:ext uri="{BB962C8B-B14F-4D97-AF65-F5344CB8AC3E}">
        <p14:creationId xmlns:p14="http://schemas.microsoft.com/office/powerpoint/2010/main" val="38498631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F3F326-8F7D-5996-7DCB-1234EDBEB06F}"/>
              </a:ext>
            </a:extLst>
          </p:cNvPr>
          <p:cNvSpPr>
            <a:spLocks noGrp="1"/>
          </p:cNvSpPr>
          <p:nvPr>
            <p:ph type="title"/>
          </p:nvPr>
        </p:nvSpPr>
        <p:spPr>
          <a:xfrm>
            <a:off x="838199" y="173739"/>
            <a:ext cx="10515600" cy="1325563"/>
          </a:xfrm>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340B Reform Policy Principles</a:t>
            </a:r>
          </a:p>
        </p:txBody>
      </p:sp>
      <p:sp>
        <p:nvSpPr>
          <p:cNvPr id="3" name="Content Placeholder 2">
            <a:extLst>
              <a:ext uri="{FF2B5EF4-FFF2-40B4-BE49-F238E27FC236}">
                <a16:creationId xmlns:a16="http://schemas.microsoft.com/office/drawing/2014/main" id="{1CC8BD6C-D0A0-BCD2-F320-01402066F639}"/>
              </a:ext>
            </a:extLst>
          </p:cNvPr>
          <p:cNvSpPr>
            <a:spLocks noGrp="1"/>
          </p:cNvSpPr>
          <p:nvPr>
            <p:ph idx="1"/>
          </p:nvPr>
        </p:nvSpPr>
        <p:spPr>
          <a:xfrm>
            <a:off x="666207" y="1404256"/>
            <a:ext cx="11220994" cy="5280005"/>
          </a:xfrm>
        </p:spPr>
        <p:txBody>
          <a:bodyPr vert="horz" lIns="91440" tIns="45720" rIns="91440" bIns="45720" rtlCol="0" anchor="t">
            <a:normAutofit fontScale="92500" lnSpcReduction="10000"/>
          </a:bodyPr>
          <a:lstStyle/>
          <a:p>
            <a:pPr>
              <a:lnSpc>
                <a:spcPct val="110000"/>
              </a:lnSpc>
            </a:pPr>
            <a:r>
              <a:rPr lang="en-US" sz="3000" dirty="0">
                <a:cs typeface="Arial"/>
              </a:rPr>
              <a:t>NRHA </a:t>
            </a:r>
            <a:r>
              <a:rPr lang="en-US" sz="3000" b="1" dirty="0">
                <a:cs typeface="Arial"/>
                <a:hlinkClick r:id="rId3">
                  <a:extLst>
                    <a:ext uri="{A12FA001-AC4F-418D-AE19-62706E023703}">
                      <ahyp:hlinkClr xmlns:ahyp="http://schemas.microsoft.com/office/drawing/2018/hyperlinkcolor" val="tx"/>
                    </a:ext>
                  </a:extLst>
                </a:hlinkClick>
              </a:rPr>
              <a:t>340B Reform Policy Principles document</a:t>
            </a:r>
            <a:endParaRPr lang="en-US" sz="3000" dirty="0">
              <a:cs typeface="Arial"/>
            </a:endParaRPr>
          </a:p>
          <a:p>
            <a:pPr lvl="1">
              <a:lnSpc>
                <a:spcPct val="110000"/>
              </a:lnSpc>
            </a:pPr>
            <a:r>
              <a:rPr lang="en-US" sz="2600" dirty="0">
                <a:cs typeface="Arial"/>
              </a:rPr>
              <a:t>Unlimited and unrestricted use of contract pharmacies.</a:t>
            </a:r>
          </a:p>
          <a:p>
            <a:pPr lvl="1">
              <a:lnSpc>
                <a:spcPct val="110000"/>
              </a:lnSpc>
            </a:pPr>
            <a:r>
              <a:rPr lang="en-US" sz="2600" dirty="0">
                <a:cs typeface="Arial"/>
              </a:rPr>
              <a:t>No PBM, payer, manufacturer discrimination.</a:t>
            </a:r>
          </a:p>
          <a:p>
            <a:pPr lvl="1">
              <a:lnSpc>
                <a:spcPct val="110000"/>
              </a:lnSpc>
            </a:pPr>
            <a:r>
              <a:rPr lang="en-US" sz="2600" dirty="0">
                <a:cs typeface="Arial"/>
              </a:rPr>
              <a:t>End of orphan drug exclusion for CAHs, SCHs, and RRCs.</a:t>
            </a:r>
          </a:p>
          <a:p>
            <a:pPr lvl="1">
              <a:lnSpc>
                <a:spcPct val="110000"/>
              </a:lnSpc>
            </a:pPr>
            <a:r>
              <a:rPr lang="en-US" sz="2600" dirty="0">
                <a:cs typeface="Arial"/>
              </a:rPr>
              <a:t>Maintaining child site access.</a:t>
            </a:r>
          </a:p>
          <a:p>
            <a:pPr lvl="1">
              <a:lnSpc>
                <a:spcPct val="110000"/>
              </a:lnSpc>
            </a:pPr>
            <a:r>
              <a:rPr lang="en-US" sz="2600" dirty="0">
                <a:cs typeface="Arial"/>
              </a:rPr>
              <a:t>No more reporting burdens.</a:t>
            </a:r>
          </a:p>
          <a:p>
            <a:pPr lvl="1">
              <a:lnSpc>
                <a:spcPct val="110000"/>
              </a:lnSpc>
            </a:pPr>
            <a:r>
              <a:rPr lang="en-US" sz="2600" dirty="0">
                <a:cs typeface="Arial"/>
              </a:rPr>
              <a:t>Codifying HRSA’s 1996 patient definition + telehealth.</a:t>
            </a:r>
          </a:p>
          <a:p>
            <a:pPr>
              <a:lnSpc>
                <a:spcPct val="110000"/>
              </a:lnSpc>
            </a:pPr>
            <a:r>
              <a:rPr lang="en-US" sz="3200" dirty="0">
                <a:cs typeface="Arial"/>
              </a:rPr>
              <a:t>Legislative efforts:</a:t>
            </a:r>
          </a:p>
          <a:p>
            <a:pPr lvl="1">
              <a:lnSpc>
                <a:spcPct val="110000"/>
              </a:lnSpc>
            </a:pPr>
            <a:r>
              <a:rPr lang="en-US" sz="2600" dirty="0">
                <a:cs typeface="Arial"/>
              </a:rPr>
              <a:t>Pass H.R. 2534 PROTECT 340B Act.</a:t>
            </a:r>
          </a:p>
          <a:p>
            <a:pPr lvl="1">
              <a:lnSpc>
                <a:spcPct val="110000"/>
              </a:lnSpc>
            </a:pPr>
            <a:r>
              <a:rPr lang="en-US" sz="2600" dirty="0">
                <a:cs typeface="Arial"/>
              </a:rPr>
              <a:t>Protect contract pharmacy arrangements.</a:t>
            </a:r>
          </a:p>
          <a:p>
            <a:pPr lvl="1">
              <a:lnSpc>
                <a:spcPct val="110000"/>
              </a:lnSpc>
            </a:pPr>
            <a:r>
              <a:rPr lang="en-US" sz="2600" dirty="0">
                <a:cs typeface="Arial"/>
              </a:rPr>
              <a:t>DSH waiver extension – letter to </a:t>
            </a:r>
            <a:r>
              <a:rPr lang="en-US" sz="2600" dirty="0">
                <a:cs typeface="Arial"/>
                <a:hlinkClick r:id="rId4"/>
              </a:rPr>
              <a:t>Senate</a:t>
            </a:r>
            <a:r>
              <a:rPr lang="en-US" sz="2600" dirty="0">
                <a:cs typeface="Arial"/>
              </a:rPr>
              <a:t> and </a:t>
            </a:r>
            <a:r>
              <a:rPr lang="en-US" sz="2600" dirty="0">
                <a:cs typeface="Arial"/>
                <a:hlinkClick r:id="rId5"/>
              </a:rPr>
              <a:t>House</a:t>
            </a:r>
            <a:r>
              <a:rPr lang="en-US" sz="2600" dirty="0">
                <a:cs typeface="Arial"/>
              </a:rPr>
              <a:t> leadership</a:t>
            </a:r>
          </a:p>
        </p:txBody>
      </p:sp>
    </p:spTree>
    <p:extLst>
      <p:ext uri="{BB962C8B-B14F-4D97-AF65-F5344CB8AC3E}">
        <p14:creationId xmlns:p14="http://schemas.microsoft.com/office/powerpoint/2010/main" val="19840185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9BC236B-9CE5-4355-B122-DB3DDDDDDA75}"/>
              </a:ext>
            </a:extLst>
          </p:cNvPr>
          <p:cNvSpPr>
            <a:spLocks noGrp="1"/>
          </p:cNvSpPr>
          <p:nvPr>
            <p:ph type="title"/>
          </p:nvPr>
        </p:nvSpPr>
        <p:spPr>
          <a:xfrm>
            <a:off x="838200" y="365126"/>
            <a:ext cx="10515600" cy="1084952"/>
          </a:xfrm>
        </p:spPr>
        <p:txBody>
          <a:bodyPr>
            <a:normAutofit/>
          </a:bodyPr>
          <a:lstStyle/>
          <a:p>
            <a:r>
              <a:rPr lang="en-US" sz="4400" b="1">
                <a:latin typeface="Open Sans" panose="020B0606030504020204" pitchFamily="34" charset="0"/>
                <a:ea typeface="Open Sans" panose="020B0606030504020204" pitchFamily="34" charset="0"/>
                <a:cs typeface="Open Sans" panose="020B0606030504020204" pitchFamily="34" charset="0"/>
              </a:rPr>
              <a:t>What We Fight for on Behalf of Rural </a:t>
            </a: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2" name="Content Placeholder 1">
            <a:extLst>
              <a:ext uri="{FF2B5EF4-FFF2-40B4-BE49-F238E27FC236}">
                <a16:creationId xmlns:a16="http://schemas.microsoft.com/office/drawing/2014/main" id="{E2F052E6-1BF1-40A4-BD9E-B3EB9143A209}"/>
              </a:ext>
            </a:extLst>
          </p:cNvPr>
          <p:cNvSpPr>
            <a:spLocks noGrp="1"/>
          </p:cNvSpPr>
          <p:nvPr>
            <p:ph sz="half" idx="1"/>
          </p:nvPr>
        </p:nvSpPr>
        <p:spPr>
          <a:xfrm>
            <a:off x="838200" y="1650721"/>
            <a:ext cx="4428067" cy="4351338"/>
          </a:xfrm>
        </p:spPr>
        <p:txBody>
          <a:bodyPr vert="horz" lIns="91440" tIns="45720" rIns="91440" bIns="45720" rtlCol="0" anchor="t">
            <a:noAutofit/>
          </a:bodyPr>
          <a:lstStyle/>
          <a:p>
            <a:pPr>
              <a:spcBef>
                <a:spcPts val="2400"/>
              </a:spcBef>
            </a:pPr>
            <a:r>
              <a:rPr lang="en-US" dirty="0"/>
              <a:t>Addressing Rural Declining Life Expectancy and Inequality </a:t>
            </a:r>
          </a:p>
          <a:p>
            <a:pPr>
              <a:spcBef>
                <a:spcPts val="2400"/>
              </a:spcBef>
            </a:pPr>
            <a:r>
              <a:rPr lang="en-US" dirty="0"/>
              <a:t>Investing in a Strong Rural Health Safety Net </a:t>
            </a:r>
          </a:p>
          <a:p>
            <a:pPr>
              <a:spcBef>
                <a:spcPts val="2400"/>
              </a:spcBef>
            </a:pPr>
            <a:r>
              <a:rPr lang="en-US" dirty="0"/>
              <a:t>Reducing Rural Healthcare Workforce Shortages </a:t>
            </a:r>
          </a:p>
        </p:txBody>
      </p:sp>
      <p:sp>
        <p:nvSpPr>
          <p:cNvPr id="3" name="Content Placeholder 2">
            <a:extLst>
              <a:ext uri="{FF2B5EF4-FFF2-40B4-BE49-F238E27FC236}">
                <a16:creationId xmlns:a16="http://schemas.microsoft.com/office/drawing/2014/main" id="{4E2ECAB1-AE2C-4306-974A-DC349C46338D}"/>
              </a:ext>
            </a:extLst>
          </p:cNvPr>
          <p:cNvSpPr>
            <a:spLocks noGrp="1"/>
          </p:cNvSpPr>
          <p:nvPr>
            <p:ph sz="half" idx="2"/>
          </p:nvPr>
        </p:nvSpPr>
        <p:spPr/>
        <p:txBody>
          <a:bodyPr>
            <a:normAutofit fontScale="92500" lnSpcReduction="10000"/>
          </a:bodyPr>
          <a:lstStyle/>
          <a:p>
            <a:pPr marL="571500" indent="-571500">
              <a:spcBef>
                <a:spcPts val="1800"/>
              </a:spcBef>
              <a:buFont typeface="Arial" panose="020B0604020202020204" pitchFamily="34" charset="0"/>
              <a:buChar char="•"/>
            </a:pPr>
            <a:r>
              <a:rPr lang="en-US" sz="3600">
                <a:solidFill>
                  <a:srgbClr val="003F72"/>
                </a:solidFill>
                <a:ea typeface="+mn-lt"/>
                <a:cs typeface="+mn-lt"/>
              </a:rPr>
              <a:t>Addressing Rural Declining Life Expectancy and Inequality </a:t>
            </a:r>
          </a:p>
          <a:p>
            <a:pPr marL="571500" indent="-571500">
              <a:spcBef>
                <a:spcPts val="1800"/>
              </a:spcBef>
              <a:buFont typeface="Arial" panose="020B0604020202020204" pitchFamily="34" charset="0"/>
              <a:buChar char="•"/>
            </a:pPr>
            <a:r>
              <a:rPr lang="en-US" sz="3600">
                <a:solidFill>
                  <a:srgbClr val="003F72"/>
                </a:solidFill>
                <a:ea typeface="+mn-lt"/>
                <a:cs typeface="+mn-lt"/>
              </a:rPr>
              <a:t>Reducing Rural Healthcare Workforce Shortages </a:t>
            </a:r>
          </a:p>
          <a:p>
            <a:pPr marL="571500" indent="-571500">
              <a:spcBef>
                <a:spcPts val="1800"/>
              </a:spcBef>
              <a:buFont typeface="Arial" panose="020B0604020202020204" pitchFamily="34" charset="0"/>
              <a:buChar char="•"/>
            </a:pPr>
            <a:r>
              <a:rPr lang="en-US" sz="3600">
                <a:solidFill>
                  <a:srgbClr val="003F72"/>
                </a:solidFill>
                <a:ea typeface="+mn-lt"/>
                <a:cs typeface="+mn-lt"/>
              </a:rPr>
              <a:t>Invest in a Strong Rural Health Safety Net  </a:t>
            </a:r>
          </a:p>
          <a:p>
            <a:endParaRPr lang="en-US"/>
          </a:p>
          <a:p>
            <a:endParaRPr lang="en-US"/>
          </a:p>
        </p:txBody>
      </p:sp>
      <p:pic>
        <p:nvPicPr>
          <p:cNvPr id="5" name="Content Placeholder 10">
            <a:extLst>
              <a:ext uri="{FF2B5EF4-FFF2-40B4-BE49-F238E27FC236}">
                <a16:creationId xmlns:a16="http://schemas.microsoft.com/office/drawing/2014/main" id="{4789C2EE-DE8A-CBE6-86C3-1784398A020F}"/>
              </a:ext>
            </a:extLst>
          </p:cNvPr>
          <p:cNvPicPr>
            <a:picLocks noChangeAspect="1"/>
          </p:cNvPicPr>
          <p:nvPr/>
        </p:nvPicPr>
        <p:blipFill>
          <a:blip r:embed="rId3"/>
          <a:stretch>
            <a:fillRect/>
          </a:stretch>
        </p:blipFill>
        <p:spPr>
          <a:xfrm>
            <a:off x="5266267" y="1650722"/>
            <a:ext cx="6527006" cy="4351337"/>
          </a:xfrm>
          <a:prstGeom prst="rect">
            <a:avLst/>
          </a:prstGeom>
        </p:spPr>
      </p:pic>
    </p:spTree>
    <p:extLst>
      <p:ext uri="{BB962C8B-B14F-4D97-AF65-F5344CB8AC3E}">
        <p14:creationId xmlns:p14="http://schemas.microsoft.com/office/powerpoint/2010/main" val="29111640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D7154-4CB8-5371-A305-97C33454A4A3}"/>
              </a:ext>
            </a:extLst>
          </p:cNvPr>
          <p:cNvSpPr>
            <a:spLocks noGrp="1"/>
          </p:cNvSpPr>
          <p:nvPr>
            <p:ph type="title"/>
          </p:nvPr>
        </p:nvSpPr>
        <p:spPr>
          <a:xfrm>
            <a:off x="597568" y="-3843"/>
            <a:ext cx="10515600" cy="1325563"/>
          </a:xfrm>
        </p:spPr>
        <p:txBody>
          <a:bodyPr/>
          <a:lstStyle/>
          <a:p>
            <a:r>
              <a:rPr lang="en-US" b="1" dirty="0"/>
              <a:t>Rural Obstetric Readiness Act</a:t>
            </a:r>
          </a:p>
        </p:txBody>
      </p:sp>
      <p:sp>
        <p:nvSpPr>
          <p:cNvPr id="3" name="Content Placeholder 2">
            <a:extLst>
              <a:ext uri="{FF2B5EF4-FFF2-40B4-BE49-F238E27FC236}">
                <a16:creationId xmlns:a16="http://schemas.microsoft.com/office/drawing/2014/main" id="{89D64CED-3CAD-5EE1-33BC-58F8C3CA3FC5}"/>
              </a:ext>
            </a:extLst>
          </p:cNvPr>
          <p:cNvSpPr>
            <a:spLocks noGrp="1"/>
          </p:cNvSpPr>
          <p:nvPr>
            <p:ph idx="1"/>
          </p:nvPr>
        </p:nvSpPr>
        <p:spPr>
          <a:xfrm>
            <a:off x="336884" y="1520825"/>
            <a:ext cx="11518232" cy="4972050"/>
          </a:xfrm>
        </p:spPr>
        <p:txBody>
          <a:bodyPr>
            <a:normAutofit/>
          </a:bodyPr>
          <a:lstStyle/>
          <a:p>
            <a:r>
              <a:rPr lang="en-US" dirty="0"/>
              <a:t>Introduced April 3, 2024 by Sens. Hassan, Collins, Britt and Smith</a:t>
            </a:r>
          </a:p>
          <a:p>
            <a:r>
              <a:rPr lang="en-US" dirty="0"/>
              <a:t>Creates training programs to help non-specialists respond to emergencies like labor and delivery</a:t>
            </a:r>
          </a:p>
          <a:p>
            <a:r>
              <a:rPr lang="en-US" dirty="0"/>
              <a:t>Providing federal grants for rural facilities to buy better equipment to train for and handle these emergencies</a:t>
            </a:r>
          </a:p>
          <a:p>
            <a:r>
              <a:rPr lang="en-US" dirty="0"/>
              <a:t>Develop a pilot program for teleconsultation services, so that a doctor at a rural facility helping an expecting or postpartum mother facing an emergency can quickly consult with maternal health care experts</a:t>
            </a:r>
          </a:p>
          <a:p>
            <a:r>
              <a:rPr lang="en-US" dirty="0">
                <a:hlinkClick r:id="rId2"/>
              </a:rPr>
              <a:t>Press release </a:t>
            </a:r>
            <a:r>
              <a:rPr lang="en-US" dirty="0"/>
              <a:t>from Sen. Hassan’s office</a:t>
            </a:r>
          </a:p>
        </p:txBody>
      </p:sp>
    </p:spTree>
    <p:extLst>
      <p:ext uri="{BB962C8B-B14F-4D97-AF65-F5344CB8AC3E}">
        <p14:creationId xmlns:p14="http://schemas.microsoft.com/office/powerpoint/2010/main" val="28775172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8C92EE-4CFF-0A46-9ABF-BB4D91B5CB08}"/>
              </a:ext>
            </a:extLst>
          </p:cNvPr>
          <p:cNvSpPr>
            <a:spLocks noGrp="1"/>
          </p:cNvSpPr>
          <p:nvPr>
            <p:ph idx="1"/>
          </p:nvPr>
        </p:nvSpPr>
        <p:spPr>
          <a:xfrm>
            <a:off x="399689" y="1141612"/>
            <a:ext cx="11392617" cy="5140945"/>
          </a:xfrm>
        </p:spPr>
        <p:txBody>
          <a:bodyPr vert="horz" lIns="91440" tIns="45720" rIns="91440" bIns="45720" rtlCol="0" anchor="t">
            <a:noAutofit/>
          </a:bodyPr>
          <a:lstStyle/>
          <a:p>
            <a:pPr>
              <a:lnSpc>
                <a:spcPct val="100000"/>
              </a:lnSpc>
              <a:spcBef>
                <a:spcPts val="0"/>
              </a:spcBef>
              <a:spcAft>
                <a:spcPts val="600"/>
              </a:spcAft>
            </a:pPr>
            <a:r>
              <a:rPr lang="en-US" sz="2400" b="1" dirty="0">
                <a:cs typeface="Angsana New"/>
              </a:rPr>
              <a:t>RHC Modernization Policies</a:t>
            </a:r>
          </a:p>
          <a:p>
            <a:pPr lvl="1">
              <a:lnSpc>
                <a:spcPct val="100000"/>
              </a:lnSpc>
              <a:spcBef>
                <a:spcPts val="0"/>
              </a:spcBef>
              <a:spcAft>
                <a:spcPts val="600"/>
              </a:spcAft>
            </a:pPr>
            <a:r>
              <a:rPr lang="en-US" dirty="0">
                <a:cs typeface="Angsana New"/>
              </a:rPr>
              <a:t>S. 198/H.R. 3730: </a:t>
            </a:r>
            <a:r>
              <a:rPr lang="en-US" b="1" dirty="0">
                <a:cs typeface="Angsana New"/>
              </a:rPr>
              <a:t>Rural Health Clinic Burden Reduction Act</a:t>
            </a:r>
            <a:r>
              <a:rPr lang="en-US" dirty="0">
                <a:cs typeface="Angsana New"/>
              </a:rPr>
              <a:t>. Removes laboratory requirements, modernizing physician, PA and NP utilization requirements, and a fix for the "urbanized area" Census </a:t>
            </a:r>
            <a:r>
              <a:rPr lang="en-US" dirty="0" err="1">
                <a:cs typeface="Angsana New"/>
              </a:rPr>
              <a:t>Bureauterm</a:t>
            </a:r>
            <a:r>
              <a:rPr lang="en-US" dirty="0">
                <a:cs typeface="Angsana New"/>
              </a:rPr>
              <a:t>.</a:t>
            </a:r>
          </a:p>
          <a:p>
            <a:pPr>
              <a:lnSpc>
                <a:spcPct val="100000"/>
              </a:lnSpc>
              <a:spcBef>
                <a:spcPts val="1200"/>
              </a:spcBef>
              <a:spcAft>
                <a:spcPts val="600"/>
              </a:spcAft>
            </a:pPr>
            <a:r>
              <a:rPr lang="en-US" sz="2400" b="1" dirty="0">
                <a:cs typeface="Angsana New"/>
              </a:rPr>
              <a:t>RHC Telehealth</a:t>
            </a:r>
          </a:p>
          <a:p>
            <a:pPr lvl="1">
              <a:lnSpc>
                <a:spcPct val="100000"/>
              </a:lnSpc>
              <a:spcBef>
                <a:spcPts val="0"/>
              </a:spcBef>
              <a:spcAft>
                <a:spcPts val="600"/>
              </a:spcAft>
            </a:pPr>
            <a:r>
              <a:rPr lang="en-US" dirty="0">
                <a:cs typeface="Angsana New"/>
              </a:rPr>
              <a:t>S. 2016/H.R. 4189: </a:t>
            </a:r>
            <a:r>
              <a:rPr lang="en-US" b="1" dirty="0">
                <a:cs typeface="Angsana New"/>
              </a:rPr>
              <a:t>CONNECT for Health Act</a:t>
            </a:r>
            <a:r>
              <a:rPr lang="en-US" dirty="0">
                <a:cs typeface="Angsana New"/>
              </a:rPr>
              <a:t> includes RHCs as permanent distant site providers and payment parity.</a:t>
            </a:r>
          </a:p>
          <a:p>
            <a:pPr>
              <a:lnSpc>
                <a:spcPct val="100000"/>
              </a:lnSpc>
              <a:spcBef>
                <a:spcPts val="1200"/>
              </a:spcBef>
              <a:spcAft>
                <a:spcPts val="600"/>
              </a:spcAft>
            </a:pPr>
            <a:r>
              <a:rPr lang="en-US" sz="2400" b="1" dirty="0">
                <a:cs typeface="Angsana New"/>
              </a:rPr>
              <a:t>Provider-Based RHCs</a:t>
            </a:r>
          </a:p>
          <a:p>
            <a:pPr lvl="1">
              <a:lnSpc>
                <a:spcPct val="100000"/>
              </a:lnSpc>
              <a:spcBef>
                <a:spcPts val="0"/>
              </a:spcBef>
              <a:spcAft>
                <a:spcPts val="600"/>
              </a:spcAft>
            </a:pPr>
            <a:r>
              <a:rPr lang="en-US" dirty="0">
                <a:cs typeface="Angsana New"/>
              </a:rPr>
              <a:t>NRHA is working to find a long-term fix to address challenges that came about through passage of Section 130 of the Consolidated Appropriations Act, 2021.</a:t>
            </a:r>
          </a:p>
        </p:txBody>
      </p:sp>
      <p:sp>
        <p:nvSpPr>
          <p:cNvPr id="2" name="Title 1">
            <a:extLst>
              <a:ext uri="{FF2B5EF4-FFF2-40B4-BE49-F238E27FC236}">
                <a16:creationId xmlns:a16="http://schemas.microsoft.com/office/drawing/2014/main" id="{C81F8CE2-BE1C-48AB-B770-E3ED69910C5A}"/>
              </a:ext>
            </a:extLst>
          </p:cNvPr>
          <p:cNvSpPr txBox="1">
            <a:spLocks/>
          </p:cNvSpPr>
          <p:nvPr/>
        </p:nvSpPr>
        <p:spPr>
          <a:xfrm>
            <a:off x="838198" y="146274"/>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3A4972"/>
                </a:solidFill>
                <a:effectLst/>
                <a:uLnTx/>
                <a:uFillTx/>
                <a:latin typeface="Open Sans"/>
                <a:ea typeface="Cambria"/>
                <a:cs typeface="Open Sans"/>
              </a:rPr>
              <a:t>Focus on Rural Health Clinics</a:t>
            </a:r>
            <a:endParaRPr kumimoji="0" lang="en-US" sz="4400" b="0" i="0" u="none" strike="noStrike" kern="1200" cap="none" spc="0" normalizeH="0" baseline="0" noProof="0" dirty="0">
              <a:ln>
                <a:noFill/>
              </a:ln>
              <a:solidFill>
                <a:srgbClr val="3A4972"/>
              </a:solidFill>
              <a:effectLst/>
              <a:uLnTx/>
              <a:uFillTx/>
              <a:latin typeface="Arial" panose="020B0604020202020204"/>
              <a:ea typeface="+mj-ea"/>
              <a:cs typeface="+mj-cs"/>
            </a:endParaRPr>
          </a:p>
        </p:txBody>
      </p:sp>
    </p:spTree>
    <p:extLst>
      <p:ext uri="{BB962C8B-B14F-4D97-AF65-F5344CB8AC3E}">
        <p14:creationId xmlns:p14="http://schemas.microsoft.com/office/powerpoint/2010/main" val="27105276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E5210-16A9-D66C-EA29-D261890EEC2F}"/>
              </a:ext>
            </a:extLst>
          </p:cNvPr>
          <p:cNvSpPr>
            <a:spLocks noGrp="1"/>
          </p:cNvSpPr>
          <p:nvPr>
            <p:ph type="title"/>
          </p:nvPr>
        </p:nvSpPr>
        <p:spPr>
          <a:xfrm>
            <a:off x="293915" y="681037"/>
            <a:ext cx="10515600" cy="1325563"/>
          </a:xfrm>
        </p:spPr>
        <p:txBody>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b="1" dirty="0"/>
              <a:t>	</a:t>
            </a:r>
            <a:r>
              <a:rPr kumimoji="0" lang="en-US" sz="4000" b="1" i="0" u="none" strike="noStrike" kern="1200" cap="none" spc="0" normalizeH="0" baseline="0" noProof="0" dirty="0">
                <a:ln>
                  <a:noFill/>
                </a:ln>
                <a:solidFill>
                  <a:srgbClr val="3A4972"/>
                </a:solidFill>
                <a:effectLst/>
                <a:uLnTx/>
                <a:uFillTx/>
                <a:latin typeface="Open Sans"/>
                <a:ea typeface="Cambria"/>
                <a:cs typeface="Open Sans"/>
              </a:rPr>
              <a:t>Focus on Critical Access Hospitals</a:t>
            </a:r>
            <a:br>
              <a:rPr kumimoji="0" lang="en-US" sz="4400" b="0" i="0" u="none" strike="noStrike" kern="1200" cap="none" spc="0" normalizeH="0" baseline="0" noProof="0" dirty="0">
                <a:ln>
                  <a:noFill/>
                </a:ln>
                <a:solidFill>
                  <a:srgbClr val="3A4972"/>
                </a:solidFill>
                <a:effectLst/>
                <a:uLnTx/>
                <a:uFillTx/>
                <a:latin typeface="Arial" panose="020B0604020202020204"/>
                <a:ea typeface="+mn-ea"/>
                <a:cs typeface="+mn-cs"/>
              </a:rPr>
            </a:br>
            <a:endParaRPr lang="en-US" b="1" dirty="0"/>
          </a:p>
        </p:txBody>
      </p:sp>
      <p:sp>
        <p:nvSpPr>
          <p:cNvPr id="3" name="Content Placeholder 2">
            <a:extLst>
              <a:ext uri="{FF2B5EF4-FFF2-40B4-BE49-F238E27FC236}">
                <a16:creationId xmlns:a16="http://schemas.microsoft.com/office/drawing/2014/main" id="{FC9F7244-FA2A-C31F-7913-5F749CDB3303}"/>
              </a:ext>
            </a:extLst>
          </p:cNvPr>
          <p:cNvSpPr>
            <a:spLocks noGrp="1"/>
          </p:cNvSpPr>
          <p:nvPr>
            <p:ph idx="1"/>
          </p:nvPr>
        </p:nvSpPr>
        <p:spPr/>
        <p:txBody>
          <a:bodyPr/>
          <a:lstStyle/>
          <a:p>
            <a:r>
              <a:rPr lang="en-US" dirty="0"/>
              <a:t>96-hour average length of stay</a:t>
            </a:r>
          </a:p>
          <a:p>
            <a:pPr lvl="1"/>
            <a:r>
              <a:rPr lang="en-US" dirty="0"/>
              <a:t>Longer waits for tertiary transfer</a:t>
            </a:r>
          </a:p>
          <a:p>
            <a:pPr lvl="1"/>
            <a:r>
              <a:rPr lang="en-US" dirty="0"/>
              <a:t>PAC placement more difficult due to staffing shortages</a:t>
            </a:r>
          </a:p>
          <a:p>
            <a:pPr lvl="1"/>
            <a:r>
              <a:rPr lang="en-US" dirty="0"/>
              <a:t>Increased Obs. Status by commercial insurance/Medicaid MCOs</a:t>
            </a:r>
          </a:p>
          <a:p>
            <a:pPr lvl="1"/>
            <a:r>
              <a:rPr lang="en-US" dirty="0"/>
              <a:t>Solutions:</a:t>
            </a:r>
          </a:p>
          <a:p>
            <a:pPr lvl="2"/>
            <a:r>
              <a:rPr lang="en-US" dirty="0"/>
              <a:t>Remove requirement altogether</a:t>
            </a:r>
          </a:p>
          <a:p>
            <a:pPr lvl="2"/>
            <a:r>
              <a:rPr lang="en-US" dirty="0"/>
              <a:t>Raise the average to 120 hours, for example</a:t>
            </a:r>
          </a:p>
          <a:p>
            <a:pPr lvl="2"/>
            <a:r>
              <a:rPr lang="en-US" dirty="0"/>
              <a:t>Other ideas? </a:t>
            </a:r>
          </a:p>
          <a:p>
            <a:r>
              <a:rPr lang="en-US" dirty="0"/>
              <a:t>72-hour qualifying length of stay for Swing Bed placement</a:t>
            </a:r>
          </a:p>
          <a:p>
            <a:pPr lvl="1"/>
            <a:r>
              <a:rPr lang="en-US" dirty="0"/>
              <a:t>Solution: Remove requirement altogether or lower the threshold to 36 hours, for example. Other?</a:t>
            </a:r>
          </a:p>
          <a:p>
            <a:endParaRPr lang="en-US" dirty="0"/>
          </a:p>
        </p:txBody>
      </p:sp>
    </p:spTree>
    <p:extLst>
      <p:ext uri="{BB962C8B-B14F-4D97-AF65-F5344CB8AC3E}">
        <p14:creationId xmlns:p14="http://schemas.microsoft.com/office/powerpoint/2010/main" val="38597353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F3F326-8F7D-5996-7DCB-1234EDBEB06F}"/>
              </a:ext>
            </a:extLst>
          </p:cNvPr>
          <p:cNvSpPr>
            <a:spLocks noGrp="1"/>
          </p:cNvSpPr>
          <p:nvPr>
            <p:ph type="title"/>
          </p:nvPr>
        </p:nvSpPr>
        <p:spPr>
          <a:xfrm>
            <a:off x="838199" y="173739"/>
            <a:ext cx="10515600" cy="1325563"/>
          </a:xfrm>
        </p:spPr>
        <p:txBody>
          <a:body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Rural Emergency Hospital 2.0 legislation</a:t>
            </a:r>
          </a:p>
        </p:txBody>
      </p:sp>
      <p:sp>
        <p:nvSpPr>
          <p:cNvPr id="3" name="Content Placeholder 2">
            <a:extLst>
              <a:ext uri="{FF2B5EF4-FFF2-40B4-BE49-F238E27FC236}">
                <a16:creationId xmlns:a16="http://schemas.microsoft.com/office/drawing/2014/main" id="{1CC8BD6C-D0A0-BCD2-F320-01402066F639}"/>
              </a:ext>
            </a:extLst>
          </p:cNvPr>
          <p:cNvSpPr>
            <a:spLocks noGrp="1"/>
          </p:cNvSpPr>
          <p:nvPr>
            <p:ph idx="1"/>
          </p:nvPr>
        </p:nvSpPr>
        <p:spPr>
          <a:xfrm>
            <a:off x="666207" y="1499302"/>
            <a:ext cx="11220994" cy="5280005"/>
          </a:xfrm>
        </p:spPr>
        <p:txBody>
          <a:bodyPr vert="horz" lIns="91440" tIns="45720" rIns="91440" bIns="45720" rtlCol="0" anchor="t">
            <a:normAutofit/>
          </a:bodyPr>
          <a:lstStyle/>
          <a:p>
            <a:r>
              <a:rPr lang="en-US" sz="2400" dirty="0">
                <a:latin typeface="Arial" panose="020B0604020202020204"/>
                <a:cs typeface="Arial"/>
              </a:rPr>
              <a:t>Potential changes to the program: </a:t>
            </a:r>
            <a:endParaRPr lang="en-US" sz="2400" dirty="0">
              <a:latin typeface="Arial" panose="020B0604020202020204"/>
              <a:cs typeface="Arial"/>
              <a:hlinkClick r:id="rId3">
                <a:extLst>
                  <a:ext uri="{A12FA001-AC4F-418D-AE19-62706E023703}">
                    <ahyp:hlinkClr xmlns:ahyp="http://schemas.microsoft.com/office/drawing/2018/hyperlinkcolor" val="tx"/>
                  </a:ext>
                </a:extLst>
              </a:hlinkClick>
            </a:endParaRPr>
          </a:p>
          <a:p>
            <a:pPr lvl="1">
              <a:lnSpc>
                <a:spcPct val="110000"/>
              </a:lnSpc>
            </a:pPr>
            <a:r>
              <a:rPr lang="en-US" sz="2200" dirty="0">
                <a:cs typeface="Arial"/>
              </a:rPr>
              <a:t>340B eligibility </a:t>
            </a:r>
          </a:p>
          <a:p>
            <a:pPr lvl="1">
              <a:lnSpc>
                <a:spcPct val="110000"/>
              </a:lnSpc>
            </a:pPr>
            <a:r>
              <a:rPr lang="en-US" sz="2200" dirty="0">
                <a:cs typeface="Arial"/>
              </a:rPr>
              <a:t>Allowing of swing beds to retain access to post-acute care </a:t>
            </a:r>
          </a:p>
          <a:p>
            <a:pPr lvl="1">
              <a:lnSpc>
                <a:spcPct val="110000"/>
              </a:lnSpc>
            </a:pPr>
            <a:r>
              <a:rPr lang="en-US" sz="2200" dirty="0">
                <a:cs typeface="Arial"/>
              </a:rPr>
              <a:t>Authorizing psychiatric and rehabilitation distinct part units </a:t>
            </a:r>
          </a:p>
          <a:p>
            <a:pPr lvl="1">
              <a:lnSpc>
                <a:spcPct val="110000"/>
              </a:lnSpc>
            </a:pPr>
            <a:r>
              <a:rPr lang="en-US" sz="2200" dirty="0">
                <a:cs typeface="Arial"/>
              </a:rPr>
              <a:t>5% add on to apply to non-OPPS services paid under the Clinical Laboratory Fee Schedule and Physician Fee Schedule services. </a:t>
            </a:r>
          </a:p>
          <a:p>
            <a:pPr lvl="1">
              <a:lnSpc>
                <a:spcPct val="110000"/>
              </a:lnSpc>
            </a:pPr>
            <a:r>
              <a:rPr lang="en-US" sz="2200" dirty="0">
                <a:cs typeface="Arial"/>
              </a:rPr>
              <a:t>Hospitals that closed prior to December 27, 2020, should be eligible to convert to an REH.</a:t>
            </a:r>
          </a:p>
          <a:p>
            <a:pPr lvl="1">
              <a:lnSpc>
                <a:spcPct val="110000"/>
              </a:lnSpc>
            </a:pPr>
            <a:r>
              <a:rPr lang="en-US" sz="2200" dirty="0">
                <a:cs typeface="Arial"/>
              </a:rPr>
              <a:t>Hospitals that are designated as rural by their state but did not have an active reclassification under 42 C.F.R. § 412.103 by December 27, 2020. </a:t>
            </a:r>
          </a:p>
          <a:p>
            <a:pPr lvl="1">
              <a:lnSpc>
                <a:spcPct val="110000"/>
              </a:lnSpc>
            </a:pPr>
            <a:r>
              <a:rPr lang="en-US" sz="2200" dirty="0">
                <a:cs typeface="Arial"/>
              </a:rPr>
              <a:t>Ability to revert back to NP CAH status. </a:t>
            </a:r>
          </a:p>
          <a:p>
            <a:pPr lvl="1">
              <a:lnSpc>
                <a:spcPct val="110000"/>
              </a:lnSpc>
            </a:pPr>
            <a:endParaRPr lang="en-US" sz="2200" dirty="0">
              <a:cs typeface="Arial"/>
            </a:endParaRPr>
          </a:p>
        </p:txBody>
      </p:sp>
    </p:spTree>
    <p:extLst>
      <p:ext uri="{BB962C8B-B14F-4D97-AF65-F5344CB8AC3E}">
        <p14:creationId xmlns:p14="http://schemas.microsoft.com/office/powerpoint/2010/main" val="18415067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08731-408F-401D-BA9C-77C9D9A83F29}"/>
              </a:ext>
            </a:extLst>
          </p:cNvPr>
          <p:cNvSpPr>
            <a:spLocks noGrp="1"/>
          </p:cNvSpPr>
          <p:nvPr>
            <p:ph type="ctrTitle"/>
          </p:nvPr>
        </p:nvSpPr>
        <p:spPr>
          <a:xfrm>
            <a:off x="904068" y="1662193"/>
            <a:ext cx="10383864" cy="1766807"/>
          </a:xfrm>
        </p:spPr>
        <p:txBody>
          <a:bodyPr>
            <a:normAutofit/>
          </a:bodyPr>
          <a:lstStyle/>
          <a:p>
            <a:r>
              <a:rPr lang="en-US" sz="6000" b="1" dirty="0">
                <a:latin typeface="Open Sans" panose="020B0606030504020204" pitchFamily="34" charset="0"/>
                <a:ea typeface="Open Sans" panose="020B0606030504020204" pitchFamily="34" charset="0"/>
                <a:cs typeface="Open Sans" panose="020B0606030504020204" pitchFamily="34" charset="0"/>
              </a:rPr>
              <a:t>Innovation</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135908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F3F326-8F7D-5996-7DCB-1234EDBEB06F}"/>
              </a:ext>
            </a:extLst>
          </p:cNvPr>
          <p:cNvSpPr>
            <a:spLocks noGrp="1"/>
          </p:cNvSpPr>
          <p:nvPr>
            <p:ph type="title"/>
          </p:nvPr>
        </p:nvSpPr>
        <p:spPr>
          <a:xfrm>
            <a:off x="0" y="0"/>
            <a:ext cx="10515600" cy="1325563"/>
          </a:xfrm>
        </p:spPr>
        <p:txBody>
          <a:body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CMS Updates </a:t>
            </a:r>
            <a:r>
              <a:rPr lang="en-US" b="1" dirty="0">
                <a:latin typeface="Open Sans" panose="020B0606030504020204" pitchFamily="34" charset="0"/>
                <a:ea typeface="Open Sans" panose="020B0606030504020204" pitchFamily="34" charset="0"/>
                <a:cs typeface="Open Sans" panose="020B0606030504020204" pitchFamily="34" charset="0"/>
                <a:hlinkClick r:id="rId3"/>
              </a:rPr>
              <a:t>Quality</a:t>
            </a:r>
            <a:r>
              <a:rPr lang="en-US" b="1" dirty="0">
                <a:latin typeface="Open Sans" panose="020B0606030504020204" pitchFamily="34" charset="0"/>
                <a:ea typeface="Open Sans" panose="020B0606030504020204" pitchFamily="34" charset="0"/>
                <a:cs typeface="Open Sans" panose="020B0606030504020204" pitchFamily="34" charset="0"/>
              </a:rPr>
              <a:t> and </a:t>
            </a:r>
            <a:r>
              <a:rPr lang="en-US" b="1" dirty="0">
                <a:latin typeface="Open Sans" panose="020B0606030504020204" pitchFamily="34" charset="0"/>
                <a:ea typeface="Open Sans" panose="020B0606030504020204" pitchFamily="34" charset="0"/>
                <a:cs typeface="Open Sans" panose="020B0606030504020204" pitchFamily="34" charset="0"/>
                <a:hlinkClick r:id="rId4"/>
              </a:rPr>
              <a:t>VBC Specialty Care Strategies</a:t>
            </a:r>
            <a:endParaRPr lang="en-US" b="1"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Content Placeholder 6">
            <a:extLst>
              <a:ext uri="{FF2B5EF4-FFF2-40B4-BE49-F238E27FC236}">
                <a16:creationId xmlns:a16="http://schemas.microsoft.com/office/drawing/2014/main" id="{AEF9C814-0E9A-903C-0580-0DA55EA5F7A8}"/>
              </a:ext>
            </a:extLst>
          </p:cNvPr>
          <p:cNvSpPr>
            <a:spLocks noGrp="1"/>
          </p:cNvSpPr>
          <p:nvPr>
            <p:ph idx="1"/>
          </p:nvPr>
        </p:nvSpPr>
        <p:spPr>
          <a:xfrm>
            <a:off x="208547" y="1825625"/>
            <a:ext cx="11983453" cy="4351338"/>
          </a:xfrm>
        </p:spPr>
        <p:txBody>
          <a:bodyPr>
            <a:normAutofit lnSpcReduction="10000"/>
          </a:bodyPr>
          <a:lstStyle/>
          <a:p>
            <a:r>
              <a:rPr lang="en-US" dirty="0"/>
              <a:t>Launched week of April 1: a new quality pathway to evaluate patient-centered quality goals in design and evaluation of APMs.</a:t>
            </a:r>
          </a:p>
          <a:p>
            <a:r>
              <a:rPr lang="en-US" dirty="0"/>
              <a:t>CMMIs Specialty Care Strategy:</a:t>
            </a:r>
          </a:p>
          <a:p>
            <a:pPr lvl="1"/>
            <a:r>
              <a:rPr lang="en-US" dirty="0"/>
              <a:t>Data transparency</a:t>
            </a:r>
          </a:p>
          <a:p>
            <a:pPr lvl="1"/>
            <a:r>
              <a:rPr lang="en-US" dirty="0"/>
              <a:t>Continued episodic payment models</a:t>
            </a:r>
          </a:p>
          <a:p>
            <a:pPr lvl="1"/>
            <a:r>
              <a:rPr lang="en-US" dirty="0"/>
              <a:t>Financial incentives for primary care and specialist coordination and engagement</a:t>
            </a:r>
          </a:p>
          <a:p>
            <a:pPr lvl="1"/>
            <a:r>
              <a:rPr lang="en-US" dirty="0"/>
              <a:t>Provision of “shadow bundles” data</a:t>
            </a:r>
          </a:p>
          <a:p>
            <a:pPr lvl="1"/>
            <a:r>
              <a:rPr lang="en-US" dirty="0"/>
              <a:t>Extension of BPCI Advanced Model </a:t>
            </a:r>
          </a:p>
          <a:p>
            <a:pPr lvl="1"/>
            <a:r>
              <a:rPr lang="en-US" dirty="0"/>
              <a:t>Specialist engagement incentives in MCP Model</a:t>
            </a:r>
          </a:p>
          <a:p>
            <a:r>
              <a:rPr lang="en-US" dirty="0"/>
              <a:t>CMMI signaling exploring options for embedding subpopulation targets within ACO models for high-volume or high-cost conditions. </a:t>
            </a:r>
          </a:p>
          <a:p>
            <a:endParaRPr lang="en-US" dirty="0"/>
          </a:p>
        </p:txBody>
      </p:sp>
    </p:spTree>
    <p:extLst>
      <p:ext uri="{BB962C8B-B14F-4D97-AF65-F5344CB8AC3E}">
        <p14:creationId xmlns:p14="http://schemas.microsoft.com/office/powerpoint/2010/main" val="32095261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FC0E6-C919-31CF-F6E9-2891EB784F03}"/>
              </a:ext>
            </a:extLst>
          </p:cNvPr>
          <p:cNvSpPr>
            <a:spLocks noGrp="1"/>
          </p:cNvSpPr>
          <p:nvPr>
            <p:ph type="title"/>
          </p:nvPr>
        </p:nvSpPr>
        <p:spPr/>
        <p:txBody>
          <a:bodyPr/>
          <a:lstStyle/>
          <a:p>
            <a:r>
              <a:rPr lang="en-US" b="1" dirty="0"/>
              <a:t>Transforming Maternal Health (TMaH)</a:t>
            </a:r>
          </a:p>
        </p:txBody>
      </p:sp>
      <p:sp>
        <p:nvSpPr>
          <p:cNvPr id="3" name="Content Placeholder 2">
            <a:extLst>
              <a:ext uri="{FF2B5EF4-FFF2-40B4-BE49-F238E27FC236}">
                <a16:creationId xmlns:a16="http://schemas.microsoft.com/office/drawing/2014/main" id="{3DE25ED1-D4CC-8A1A-CEED-7A5B69A02356}"/>
              </a:ext>
            </a:extLst>
          </p:cNvPr>
          <p:cNvSpPr>
            <a:spLocks noGrp="1"/>
          </p:cNvSpPr>
          <p:nvPr>
            <p:ph idx="1"/>
          </p:nvPr>
        </p:nvSpPr>
        <p:spPr/>
        <p:txBody>
          <a:bodyPr/>
          <a:lstStyle/>
          <a:p>
            <a:r>
              <a:rPr lang="en-US" dirty="0">
                <a:hlinkClick r:id="rId2"/>
              </a:rPr>
              <a:t>TMaH</a:t>
            </a:r>
            <a:r>
              <a:rPr lang="en-US" dirty="0"/>
              <a:t> is a new CMMI model designed to focus on improving maternal health care for people enrolled in Medicaid/CHIP</a:t>
            </a:r>
          </a:p>
          <a:p>
            <a:r>
              <a:rPr lang="en-US" dirty="0"/>
              <a:t>Model will focus on three main pillars:</a:t>
            </a:r>
          </a:p>
          <a:p>
            <a:pPr lvl="1"/>
            <a:r>
              <a:rPr lang="en-US" dirty="0"/>
              <a:t>Access to care, infrastructure, and workforce capacity</a:t>
            </a:r>
          </a:p>
          <a:p>
            <a:pPr lvl="1"/>
            <a:r>
              <a:rPr lang="en-US" dirty="0"/>
              <a:t>Quality improvement and safety</a:t>
            </a:r>
          </a:p>
          <a:p>
            <a:pPr lvl="1"/>
            <a:r>
              <a:rPr lang="en-US" dirty="0"/>
              <a:t>Whole-person care delivery</a:t>
            </a:r>
          </a:p>
          <a:p>
            <a:r>
              <a:rPr lang="en-US" dirty="0"/>
              <a:t>State </a:t>
            </a:r>
            <a:r>
              <a:rPr lang="en-US"/>
              <a:t>Medicaid Agency (SMA) </a:t>
            </a:r>
            <a:r>
              <a:rPr lang="en-US" dirty="0"/>
              <a:t>lead applicant</a:t>
            </a:r>
          </a:p>
          <a:p>
            <a:r>
              <a:rPr lang="en-US" dirty="0"/>
              <a:t>NRHA with CMMI TMaH leadership hosting a listening session on April 18, 2024, 12:30-1:30 pm ET. </a:t>
            </a:r>
            <a:r>
              <a:rPr lang="en-US" dirty="0">
                <a:hlinkClick r:id="rId3"/>
              </a:rPr>
              <a:t>Register here</a:t>
            </a:r>
            <a:endParaRPr lang="en-US" dirty="0"/>
          </a:p>
        </p:txBody>
      </p:sp>
    </p:spTree>
    <p:extLst>
      <p:ext uri="{BB962C8B-B14F-4D97-AF65-F5344CB8AC3E}">
        <p14:creationId xmlns:p14="http://schemas.microsoft.com/office/powerpoint/2010/main" val="31170311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F9908-80C2-A9D9-5377-D67D2F2F0B50}"/>
              </a:ext>
            </a:extLst>
          </p:cNvPr>
          <p:cNvSpPr>
            <a:spLocks noGrp="1"/>
          </p:cNvSpPr>
          <p:nvPr>
            <p:ph type="title"/>
          </p:nvPr>
        </p:nvSpPr>
        <p:spPr>
          <a:xfrm>
            <a:off x="777815" y="18255"/>
            <a:ext cx="10515600" cy="1325563"/>
          </a:xfrm>
        </p:spPr>
        <p:txBody>
          <a:bodyPr/>
          <a:lstStyle/>
          <a:p>
            <a:r>
              <a:rPr lang="en-US" b="1" dirty="0"/>
              <a:t>The ACO Primary Care Flex</a:t>
            </a:r>
          </a:p>
        </p:txBody>
      </p:sp>
      <p:sp>
        <p:nvSpPr>
          <p:cNvPr id="3" name="Content Placeholder 2">
            <a:extLst>
              <a:ext uri="{FF2B5EF4-FFF2-40B4-BE49-F238E27FC236}">
                <a16:creationId xmlns:a16="http://schemas.microsoft.com/office/drawing/2014/main" id="{DA6C3145-70EC-A763-71C0-9938AC781FC6}"/>
              </a:ext>
            </a:extLst>
          </p:cNvPr>
          <p:cNvSpPr>
            <a:spLocks noGrp="1"/>
          </p:cNvSpPr>
          <p:nvPr>
            <p:ph idx="1"/>
          </p:nvPr>
        </p:nvSpPr>
        <p:spPr>
          <a:xfrm>
            <a:off x="838200" y="1457864"/>
            <a:ext cx="10515600" cy="4719099"/>
          </a:xfrm>
        </p:spPr>
        <p:txBody>
          <a:bodyPr>
            <a:normAutofit fontScale="85000" lnSpcReduction="20000"/>
          </a:bodyPr>
          <a:lstStyle/>
          <a:p>
            <a:r>
              <a:rPr lang="en-US" dirty="0"/>
              <a:t>Released March 19, 2024, </a:t>
            </a:r>
            <a:r>
              <a:rPr lang="en-US" dirty="0">
                <a:hlinkClick r:id="rId2"/>
              </a:rPr>
              <a:t>CMS Infographic</a:t>
            </a:r>
            <a:endParaRPr lang="en-US" dirty="0"/>
          </a:p>
          <a:p>
            <a:r>
              <a:rPr lang="en-US" dirty="0">
                <a:hlinkClick r:id="rId3"/>
              </a:rPr>
              <a:t>Request for Applications </a:t>
            </a:r>
            <a:r>
              <a:rPr lang="en-US" dirty="0"/>
              <a:t>(RFA) portal opened May 30, 2024</a:t>
            </a:r>
          </a:p>
          <a:p>
            <a:r>
              <a:rPr lang="en-US" dirty="0"/>
              <a:t>Layers primary care capitation on top of the existing Medicare Shared Savings Program (MSSP)</a:t>
            </a:r>
          </a:p>
          <a:p>
            <a:r>
              <a:rPr lang="en-US" b="1" dirty="0"/>
              <a:t>New</a:t>
            </a:r>
            <a:r>
              <a:rPr lang="en-US" dirty="0"/>
              <a:t> </a:t>
            </a:r>
            <a:r>
              <a:rPr lang="en-US" dirty="0">
                <a:hlinkClick r:id="rId4"/>
              </a:rPr>
              <a:t>Shared Savings Program </a:t>
            </a:r>
            <a:r>
              <a:rPr lang="en-US" dirty="0"/>
              <a:t>deadline June 17, 2024</a:t>
            </a:r>
          </a:p>
          <a:p>
            <a:r>
              <a:rPr lang="en-US" dirty="0"/>
              <a:t>RHC and FQHCs are eligible</a:t>
            </a:r>
          </a:p>
          <a:p>
            <a:r>
              <a:rPr lang="en-US" dirty="0"/>
              <a:t>May not participate in both AIP and PC Flex</a:t>
            </a:r>
          </a:p>
          <a:p>
            <a:r>
              <a:rPr lang="en-US" dirty="0">
                <a:hlinkClick r:id="rId5"/>
              </a:rPr>
              <a:t>Webinar on PC Flex </a:t>
            </a:r>
            <a:r>
              <a:rPr lang="en-US" dirty="0"/>
              <a:t>June 6, 2024, 2:00 to 3:30 ET</a:t>
            </a:r>
          </a:p>
          <a:p>
            <a:r>
              <a:rPr lang="en-US" dirty="0"/>
              <a:t>Application deadline: August 1, 2024	Start Date: Jan. 1, 2025</a:t>
            </a:r>
          </a:p>
          <a:p>
            <a:r>
              <a:rPr lang="en-US" dirty="0"/>
              <a:t>Financial</a:t>
            </a:r>
          </a:p>
          <a:p>
            <a:pPr lvl="1"/>
            <a:r>
              <a:rPr lang="en-US" sz="2000" dirty="0"/>
              <a:t>One-Time Advanced Shared Savings Payment: All selected ACOs will receive an upfront Advanced Shared Savings Payment of $250,000 to support startup and infrastructure costs. </a:t>
            </a:r>
          </a:p>
          <a:p>
            <a:pPr lvl="1"/>
            <a:r>
              <a:rPr lang="en-US" sz="2000" dirty="0"/>
              <a:t>Monthly Prospective Primary Care Payments (PPCPs): This replaces the traditional fee-for-service payment system; ACOs will receive predictable monthly payments based on county-average primary care spending and specific patient population characteristics</a:t>
            </a:r>
          </a:p>
        </p:txBody>
      </p:sp>
    </p:spTree>
    <p:extLst>
      <p:ext uri="{BB962C8B-B14F-4D97-AF65-F5344CB8AC3E}">
        <p14:creationId xmlns:p14="http://schemas.microsoft.com/office/powerpoint/2010/main" val="30834979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08731-408F-401D-BA9C-77C9D9A83F29}"/>
              </a:ext>
            </a:extLst>
          </p:cNvPr>
          <p:cNvSpPr>
            <a:spLocks noGrp="1"/>
          </p:cNvSpPr>
          <p:nvPr>
            <p:ph type="title"/>
          </p:nvPr>
        </p:nvSpPr>
        <p:spPr/>
        <p:txBody>
          <a:bodyPr/>
          <a:lstStyle/>
          <a:p>
            <a:pPr algn="l"/>
            <a:r>
              <a:rPr lang="en-US" sz="6000" b="1" dirty="0">
                <a:latin typeface="Open Sans" panose="020B0606030504020204" pitchFamily="34" charset="0"/>
                <a:ea typeface="Open Sans" panose="020B0606030504020204" pitchFamily="34" charset="0"/>
                <a:cs typeface="Open Sans" panose="020B0606030504020204" pitchFamily="34" charset="0"/>
              </a:rPr>
              <a:t>Executive Branch </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49297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27A66B-7FCD-4CA2-0910-C40A5E71412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FDD307-148F-278D-3038-4375E9A12769}"/>
              </a:ext>
            </a:extLst>
          </p:cNvPr>
          <p:cNvSpPr>
            <a:spLocks noGrp="1"/>
          </p:cNvSpPr>
          <p:nvPr>
            <p:ph type="title"/>
          </p:nvPr>
        </p:nvSpPr>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Recent Activities</a:t>
            </a:r>
          </a:p>
        </p:txBody>
      </p:sp>
      <p:sp>
        <p:nvSpPr>
          <p:cNvPr id="3" name="Content Placeholder 2">
            <a:extLst>
              <a:ext uri="{FF2B5EF4-FFF2-40B4-BE49-F238E27FC236}">
                <a16:creationId xmlns:a16="http://schemas.microsoft.com/office/drawing/2014/main" id="{DF4288A2-C930-2AEE-1848-C2B735005A6F}"/>
              </a:ext>
            </a:extLst>
          </p:cNvPr>
          <p:cNvSpPr>
            <a:spLocks noGrp="1"/>
          </p:cNvSpPr>
          <p:nvPr>
            <p:ph idx="1"/>
          </p:nvPr>
        </p:nvSpPr>
        <p:spPr>
          <a:xfrm>
            <a:off x="510004" y="1700962"/>
            <a:ext cx="11376838" cy="4758130"/>
          </a:xfrm>
        </p:spPr>
        <p:txBody>
          <a:bodyPr>
            <a:normAutofit/>
          </a:bodyPr>
          <a:lstStyle/>
          <a:p>
            <a:r>
              <a:rPr lang="en-US" sz="3200"/>
              <a:t>Submitted response to CMS’ </a:t>
            </a:r>
            <a:r>
              <a:rPr lang="en-US" sz="3200" b="1">
                <a:hlinkClick r:id="rId2"/>
              </a:rPr>
              <a:t>Request for Information</a:t>
            </a:r>
            <a:r>
              <a:rPr lang="en-US" sz="3200" b="1"/>
              <a:t> </a:t>
            </a:r>
            <a:r>
              <a:rPr lang="en-US" sz="3200"/>
              <a:t>on Medicare Advantage Data</a:t>
            </a:r>
          </a:p>
          <a:p>
            <a:r>
              <a:rPr lang="en-US" sz="3200"/>
              <a:t>Submitted </a:t>
            </a:r>
            <a:r>
              <a:rPr lang="en-US" sz="3200" b="1">
                <a:hlinkClick r:id="rId3"/>
              </a:rPr>
              <a:t>comment</a:t>
            </a:r>
            <a:r>
              <a:rPr lang="en-US" sz="3200"/>
              <a:t> on </a:t>
            </a:r>
            <a:r>
              <a:rPr lang="en-US" sz="3200" b="1">
                <a:hlinkClick r:id="rId4"/>
              </a:rPr>
              <a:t>HRSA’s</a:t>
            </a:r>
            <a:r>
              <a:rPr lang="en-US" sz="3200"/>
              <a:t> Proposed Inclusion of Terrain Factors in Rural Definition </a:t>
            </a:r>
          </a:p>
          <a:p>
            <a:r>
              <a:rPr lang="en-US" sz="3200"/>
              <a:t>Submitted comment on CMS’ FY 2025 Skilled Nursing Facilities Prospective Payment System </a:t>
            </a:r>
            <a:r>
              <a:rPr lang="en-US" sz="3200" b="1">
                <a:hlinkClick r:id="rId5"/>
              </a:rPr>
              <a:t>proposed rule</a:t>
            </a:r>
            <a:endParaRPr lang="en-US" sz="3200" b="1"/>
          </a:p>
          <a:p>
            <a:endParaRPr lang="en-US" sz="3200" b="1"/>
          </a:p>
        </p:txBody>
      </p:sp>
    </p:spTree>
    <p:extLst>
      <p:ext uri="{BB962C8B-B14F-4D97-AF65-F5344CB8AC3E}">
        <p14:creationId xmlns:p14="http://schemas.microsoft.com/office/powerpoint/2010/main" val="28870610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5337FA-15EC-EC01-CB3C-5FF2DD58BA14}"/>
            </a:ext>
          </a:extLst>
        </p:cNvPr>
        <p:cNvGrpSpPr/>
        <p:nvPr/>
      </p:nvGrpSpPr>
      <p:grpSpPr>
        <a:xfrm>
          <a:off x="0" y="0"/>
          <a:ext cx="0" cy="0"/>
          <a:chOff x="0" y="0"/>
          <a:chExt cx="0" cy="0"/>
        </a:xfrm>
      </p:grpSpPr>
      <p:pic>
        <p:nvPicPr>
          <p:cNvPr id="1026" name="Picture 2" descr="One Year Out: An Election Preview ...">
            <a:extLst>
              <a:ext uri="{FF2B5EF4-FFF2-40B4-BE49-F238E27FC236}">
                <a16:creationId xmlns:a16="http://schemas.microsoft.com/office/drawing/2014/main" id="{FB66FD7F-108A-5667-4848-798CD0CD0A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496" y="480748"/>
            <a:ext cx="11793008" cy="58965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8287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8AC87C-0E60-AE90-7382-0A5CE9D2AFE4}"/>
              </a:ext>
            </a:extLst>
          </p:cNvPr>
          <p:cNvSpPr>
            <a:spLocks noGrp="1"/>
          </p:cNvSpPr>
          <p:nvPr>
            <p:ph type="title"/>
          </p:nvPr>
        </p:nvSpPr>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Current Activities</a:t>
            </a:r>
          </a:p>
        </p:txBody>
      </p:sp>
      <p:sp>
        <p:nvSpPr>
          <p:cNvPr id="3" name="Content Placeholder 2">
            <a:extLst>
              <a:ext uri="{FF2B5EF4-FFF2-40B4-BE49-F238E27FC236}">
                <a16:creationId xmlns:a16="http://schemas.microsoft.com/office/drawing/2014/main" id="{AAC1556D-10B9-98CE-4B8B-840D7DCE6C1D}"/>
              </a:ext>
            </a:extLst>
          </p:cNvPr>
          <p:cNvSpPr>
            <a:spLocks noGrp="1"/>
          </p:cNvSpPr>
          <p:nvPr>
            <p:ph idx="1"/>
          </p:nvPr>
        </p:nvSpPr>
        <p:spPr>
          <a:xfrm>
            <a:off x="838200" y="1570443"/>
            <a:ext cx="10515600" cy="4763711"/>
          </a:xfrm>
        </p:spPr>
        <p:txBody>
          <a:bodyPr vert="horz" lIns="91440" tIns="45720" rIns="91440" bIns="45720" rtlCol="0" anchor="t">
            <a:normAutofit lnSpcReduction="10000"/>
          </a:bodyPr>
          <a:lstStyle/>
          <a:p>
            <a:pPr marL="0" indent="0">
              <a:buNone/>
            </a:pPr>
            <a:r>
              <a:rPr lang="en-US" b="1">
                <a:cs typeface="Arial"/>
              </a:rPr>
              <a:t>FY 2025 Inpatient Prospective Payment System </a:t>
            </a:r>
            <a:r>
              <a:rPr lang="en-US" b="1">
                <a:cs typeface="Arial"/>
                <a:hlinkClick r:id="rId3"/>
              </a:rPr>
              <a:t>proposed rule</a:t>
            </a:r>
            <a:endParaRPr lang="en-US" b="1">
              <a:cs typeface="Arial"/>
            </a:endParaRPr>
          </a:p>
          <a:p>
            <a:r>
              <a:rPr lang="en-US">
                <a:cs typeface="Arial"/>
              </a:rPr>
              <a:t>Comments due </a:t>
            </a:r>
            <a:r>
              <a:rPr lang="en-US" b="1">
                <a:cs typeface="Arial"/>
              </a:rPr>
              <a:t>June 10, 2024</a:t>
            </a:r>
          </a:p>
          <a:p>
            <a:r>
              <a:rPr lang="en-US">
                <a:cs typeface="Arial"/>
              </a:rPr>
              <a:t>2.6% payment increase overall, 1.9% for rural hospitals</a:t>
            </a:r>
          </a:p>
          <a:p>
            <a:r>
              <a:rPr lang="en-US">
                <a:cs typeface="Arial"/>
              </a:rPr>
              <a:t>Separate IPPS payment for small hospitals to maintain buffer of essential medicines</a:t>
            </a:r>
          </a:p>
          <a:p>
            <a:r>
              <a:rPr lang="en-US">
                <a:cs typeface="Arial"/>
              </a:rPr>
              <a:t>Low wage index policy extended for 3 years</a:t>
            </a:r>
          </a:p>
          <a:p>
            <a:r>
              <a:rPr lang="en-US">
                <a:cs typeface="Arial"/>
              </a:rPr>
              <a:t>Distribution of 200 new GME slots, half to psychiatry</a:t>
            </a:r>
          </a:p>
          <a:p>
            <a:r>
              <a:rPr lang="en-US">
                <a:cs typeface="Arial"/>
              </a:rPr>
              <a:t>Clarifying definitions for new residency programs</a:t>
            </a:r>
          </a:p>
          <a:p>
            <a:r>
              <a:rPr lang="en-US">
                <a:cs typeface="Arial"/>
              </a:rPr>
              <a:t>TEAM model for coordinated, accountable care post-surgery</a:t>
            </a:r>
          </a:p>
        </p:txBody>
      </p:sp>
    </p:spTree>
    <p:extLst>
      <p:ext uri="{BB962C8B-B14F-4D97-AF65-F5344CB8AC3E}">
        <p14:creationId xmlns:p14="http://schemas.microsoft.com/office/powerpoint/2010/main" val="4288692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303D3-78B6-D345-43AE-50B44C3A252C}"/>
              </a:ext>
            </a:extLst>
          </p:cNvPr>
          <p:cNvSpPr>
            <a:spLocks noGrp="1"/>
          </p:cNvSpPr>
          <p:nvPr>
            <p:ph type="title"/>
          </p:nvPr>
        </p:nvSpPr>
        <p:spPr>
          <a:xfrm>
            <a:off x="838200" y="515951"/>
            <a:ext cx="10515600" cy="1325563"/>
          </a:xfrm>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Minimum Staffing Standards for LTC Facilities</a:t>
            </a:r>
            <a:endParaRPr lang="en-US" b="1">
              <a:solidFill>
                <a:srgbClr val="3A497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Content Placeholder 2">
            <a:extLst>
              <a:ext uri="{FF2B5EF4-FFF2-40B4-BE49-F238E27FC236}">
                <a16:creationId xmlns:a16="http://schemas.microsoft.com/office/drawing/2014/main" id="{4AB4D08D-0F10-47D7-B2F1-A51095E3015E}"/>
              </a:ext>
            </a:extLst>
          </p:cNvPr>
          <p:cNvSpPr>
            <a:spLocks noGrp="1"/>
          </p:cNvSpPr>
          <p:nvPr>
            <p:ph idx="1"/>
          </p:nvPr>
        </p:nvSpPr>
        <p:spPr>
          <a:xfrm>
            <a:off x="609601" y="1841514"/>
            <a:ext cx="10986654" cy="4351338"/>
          </a:xfrm>
        </p:spPr>
        <p:txBody>
          <a:bodyPr>
            <a:normAutofit lnSpcReduction="10000"/>
          </a:bodyPr>
          <a:lstStyle/>
          <a:p>
            <a:r>
              <a:rPr lang="en-US" sz="3200" dirty="0">
                <a:solidFill>
                  <a:srgbClr val="3A4972"/>
                </a:solidFill>
                <a:hlinkClick r:id="rId3"/>
              </a:rPr>
              <a:t>Final rule</a:t>
            </a:r>
            <a:r>
              <a:rPr lang="en-US" sz="3200" dirty="0">
                <a:solidFill>
                  <a:srgbClr val="3A4972"/>
                </a:solidFill>
              </a:rPr>
              <a:t> released April 22, 2024</a:t>
            </a:r>
          </a:p>
          <a:p>
            <a:r>
              <a:rPr lang="en-US" sz="3200" dirty="0"/>
              <a:t>2 main provisions for nursing homes/SNFs:</a:t>
            </a:r>
          </a:p>
          <a:p>
            <a:pPr lvl="1"/>
            <a:r>
              <a:rPr lang="en-US" sz="2800" dirty="0"/>
              <a:t>Must have RN on site 24/7</a:t>
            </a:r>
          </a:p>
          <a:p>
            <a:pPr lvl="2"/>
            <a:r>
              <a:rPr lang="en-US" sz="2400" dirty="0"/>
              <a:t>Rural facilities must comply by May 10, 2027</a:t>
            </a:r>
          </a:p>
          <a:p>
            <a:pPr lvl="1"/>
            <a:r>
              <a:rPr lang="en-US" sz="2800" dirty="0"/>
              <a:t>Must meet total nurse staffing ratio of 3.48 hours per resident day (HPRD), including 0.55 for RNs and 2.45 for nurse aides</a:t>
            </a:r>
          </a:p>
          <a:p>
            <a:pPr lvl="2"/>
            <a:r>
              <a:rPr lang="en-US" sz="2400" dirty="0"/>
              <a:t>Remaining 0.48 HPRD can be met with any nursing staff mix</a:t>
            </a:r>
          </a:p>
          <a:p>
            <a:pPr lvl="2"/>
            <a:r>
              <a:rPr lang="en-US" sz="2400" dirty="0"/>
              <a:t>Rural facilities must comply by May 10, 2028</a:t>
            </a:r>
          </a:p>
          <a:p>
            <a:r>
              <a:rPr lang="en-US" sz="3200" dirty="0"/>
              <a:t>For implementation phase-ins, CMS is using OMB definition of rural </a:t>
            </a:r>
            <a:endParaRPr lang="en-US" sz="3200" b="1" dirty="0"/>
          </a:p>
          <a:p>
            <a:endParaRPr lang="en-US" sz="3600" dirty="0"/>
          </a:p>
          <a:p>
            <a:pPr marL="0" indent="0">
              <a:buNone/>
            </a:pPr>
            <a:endParaRPr lang="en-US" sz="3200" b="1" dirty="0">
              <a:solidFill>
                <a:srgbClr val="3A4972"/>
              </a:solidFill>
            </a:endParaRPr>
          </a:p>
        </p:txBody>
      </p:sp>
    </p:spTree>
    <p:extLst>
      <p:ext uri="{BB962C8B-B14F-4D97-AF65-F5344CB8AC3E}">
        <p14:creationId xmlns:p14="http://schemas.microsoft.com/office/powerpoint/2010/main" val="24615900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303D3-78B6-D345-43AE-50B44C3A252C}"/>
              </a:ext>
            </a:extLst>
          </p:cNvPr>
          <p:cNvSpPr>
            <a:spLocks noGrp="1"/>
          </p:cNvSpPr>
          <p:nvPr>
            <p:ph type="title"/>
          </p:nvPr>
        </p:nvSpPr>
        <p:spPr>
          <a:xfrm>
            <a:off x="838200" y="610785"/>
            <a:ext cx="10515600" cy="1325563"/>
          </a:xfrm>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Minimum Staffing Standards for LTC Facilities</a:t>
            </a:r>
            <a:endParaRPr lang="en-US" b="1">
              <a:solidFill>
                <a:srgbClr val="3A497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Content Placeholder 2">
            <a:extLst>
              <a:ext uri="{FF2B5EF4-FFF2-40B4-BE49-F238E27FC236}">
                <a16:creationId xmlns:a16="http://schemas.microsoft.com/office/drawing/2014/main" id="{4AB4D08D-0F10-47D7-B2F1-A51095E3015E}"/>
              </a:ext>
            </a:extLst>
          </p:cNvPr>
          <p:cNvSpPr>
            <a:spLocks noGrp="1"/>
          </p:cNvSpPr>
          <p:nvPr>
            <p:ph idx="1"/>
          </p:nvPr>
        </p:nvSpPr>
        <p:spPr>
          <a:xfrm>
            <a:off x="838200" y="1936348"/>
            <a:ext cx="10515600" cy="4351338"/>
          </a:xfrm>
        </p:spPr>
        <p:txBody>
          <a:bodyPr>
            <a:normAutofit/>
          </a:bodyPr>
          <a:lstStyle/>
          <a:p>
            <a:r>
              <a:rPr lang="en-US" dirty="0"/>
              <a:t>Hardship exemption for HPRD and 24/7 RN requirement:</a:t>
            </a:r>
          </a:p>
          <a:p>
            <a:pPr lvl="1"/>
            <a:r>
              <a:rPr lang="en-US" dirty="0"/>
              <a:t>Active until next survey recertification, can be continually renewed if eligibility is met</a:t>
            </a:r>
          </a:p>
          <a:p>
            <a:pPr lvl="1"/>
            <a:r>
              <a:rPr lang="en-US" dirty="0"/>
              <a:t>Eligibility depends on location, documenting good faith effort to hire, financial commitment to hiring</a:t>
            </a:r>
          </a:p>
          <a:p>
            <a:r>
              <a:rPr lang="en-US" dirty="0"/>
              <a:t>Existing waiver (483.35(f)) for RN standards can also be used for 24/7 RN requirement, renewed annually:</a:t>
            </a:r>
          </a:p>
          <a:p>
            <a:pPr lvl="1"/>
            <a:r>
              <a:rPr lang="en-US" dirty="0"/>
              <a:t>For rural SNFs in area where SNF services do not meet demand, has RN on duty 40 hours/week</a:t>
            </a:r>
          </a:p>
          <a:p>
            <a:pPr lvl="1"/>
            <a:r>
              <a:rPr lang="en-US" dirty="0"/>
              <a:t>Patients do not need RN/physician for a 48-hours period or has RN/physician to provide care when regular RN is not on duty</a:t>
            </a:r>
          </a:p>
          <a:p>
            <a:pPr lvl="1"/>
            <a:endParaRPr lang="en-US" sz="2800" dirty="0"/>
          </a:p>
          <a:p>
            <a:pPr lvl="1"/>
            <a:endParaRPr lang="en-US" sz="2800" dirty="0"/>
          </a:p>
          <a:p>
            <a:endParaRPr lang="en-US" sz="3200" b="1" dirty="0"/>
          </a:p>
          <a:p>
            <a:endParaRPr lang="en-US" sz="3200" b="1" dirty="0">
              <a:solidFill>
                <a:srgbClr val="3A4972"/>
              </a:solidFill>
            </a:endParaRPr>
          </a:p>
        </p:txBody>
      </p:sp>
    </p:spTree>
    <p:extLst>
      <p:ext uri="{BB962C8B-B14F-4D97-AF65-F5344CB8AC3E}">
        <p14:creationId xmlns:p14="http://schemas.microsoft.com/office/powerpoint/2010/main" val="15943461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297735-3D35-8D01-94A7-4F38EB410C72}"/>
              </a:ext>
            </a:extLst>
          </p:cNvPr>
          <p:cNvSpPr>
            <a:spLocks noGrp="1"/>
          </p:cNvSpPr>
          <p:nvPr>
            <p:ph type="title"/>
          </p:nvPr>
        </p:nvSpPr>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Minimum Staffing Standards Update</a:t>
            </a:r>
          </a:p>
        </p:txBody>
      </p:sp>
      <p:sp>
        <p:nvSpPr>
          <p:cNvPr id="3" name="Content Placeholder 2">
            <a:extLst>
              <a:ext uri="{FF2B5EF4-FFF2-40B4-BE49-F238E27FC236}">
                <a16:creationId xmlns:a16="http://schemas.microsoft.com/office/drawing/2014/main" id="{848ECF77-E9E5-8C38-E714-12728F04ACF0}"/>
              </a:ext>
            </a:extLst>
          </p:cNvPr>
          <p:cNvSpPr>
            <a:spLocks noGrp="1"/>
          </p:cNvSpPr>
          <p:nvPr>
            <p:ph idx="1"/>
          </p:nvPr>
        </p:nvSpPr>
        <p:spPr/>
        <p:txBody>
          <a:bodyPr/>
          <a:lstStyle/>
          <a:p>
            <a:r>
              <a:rPr lang="en-US"/>
              <a:t>Congressional Review Act can be used by Congress/next Administration to overturn final rules</a:t>
            </a:r>
          </a:p>
          <a:p>
            <a:r>
              <a:rPr lang="en-US"/>
              <a:t>Reps. Fischbach and Pence introduced a </a:t>
            </a:r>
            <a:r>
              <a:rPr lang="en-US" b="1">
                <a:hlinkClick r:id="rId2"/>
              </a:rPr>
              <a:t>resolution</a:t>
            </a:r>
            <a:r>
              <a:rPr lang="en-US"/>
              <a:t> to begin the process to potentially block the final rule</a:t>
            </a:r>
          </a:p>
          <a:p>
            <a:r>
              <a:rPr lang="en-US"/>
              <a:t>Last week the American Health Care Association joined by the Texas Health Care Association (THCA) and several Texas long term care facilities </a:t>
            </a:r>
            <a:r>
              <a:rPr lang="en-US" b="1">
                <a:hlinkClick r:id="rId3"/>
              </a:rPr>
              <a:t>filed a lawsuit</a:t>
            </a:r>
            <a:r>
              <a:rPr lang="en-US"/>
              <a:t> against CMS to challenge the rule</a:t>
            </a:r>
          </a:p>
        </p:txBody>
      </p:sp>
    </p:spTree>
    <p:extLst>
      <p:ext uri="{BB962C8B-B14F-4D97-AF65-F5344CB8AC3E}">
        <p14:creationId xmlns:p14="http://schemas.microsoft.com/office/powerpoint/2010/main" val="3127598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08731-408F-401D-BA9C-77C9D9A83F29}"/>
              </a:ext>
            </a:extLst>
          </p:cNvPr>
          <p:cNvSpPr>
            <a:spLocks noGrp="1"/>
          </p:cNvSpPr>
          <p:nvPr>
            <p:ph type="title"/>
          </p:nvPr>
        </p:nvSpPr>
        <p:spPr/>
        <p:txBody>
          <a:bodyPr/>
          <a:lstStyle/>
          <a:p>
            <a:pPr algn="l"/>
            <a:r>
              <a:rPr lang="en-US" sz="6000" b="1">
                <a:latin typeface="Open Sans" panose="020B0606030504020204" pitchFamily="34" charset="0"/>
                <a:ea typeface="Open Sans" panose="020B0606030504020204" pitchFamily="34" charset="0"/>
                <a:cs typeface="Open Sans" panose="020B0606030504020204" pitchFamily="34" charset="0"/>
              </a:rPr>
              <a:t>Advocate With Us!</a:t>
            </a:r>
            <a:endParaRPr lang="en-US">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390119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F09B71-B42C-C18E-6D29-CF454DBB2B35}"/>
              </a:ext>
            </a:extLst>
          </p:cNvPr>
          <p:cNvSpPr>
            <a:spLocks noGrp="1"/>
          </p:cNvSpPr>
          <p:nvPr>
            <p:ph type="title"/>
          </p:nvPr>
        </p:nvSpPr>
        <p:spPr/>
        <p:txBody>
          <a:bodyPr/>
          <a:lstStyle/>
          <a:p>
            <a:pPr algn="ctr"/>
            <a:r>
              <a:rPr lang="en-US" b="1">
                <a:solidFill>
                  <a:srgbClr val="003C71"/>
                </a:solidFill>
                <a:latin typeface="Open Sans" panose="020B0606030504020204" pitchFamily="34" charset="0"/>
                <a:ea typeface="Open Sans" panose="020B0606030504020204" pitchFamily="34" charset="0"/>
                <a:cs typeface="Open Sans" panose="020B0606030504020204" pitchFamily="34" charset="0"/>
              </a:rPr>
              <a:t>House Rural Health Caucus</a:t>
            </a:r>
          </a:p>
        </p:txBody>
      </p:sp>
      <p:sp>
        <p:nvSpPr>
          <p:cNvPr id="3" name="Content Placeholder 2">
            <a:extLst>
              <a:ext uri="{FF2B5EF4-FFF2-40B4-BE49-F238E27FC236}">
                <a16:creationId xmlns:a16="http://schemas.microsoft.com/office/drawing/2014/main" id="{A49A6190-4D87-7989-8370-DD3D4CB253C5}"/>
              </a:ext>
            </a:extLst>
          </p:cNvPr>
          <p:cNvSpPr>
            <a:spLocks noGrp="1"/>
          </p:cNvSpPr>
          <p:nvPr>
            <p:ph sz="half" idx="1"/>
          </p:nvPr>
        </p:nvSpPr>
        <p:spPr>
          <a:xfrm>
            <a:off x="240086" y="2822713"/>
            <a:ext cx="7404463" cy="3836503"/>
          </a:xfrm>
        </p:spPr>
        <p:txBody>
          <a:bodyPr>
            <a:normAutofit fontScale="92500" lnSpcReduction="20000"/>
          </a:bodyPr>
          <a:lstStyle/>
          <a:p>
            <a:r>
              <a:rPr lang="en-US" sz="3200" dirty="0"/>
              <a:t>Officially relaunched last Fall!</a:t>
            </a:r>
          </a:p>
          <a:p>
            <a:r>
              <a:rPr lang="en-US" sz="3200" dirty="0"/>
              <a:t>Co-chaired by Reps. Tokuda (D-HI) and Harshbarger (R-TN).</a:t>
            </a:r>
          </a:p>
          <a:p>
            <a:r>
              <a:rPr lang="en-US" sz="3200" dirty="0"/>
              <a:t>52 bipartisan members and growing.</a:t>
            </a:r>
          </a:p>
          <a:p>
            <a:r>
              <a:rPr lang="en-US" sz="3200" dirty="0"/>
              <a:t>Working on briefing and event schedule for upcoming year.</a:t>
            </a:r>
          </a:p>
          <a:p>
            <a:r>
              <a:rPr lang="en-US" sz="3200" dirty="0">
                <a:hlinkClick r:id="rId3"/>
              </a:rPr>
              <a:t>Listing of current members</a:t>
            </a:r>
            <a:endParaRPr lang="en-US" sz="3200" dirty="0"/>
          </a:p>
          <a:p>
            <a:r>
              <a:rPr lang="en-US" sz="3200" dirty="0"/>
              <a:t>From Nebraska:</a:t>
            </a:r>
          </a:p>
          <a:p>
            <a:pPr lvl="1"/>
            <a:r>
              <a:rPr lang="en-US" sz="3500" b="0" i="0" dirty="0">
                <a:solidFill>
                  <a:srgbClr val="292929"/>
                </a:solidFill>
                <a:effectLst/>
                <a:highlight>
                  <a:srgbClr val="FFFFFF"/>
                </a:highlight>
                <a:latin typeface="charter"/>
              </a:rPr>
              <a:t>Adrian Smith (R-NE-03)</a:t>
            </a:r>
          </a:p>
          <a:p>
            <a:pPr lvl="1"/>
            <a:endParaRPr lang="en-US" sz="2800" dirty="0"/>
          </a:p>
          <a:p>
            <a:pPr lvl="1"/>
            <a:endParaRPr lang="en-US" sz="2800" dirty="0"/>
          </a:p>
        </p:txBody>
      </p:sp>
      <p:pic>
        <p:nvPicPr>
          <p:cNvPr id="6" name="Picture 5">
            <a:extLst>
              <a:ext uri="{FF2B5EF4-FFF2-40B4-BE49-F238E27FC236}">
                <a16:creationId xmlns:a16="http://schemas.microsoft.com/office/drawing/2014/main" id="{BD2E6B2A-E9E3-1E0A-0F9F-59EBFD8AE7D2}"/>
              </a:ext>
            </a:extLst>
          </p:cNvPr>
          <p:cNvPicPr>
            <a:picLocks noChangeAspect="1"/>
          </p:cNvPicPr>
          <p:nvPr/>
        </p:nvPicPr>
        <p:blipFill>
          <a:blip r:embed="rId4"/>
          <a:stretch>
            <a:fillRect/>
          </a:stretch>
        </p:blipFill>
        <p:spPr>
          <a:xfrm>
            <a:off x="7513289" y="2717800"/>
            <a:ext cx="4438625" cy="3160486"/>
          </a:xfrm>
          <a:prstGeom prst="rect">
            <a:avLst/>
          </a:prstGeom>
        </p:spPr>
      </p:pic>
      <p:pic>
        <p:nvPicPr>
          <p:cNvPr id="8" name="Picture 7">
            <a:extLst>
              <a:ext uri="{FF2B5EF4-FFF2-40B4-BE49-F238E27FC236}">
                <a16:creationId xmlns:a16="http://schemas.microsoft.com/office/drawing/2014/main" id="{AAADA8D8-A490-82DD-EA24-1B605452E153}"/>
              </a:ext>
            </a:extLst>
          </p:cNvPr>
          <p:cNvPicPr>
            <a:picLocks noChangeAspect="1"/>
          </p:cNvPicPr>
          <p:nvPr/>
        </p:nvPicPr>
        <p:blipFill>
          <a:blip r:embed="rId5"/>
          <a:stretch>
            <a:fillRect/>
          </a:stretch>
        </p:blipFill>
        <p:spPr>
          <a:xfrm>
            <a:off x="1344930" y="365125"/>
            <a:ext cx="8953500" cy="2352675"/>
          </a:xfrm>
          <a:prstGeom prst="rect">
            <a:avLst/>
          </a:prstGeom>
        </p:spPr>
      </p:pic>
    </p:spTree>
    <p:extLst>
      <p:ext uri="{BB962C8B-B14F-4D97-AF65-F5344CB8AC3E}">
        <p14:creationId xmlns:p14="http://schemas.microsoft.com/office/powerpoint/2010/main" val="26083717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4C626-0D0D-D864-A887-81F8D898BBC6}"/>
              </a:ext>
            </a:extLst>
          </p:cNvPr>
          <p:cNvSpPr>
            <a:spLocks noGrp="1"/>
          </p:cNvSpPr>
          <p:nvPr>
            <p:ph type="title"/>
          </p:nvPr>
        </p:nvSpPr>
        <p:spPr/>
        <p:txBody>
          <a:bodyPr/>
          <a:lstStyle/>
          <a:p>
            <a:pPr algn="ctr"/>
            <a:r>
              <a:rPr lang="en-US" b="1">
                <a:latin typeface="Open Sans" panose="020B0606030504020204" pitchFamily="34" charset="0"/>
                <a:ea typeface="Open Sans" panose="020B0606030504020204" pitchFamily="34" charset="0"/>
                <a:cs typeface="Open Sans" panose="020B0606030504020204" pitchFamily="34" charset="0"/>
              </a:rPr>
              <a:t>NRHA Legislative Agenda</a:t>
            </a:r>
          </a:p>
        </p:txBody>
      </p:sp>
      <p:pic>
        <p:nvPicPr>
          <p:cNvPr id="5" name="Picture 4">
            <a:extLst>
              <a:ext uri="{FF2B5EF4-FFF2-40B4-BE49-F238E27FC236}">
                <a16:creationId xmlns:a16="http://schemas.microsoft.com/office/drawing/2014/main" id="{28A90DD6-D28F-6C26-7D8D-DFFF837E5171}"/>
              </a:ext>
            </a:extLst>
          </p:cNvPr>
          <p:cNvPicPr>
            <a:picLocks noChangeAspect="1"/>
          </p:cNvPicPr>
          <p:nvPr/>
        </p:nvPicPr>
        <p:blipFill>
          <a:blip r:embed="rId2"/>
          <a:stretch>
            <a:fillRect/>
          </a:stretch>
        </p:blipFill>
        <p:spPr>
          <a:xfrm>
            <a:off x="0" y="1816081"/>
            <a:ext cx="5772150" cy="2409825"/>
          </a:xfrm>
          <a:prstGeom prst="rect">
            <a:avLst/>
          </a:prstGeom>
        </p:spPr>
      </p:pic>
      <p:pic>
        <p:nvPicPr>
          <p:cNvPr id="9" name="Picture 8">
            <a:extLst>
              <a:ext uri="{FF2B5EF4-FFF2-40B4-BE49-F238E27FC236}">
                <a16:creationId xmlns:a16="http://schemas.microsoft.com/office/drawing/2014/main" id="{F3128632-8787-3B6C-D552-FD8CC76AF2D4}"/>
              </a:ext>
            </a:extLst>
          </p:cNvPr>
          <p:cNvPicPr>
            <a:picLocks noChangeAspect="1"/>
          </p:cNvPicPr>
          <p:nvPr/>
        </p:nvPicPr>
        <p:blipFill>
          <a:blip r:embed="rId3"/>
          <a:stretch>
            <a:fillRect/>
          </a:stretch>
        </p:blipFill>
        <p:spPr>
          <a:xfrm>
            <a:off x="6727243" y="2163393"/>
            <a:ext cx="5205697" cy="2258258"/>
          </a:xfrm>
          <a:prstGeom prst="rect">
            <a:avLst/>
          </a:prstGeom>
        </p:spPr>
      </p:pic>
      <p:pic>
        <p:nvPicPr>
          <p:cNvPr id="7" name="Picture 6">
            <a:extLst>
              <a:ext uri="{FF2B5EF4-FFF2-40B4-BE49-F238E27FC236}">
                <a16:creationId xmlns:a16="http://schemas.microsoft.com/office/drawing/2014/main" id="{241BE599-9FB5-7898-5252-4A1CB991326B}"/>
              </a:ext>
            </a:extLst>
          </p:cNvPr>
          <p:cNvPicPr>
            <a:picLocks noChangeAspect="1"/>
          </p:cNvPicPr>
          <p:nvPr/>
        </p:nvPicPr>
        <p:blipFill>
          <a:blip r:embed="rId4"/>
          <a:stretch>
            <a:fillRect/>
          </a:stretch>
        </p:blipFill>
        <p:spPr>
          <a:xfrm>
            <a:off x="2982966" y="3710875"/>
            <a:ext cx="5657849" cy="2366962"/>
          </a:xfrm>
          <a:prstGeom prst="rect">
            <a:avLst/>
          </a:prstGeom>
        </p:spPr>
      </p:pic>
    </p:spTree>
    <p:extLst>
      <p:ext uri="{BB962C8B-B14F-4D97-AF65-F5344CB8AC3E}">
        <p14:creationId xmlns:p14="http://schemas.microsoft.com/office/powerpoint/2010/main" val="8308834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F3F57-6B5F-57DE-65EF-AA0F4C8AD944}"/>
              </a:ext>
            </a:extLst>
          </p:cNvPr>
          <p:cNvSpPr>
            <a:spLocks noGrp="1"/>
          </p:cNvSpPr>
          <p:nvPr>
            <p:ph type="title"/>
          </p:nvPr>
        </p:nvSpPr>
        <p:spPr>
          <a:xfrm>
            <a:off x="304801" y="278577"/>
            <a:ext cx="10515600" cy="1325563"/>
          </a:xfrm>
        </p:spPr>
        <p:txBody>
          <a:bodyPr/>
          <a:lstStyle/>
          <a:p>
            <a:r>
              <a:rPr lang="en-US" b="1">
                <a:hlinkClick r:id="rId3"/>
              </a:rPr>
              <a:t>Advocacy Priorities</a:t>
            </a:r>
            <a:endParaRPr lang="en-US" b="1"/>
          </a:p>
        </p:txBody>
      </p:sp>
      <p:sp>
        <p:nvSpPr>
          <p:cNvPr id="3" name="Content Placeholder 2">
            <a:extLst>
              <a:ext uri="{FF2B5EF4-FFF2-40B4-BE49-F238E27FC236}">
                <a16:creationId xmlns:a16="http://schemas.microsoft.com/office/drawing/2014/main" id="{C69A4DC2-322E-76FD-6A12-CD3F0B2EC7A1}"/>
              </a:ext>
            </a:extLst>
          </p:cNvPr>
          <p:cNvSpPr>
            <a:spLocks noGrp="1"/>
          </p:cNvSpPr>
          <p:nvPr>
            <p:ph sz="half" idx="1"/>
          </p:nvPr>
        </p:nvSpPr>
        <p:spPr>
          <a:xfrm>
            <a:off x="304801" y="1760220"/>
            <a:ext cx="5596490" cy="4899654"/>
          </a:xfrm>
        </p:spPr>
        <p:txBody>
          <a:bodyPr vert="horz" lIns="91440" tIns="45720" rIns="91440" bIns="45720" rtlCol="0" anchor="t">
            <a:normAutofit fontScale="62500" lnSpcReduction="20000"/>
          </a:bodyPr>
          <a:lstStyle/>
          <a:p>
            <a:pPr marL="0" indent="0" algn="ctr">
              <a:buNone/>
            </a:pPr>
            <a:r>
              <a:rPr lang="en-US" sz="4600" b="1" i="0">
                <a:solidFill>
                  <a:srgbClr val="1B3E6F"/>
                </a:solidFill>
                <a:effectLst/>
                <a:latin typeface="+mj-lt"/>
              </a:rPr>
              <a:t>Core Advocacy Materials:</a:t>
            </a:r>
          </a:p>
          <a:p>
            <a:endParaRPr lang="en-US" sz="5600">
              <a:solidFill>
                <a:srgbClr val="1B3E6F"/>
              </a:solidFill>
              <a:effectLst/>
              <a:latin typeface="YAFdJhmxbVQ 1"/>
            </a:endParaRPr>
          </a:p>
          <a:p>
            <a:pPr>
              <a:lnSpc>
                <a:spcPct val="120000"/>
              </a:lnSpc>
              <a:buFont typeface="Arial" panose="020B0604020202020204" pitchFamily="34" charset="0"/>
              <a:buChar char="•"/>
            </a:pPr>
            <a:r>
              <a:rPr lang="en-US" sz="3400" i="0">
                <a:solidFill>
                  <a:srgbClr val="1B3E6F"/>
                </a:solidFill>
                <a:effectLst/>
                <a:hlinkClick r:id="rId4"/>
              </a:rPr>
              <a:t>NRHA 2024 Legislative Agenda</a:t>
            </a:r>
            <a:endParaRPr lang="en-US" sz="3400">
              <a:hlinkClick r:id="rId4"/>
            </a:endParaRPr>
          </a:p>
          <a:p>
            <a:pPr>
              <a:lnSpc>
                <a:spcPct val="120000"/>
              </a:lnSpc>
            </a:pPr>
            <a:r>
              <a:rPr lang="en-US" sz="3400" i="0">
                <a:solidFill>
                  <a:srgbClr val="1B3E6F"/>
                </a:solidFill>
                <a:effectLst/>
                <a:hlinkClick r:id="rId5"/>
              </a:rPr>
              <a:t>NRHA 2025 Appropriation Priorities</a:t>
            </a:r>
            <a:r>
              <a:rPr lang="en-US" sz="3400">
                <a:solidFill>
                  <a:srgbClr val="1B3E6F"/>
                </a:solidFill>
                <a:hlinkClick r:id="rId5"/>
              </a:rPr>
              <a:t> </a:t>
            </a:r>
            <a:endParaRPr lang="en-US" sz="3400"/>
          </a:p>
          <a:p>
            <a:pPr>
              <a:lnSpc>
                <a:spcPct val="120000"/>
              </a:lnSpc>
              <a:buFont typeface="Arial" panose="020B0604020202020204" pitchFamily="34" charset="0"/>
              <a:buChar char="•"/>
            </a:pPr>
            <a:r>
              <a:rPr lang="en-US" sz="3400" i="0">
                <a:solidFill>
                  <a:srgbClr val="1B3E6F"/>
                </a:solidFill>
                <a:effectLst/>
                <a:hlinkClick r:id="rId6"/>
              </a:rPr>
              <a:t>NRHA Rural Hospital Legislative Priorities</a:t>
            </a:r>
            <a:r>
              <a:rPr lang="en-US" sz="3400">
                <a:solidFill>
                  <a:srgbClr val="1B3E6F"/>
                </a:solidFill>
                <a:hlinkClick r:id="rId6"/>
              </a:rPr>
              <a:t> </a:t>
            </a:r>
            <a:endParaRPr lang="en-US" sz="3400"/>
          </a:p>
          <a:p>
            <a:pPr>
              <a:lnSpc>
                <a:spcPct val="120000"/>
              </a:lnSpc>
              <a:buFont typeface="Arial" panose="020B0604020202020204" pitchFamily="34" charset="0"/>
              <a:buChar char="•"/>
            </a:pPr>
            <a:r>
              <a:rPr lang="en-US" sz="3400" i="0">
                <a:solidFill>
                  <a:srgbClr val="1B3E6F"/>
                </a:solidFill>
                <a:effectLst/>
                <a:hlinkClick r:id="rId7"/>
              </a:rPr>
              <a:t>2024 Rural Medicare Extender Priorities</a:t>
            </a:r>
            <a:endParaRPr lang="en-US" sz="3400"/>
          </a:p>
          <a:p>
            <a:pPr>
              <a:lnSpc>
                <a:spcPct val="120000"/>
              </a:lnSpc>
              <a:buFont typeface="Arial" panose="020B0604020202020204" pitchFamily="34" charset="0"/>
              <a:buChar char="•"/>
            </a:pPr>
            <a:r>
              <a:rPr lang="en-US" sz="3400" i="0">
                <a:solidFill>
                  <a:srgbClr val="1B3E6F"/>
                </a:solidFill>
                <a:effectLst/>
                <a:hlinkClick r:id="rId8"/>
              </a:rPr>
              <a:t>NRHA Farm Bill Legislative Priorities</a:t>
            </a:r>
            <a:endParaRPr lang="en-US" sz="3400"/>
          </a:p>
          <a:p>
            <a:pPr>
              <a:lnSpc>
                <a:spcPct val="120000"/>
              </a:lnSpc>
              <a:buFont typeface="Arial" panose="020B0604020202020204" pitchFamily="34" charset="0"/>
              <a:buChar char="•"/>
            </a:pPr>
            <a:r>
              <a:rPr lang="en-US" sz="3400" i="0">
                <a:solidFill>
                  <a:srgbClr val="1B3E6F"/>
                </a:solidFill>
                <a:effectLst/>
                <a:hlinkClick r:id="rId9"/>
              </a:rPr>
              <a:t>NRHA Rural Health 101</a:t>
            </a:r>
            <a:endParaRPr lang="en-US" sz="3400"/>
          </a:p>
          <a:p>
            <a:pPr>
              <a:lnSpc>
                <a:spcPct val="120000"/>
              </a:lnSpc>
              <a:buFont typeface="Arial" panose="020B0604020202020204" pitchFamily="34" charset="0"/>
              <a:buChar char="•"/>
            </a:pPr>
            <a:r>
              <a:rPr lang="en-US" sz="3400" i="0">
                <a:solidFill>
                  <a:srgbClr val="1B3E6F"/>
                </a:solidFill>
                <a:effectLst/>
                <a:hlinkClick r:id="rId10"/>
              </a:rPr>
              <a:t>Rural Health Advocacy 101</a:t>
            </a:r>
            <a:endParaRPr lang="en-US" sz="3400"/>
          </a:p>
        </p:txBody>
      </p:sp>
      <p:pic>
        <p:nvPicPr>
          <p:cNvPr id="6" name="Content Placeholder 5" descr="A diagram of a health care company&#10;&#10;Description automatically generated">
            <a:extLst>
              <a:ext uri="{FF2B5EF4-FFF2-40B4-BE49-F238E27FC236}">
                <a16:creationId xmlns:a16="http://schemas.microsoft.com/office/drawing/2014/main" id="{98DCB593-BC40-2453-FC4B-3CE52FF37F44}"/>
              </a:ext>
            </a:extLst>
          </p:cNvPr>
          <p:cNvPicPr>
            <a:picLocks noGrp="1" noChangeAspect="1"/>
          </p:cNvPicPr>
          <p:nvPr>
            <p:ph sz="half" idx="2"/>
          </p:nvPr>
        </p:nvPicPr>
        <p:blipFill>
          <a:blip r:embed="rId11">
            <a:extLst>
              <a:ext uri="{28A0092B-C50C-407E-A947-70E740481C1C}">
                <a14:useLocalDpi xmlns:a14="http://schemas.microsoft.com/office/drawing/2010/main" val="0"/>
              </a:ext>
            </a:extLst>
          </a:blip>
          <a:stretch>
            <a:fillRect/>
          </a:stretch>
        </p:blipFill>
        <p:spPr>
          <a:xfrm rot="21254619">
            <a:off x="5820233" y="219835"/>
            <a:ext cx="2744395" cy="3552616"/>
          </a:xfrm>
        </p:spPr>
      </p:pic>
      <p:pic>
        <p:nvPicPr>
          <p:cNvPr id="8" name="Picture 7" descr="A poster of a health care company&#10;&#10;Description automatically generated with medium confidence">
            <a:extLst>
              <a:ext uri="{FF2B5EF4-FFF2-40B4-BE49-F238E27FC236}">
                <a16:creationId xmlns:a16="http://schemas.microsoft.com/office/drawing/2014/main" id="{B73AD369-1A5C-3047-F900-78ACE4A58B8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21313381">
            <a:off x="9009937" y="589179"/>
            <a:ext cx="2482924" cy="3214141"/>
          </a:xfrm>
          <a:prstGeom prst="rect">
            <a:avLst/>
          </a:prstGeom>
        </p:spPr>
      </p:pic>
      <p:pic>
        <p:nvPicPr>
          <p:cNvPr id="10" name="Picture 9" descr="A poster with text on it&#10;&#10;Description automatically generated">
            <a:extLst>
              <a:ext uri="{FF2B5EF4-FFF2-40B4-BE49-F238E27FC236}">
                <a16:creationId xmlns:a16="http://schemas.microsoft.com/office/drawing/2014/main" id="{22178192-9E34-2240-4BB1-E6C7BDF032E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rot="938852">
            <a:off x="9442780" y="3183458"/>
            <a:ext cx="2378126" cy="3078480"/>
          </a:xfrm>
          <a:prstGeom prst="rect">
            <a:avLst/>
          </a:prstGeom>
        </p:spPr>
      </p:pic>
      <p:pic>
        <p:nvPicPr>
          <p:cNvPr id="12" name="Picture 11" descr="A blue and white poster with text&#10;&#10;Description automatically generated">
            <a:extLst>
              <a:ext uri="{FF2B5EF4-FFF2-40B4-BE49-F238E27FC236}">
                <a16:creationId xmlns:a16="http://schemas.microsoft.com/office/drawing/2014/main" id="{D91F92F2-F0D4-0F54-4AEB-6F9B7E1EE92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rot="1008253">
            <a:off x="6153511" y="3119321"/>
            <a:ext cx="2477218" cy="3206754"/>
          </a:xfrm>
          <a:prstGeom prst="rect">
            <a:avLst/>
          </a:prstGeom>
        </p:spPr>
      </p:pic>
    </p:spTree>
    <p:extLst>
      <p:ext uri="{BB962C8B-B14F-4D97-AF65-F5344CB8AC3E}">
        <p14:creationId xmlns:p14="http://schemas.microsoft.com/office/powerpoint/2010/main" val="20220775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37205-988B-CFCE-955E-3CFF21AB4F74}"/>
              </a:ext>
            </a:extLst>
          </p:cNvPr>
          <p:cNvSpPr>
            <a:spLocks noGrp="1"/>
          </p:cNvSpPr>
          <p:nvPr>
            <p:ph type="title"/>
          </p:nvPr>
        </p:nvSpPr>
        <p:spPr>
          <a:xfrm>
            <a:off x="1905000" y="0"/>
            <a:ext cx="8016239" cy="1325563"/>
          </a:xfrm>
        </p:spPr>
        <p:txBody>
          <a:bodyPr>
            <a:normAutofit/>
          </a:bodyPr>
          <a:lstStyle/>
          <a:p>
            <a:pPr algn="ctr"/>
            <a:r>
              <a:rPr lang="en-US" sz="4800" b="1">
                <a:latin typeface="Open Sans" panose="020B0606030504020204" pitchFamily="34" charset="0"/>
                <a:ea typeface="Open Sans" panose="020B0606030504020204" pitchFamily="34" charset="0"/>
                <a:cs typeface="Open Sans" panose="020B0606030504020204" pitchFamily="34" charset="0"/>
                <a:hlinkClick r:id="rId2">
                  <a:extLst>
                    <a:ext uri="{A12FA001-AC4F-418D-AE19-62706E023703}">
                      <ahyp:hlinkClr xmlns:ahyp="http://schemas.microsoft.com/office/drawing/2018/hyperlinkcolor" val="tx"/>
                    </a:ext>
                  </a:extLst>
                </a:hlinkClick>
              </a:rPr>
              <a:t>Advocacy Materials!</a:t>
            </a:r>
            <a:endParaRPr lang="en-US" sz="4800">
              <a:latin typeface="Open Sans" panose="020B0606030504020204" pitchFamily="34" charset="0"/>
              <a:ea typeface="Open Sans" panose="020B0606030504020204" pitchFamily="34" charset="0"/>
              <a:cs typeface="Open Sans" panose="020B0606030504020204" pitchFamily="34" charset="0"/>
            </a:endParaRPr>
          </a:p>
        </p:txBody>
      </p:sp>
      <p:sp>
        <p:nvSpPr>
          <p:cNvPr id="3" name="Content Placeholder 2">
            <a:extLst>
              <a:ext uri="{FF2B5EF4-FFF2-40B4-BE49-F238E27FC236}">
                <a16:creationId xmlns:a16="http://schemas.microsoft.com/office/drawing/2014/main" id="{2D8E8675-E47C-BA9F-3C31-55270F730358}"/>
              </a:ext>
            </a:extLst>
          </p:cNvPr>
          <p:cNvSpPr>
            <a:spLocks noGrp="1"/>
          </p:cNvSpPr>
          <p:nvPr>
            <p:ph sz="half" idx="1"/>
          </p:nvPr>
        </p:nvSpPr>
        <p:spPr>
          <a:xfrm>
            <a:off x="411481" y="1084484"/>
            <a:ext cx="6187439" cy="5359343"/>
          </a:xfrm>
        </p:spPr>
        <p:txBody>
          <a:bodyPr vert="horz" lIns="91440" tIns="45720" rIns="91440" bIns="45720" rtlCol="0" anchor="t">
            <a:normAutofit fontScale="92500" lnSpcReduction="20000"/>
          </a:bodyPr>
          <a:lstStyle/>
          <a:p>
            <a:r>
              <a:rPr lang="en-US" b="1">
                <a:cs typeface="Arial"/>
              </a:rPr>
              <a:t>Topic specific 1-pager leave behinds:</a:t>
            </a:r>
            <a:r>
              <a:rPr lang="en-US">
                <a:cs typeface="Arial"/>
              </a:rPr>
              <a:t> </a:t>
            </a:r>
          </a:p>
          <a:p>
            <a:pPr lvl="1"/>
            <a:r>
              <a:rPr lang="en-US">
                <a:cs typeface="Arial"/>
              </a:rPr>
              <a:t>Includes background information and NRHA supported legislation &amp; programs</a:t>
            </a:r>
          </a:p>
          <a:p>
            <a:pPr marL="0" indent="0">
              <a:buNone/>
            </a:pPr>
            <a:endParaRPr lang="en-US">
              <a:cs typeface="Arial"/>
            </a:endParaRPr>
          </a:p>
          <a:p>
            <a:pPr lvl="1"/>
            <a:r>
              <a:rPr lang="en-US">
                <a:cs typeface="Arial"/>
                <a:hlinkClick r:id="rId3">
                  <a:extLst>
                    <a:ext uri="{A12FA001-AC4F-418D-AE19-62706E023703}">
                      <ahyp:hlinkClr xmlns:ahyp="http://schemas.microsoft.com/office/drawing/2018/hyperlinkcolor" val="tx"/>
                    </a:ext>
                  </a:extLst>
                </a:hlinkClick>
              </a:rPr>
              <a:t>340B Program</a:t>
            </a:r>
            <a:endParaRPr lang="en-US">
              <a:cs typeface="Arial"/>
            </a:endParaRPr>
          </a:p>
          <a:p>
            <a:pPr lvl="1"/>
            <a:r>
              <a:rPr lang="en-US">
                <a:cs typeface="Arial"/>
                <a:hlinkClick r:id="rId4">
                  <a:extLst>
                    <a:ext uri="{A12FA001-AC4F-418D-AE19-62706E023703}">
                      <ahyp:hlinkClr xmlns:ahyp="http://schemas.microsoft.com/office/drawing/2018/hyperlinkcolor" val="tx"/>
                    </a:ext>
                  </a:extLst>
                </a:hlinkClick>
              </a:rPr>
              <a:t>REH</a:t>
            </a:r>
            <a:endParaRPr lang="en-US">
              <a:cs typeface="Arial"/>
            </a:endParaRPr>
          </a:p>
          <a:p>
            <a:pPr lvl="1"/>
            <a:r>
              <a:rPr lang="en-US">
                <a:cs typeface="Arial"/>
                <a:hlinkClick r:id="rId5">
                  <a:extLst>
                    <a:ext uri="{A12FA001-AC4F-418D-AE19-62706E023703}">
                      <ahyp:hlinkClr xmlns:ahyp="http://schemas.microsoft.com/office/drawing/2018/hyperlinkcolor" val="tx"/>
                    </a:ext>
                  </a:extLst>
                </a:hlinkClick>
              </a:rPr>
              <a:t>Rural Health Clinics</a:t>
            </a:r>
            <a:endParaRPr lang="en-US">
              <a:cs typeface="Arial"/>
            </a:endParaRPr>
          </a:p>
          <a:p>
            <a:pPr lvl="1"/>
            <a:r>
              <a:rPr lang="en-US">
                <a:cs typeface="Arial"/>
                <a:hlinkClick r:id="rId6">
                  <a:extLst>
                    <a:ext uri="{A12FA001-AC4F-418D-AE19-62706E023703}">
                      <ahyp:hlinkClr xmlns:ahyp="http://schemas.microsoft.com/office/drawing/2018/hyperlinkcolor" val="tx"/>
                    </a:ext>
                  </a:extLst>
                </a:hlinkClick>
              </a:rPr>
              <a:t>Rural Hospitals</a:t>
            </a:r>
            <a:endParaRPr lang="en-US">
              <a:cs typeface="Arial"/>
            </a:endParaRPr>
          </a:p>
          <a:p>
            <a:pPr lvl="1"/>
            <a:r>
              <a:rPr lang="en-US">
                <a:cs typeface="Arial"/>
                <a:hlinkClick r:id="rId7">
                  <a:extLst>
                    <a:ext uri="{A12FA001-AC4F-418D-AE19-62706E023703}">
                      <ahyp:hlinkClr xmlns:ahyp="http://schemas.microsoft.com/office/drawing/2018/hyperlinkcolor" val="tx"/>
                    </a:ext>
                  </a:extLst>
                </a:hlinkClick>
              </a:rPr>
              <a:t>Rural Community Health Centers</a:t>
            </a:r>
            <a:endParaRPr lang="en-US">
              <a:cs typeface="Arial"/>
            </a:endParaRPr>
          </a:p>
          <a:p>
            <a:pPr lvl="1"/>
            <a:r>
              <a:rPr lang="en-US">
                <a:cs typeface="Arial"/>
                <a:hlinkClick r:id="rId8">
                  <a:extLst>
                    <a:ext uri="{A12FA001-AC4F-418D-AE19-62706E023703}">
                      <ahyp:hlinkClr xmlns:ahyp="http://schemas.microsoft.com/office/drawing/2018/hyperlinkcolor" val="tx"/>
                    </a:ext>
                  </a:extLst>
                </a:hlinkClick>
              </a:rPr>
              <a:t>Rural Maternal Health</a:t>
            </a:r>
          </a:p>
          <a:p>
            <a:pPr lvl="1"/>
            <a:r>
              <a:rPr lang="en-US">
                <a:cs typeface="Arial"/>
                <a:hlinkClick r:id="rId9">
                  <a:extLst>
                    <a:ext uri="{A12FA001-AC4F-418D-AE19-62706E023703}">
                      <ahyp:hlinkClr xmlns:ahyp="http://schemas.microsoft.com/office/drawing/2018/hyperlinkcolor" val="tx"/>
                    </a:ext>
                  </a:extLst>
                </a:hlinkClick>
              </a:rPr>
              <a:t>Rural Telehealth </a:t>
            </a:r>
            <a:r>
              <a:rPr lang="en-US">
                <a:cs typeface="Arial"/>
              </a:rPr>
              <a:t> </a:t>
            </a:r>
          </a:p>
          <a:p>
            <a:pPr lvl="1"/>
            <a:r>
              <a:rPr lang="en-US">
                <a:cs typeface="Arial"/>
                <a:hlinkClick r:id="rId10">
                  <a:extLst>
                    <a:ext uri="{A12FA001-AC4F-418D-AE19-62706E023703}">
                      <ahyp:hlinkClr xmlns:ahyp="http://schemas.microsoft.com/office/drawing/2018/hyperlinkcolor" val="tx"/>
                    </a:ext>
                  </a:extLst>
                </a:hlinkClick>
              </a:rPr>
              <a:t>Rural Behavioral Health </a:t>
            </a:r>
            <a:endParaRPr lang="en-US">
              <a:cs typeface="Arial"/>
            </a:endParaRPr>
          </a:p>
          <a:p>
            <a:pPr lvl="1"/>
            <a:r>
              <a:rPr lang="en-US">
                <a:cs typeface="Arial"/>
                <a:hlinkClick r:id="rId11">
                  <a:extLst>
                    <a:ext uri="{A12FA001-AC4F-418D-AE19-62706E023703}">
                      <ahyp:hlinkClr xmlns:ahyp="http://schemas.microsoft.com/office/drawing/2018/hyperlinkcolor" val="tx"/>
                    </a:ext>
                  </a:extLst>
                </a:hlinkClick>
              </a:rPr>
              <a:t>Rural Oral Health</a:t>
            </a:r>
            <a:endParaRPr lang="en-US">
              <a:cs typeface="Arial"/>
            </a:endParaRPr>
          </a:p>
          <a:p>
            <a:pPr lvl="1"/>
            <a:r>
              <a:rPr lang="en-US">
                <a:cs typeface="Arial"/>
                <a:hlinkClick r:id="rId12">
                  <a:extLst>
                    <a:ext uri="{A12FA001-AC4F-418D-AE19-62706E023703}">
                      <ahyp:hlinkClr xmlns:ahyp="http://schemas.microsoft.com/office/drawing/2018/hyperlinkcolor" val="tx"/>
                    </a:ext>
                  </a:extLst>
                </a:hlinkClick>
              </a:rPr>
              <a:t>Rural EMS </a:t>
            </a:r>
            <a:endParaRPr lang="en-US">
              <a:cs typeface="Arial"/>
            </a:endParaRPr>
          </a:p>
          <a:p>
            <a:pPr lvl="1"/>
            <a:r>
              <a:rPr lang="en-US">
                <a:cs typeface="Arial"/>
                <a:hlinkClick r:id="rId13">
                  <a:extLst>
                    <a:ext uri="{A12FA001-AC4F-418D-AE19-62706E023703}">
                      <ahyp:hlinkClr xmlns:ahyp="http://schemas.microsoft.com/office/drawing/2018/hyperlinkcolor" val="tx"/>
                    </a:ext>
                  </a:extLst>
                </a:hlinkClick>
              </a:rPr>
              <a:t>Rural Veteran’s Health</a:t>
            </a:r>
            <a:endParaRPr lang="en-US">
              <a:cs typeface="Arial"/>
            </a:endParaRPr>
          </a:p>
          <a:p>
            <a:pPr lvl="1"/>
            <a:r>
              <a:rPr lang="en-US">
                <a:cs typeface="Arial"/>
                <a:hlinkClick r:id="rId14">
                  <a:extLst>
                    <a:ext uri="{A12FA001-AC4F-418D-AE19-62706E023703}">
                      <ahyp:hlinkClr xmlns:ahyp="http://schemas.microsoft.com/office/drawing/2018/hyperlinkcolor" val="tx"/>
                    </a:ext>
                  </a:extLst>
                </a:hlinkClick>
              </a:rPr>
              <a:t>Rural Public Health </a:t>
            </a:r>
            <a:endParaRPr lang="en-US">
              <a:cs typeface="Arial"/>
            </a:endParaRPr>
          </a:p>
          <a:p>
            <a:pPr lvl="1"/>
            <a:endParaRPr lang="en-US">
              <a:cs typeface="Arial"/>
            </a:endParaRPr>
          </a:p>
          <a:p>
            <a:pPr lvl="1"/>
            <a:endParaRPr lang="en-US"/>
          </a:p>
          <a:p>
            <a:pPr lvl="1">
              <a:buFont typeface="Courier New" panose="020B0604020202020204" pitchFamily="34" charset="0"/>
              <a:buChar char="o"/>
            </a:pPr>
            <a:endParaRPr lang="en-US" b="1">
              <a:cs typeface="Arial"/>
            </a:endParaRPr>
          </a:p>
          <a:p>
            <a:pPr lvl="1">
              <a:buFont typeface="Courier New" panose="020B0604020202020204" pitchFamily="34" charset="0"/>
              <a:buChar char="o"/>
            </a:pPr>
            <a:endParaRPr lang="en-US" b="1">
              <a:cs typeface="Arial"/>
            </a:endParaRPr>
          </a:p>
          <a:p>
            <a:pPr lvl="1">
              <a:buFont typeface="Courier New" panose="020B0604020202020204" pitchFamily="34" charset="0"/>
              <a:buChar char="o"/>
            </a:pPr>
            <a:endParaRPr lang="en-US" b="1">
              <a:cs typeface="Arial"/>
            </a:endParaRPr>
          </a:p>
          <a:p>
            <a:pPr lvl="1">
              <a:buFont typeface="Courier New" panose="020B0604020202020204" pitchFamily="34" charset="0"/>
              <a:buChar char="o"/>
            </a:pPr>
            <a:endParaRPr lang="en-US" b="1">
              <a:cs typeface="Arial"/>
            </a:endParaRPr>
          </a:p>
        </p:txBody>
      </p:sp>
      <p:pic>
        <p:nvPicPr>
          <p:cNvPr id="6" name="Content Placeholder 5" descr="A poster of a health care company&#10;&#10;Description automatically generated with medium confidence">
            <a:extLst>
              <a:ext uri="{FF2B5EF4-FFF2-40B4-BE49-F238E27FC236}">
                <a16:creationId xmlns:a16="http://schemas.microsoft.com/office/drawing/2014/main" id="{3F700AB0-B86B-8FB7-D8D9-EF7E78BA8380}"/>
              </a:ext>
            </a:extLst>
          </p:cNvPr>
          <p:cNvPicPr>
            <a:picLocks noGrp="1" noChangeAspect="1"/>
          </p:cNvPicPr>
          <p:nvPr>
            <p:ph sz="half" idx="2"/>
          </p:nvPr>
        </p:nvPicPr>
        <p:blipFill>
          <a:blip r:embed="rId15">
            <a:extLst>
              <a:ext uri="{28A0092B-C50C-407E-A947-70E740481C1C}">
                <a14:useLocalDpi xmlns:a14="http://schemas.microsoft.com/office/drawing/2010/main" val="0"/>
              </a:ext>
            </a:extLst>
          </a:blip>
          <a:stretch>
            <a:fillRect/>
          </a:stretch>
        </p:blipFill>
        <p:spPr>
          <a:xfrm>
            <a:off x="6718043" y="1022301"/>
            <a:ext cx="4696715" cy="5359343"/>
          </a:xfrm>
        </p:spPr>
      </p:pic>
    </p:spTree>
    <p:extLst>
      <p:ext uri="{BB962C8B-B14F-4D97-AF65-F5344CB8AC3E}">
        <p14:creationId xmlns:p14="http://schemas.microsoft.com/office/powerpoint/2010/main" val="9213186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990596" y="3023648"/>
            <a:ext cx="10698895" cy="3253846"/>
          </a:xfrm>
        </p:spPr>
        <p:txBody>
          <a:bodyPr anchor="ctr">
            <a:normAutofit fontScale="92500" lnSpcReduction="10000"/>
          </a:bodyPr>
          <a:lstStyle/>
          <a:p>
            <a:pPr marL="0" indent="0" algn="ctr">
              <a:spcBef>
                <a:spcPts val="0"/>
              </a:spcBef>
              <a:spcAft>
                <a:spcPts val="2400"/>
              </a:spcAft>
              <a:buNone/>
            </a:pPr>
            <a:r>
              <a:rPr lang="en-US" sz="8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Questions?</a:t>
            </a:r>
            <a:br>
              <a:rPr lang="en-US" sz="2000" b="1" dirty="0">
                <a:solidFill>
                  <a:schemeClr val="tx1"/>
                </a:solidFill>
                <a:latin typeface="Cambria" panose="02040503050406030204" pitchFamily="18" charset="0"/>
                <a:ea typeface="Cambria" panose="02040503050406030204" pitchFamily="18" charset="0"/>
                <a:cs typeface="Browallia New" panose="020B0604020202020204" pitchFamily="34" charset="-34"/>
              </a:rPr>
            </a:br>
            <a:endParaRPr lang="en-US" sz="40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0" indent="0" algn="ctr">
              <a:spcBef>
                <a:spcPts val="0"/>
              </a:spcBef>
              <a:buNone/>
            </a:pPr>
            <a:r>
              <a:rPr lang="en-US" sz="4000" b="1" dirty="0">
                <a:solidFill>
                  <a:schemeClr val="accent2">
                    <a:lumMod val="60000"/>
                    <a:lumOff val="40000"/>
                  </a:schemeClr>
                </a:solidFill>
                <a:latin typeface="Open Sans" panose="020B0606030504020204" pitchFamily="34" charset="0"/>
                <a:ea typeface="Open Sans" panose="020B0606030504020204" pitchFamily="34" charset="0"/>
                <a:cs typeface="Open Sans" panose="020B0606030504020204" pitchFamily="34" charset="0"/>
                <a:hlinkClick r:id="rId3"/>
              </a:rPr>
              <a:t>bslabach@nrharural.org</a:t>
            </a:r>
            <a:endParaRPr lang="en-US" sz="4000" b="1" dirty="0">
              <a:solidFill>
                <a:schemeClr val="accent2">
                  <a:lumMod val="60000"/>
                  <a:lumOff val="40000"/>
                </a:schemeClr>
              </a:solidFill>
              <a:latin typeface="Open Sans" panose="020B0606030504020204" pitchFamily="34" charset="0"/>
              <a:ea typeface="Open Sans" panose="020B0606030504020204" pitchFamily="34" charset="0"/>
              <a:cs typeface="Open Sans" panose="020B0606030504020204" pitchFamily="34" charset="0"/>
            </a:endParaRPr>
          </a:p>
          <a:p>
            <a:pPr marL="0" indent="0" algn="ctr">
              <a:spcBef>
                <a:spcPts val="0"/>
              </a:spcBef>
              <a:buNone/>
            </a:pPr>
            <a:r>
              <a:rPr lang="en-US" sz="4000" b="1" dirty="0">
                <a:solidFill>
                  <a:schemeClr val="accent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bslabach</a:t>
            </a:r>
          </a:p>
          <a:p>
            <a:pPr marL="0" indent="0" algn="ctr">
              <a:spcBef>
                <a:spcPts val="0"/>
              </a:spcBef>
              <a:buNone/>
            </a:pPr>
            <a:r>
              <a:rPr lang="en-US" sz="4000" b="1" dirty="0">
                <a:solidFill>
                  <a:schemeClr val="accent2">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ruralhealth</a:t>
            </a:r>
          </a:p>
        </p:txBody>
      </p:sp>
      <p:pic>
        <p:nvPicPr>
          <p:cNvPr id="5" name="Picture 4">
            <a:extLst>
              <a:ext uri="{FF2B5EF4-FFF2-40B4-BE49-F238E27FC236}">
                <a16:creationId xmlns:a16="http://schemas.microsoft.com/office/drawing/2014/main" id="{9DCAE989-9A7B-4EDB-A22C-65D88F899321}"/>
              </a:ext>
            </a:extLst>
          </p:cNvPr>
          <p:cNvPicPr>
            <a:picLocks noChangeAspect="1"/>
          </p:cNvPicPr>
          <p:nvPr/>
        </p:nvPicPr>
        <p:blipFill>
          <a:blip r:embed="rId4"/>
          <a:stretch>
            <a:fillRect/>
          </a:stretch>
        </p:blipFill>
        <p:spPr>
          <a:xfrm>
            <a:off x="2443162" y="456520"/>
            <a:ext cx="7305675" cy="2047875"/>
          </a:xfrm>
          <a:prstGeom prst="rect">
            <a:avLst/>
          </a:prstGeom>
        </p:spPr>
      </p:pic>
    </p:spTree>
    <p:extLst>
      <p:ext uri="{BB962C8B-B14F-4D97-AF65-F5344CB8AC3E}">
        <p14:creationId xmlns:p14="http://schemas.microsoft.com/office/powerpoint/2010/main" val="27125520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E6052-0618-9CC0-49C2-C36778BFF17A}"/>
              </a:ext>
            </a:extLst>
          </p:cNvPr>
          <p:cNvSpPr>
            <a:spLocks noGrp="1"/>
          </p:cNvSpPr>
          <p:nvPr>
            <p:ph type="title"/>
          </p:nvPr>
        </p:nvSpPr>
        <p:spPr>
          <a:xfrm>
            <a:off x="152400" y="0"/>
            <a:ext cx="10515600" cy="738118"/>
          </a:xfrm>
        </p:spPr>
        <p:txBody>
          <a:bodyPr/>
          <a:lstStyle/>
          <a:p>
            <a:r>
              <a:rPr lang="en-US" b="1" dirty="0"/>
              <a:t>The Road to 270</a:t>
            </a:r>
          </a:p>
        </p:txBody>
      </p:sp>
      <p:pic>
        <p:nvPicPr>
          <p:cNvPr id="5" name="Content Placeholder 4">
            <a:extLst>
              <a:ext uri="{FF2B5EF4-FFF2-40B4-BE49-F238E27FC236}">
                <a16:creationId xmlns:a16="http://schemas.microsoft.com/office/drawing/2014/main" id="{394DFDCD-48FA-76E5-FBD5-E4B8546A619D}"/>
              </a:ext>
            </a:extLst>
          </p:cNvPr>
          <p:cNvPicPr>
            <a:picLocks noGrp="1" noChangeAspect="1"/>
          </p:cNvPicPr>
          <p:nvPr>
            <p:ph idx="1"/>
          </p:nvPr>
        </p:nvPicPr>
        <p:blipFill>
          <a:blip r:embed="rId2"/>
          <a:stretch>
            <a:fillRect/>
          </a:stretch>
        </p:blipFill>
        <p:spPr>
          <a:xfrm>
            <a:off x="1177782" y="653010"/>
            <a:ext cx="9490218" cy="5912254"/>
          </a:xfrm>
        </p:spPr>
      </p:pic>
      <p:sp>
        <p:nvSpPr>
          <p:cNvPr id="6" name="TextBox 5">
            <a:extLst>
              <a:ext uri="{FF2B5EF4-FFF2-40B4-BE49-F238E27FC236}">
                <a16:creationId xmlns:a16="http://schemas.microsoft.com/office/drawing/2014/main" id="{51209F3E-5CE1-5491-60B8-313333201692}"/>
              </a:ext>
            </a:extLst>
          </p:cNvPr>
          <p:cNvSpPr txBox="1"/>
          <p:nvPr/>
        </p:nvSpPr>
        <p:spPr>
          <a:xfrm>
            <a:off x="8416543" y="6195932"/>
            <a:ext cx="238398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A4972"/>
                </a:solidFill>
                <a:effectLst/>
                <a:uLnTx/>
                <a:uFillTx/>
                <a:latin typeface="Arial" panose="020B0604020202020204"/>
                <a:ea typeface="+mn-ea"/>
                <a:cs typeface="+mn-cs"/>
              </a:rPr>
              <a:t>Source: https://www.270towin.com/</a:t>
            </a:r>
          </a:p>
        </p:txBody>
      </p:sp>
    </p:spTree>
    <p:extLst>
      <p:ext uri="{BB962C8B-B14F-4D97-AF65-F5344CB8AC3E}">
        <p14:creationId xmlns:p14="http://schemas.microsoft.com/office/powerpoint/2010/main" val="39216891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8A870-3CFA-14D7-3D57-F1649CA5D37F}"/>
              </a:ext>
            </a:extLst>
          </p:cNvPr>
          <p:cNvSpPr>
            <a:spLocks noGrp="1"/>
          </p:cNvSpPr>
          <p:nvPr>
            <p:ph type="title"/>
          </p:nvPr>
        </p:nvSpPr>
        <p:spPr>
          <a:xfrm>
            <a:off x="470453" y="116647"/>
            <a:ext cx="10515600" cy="658605"/>
          </a:xfrm>
        </p:spPr>
        <p:txBody>
          <a:bodyPr>
            <a:normAutofit fontScale="90000"/>
          </a:bodyPr>
          <a:lstStyle/>
          <a:p>
            <a:r>
              <a:rPr lang="en-US" b="1" dirty="0"/>
              <a:t>Senate Map Projections</a:t>
            </a:r>
          </a:p>
        </p:txBody>
      </p:sp>
      <p:pic>
        <p:nvPicPr>
          <p:cNvPr id="5" name="Content Placeholder 4">
            <a:extLst>
              <a:ext uri="{FF2B5EF4-FFF2-40B4-BE49-F238E27FC236}">
                <a16:creationId xmlns:a16="http://schemas.microsoft.com/office/drawing/2014/main" id="{45F46BF2-1414-D6E1-A697-C241D5946DF5}"/>
              </a:ext>
            </a:extLst>
          </p:cNvPr>
          <p:cNvPicPr>
            <a:picLocks noGrp="1" noChangeAspect="1"/>
          </p:cNvPicPr>
          <p:nvPr>
            <p:ph idx="1"/>
          </p:nvPr>
        </p:nvPicPr>
        <p:blipFill>
          <a:blip r:embed="rId2"/>
          <a:stretch>
            <a:fillRect/>
          </a:stretch>
        </p:blipFill>
        <p:spPr>
          <a:xfrm>
            <a:off x="2226365" y="672087"/>
            <a:ext cx="8050696" cy="5887252"/>
          </a:xfrm>
        </p:spPr>
      </p:pic>
      <p:sp>
        <p:nvSpPr>
          <p:cNvPr id="6" name="TextBox 5">
            <a:extLst>
              <a:ext uri="{FF2B5EF4-FFF2-40B4-BE49-F238E27FC236}">
                <a16:creationId xmlns:a16="http://schemas.microsoft.com/office/drawing/2014/main" id="{524E5272-5306-3EA1-DFFF-057C355E33D9}"/>
              </a:ext>
            </a:extLst>
          </p:cNvPr>
          <p:cNvSpPr txBox="1"/>
          <p:nvPr/>
        </p:nvSpPr>
        <p:spPr>
          <a:xfrm>
            <a:off x="9539665" y="6209565"/>
            <a:ext cx="238398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A4972"/>
                </a:solidFill>
                <a:effectLst/>
                <a:uLnTx/>
                <a:uFillTx/>
                <a:latin typeface="Arial" panose="020B0604020202020204"/>
                <a:ea typeface="+mn-ea"/>
                <a:cs typeface="+mn-cs"/>
              </a:rPr>
              <a:t>Source: https://www.270towin.com/</a:t>
            </a:r>
          </a:p>
        </p:txBody>
      </p:sp>
    </p:spTree>
    <p:extLst>
      <p:ext uri="{BB962C8B-B14F-4D97-AF65-F5344CB8AC3E}">
        <p14:creationId xmlns:p14="http://schemas.microsoft.com/office/powerpoint/2010/main" val="3904338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FBAD0F-94B8-BF6D-A202-D96F15B7D17E}"/>
              </a:ext>
            </a:extLst>
          </p:cNvPr>
          <p:cNvSpPr>
            <a:spLocks noGrp="1"/>
          </p:cNvSpPr>
          <p:nvPr>
            <p:ph type="title"/>
          </p:nvPr>
        </p:nvSpPr>
        <p:spPr>
          <a:xfrm>
            <a:off x="281609" y="131762"/>
            <a:ext cx="10515600" cy="549275"/>
          </a:xfrm>
        </p:spPr>
        <p:txBody>
          <a:bodyPr>
            <a:normAutofit fontScale="90000"/>
          </a:bodyPr>
          <a:lstStyle/>
          <a:p>
            <a:r>
              <a:rPr lang="en-US" b="1" dirty="0"/>
              <a:t>House of Representatives</a:t>
            </a:r>
          </a:p>
        </p:txBody>
      </p:sp>
      <p:sp>
        <p:nvSpPr>
          <p:cNvPr id="6" name="TextBox 5">
            <a:extLst>
              <a:ext uri="{FF2B5EF4-FFF2-40B4-BE49-F238E27FC236}">
                <a16:creationId xmlns:a16="http://schemas.microsoft.com/office/drawing/2014/main" id="{2691ABDD-5EAC-F952-71E4-BBB010B4AACB}"/>
              </a:ext>
            </a:extLst>
          </p:cNvPr>
          <p:cNvSpPr txBox="1"/>
          <p:nvPr/>
        </p:nvSpPr>
        <p:spPr>
          <a:xfrm>
            <a:off x="9539665" y="6209565"/>
            <a:ext cx="238398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A4972"/>
                </a:solidFill>
                <a:effectLst/>
                <a:uLnTx/>
                <a:uFillTx/>
                <a:latin typeface="Arial" panose="020B0604020202020204"/>
                <a:ea typeface="+mn-ea"/>
                <a:cs typeface="+mn-cs"/>
              </a:rPr>
              <a:t>Source: https://www.270towin.com/</a:t>
            </a:r>
          </a:p>
        </p:txBody>
      </p:sp>
      <p:pic>
        <p:nvPicPr>
          <p:cNvPr id="8" name="Content Placeholder 7">
            <a:extLst>
              <a:ext uri="{FF2B5EF4-FFF2-40B4-BE49-F238E27FC236}">
                <a16:creationId xmlns:a16="http://schemas.microsoft.com/office/drawing/2014/main" id="{7FB1B267-6C77-7F9D-9BDA-CE308FDA051E}"/>
              </a:ext>
            </a:extLst>
          </p:cNvPr>
          <p:cNvPicPr>
            <a:picLocks noGrp="1" noChangeAspect="1"/>
          </p:cNvPicPr>
          <p:nvPr>
            <p:ph idx="1"/>
          </p:nvPr>
        </p:nvPicPr>
        <p:blipFill>
          <a:blip r:embed="rId2"/>
          <a:stretch>
            <a:fillRect/>
          </a:stretch>
        </p:blipFill>
        <p:spPr>
          <a:xfrm>
            <a:off x="1941095" y="573371"/>
            <a:ext cx="7598570" cy="6039335"/>
          </a:xfrm>
        </p:spPr>
      </p:pic>
    </p:spTree>
    <p:extLst>
      <p:ext uri="{BB962C8B-B14F-4D97-AF65-F5344CB8AC3E}">
        <p14:creationId xmlns:p14="http://schemas.microsoft.com/office/powerpoint/2010/main" val="12827714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86B616-84C7-23F3-15A0-D56B93D01C4C}"/>
              </a:ext>
            </a:extLst>
          </p:cNvPr>
          <p:cNvSpPr>
            <a:spLocks noGrp="1"/>
          </p:cNvSpPr>
          <p:nvPr>
            <p:ph type="title"/>
          </p:nvPr>
        </p:nvSpPr>
        <p:spPr>
          <a:xfrm>
            <a:off x="-86139" y="18255"/>
            <a:ext cx="10515600" cy="1325563"/>
          </a:xfrm>
        </p:spPr>
        <p:txBody>
          <a:bodyPr>
            <a:normAutofit fontScale="90000"/>
          </a:bodyPr>
          <a:lstStyle/>
          <a:p>
            <a:r>
              <a:rPr lang="en-US" b="1" dirty="0"/>
              <a:t>“What Liberals Get Wrong About ‘White Rural Rage’ — Almost Everything”</a:t>
            </a:r>
          </a:p>
        </p:txBody>
      </p:sp>
      <p:pic>
        <p:nvPicPr>
          <p:cNvPr id="4" name="Content Placeholder 3">
            <a:extLst>
              <a:ext uri="{FF2B5EF4-FFF2-40B4-BE49-F238E27FC236}">
                <a16:creationId xmlns:a16="http://schemas.microsoft.com/office/drawing/2014/main" id="{B9E0D1A1-3784-F88D-C035-54D159B64F7D}"/>
              </a:ext>
            </a:extLst>
          </p:cNvPr>
          <p:cNvPicPr>
            <a:picLocks noGrp="1" noChangeAspect="1"/>
          </p:cNvPicPr>
          <p:nvPr>
            <p:ph sz="half" idx="1"/>
          </p:nvPr>
        </p:nvPicPr>
        <p:blipFill>
          <a:blip r:embed="rId2"/>
          <a:stretch>
            <a:fillRect/>
          </a:stretch>
        </p:blipFill>
        <p:spPr>
          <a:xfrm>
            <a:off x="371061" y="2014556"/>
            <a:ext cx="3876804" cy="3233772"/>
          </a:xfrm>
          <a:prstGeom prst="rect">
            <a:avLst/>
          </a:prstGeom>
        </p:spPr>
      </p:pic>
      <p:sp>
        <p:nvSpPr>
          <p:cNvPr id="5" name="Content Placeholder 4">
            <a:extLst>
              <a:ext uri="{FF2B5EF4-FFF2-40B4-BE49-F238E27FC236}">
                <a16:creationId xmlns:a16="http://schemas.microsoft.com/office/drawing/2014/main" id="{5F2B6DDA-69D4-0B46-9B75-F87379C51B57}"/>
              </a:ext>
            </a:extLst>
          </p:cNvPr>
          <p:cNvSpPr>
            <a:spLocks noGrp="1"/>
          </p:cNvSpPr>
          <p:nvPr>
            <p:ph sz="half" idx="2"/>
          </p:nvPr>
        </p:nvSpPr>
        <p:spPr>
          <a:xfrm>
            <a:off x="4502426" y="1343818"/>
            <a:ext cx="7689573" cy="4833145"/>
          </a:xfrm>
        </p:spPr>
        <p:txBody>
          <a:bodyPr anchor="ctr" anchorCtr="0">
            <a:normAutofit/>
          </a:bodyPr>
          <a:lstStyle/>
          <a:p>
            <a:r>
              <a:rPr lang="en-US" dirty="0"/>
              <a:t>Response to Schaller and Waldman’s book: </a:t>
            </a:r>
            <a:r>
              <a:rPr lang="en-US" i="1" dirty="0"/>
              <a:t>White Rural Rage, </a:t>
            </a:r>
            <a:r>
              <a:rPr lang="en-US" dirty="0"/>
              <a:t>Feb. 2024</a:t>
            </a:r>
          </a:p>
          <a:p>
            <a:r>
              <a:rPr lang="en-US" dirty="0"/>
              <a:t>What rural communities desire: </a:t>
            </a:r>
          </a:p>
          <a:p>
            <a:pPr lvl="1"/>
            <a:r>
              <a:rPr lang="en-US" sz="1700" dirty="0"/>
              <a:t>Empowering strategies that allow them to shape their own future</a:t>
            </a:r>
          </a:p>
          <a:p>
            <a:pPr lvl="1"/>
            <a:r>
              <a:rPr lang="en-US" sz="1700" dirty="0"/>
              <a:t>Support that bolsters local leadership</a:t>
            </a:r>
          </a:p>
          <a:p>
            <a:pPr lvl="1"/>
            <a:r>
              <a:rPr lang="en-US" sz="1700" dirty="0"/>
              <a:t>Encourages community-driven initiatives</a:t>
            </a:r>
          </a:p>
          <a:p>
            <a:pPr lvl="1"/>
            <a:r>
              <a:rPr lang="en-US" sz="1700" dirty="0"/>
              <a:t>Provides the tools and resources necessary for them to address their specific challenges in a manner consistent with their values </a:t>
            </a:r>
          </a:p>
          <a:p>
            <a:r>
              <a:rPr lang="en-US" sz="2100" dirty="0"/>
              <a:t>To understanding rural resentment:</a:t>
            </a:r>
          </a:p>
          <a:p>
            <a:pPr lvl="1"/>
            <a:r>
              <a:rPr lang="en-US" sz="1700" dirty="0"/>
              <a:t>Acknowledge the profound geographic inequities that exist in the U.S.</a:t>
            </a:r>
          </a:p>
          <a:p>
            <a:pPr lvl="1"/>
            <a:r>
              <a:rPr lang="en-US" sz="1700" dirty="0"/>
              <a:t>These inequities are a powerful motivator of political behavior</a:t>
            </a:r>
          </a:p>
          <a:p>
            <a:pPr lvl="1"/>
            <a:r>
              <a:rPr lang="en-US" sz="1700" dirty="0"/>
              <a:t>They are not the same as rage, racism, xenophobia and nationalism</a:t>
            </a:r>
          </a:p>
          <a:p>
            <a:pPr lvl="1"/>
            <a:r>
              <a:rPr lang="en-US" sz="1700" dirty="0"/>
              <a:t>It is distinctive</a:t>
            </a:r>
          </a:p>
          <a:p>
            <a:r>
              <a:rPr lang="en-US" sz="2100" dirty="0"/>
              <a:t>This isn’t rage, nor is it a threat to democracy.</a:t>
            </a:r>
          </a:p>
        </p:txBody>
      </p:sp>
      <p:sp>
        <p:nvSpPr>
          <p:cNvPr id="6" name="TextBox 5">
            <a:extLst>
              <a:ext uri="{FF2B5EF4-FFF2-40B4-BE49-F238E27FC236}">
                <a16:creationId xmlns:a16="http://schemas.microsoft.com/office/drawing/2014/main" id="{FCCA0071-44B5-5048-3434-70FAFA2BFA66}"/>
              </a:ext>
            </a:extLst>
          </p:cNvPr>
          <p:cNvSpPr txBox="1"/>
          <p:nvPr/>
        </p:nvSpPr>
        <p:spPr>
          <a:xfrm>
            <a:off x="5647067" y="6176963"/>
            <a:ext cx="654493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A4972"/>
                </a:solidFill>
                <a:effectLst/>
                <a:uLnTx/>
                <a:uFillTx/>
                <a:latin typeface="Arial" panose="020B0604020202020204"/>
                <a:ea typeface="+mn-ea"/>
                <a:cs typeface="+mn-cs"/>
              </a:rPr>
              <a:t>Source: </a:t>
            </a:r>
            <a:r>
              <a:rPr kumimoji="0" lang="en-US" sz="1200" b="0" i="0" u="none" strike="noStrike" kern="1200" cap="none" spc="0" normalizeH="0" baseline="0" noProof="0" dirty="0">
                <a:ln>
                  <a:noFill/>
                </a:ln>
                <a:solidFill>
                  <a:srgbClr val="3A4972"/>
                </a:solidFill>
                <a:effectLst/>
                <a:uLnTx/>
                <a:uFillTx/>
                <a:latin typeface="Arial" panose="020B0604020202020204"/>
                <a:ea typeface="+mn-ea"/>
                <a:cs typeface="+mn-cs"/>
                <a:hlinkClick r:id="rId3"/>
              </a:rPr>
              <a:t>https://www.politico.com/news/magazine/2024/04/05/white-rural-rage-myth-00150395</a:t>
            </a:r>
            <a:endParaRPr kumimoji="0" lang="en-US" sz="1200" b="0" i="0" u="none" strike="noStrike" kern="1200" cap="none" spc="0" normalizeH="0" baseline="0" noProof="0" dirty="0">
              <a:ln>
                <a:noFill/>
              </a:ln>
              <a:solidFill>
                <a:srgbClr val="3A4972"/>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A4972"/>
                </a:solidFill>
                <a:effectLst/>
                <a:uLnTx/>
                <a:uFillTx/>
                <a:latin typeface="Arial" panose="020B0604020202020204"/>
                <a:ea typeface="+mn-ea"/>
                <a:cs typeface="+mn-cs"/>
              </a:rPr>
              <a:t> </a:t>
            </a:r>
          </a:p>
        </p:txBody>
      </p:sp>
    </p:spTree>
    <p:extLst>
      <p:ext uri="{BB962C8B-B14F-4D97-AF65-F5344CB8AC3E}">
        <p14:creationId xmlns:p14="http://schemas.microsoft.com/office/powerpoint/2010/main" val="27274702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08731-408F-401D-BA9C-77C9D9A83F29}"/>
              </a:ext>
            </a:extLst>
          </p:cNvPr>
          <p:cNvSpPr>
            <a:spLocks noGrp="1"/>
          </p:cNvSpPr>
          <p:nvPr>
            <p:ph type="title"/>
          </p:nvPr>
        </p:nvSpPr>
        <p:spPr/>
        <p:txBody>
          <a:bodyPr/>
          <a:lstStyle/>
          <a:p>
            <a:r>
              <a:rPr lang="en-US" sz="6000" b="1" dirty="0">
                <a:latin typeface="Open Sans" panose="020B0606030504020204" pitchFamily="34" charset="0"/>
                <a:ea typeface="Open Sans" panose="020B0606030504020204" pitchFamily="34" charset="0"/>
                <a:cs typeface="Open Sans" panose="020B0606030504020204" pitchFamily="34" charset="0"/>
              </a:rPr>
              <a:t>The Rural Health Context </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637211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v2LhQ5kdK67vXfewnhXs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Y4liRp57ZypHZkNCmkneJ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Y4liRp57ZypHZkNCmkneJ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yyQTmD54Ao6JRm3bTQcx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4liRp57ZypHZkNCmkneJ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GE.vgoDole8bAp12hdsv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Tr3B7rNpR1WM_g7X34KC7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Tr3B7rNpR1WM_g7X34KC7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ZAKY3haer03WWEtMhcZtF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Zu9uJzbDSNdxAiAmFHAft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nA.0CPTwH_LrrfIsv8uIc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tGNtXh882ZbCwDMivFrZO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ZAKY3haer03WWEtMhcZtF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QiSJ3gJDEIJGO_e99Jc7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v2LhQ5kdK67vXfewnhXs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4liRp57ZypHZkNCmkneJ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4liRp57ZypHZkNCmkneJ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4liRp57ZypHZkNCmkneJ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kGE.vgoDole8bAp12hdsv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r3B7rNpR1WM_g7X34KC7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r3B7rNpR1WM_g7X34KC7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AKY3haer03WWEtMhcZtF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A.0CPTwH_LrrfIsv8uIc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GNtXh882ZbCwDMivFrZO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AKY3haer03WWEtMhcZtF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dR49nGrRCz2U0AWwtiF3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yyQTmD54Ao6JRm3bTQcx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UvGP1nUz8JuzD2wpy2iTTA"/>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DEE866A0-EA94-4890-A3E3-3232E2F428D6}"/>
    </a:ext>
  </a:extLst>
</a:theme>
</file>

<file path=ppt/theme/theme10.xml><?xml version="1.0" encoding="utf-8"?>
<a:theme xmlns:a="http://schemas.openxmlformats.org/drawingml/2006/main" name="1_Office Theme">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7AE32B41-04C5-48DE-B64E-48A319968DA0}"/>
    </a:ext>
  </a:extLst>
</a:theme>
</file>

<file path=ppt/theme/theme11.xml><?xml version="1.0" encoding="utf-8"?>
<a:theme xmlns:a="http://schemas.openxmlformats.org/drawingml/2006/main" name="Chartis 2021">
  <a:themeElements>
    <a:clrScheme name="Chartis 2022">
      <a:dk1>
        <a:sysClr val="windowText" lastClr="000000"/>
      </a:dk1>
      <a:lt1>
        <a:sysClr val="window" lastClr="FFFFFF"/>
      </a:lt1>
      <a:dk2>
        <a:srgbClr val="ADB9CA"/>
      </a:dk2>
      <a:lt2>
        <a:srgbClr val="E7E6E6"/>
      </a:lt2>
      <a:accent1>
        <a:srgbClr val="00294C"/>
      </a:accent1>
      <a:accent2>
        <a:srgbClr val="7CAF2A"/>
      </a:accent2>
      <a:accent3>
        <a:srgbClr val="4091F7"/>
      </a:accent3>
      <a:accent4>
        <a:srgbClr val="3ECCCC"/>
      </a:accent4>
      <a:accent5>
        <a:srgbClr val="FFB93E"/>
      </a:accent5>
      <a:accent6>
        <a:srgbClr val="F45B42"/>
      </a:accent6>
      <a:hlink>
        <a:srgbClr val="00294C"/>
      </a:hlink>
      <a:folHlink>
        <a:srgbClr val="5B5857"/>
      </a:folHlink>
    </a:clrScheme>
    <a:fontScheme name="Chartis Segoe">
      <a:majorFont>
        <a:latin typeface="Segoe UI"/>
        <a:ea typeface=""/>
        <a:cs typeface=""/>
      </a:majorFont>
      <a:minorFont>
        <a:latin typeface="Segoe UI Semibold"/>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marL="230188" indent="-230188" algn="l">
          <a:lnSpc>
            <a:spcPct val="112000"/>
          </a:lnSpc>
          <a:buClr>
            <a:schemeClr val="accent1"/>
          </a:buClr>
          <a:buSzPct val="70000"/>
          <a:buFont typeface="Wingdings" panose="05000000000000000000" pitchFamily="2" charset="2"/>
          <a:buChar char="l"/>
          <a:defRPr sz="1400" dirty="0" smtClean="0">
            <a:latin typeface="Segoe UI" panose="020B0502040204020203" pitchFamily="34" charset="0"/>
            <a:ea typeface="Verdana" panose="020B0604030504040204"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Chartis 2018" id="{16488233-6154-4456-8E71-57E9A67A8DF2}" vid="{E127DF4B-CF8F-46F6-AA46-4AFE61821E1E}"/>
    </a:ext>
  </a:extLst>
</a:theme>
</file>

<file path=ppt/theme/theme12.xml><?xml version="1.0" encoding="utf-8"?>
<a:theme xmlns:a="http://schemas.openxmlformats.org/drawingml/2006/main" name="Office Theme">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1F655668-1A62-41C1-A660-416A1EE3B300}"/>
    </a:ext>
  </a:extLst>
</a:theme>
</file>

<file path=ppt/theme/theme13.xml><?xml version="1.0" encoding="utf-8"?>
<a:theme xmlns:a="http://schemas.openxmlformats.org/drawingml/2006/main" name="1_Chartis 2021">
  <a:themeElements>
    <a:clrScheme name="Chartis 2022">
      <a:dk1>
        <a:sysClr val="windowText" lastClr="000000"/>
      </a:dk1>
      <a:lt1>
        <a:sysClr val="window" lastClr="FFFFFF"/>
      </a:lt1>
      <a:dk2>
        <a:srgbClr val="ADB9CA"/>
      </a:dk2>
      <a:lt2>
        <a:srgbClr val="E7E6E6"/>
      </a:lt2>
      <a:accent1>
        <a:srgbClr val="00294C"/>
      </a:accent1>
      <a:accent2>
        <a:srgbClr val="7CAF2A"/>
      </a:accent2>
      <a:accent3>
        <a:srgbClr val="4091F7"/>
      </a:accent3>
      <a:accent4>
        <a:srgbClr val="3ECCCC"/>
      </a:accent4>
      <a:accent5>
        <a:srgbClr val="FFB93E"/>
      </a:accent5>
      <a:accent6>
        <a:srgbClr val="F45B42"/>
      </a:accent6>
      <a:hlink>
        <a:srgbClr val="00294C"/>
      </a:hlink>
      <a:folHlink>
        <a:srgbClr val="5B5857"/>
      </a:folHlink>
    </a:clrScheme>
    <a:fontScheme name="Chartis Segoe">
      <a:majorFont>
        <a:latin typeface="Segoe UI"/>
        <a:ea typeface=""/>
        <a:cs typeface=""/>
      </a:majorFont>
      <a:minorFont>
        <a:latin typeface="Segoe UI Semibold"/>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marL="230188" indent="-230188" algn="l">
          <a:lnSpc>
            <a:spcPct val="112000"/>
          </a:lnSpc>
          <a:buClr>
            <a:schemeClr val="accent1"/>
          </a:buClr>
          <a:buSzPct val="70000"/>
          <a:buFont typeface="Wingdings" panose="05000000000000000000" pitchFamily="2" charset="2"/>
          <a:buChar char="l"/>
          <a:defRPr sz="1400" dirty="0" smtClean="0">
            <a:latin typeface="Segoe UI" panose="020B0502040204020203" pitchFamily="34" charset="0"/>
            <a:ea typeface="Verdana" panose="020B0604030504040204"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Chartis 2018" id="{16488233-6154-4456-8E71-57E9A67A8DF2}" vid="{E127DF4B-CF8F-46F6-AA46-4AFE61821E1E}"/>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ACA037CE-2846-4975-8838-CBF248134366}"/>
    </a:ext>
  </a:extLst>
</a:theme>
</file>

<file path=ppt/theme/theme3.xml><?xml version="1.0" encoding="utf-8"?>
<a:theme xmlns:a="http://schemas.openxmlformats.org/drawingml/2006/main" name="2_Custom Design">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B43E1F45-2A16-4C0F-A801-4EC4919D1060}"/>
    </a:ext>
  </a:extLst>
</a:theme>
</file>

<file path=ppt/theme/theme4.xml><?xml version="1.0" encoding="utf-8"?>
<a:theme xmlns:a="http://schemas.openxmlformats.org/drawingml/2006/main" name="3_Custom Design">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F4C00875-DB89-4859-B38B-710051561FDF}"/>
    </a:ext>
  </a:extLst>
</a:theme>
</file>

<file path=ppt/theme/theme5.xml><?xml version="1.0" encoding="utf-8"?>
<a:theme xmlns:a="http://schemas.openxmlformats.org/drawingml/2006/main" name="4_Custom Design">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B10758C5-0A16-4E1E-88B2-DAF99915432B}"/>
    </a:ext>
  </a:extLst>
</a:theme>
</file>

<file path=ppt/theme/theme6.xml><?xml version="1.0" encoding="utf-8"?>
<a:theme xmlns:a="http://schemas.openxmlformats.org/drawingml/2006/main" name="5_Custom Design">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F1F4A546-1B44-41F9-8E1F-88858386D8CC}"/>
    </a:ext>
  </a:extLst>
</a:theme>
</file>

<file path=ppt/theme/theme7.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13A93551-A227-4D53-A928-764D1EA92AD3}"/>
    </a:ext>
  </a:extLst>
</a:theme>
</file>

<file path=ppt/theme/theme8.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3F63C0A9-4552-4BA0-8F1C-959E30F4CCF3}"/>
    </a:ext>
  </a:extLst>
</a:theme>
</file>

<file path=ppt/theme/theme9.xml><?xml version="1.0" encoding="utf-8"?>
<a:theme xmlns:a="http://schemas.openxmlformats.org/drawingml/2006/main" name="8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DF38D1AF-AC16-4E3B-B406-39BB8BFC96D2}"/>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6C85EC9-D86E-4A44-B2F5-7BE19FBF0F0A}">
  <we:reference id="wa104038830" version="1.0.0.3" store="en-US" storeType="OMEX"/>
  <we:alternateReferences>
    <we:reference id="WA104038830" version="1.0.0.3" store="WA104038830"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77A96C49BCF884A855D8F83CFB79EA0" ma:contentTypeVersion="18" ma:contentTypeDescription="Create a new document." ma:contentTypeScope="" ma:versionID="beff3ab99058b60c3dcddfc662b43251">
  <xsd:schema xmlns:xsd="http://www.w3.org/2001/XMLSchema" xmlns:xs="http://www.w3.org/2001/XMLSchema" xmlns:p="http://schemas.microsoft.com/office/2006/metadata/properties" xmlns:ns2="61f457c8-7e20-4de4-8851-4805882bb853" xmlns:ns3="4038c7d6-6b17-4cd5-a326-d6bf634fc6f3" targetNamespace="http://schemas.microsoft.com/office/2006/metadata/properties" ma:root="true" ma:fieldsID="8e1969c17208f17143f44497b8aa36c1" ns2:_="" ns3:_="">
    <xsd:import namespace="61f457c8-7e20-4de4-8851-4805882bb853"/>
    <xsd:import namespace="4038c7d6-6b17-4cd5-a326-d6bf634fc6f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f457c8-7e20-4de4-8851-4805882bb8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44a9535-2128-4002-b252-e17163498fa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038c7d6-6b17-4cd5-a326-d6bf634fc6f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00bba7e-a091-4e04-a043-74c2a8e8b9df}" ma:internalName="TaxCatchAll" ma:showField="CatchAllData" ma:web="4038c7d6-6b17-4cd5-a326-d6bf634fc6f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4038c7d6-6b17-4cd5-a326-d6bf634fc6f3">
      <UserInfo>
        <DisplayName>Carrie Cochran-McClain</DisplayName>
        <AccountId>25</AccountId>
        <AccountType/>
      </UserInfo>
      <UserInfo>
        <DisplayName>Josh Jorgensen</DisplayName>
        <AccountId>13</AccountId>
        <AccountType/>
      </UserInfo>
    </SharedWithUsers>
    <lcf76f155ced4ddcb4097134ff3c332f xmlns="61f457c8-7e20-4de4-8851-4805882bb853">
      <Terms xmlns="http://schemas.microsoft.com/office/infopath/2007/PartnerControls"/>
    </lcf76f155ced4ddcb4097134ff3c332f>
    <TaxCatchAll xmlns="4038c7d6-6b17-4cd5-a326-d6bf634fc6f3" xsi:nil="true"/>
  </documentManagement>
</p:properties>
</file>

<file path=customXml/itemProps1.xml><?xml version="1.0" encoding="utf-8"?>
<ds:datastoreItem xmlns:ds="http://schemas.openxmlformats.org/officeDocument/2006/customXml" ds:itemID="{56B97F0B-46CA-47F8-89AD-54C22DFBAD76}">
  <ds:schemaRefs>
    <ds:schemaRef ds:uri="http://schemas.microsoft.com/sharepoint/v3/contenttype/forms"/>
  </ds:schemaRefs>
</ds:datastoreItem>
</file>

<file path=customXml/itemProps2.xml><?xml version="1.0" encoding="utf-8"?>
<ds:datastoreItem xmlns:ds="http://schemas.openxmlformats.org/officeDocument/2006/customXml" ds:itemID="{1E75F265-8407-4D77-9BF2-6DEC162A34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f457c8-7e20-4de4-8851-4805882bb853"/>
    <ds:schemaRef ds:uri="4038c7d6-6b17-4cd5-a326-d6bf634fc6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053CE4-15B0-4C5E-8925-F576C3000E4C}">
  <ds:schemaRefs>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http://www.w3.org/XML/1998/namespace"/>
    <ds:schemaRef ds:uri="http://purl.org/dc/dcmitype/"/>
    <ds:schemaRef ds:uri="4038c7d6-6b17-4cd5-a326-d6bf634fc6f3"/>
    <ds:schemaRef ds:uri="61f457c8-7e20-4de4-8851-4805882bb853"/>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NRHA Branded Templates 2021 (002)</Template>
  <TotalTime>512</TotalTime>
  <Words>4077</Words>
  <Application>Microsoft Office PowerPoint</Application>
  <PresentationFormat>Widescreen</PresentationFormat>
  <Paragraphs>660</Paragraphs>
  <Slides>49</Slides>
  <Notes>27</Notes>
  <HiddenSlides>0</HiddenSlides>
  <MMClips>0</MMClips>
  <ScaleCrop>false</ScaleCrop>
  <HeadingPairs>
    <vt:vector size="8" baseType="variant">
      <vt:variant>
        <vt:lpstr>Fonts Used</vt:lpstr>
      </vt:variant>
      <vt:variant>
        <vt:i4>22</vt:i4>
      </vt:variant>
      <vt:variant>
        <vt:lpstr>Theme</vt:lpstr>
      </vt:variant>
      <vt:variant>
        <vt:i4>13</vt:i4>
      </vt:variant>
      <vt:variant>
        <vt:lpstr>Embedded OLE Servers</vt:lpstr>
      </vt:variant>
      <vt:variant>
        <vt:i4>1</vt:i4>
      </vt:variant>
      <vt:variant>
        <vt:lpstr>Slide Titles</vt:lpstr>
      </vt:variant>
      <vt:variant>
        <vt:i4>49</vt:i4>
      </vt:variant>
    </vt:vector>
  </HeadingPairs>
  <TitlesOfParts>
    <vt:vector size="85" baseType="lpstr">
      <vt:lpstr>MS PGothic</vt:lpstr>
      <vt:lpstr>Angsana New</vt:lpstr>
      <vt:lpstr>Arial</vt:lpstr>
      <vt:lpstr>Arial Black</vt:lpstr>
      <vt:lpstr>Calibri</vt:lpstr>
      <vt:lpstr>Calibri Light</vt:lpstr>
      <vt:lpstr>Cambria</vt:lpstr>
      <vt:lpstr>charter</vt:lpstr>
      <vt:lpstr>Courier New</vt:lpstr>
      <vt:lpstr>Georgia</vt:lpstr>
      <vt:lpstr>Helvetica</vt:lpstr>
      <vt:lpstr>Karla</vt:lpstr>
      <vt:lpstr>Open Sans</vt:lpstr>
      <vt:lpstr>Roboto Light</vt:lpstr>
      <vt:lpstr>Segoe UI</vt:lpstr>
      <vt:lpstr>Segoe UI Light</vt:lpstr>
      <vt:lpstr>Segoe UI Semibold</vt:lpstr>
      <vt:lpstr>Symbol</vt:lpstr>
      <vt:lpstr>Times New Roman</vt:lpstr>
      <vt:lpstr>Verdana</vt:lpstr>
      <vt:lpstr>Wingdings</vt:lpstr>
      <vt:lpstr>YAFdJhmxbVQ 1</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1_Office Theme</vt:lpstr>
      <vt:lpstr>Chartis 2021</vt:lpstr>
      <vt:lpstr>Office Theme</vt:lpstr>
      <vt:lpstr>1_Chartis 2021</vt:lpstr>
      <vt:lpstr>think-cell Slide</vt:lpstr>
      <vt:lpstr>PowerPoint Presentation</vt:lpstr>
      <vt:lpstr>Why rural?</vt:lpstr>
      <vt:lpstr>What We Fight for on Behalf of Rural </vt:lpstr>
      <vt:lpstr>PowerPoint Presentation</vt:lpstr>
      <vt:lpstr>The Road to 270</vt:lpstr>
      <vt:lpstr>Senate Map Projections</vt:lpstr>
      <vt:lpstr>House of Representatives</vt:lpstr>
      <vt:lpstr>“What Liberals Get Wrong About ‘White Rural Rage’ — Almost Everything”</vt:lpstr>
      <vt:lpstr>The Rural Health Context </vt:lpstr>
      <vt:lpstr>Rural Hospital Closures</vt:lpstr>
      <vt:lpstr>REH Conversion Map</vt:lpstr>
      <vt:lpstr>National CAH Quality Inventory &amp; Assessment National Report</vt:lpstr>
      <vt:lpstr>Half of all Rural Hospitals Now in the Red</vt:lpstr>
      <vt:lpstr>Nearly 420 Hospitals Vulnerable to Closure</vt:lpstr>
      <vt:lpstr>Enrollment in Medicare Advantage Surges Percentage Growth in Rural Communities 2019-2023*</vt:lpstr>
      <vt:lpstr>PowerPoint Presentation</vt:lpstr>
      <vt:lpstr>“Rural hospitals and the rural economy rise and fall together”</vt:lpstr>
      <vt:lpstr>Weakening Community Health Status</vt:lpstr>
      <vt:lpstr>PowerPoint Presentation</vt:lpstr>
      <vt:lpstr>Legislative Review</vt:lpstr>
      <vt:lpstr>PowerPoint Presentation</vt:lpstr>
      <vt:lpstr>Lame Duck Congressional Session</vt:lpstr>
      <vt:lpstr>FY 2025 Appropriations Update</vt:lpstr>
      <vt:lpstr>FY25 NRHA Appropriations Priorities</vt:lpstr>
      <vt:lpstr>Senate Finance Rural Health Hearing</vt:lpstr>
      <vt:lpstr>In the Hopper… </vt:lpstr>
      <vt:lpstr>2024 Farm Bill</vt:lpstr>
      <vt:lpstr>2024 Farm Bill</vt:lpstr>
      <vt:lpstr>340B Reform Policy Principles</vt:lpstr>
      <vt:lpstr>Rural Obstetric Readiness Act</vt:lpstr>
      <vt:lpstr>PowerPoint Presentation</vt:lpstr>
      <vt:lpstr> Focus on Critical Access Hospitals </vt:lpstr>
      <vt:lpstr>Rural Emergency Hospital 2.0 legislation</vt:lpstr>
      <vt:lpstr>Innovation</vt:lpstr>
      <vt:lpstr>CMS Updates Quality and VBC Specialty Care Strategies</vt:lpstr>
      <vt:lpstr>Transforming Maternal Health (TMaH)</vt:lpstr>
      <vt:lpstr>The ACO Primary Care Flex</vt:lpstr>
      <vt:lpstr>Executive Branch </vt:lpstr>
      <vt:lpstr>Recent Activities</vt:lpstr>
      <vt:lpstr>Current Activities</vt:lpstr>
      <vt:lpstr>Minimum Staffing Standards for LTC Facilities</vt:lpstr>
      <vt:lpstr>Minimum Staffing Standards for LTC Facilities</vt:lpstr>
      <vt:lpstr>Minimum Staffing Standards Update</vt:lpstr>
      <vt:lpstr>Advocate With Us!</vt:lpstr>
      <vt:lpstr>House Rural Health Caucus</vt:lpstr>
      <vt:lpstr>NRHA Legislative Agenda</vt:lpstr>
      <vt:lpstr>Advocacy Priorities</vt:lpstr>
      <vt:lpstr>Advocacy Materia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an Morgan</dc:creator>
  <cp:lastModifiedBy>Brock Slabach</cp:lastModifiedBy>
  <cp:revision>7</cp:revision>
  <dcterms:created xsi:type="dcterms:W3CDTF">2021-02-23T18:23:49Z</dcterms:created>
  <dcterms:modified xsi:type="dcterms:W3CDTF">2024-05-30T14:5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7A96C49BCF884A855D8F83CFB79EA0</vt:lpwstr>
  </property>
  <property fmtid="{D5CDD505-2E9C-101B-9397-08002B2CF9AE}" pid="3" name="MediaServiceImageTags">
    <vt:lpwstr/>
  </property>
</Properties>
</file>